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oleObject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png" ContentType="image/png"/>
  <Default Extension="wmf" ContentType="image/x-w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ppt/notesSlides/notesSlide73.xml" ContentType="application/vnd.openxmlformats-officedocument.presentationml.notesSlide+xml"/>
  <Override PartName="/ppt/notesSlides/notesSlide74.xml" ContentType="application/vnd.openxmlformats-officedocument.presentationml.notesSlide+xml"/>
  <Override PartName="/ppt/notesSlides/notesSlide75.xml" ContentType="application/vnd.openxmlformats-officedocument.presentationml.notesSlide+xml"/>
  <Override PartName="/ppt/notesSlides/notesSlide76.xml" ContentType="application/vnd.openxmlformats-officedocument.presentationml.notesSlide+xml"/>
  <Override PartName="/ppt/notesSlides/notesSlide77.xml" ContentType="application/vnd.openxmlformats-officedocument.presentationml.notesSlide+xml"/>
  <Override PartName="/ppt/notesSlides/notesSlide78.xml" ContentType="application/vnd.openxmlformats-officedocument.presentationml.notesSlide+xml"/>
  <Override PartName="/ppt/notesSlides/notesSlide79.xml" ContentType="application/vnd.openxmlformats-officedocument.presentationml.notesSlide+xml"/>
  <Override PartName="/ppt/notesSlides/notesSlide80.xml" ContentType="application/vnd.openxmlformats-officedocument.presentationml.notesSlide+xml"/>
  <Override PartName="/ppt/notesSlides/notesSlide81.xml" ContentType="application/vnd.openxmlformats-officedocument.presentationml.notesSlide+xml"/>
  <Override PartName="/ppt/notesSlides/notesSlide82.xml" ContentType="application/vnd.openxmlformats-officedocument.presentationml.notesSlide+xml"/>
  <Override PartName="/ppt/notesSlides/notesSlide83.xml" ContentType="application/vnd.openxmlformats-officedocument.presentationml.notesSlide+xml"/>
  <Override PartName="/ppt/notesSlides/notesSlide84.xml" ContentType="application/vnd.openxmlformats-officedocument.presentationml.notesSlide+xml"/>
  <Override PartName="/ppt/notesSlides/notesSlide85.xml" ContentType="application/vnd.openxmlformats-officedocument.presentationml.notesSlide+xml"/>
  <Override PartName="/ppt/notesSlides/notesSlide86.xml" ContentType="application/vnd.openxmlformats-officedocument.presentationml.notesSlide+xml"/>
  <Override PartName="/ppt/notesSlides/notesSlide87.xml" ContentType="application/vnd.openxmlformats-officedocument.presentationml.notesSlide+xml"/>
  <Override PartName="/ppt/notesSlides/notesSlide88.xml" ContentType="application/vnd.openxmlformats-officedocument.presentationml.notesSlide+xml"/>
  <Override PartName="/ppt/notesSlides/notesSlide89.xml" ContentType="application/vnd.openxmlformats-officedocument.presentationml.notesSlide+xml"/>
  <Override PartName="/ppt/notesSlides/notesSlide90.xml" ContentType="application/vnd.openxmlformats-officedocument.presentationml.notesSlide+xml"/>
  <Override PartName="/ppt/notesSlides/notesSlide91.xml" ContentType="application/vnd.openxmlformats-officedocument.presentationml.notesSlide+xml"/>
  <Override PartName="/ppt/notesSlides/notesSlide92.xml" ContentType="application/vnd.openxmlformats-officedocument.presentationml.notesSlide+xml"/>
  <Override PartName="/ppt/notesSlides/notesSlide93.xml" ContentType="application/vnd.openxmlformats-officedocument.presentationml.notesSlide+xml"/>
  <Override PartName="/ppt/notesSlides/notesSlide94.xml" ContentType="application/vnd.openxmlformats-officedocument.presentationml.notesSlide+xml"/>
  <Override PartName="/ppt/notesSlides/notesSlide95.xml" ContentType="application/vnd.openxmlformats-officedocument.presentationml.notesSlide+xml"/>
  <Override PartName="/ppt/notesSlides/notesSlide96.xml" ContentType="application/vnd.openxmlformats-officedocument.presentationml.notesSlide+xml"/>
  <Override PartName="/ppt/notesSlides/notesSlide97.xml" ContentType="application/vnd.openxmlformats-officedocument.presentationml.notesSlide+xml"/>
  <Override PartName="/ppt/notesSlides/notesSlide98.xml" ContentType="application/vnd.openxmlformats-officedocument.presentationml.notesSlide+xml"/>
  <Override PartName="/ppt/notesSlides/notesSlide99.xml" ContentType="application/vnd.openxmlformats-officedocument.presentationml.notesSlide+xml"/>
  <Override PartName="/ppt/notesSlides/notesSlide100.xml" ContentType="application/vnd.openxmlformats-officedocument.presentationml.notesSlide+xml"/>
  <Override PartName="/ppt/notesSlides/notesSlide101.xml" ContentType="application/vnd.openxmlformats-officedocument.presentationml.notesSlide+xml"/>
  <Override PartName="/ppt/notesSlides/notesSlide102.xml" ContentType="application/vnd.openxmlformats-officedocument.presentationml.notesSlide+xml"/>
  <Override PartName="/ppt/notesSlides/notesSlide103.xml" ContentType="application/vnd.openxmlformats-officedocument.presentationml.notesSlide+xml"/>
  <Override PartName="/ppt/notesSlides/notesSlide104.xml" ContentType="application/vnd.openxmlformats-officedocument.presentationml.notesSlide+xml"/>
  <Override PartName="/ppt/notesSlides/notesSlide105.xml" ContentType="application/vnd.openxmlformats-officedocument.presentationml.notesSlide+xml"/>
  <Override PartName="/ppt/notesSlides/notesSlide106.xml" ContentType="application/vnd.openxmlformats-officedocument.presentationml.notesSlide+xml"/>
  <Override PartName="/ppt/notesSlides/notesSlide107.xml" ContentType="application/vnd.openxmlformats-officedocument.presentationml.notesSlide+xml"/>
  <Override PartName="/ppt/notesSlides/notesSlide108.xml" ContentType="application/vnd.openxmlformats-officedocument.presentationml.notesSlide+xml"/>
  <Override PartName="/ppt/notesSlides/notesSlide109.xml" ContentType="application/vnd.openxmlformats-officedocument.presentationml.notesSlide+xml"/>
  <Override PartName="/ppt/notesSlides/notesSlide110.xml" ContentType="application/vnd.openxmlformats-officedocument.presentationml.notesSlide+xml"/>
  <Override PartName="/ppt/notesSlides/notesSlide111.xml" ContentType="application/vnd.openxmlformats-officedocument.presentationml.notesSlide+xml"/>
  <Override PartName="/ppt/notesSlides/notesSlide112.xml" ContentType="application/vnd.openxmlformats-officedocument.presentationml.notesSlide+xml"/>
  <Override PartName="/ppt/notesSlides/notesSlide113.xml" ContentType="application/vnd.openxmlformats-officedocument.presentationml.notesSlide+xml"/>
  <Override PartName="/ppt/notesSlides/notesSlide114.xml" ContentType="application/vnd.openxmlformats-officedocument.presentationml.notesSlide+xml"/>
  <Override PartName="/ppt/notesSlides/notesSlide115.xml" ContentType="application/vnd.openxmlformats-officedocument.presentationml.notesSlide+xml"/>
  <Override PartName="/ppt/notesSlides/notesSlide116.xml" ContentType="application/vnd.openxmlformats-officedocument.presentationml.notesSlide+xml"/>
  <Override PartName="/ppt/notesSlides/notesSlide117.xml" ContentType="application/vnd.openxmlformats-officedocument.presentationml.notesSlide+xml"/>
  <Override PartName="/ppt/notesSlides/notesSlide118.xml" ContentType="application/vnd.openxmlformats-officedocument.presentationml.notesSlide+xml"/>
  <Override PartName="/ppt/notesSlides/notesSlide119.xml" ContentType="application/vnd.openxmlformats-officedocument.presentationml.notesSlide+xml"/>
  <Override PartName="/ppt/notesSlides/notesSlide120.xml" ContentType="application/vnd.openxmlformats-officedocument.presentationml.notesSlide+xml"/>
  <Override PartName="/ppt/notesSlides/notesSlide121.xml" ContentType="application/vnd.openxmlformats-officedocument.presentationml.notesSlide+xml"/>
  <Override PartName="/ppt/notesSlides/notesSlide122.xml" ContentType="application/vnd.openxmlformats-officedocument.presentationml.notesSlide+xml"/>
  <Override PartName="/ppt/notesSlides/notesSlide123.xml" ContentType="application/vnd.openxmlformats-officedocument.presentationml.notesSlide+xml"/>
  <Override PartName="/ppt/notesSlides/notesSlide124.xml" ContentType="application/vnd.openxmlformats-officedocument.presentationml.notesSlide+xml"/>
  <Override PartName="/ppt/notesSlides/notesSlide125.xml" ContentType="application/vnd.openxmlformats-officedocument.presentationml.notesSlide+xml"/>
  <Override PartName="/ppt/notesSlides/notesSlide126.xml" ContentType="application/vnd.openxmlformats-officedocument.presentationml.notesSlide+xml"/>
  <Override PartName="/ppt/notesSlides/notesSlide127.xml" ContentType="application/vnd.openxmlformats-officedocument.presentationml.notesSlide+xml"/>
  <Override PartName="/ppt/notesSlides/notesSlide128.xml" ContentType="application/vnd.openxmlformats-officedocument.presentationml.notesSlide+xml"/>
  <Override PartName="/ppt/notesSlides/notesSlide129.xml" ContentType="application/vnd.openxmlformats-officedocument.presentationml.notesSlide+xml"/>
  <Override PartName="/ppt/notesSlides/notesSlide130.xml" ContentType="application/vnd.openxmlformats-officedocument.presentationml.notesSlide+xml"/>
  <Override PartName="/ppt/notesSlides/notesSlide131.xml" ContentType="application/vnd.openxmlformats-officedocument.presentationml.notesSlide+xml"/>
  <Override PartName="/ppt/notesSlides/notesSlide132.xml" ContentType="application/vnd.openxmlformats-officedocument.presentationml.notesSlide+xml"/>
  <Override PartName="/ppt/notesSlides/notesSlide133.xml" ContentType="application/vnd.openxmlformats-officedocument.presentationml.notesSlide+xml"/>
  <Override PartName="/ppt/notesSlides/notesSlide134.xml" ContentType="application/vnd.openxmlformats-officedocument.presentationml.notesSlide+xml"/>
  <Override PartName="/ppt/notesSlides/notesSlide135.xml" ContentType="application/vnd.openxmlformats-officedocument.presentationml.notesSlide+xml"/>
  <Override PartName="/ppt/notesSlides/notesSlide136.xml" ContentType="application/vnd.openxmlformats-officedocument.presentationml.notesSlide+xml"/>
  <Override PartName="/ppt/notesSlides/notesSlide137.xml" ContentType="application/vnd.openxmlformats-officedocument.presentationml.notesSlide+xml"/>
  <Override PartName="/ppt/notesSlides/notesSlide138.xml" ContentType="application/vnd.openxmlformats-officedocument.presentationml.notesSlide+xml"/>
  <Override PartName="/ppt/notesSlides/notesSlide139.xml" ContentType="application/vnd.openxmlformats-officedocument.presentationml.notesSlide+xml"/>
  <Override PartName="/ppt/notesSlides/notesSlide140.xml" ContentType="application/vnd.openxmlformats-officedocument.presentationml.notesSlide+xml"/>
  <Override PartName="/ppt/notesSlides/notesSlide141.xml" ContentType="application/vnd.openxmlformats-officedocument.presentationml.notesSlide+xml"/>
  <Override PartName="/ppt/notesSlides/notesSlide142.xml" ContentType="application/vnd.openxmlformats-officedocument.presentationml.notesSlide+xml"/>
  <Override PartName="/ppt/notesSlides/notesSlide143.xml" ContentType="application/vnd.openxmlformats-officedocument.presentationml.notesSlide+xml"/>
  <Override PartName="/ppt/notesSlides/notesSlide144.xml" ContentType="application/vnd.openxmlformats-officedocument.presentationml.notesSlide+xml"/>
  <Override PartName="/ppt/notesSlides/notesSlide145.xml" ContentType="application/vnd.openxmlformats-officedocument.presentationml.notesSlide+xml"/>
  <Override PartName="/ppt/notesSlides/notesSlide146.xml" ContentType="application/vnd.openxmlformats-officedocument.presentationml.notesSlide+xml"/>
  <Override PartName="/ppt/notesSlides/notesSlide147.xml" ContentType="application/vnd.openxmlformats-officedocument.presentationml.notesSlide+xml"/>
  <Override PartName="/ppt/notesSlides/notesSlide148.xml" ContentType="application/vnd.openxmlformats-officedocument.presentationml.notesSlide+xml"/>
  <Override PartName="/ppt/notesSlides/notesSlide149.xml" ContentType="application/vnd.openxmlformats-officedocument.presentationml.notesSlide+xml"/>
  <Override PartName="/ppt/notesSlides/notesSlide150.xml" ContentType="application/vnd.openxmlformats-officedocument.presentationml.notesSlide+xml"/>
  <Override PartName="/ppt/notesSlides/notesSlide151.xml" ContentType="application/vnd.openxmlformats-officedocument.presentationml.notesSlide+xml"/>
  <Override PartName="/ppt/notesSlides/notesSlide152.xml" ContentType="application/vnd.openxmlformats-officedocument.presentationml.notesSlide+xml"/>
  <Override PartName="/ppt/notesSlides/notesSlide153.xml" ContentType="application/vnd.openxmlformats-officedocument.presentationml.notesSlide+xml"/>
  <Override PartName="/ppt/notesSlides/notesSlide154.xml" ContentType="application/vnd.openxmlformats-officedocument.presentationml.notesSlide+xml"/>
  <Override PartName="/ppt/notesSlides/notesSlide155.xml" ContentType="application/vnd.openxmlformats-officedocument.presentationml.notesSlide+xml"/>
  <Override PartName="/ppt/notesSlides/notesSlide156.xml" ContentType="application/vnd.openxmlformats-officedocument.presentationml.notesSlide+xml"/>
  <Override PartName="/ppt/notesSlides/notesSlide157.xml" ContentType="application/vnd.openxmlformats-officedocument.presentationml.notesSlide+xml"/>
  <Override PartName="/ppt/notesSlides/notesSlide158.xml" ContentType="application/vnd.openxmlformats-officedocument.presentationml.notesSlide+xml"/>
  <Override PartName="/ppt/notesSlides/notesSlide159.xml" ContentType="application/vnd.openxmlformats-officedocument.presentationml.notesSlide+xml"/>
  <Override PartName="/ppt/notesSlides/notesSlide160.xml" ContentType="application/vnd.openxmlformats-officedocument.presentationml.notesSlide+xml"/>
  <Override PartName="/ppt/notesSlides/notesSlide161.xml" ContentType="application/vnd.openxmlformats-officedocument.presentationml.notesSlide+xml"/>
  <Override PartName="/ppt/notesSlides/notesSlide162.xml" ContentType="application/vnd.openxmlformats-officedocument.presentationml.notesSlide+xml"/>
  <Override PartName="/ppt/notesSlides/notesSlide163.xml" ContentType="application/vnd.openxmlformats-officedocument.presentationml.notesSlide+xml"/>
  <Override PartName="/ppt/notesSlides/notesSlide164.xml" ContentType="application/vnd.openxmlformats-officedocument.presentationml.notesSlide+xml"/>
  <Override PartName="/ppt/notesSlides/notesSlide165.xml" ContentType="application/vnd.openxmlformats-officedocument.presentationml.notesSlide+xml"/>
  <Override PartName="/ppt/notesSlides/notesSlide166.xml" ContentType="application/vnd.openxmlformats-officedocument.presentationml.notesSlide+xml"/>
  <Override PartName="/ppt/notesSlides/notesSlide167.xml" ContentType="application/vnd.openxmlformats-officedocument.presentationml.notesSlide+xml"/>
  <Override PartName="/ppt/notesSlides/notesSlide168.xml" ContentType="application/vnd.openxmlformats-officedocument.presentationml.notesSlide+xml"/>
  <Override PartName="/ppt/notesSlides/notesSlide169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70.xml" ContentType="application/vnd.openxmlformats-officedocument.presentationml.notesSlide+xml"/>
  <Override PartName="/ppt/notesSlides/notesSlide171.xml" ContentType="application/vnd.openxmlformats-officedocument.presentationml.notesSlide+xml"/>
  <Override PartName="/ppt/notesSlides/notesSlide172.xml" ContentType="application/vnd.openxmlformats-officedocument.presentationml.notesSlide+xml"/>
  <Override PartName="/ppt/notesSlides/notesSlide173.xml" ContentType="application/vnd.openxmlformats-officedocument.presentationml.notesSlide+xml"/>
  <Override PartName="/ppt/notesSlides/notesSlide174.xml" ContentType="application/vnd.openxmlformats-officedocument.presentationml.notesSlide+xml"/>
  <Override PartName="/ppt/notesSlides/notesSlide175.xml" ContentType="application/vnd.openxmlformats-officedocument.presentationml.notesSlide+xml"/>
  <Override PartName="/ppt/notesSlides/notesSlide176.xml" ContentType="application/vnd.openxmlformats-officedocument.presentationml.notesSlide+xml"/>
  <Override PartName="/ppt/notesSlides/notesSlide177.xml" ContentType="application/vnd.openxmlformats-officedocument.presentationml.notesSlide+xml"/>
  <Override PartName="/ppt/notesSlides/notesSlide178.xml" ContentType="application/vnd.openxmlformats-officedocument.presentationml.notesSlide+xml"/>
  <Override PartName="/ppt/notesSlides/notesSlide179.xml" ContentType="application/vnd.openxmlformats-officedocument.presentationml.notesSlide+xml"/>
  <Override PartName="/ppt/notesSlides/notesSlide180.xml" ContentType="application/vnd.openxmlformats-officedocument.presentationml.notesSlide+xml"/>
  <Override PartName="/ppt/notesSlides/notesSlide181.xml" ContentType="application/vnd.openxmlformats-officedocument.presentationml.notesSlide+xml"/>
  <Override PartName="/ppt/notesSlides/notesSlide182.xml" ContentType="application/vnd.openxmlformats-officedocument.presentationml.notesSlide+xml"/>
  <Override PartName="/ppt/notesSlides/notesSlide183.xml" ContentType="application/vnd.openxmlformats-officedocument.presentationml.notesSlide+xml"/>
  <Override PartName="/ppt/notesSlides/notesSlide184.xml" ContentType="application/vnd.openxmlformats-officedocument.presentationml.notesSlide+xml"/>
  <Override PartName="/ppt/notesSlides/notesSlide185.xml" ContentType="application/vnd.openxmlformats-officedocument.presentationml.notesSlide+xml"/>
  <Override PartName="/ppt/notesSlides/notesSlide186.xml" ContentType="application/vnd.openxmlformats-officedocument.presentationml.notesSlide+xml"/>
  <Override PartName="/ppt/notesSlides/notesSlide187.xml" ContentType="application/vnd.openxmlformats-officedocument.presentationml.notesSlide+xml"/>
  <Override PartName="/ppt/notesSlides/notesSlide188.xml" ContentType="application/vnd.openxmlformats-officedocument.presentationml.notesSlide+xml"/>
  <Override PartName="/ppt/notesSlides/notesSlide189.xml" ContentType="application/vnd.openxmlformats-officedocument.presentationml.notesSlide+xml"/>
  <Override PartName="/ppt/notesSlides/notesSlide190.xml" ContentType="application/vnd.openxmlformats-officedocument.presentationml.notesSlide+xml"/>
  <Override PartName="/ppt/notesSlides/notesSlide191.xml" ContentType="application/vnd.openxmlformats-officedocument.presentationml.notesSlide+xml"/>
  <Override PartName="/ppt/notesSlides/notesSlide192.xml" ContentType="application/vnd.openxmlformats-officedocument.presentationml.notesSlide+xml"/>
  <Override PartName="/ppt/notesSlides/notesSlide193.xml" ContentType="application/vnd.openxmlformats-officedocument.presentationml.notesSlide+xml"/>
  <Override PartName="/ppt/notesSlides/notesSlide194.xml" ContentType="application/vnd.openxmlformats-officedocument.presentationml.notesSlide+xml"/>
  <Override PartName="/ppt/notesSlides/notesSlide195.xml" ContentType="application/vnd.openxmlformats-officedocument.presentationml.notesSlide+xml"/>
  <Override PartName="/ppt/notesSlides/notesSlide196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97.xml" ContentType="application/vnd.openxmlformats-officedocument.presentationml.notesSlide+xml"/>
  <Override PartName="/ppt/notesSlides/notesSlide198.xml" ContentType="application/vnd.openxmlformats-officedocument.presentationml.notesSlide+xml"/>
  <Override PartName="/ppt/notesSlides/notesSlide199.xml" ContentType="application/vnd.openxmlformats-officedocument.presentationml.notesSlide+xml"/>
  <Override PartName="/ppt/notesSlides/notesSlide20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17"/>
  </p:notesMasterIdLst>
  <p:sldIdLst>
    <p:sldId id="256" r:id="rId2"/>
    <p:sldId id="321" r:id="rId3"/>
    <p:sldId id="322" r:id="rId4"/>
    <p:sldId id="323" r:id="rId5"/>
    <p:sldId id="324" r:id="rId6"/>
    <p:sldId id="325" r:id="rId7"/>
    <p:sldId id="326" r:id="rId8"/>
    <p:sldId id="327" r:id="rId9"/>
    <p:sldId id="328" r:id="rId10"/>
    <p:sldId id="329" r:id="rId11"/>
    <p:sldId id="332" r:id="rId12"/>
    <p:sldId id="333" r:id="rId13"/>
    <p:sldId id="334" r:id="rId14"/>
    <p:sldId id="335" r:id="rId15"/>
    <p:sldId id="336" r:id="rId16"/>
    <p:sldId id="337" r:id="rId17"/>
    <p:sldId id="339" r:id="rId18"/>
    <p:sldId id="341" r:id="rId19"/>
    <p:sldId id="342" r:id="rId20"/>
    <p:sldId id="343" r:id="rId21"/>
    <p:sldId id="344" r:id="rId22"/>
    <p:sldId id="346" r:id="rId23"/>
    <p:sldId id="347" r:id="rId24"/>
    <p:sldId id="348" r:id="rId25"/>
    <p:sldId id="349" r:id="rId26"/>
    <p:sldId id="350" r:id="rId27"/>
    <p:sldId id="351" r:id="rId28"/>
    <p:sldId id="352" r:id="rId29"/>
    <p:sldId id="353" r:id="rId30"/>
    <p:sldId id="354" r:id="rId31"/>
    <p:sldId id="355" r:id="rId32"/>
    <p:sldId id="356" r:id="rId33"/>
    <p:sldId id="357" r:id="rId34"/>
    <p:sldId id="358" r:id="rId35"/>
    <p:sldId id="359" r:id="rId36"/>
    <p:sldId id="360" r:id="rId37"/>
    <p:sldId id="361" r:id="rId38"/>
    <p:sldId id="362" r:id="rId39"/>
    <p:sldId id="363" r:id="rId40"/>
    <p:sldId id="364" r:id="rId41"/>
    <p:sldId id="365" r:id="rId42"/>
    <p:sldId id="366" r:id="rId43"/>
    <p:sldId id="367" r:id="rId44"/>
    <p:sldId id="369" r:id="rId45"/>
    <p:sldId id="370" r:id="rId46"/>
    <p:sldId id="371" r:id="rId47"/>
    <p:sldId id="372" r:id="rId48"/>
    <p:sldId id="373" r:id="rId49"/>
    <p:sldId id="374" r:id="rId50"/>
    <p:sldId id="376" r:id="rId51"/>
    <p:sldId id="377" r:id="rId52"/>
    <p:sldId id="378" r:id="rId53"/>
    <p:sldId id="379" r:id="rId54"/>
    <p:sldId id="380" r:id="rId55"/>
    <p:sldId id="381" r:id="rId56"/>
    <p:sldId id="382" r:id="rId57"/>
    <p:sldId id="383" r:id="rId58"/>
    <p:sldId id="384" r:id="rId59"/>
    <p:sldId id="388" r:id="rId60"/>
    <p:sldId id="389" r:id="rId61"/>
    <p:sldId id="390" r:id="rId62"/>
    <p:sldId id="392" r:id="rId63"/>
    <p:sldId id="393" r:id="rId64"/>
    <p:sldId id="396" r:id="rId65"/>
    <p:sldId id="397" r:id="rId66"/>
    <p:sldId id="399" r:id="rId67"/>
    <p:sldId id="400" r:id="rId68"/>
    <p:sldId id="401" r:id="rId69"/>
    <p:sldId id="405" r:id="rId70"/>
    <p:sldId id="406" r:id="rId71"/>
    <p:sldId id="407" r:id="rId72"/>
    <p:sldId id="408" r:id="rId73"/>
    <p:sldId id="409" r:id="rId74"/>
    <p:sldId id="410" r:id="rId75"/>
    <p:sldId id="411" r:id="rId76"/>
    <p:sldId id="412" r:id="rId77"/>
    <p:sldId id="413" r:id="rId78"/>
    <p:sldId id="414" r:id="rId79"/>
    <p:sldId id="415" r:id="rId80"/>
    <p:sldId id="416" r:id="rId81"/>
    <p:sldId id="417" r:id="rId82"/>
    <p:sldId id="418" r:id="rId83"/>
    <p:sldId id="419" r:id="rId84"/>
    <p:sldId id="420" r:id="rId85"/>
    <p:sldId id="421" r:id="rId86"/>
    <p:sldId id="422" r:id="rId87"/>
    <p:sldId id="423" r:id="rId88"/>
    <p:sldId id="424" r:id="rId89"/>
    <p:sldId id="425" r:id="rId90"/>
    <p:sldId id="426" r:id="rId91"/>
    <p:sldId id="427" r:id="rId92"/>
    <p:sldId id="428" r:id="rId93"/>
    <p:sldId id="429" r:id="rId94"/>
    <p:sldId id="430" r:id="rId95"/>
    <p:sldId id="431" r:id="rId96"/>
    <p:sldId id="432" r:id="rId97"/>
    <p:sldId id="433" r:id="rId98"/>
    <p:sldId id="434" r:id="rId99"/>
    <p:sldId id="435" r:id="rId100"/>
    <p:sldId id="436" r:id="rId101"/>
    <p:sldId id="437" r:id="rId102"/>
    <p:sldId id="438" r:id="rId103"/>
    <p:sldId id="439" r:id="rId104"/>
    <p:sldId id="440" r:id="rId105"/>
    <p:sldId id="441" r:id="rId106"/>
    <p:sldId id="442" r:id="rId107"/>
    <p:sldId id="443" r:id="rId108"/>
    <p:sldId id="445" r:id="rId109"/>
    <p:sldId id="447" r:id="rId110"/>
    <p:sldId id="448" r:id="rId111"/>
    <p:sldId id="449" r:id="rId112"/>
    <p:sldId id="450" r:id="rId113"/>
    <p:sldId id="451" r:id="rId114"/>
    <p:sldId id="452" r:id="rId115"/>
    <p:sldId id="453" r:id="rId116"/>
    <p:sldId id="454" r:id="rId117"/>
    <p:sldId id="455" r:id="rId118"/>
    <p:sldId id="457" r:id="rId119"/>
    <p:sldId id="458" r:id="rId120"/>
    <p:sldId id="459" r:id="rId121"/>
    <p:sldId id="460" r:id="rId122"/>
    <p:sldId id="461" r:id="rId123"/>
    <p:sldId id="462" r:id="rId124"/>
    <p:sldId id="463" r:id="rId125"/>
    <p:sldId id="464" r:id="rId126"/>
    <p:sldId id="469" r:id="rId127"/>
    <p:sldId id="470" r:id="rId128"/>
    <p:sldId id="471" r:id="rId129"/>
    <p:sldId id="472" r:id="rId130"/>
    <p:sldId id="473" r:id="rId131"/>
    <p:sldId id="474" r:id="rId132"/>
    <p:sldId id="475" r:id="rId133"/>
    <p:sldId id="476" r:id="rId134"/>
    <p:sldId id="478" r:id="rId135"/>
    <p:sldId id="481" r:id="rId136"/>
    <p:sldId id="483" r:id="rId137"/>
    <p:sldId id="485" r:id="rId138"/>
    <p:sldId id="486" r:id="rId139"/>
    <p:sldId id="487" r:id="rId140"/>
    <p:sldId id="488" r:id="rId141"/>
    <p:sldId id="490" r:id="rId142"/>
    <p:sldId id="492" r:id="rId143"/>
    <p:sldId id="497" r:id="rId144"/>
    <p:sldId id="498" r:id="rId145"/>
    <p:sldId id="499" r:id="rId146"/>
    <p:sldId id="500" r:id="rId147"/>
    <p:sldId id="501" r:id="rId148"/>
    <p:sldId id="502" r:id="rId149"/>
    <p:sldId id="503" r:id="rId150"/>
    <p:sldId id="504" r:id="rId151"/>
    <p:sldId id="506" r:id="rId152"/>
    <p:sldId id="507" r:id="rId153"/>
    <p:sldId id="508" r:id="rId154"/>
    <p:sldId id="509" r:id="rId155"/>
    <p:sldId id="510" r:id="rId156"/>
    <p:sldId id="511" r:id="rId157"/>
    <p:sldId id="521" r:id="rId158"/>
    <p:sldId id="522" r:id="rId159"/>
    <p:sldId id="523" r:id="rId160"/>
    <p:sldId id="524" r:id="rId161"/>
    <p:sldId id="526" r:id="rId162"/>
    <p:sldId id="528" r:id="rId163"/>
    <p:sldId id="529" r:id="rId164"/>
    <p:sldId id="530" r:id="rId165"/>
    <p:sldId id="531" r:id="rId166"/>
    <p:sldId id="532" r:id="rId167"/>
    <p:sldId id="533" r:id="rId168"/>
    <p:sldId id="534" r:id="rId169"/>
    <p:sldId id="535" r:id="rId170"/>
    <p:sldId id="536" r:id="rId171"/>
    <p:sldId id="537" r:id="rId172"/>
    <p:sldId id="539" r:id="rId173"/>
    <p:sldId id="540" r:id="rId174"/>
    <p:sldId id="541" r:id="rId175"/>
    <p:sldId id="542" r:id="rId176"/>
    <p:sldId id="543" r:id="rId177"/>
    <p:sldId id="544" r:id="rId178"/>
    <p:sldId id="546" r:id="rId179"/>
    <p:sldId id="547" r:id="rId180"/>
    <p:sldId id="548" r:id="rId181"/>
    <p:sldId id="549" r:id="rId182"/>
    <p:sldId id="550" r:id="rId183"/>
    <p:sldId id="551" r:id="rId184"/>
    <p:sldId id="552" r:id="rId185"/>
    <p:sldId id="553" r:id="rId186"/>
    <p:sldId id="554" r:id="rId187"/>
    <p:sldId id="556" r:id="rId188"/>
    <p:sldId id="557" r:id="rId189"/>
    <p:sldId id="558" r:id="rId190"/>
    <p:sldId id="559" r:id="rId191"/>
    <p:sldId id="560" r:id="rId192"/>
    <p:sldId id="561" r:id="rId193"/>
    <p:sldId id="562" r:id="rId194"/>
    <p:sldId id="563" r:id="rId195"/>
    <p:sldId id="564" r:id="rId196"/>
    <p:sldId id="565" r:id="rId197"/>
    <p:sldId id="566" r:id="rId198"/>
    <p:sldId id="567" r:id="rId199"/>
    <p:sldId id="568" r:id="rId200"/>
    <p:sldId id="569" r:id="rId201"/>
    <p:sldId id="571" r:id="rId202"/>
    <p:sldId id="573" r:id="rId203"/>
    <p:sldId id="574" r:id="rId204"/>
    <p:sldId id="575" r:id="rId205"/>
    <p:sldId id="578" r:id="rId206"/>
    <p:sldId id="579" r:id="rId207"/>
    <p:sldId id="580" r:id="rId208"/>
    <p:sldId id="583" r:id="rId209"/>
    <p:sldId id="587" r:id="rId210"/>
    <p:sldId id="588" r:id="rId211"/>
    <p:sldId id="589" r:id="rId212"/>
    <p:sldId id="590" r:id="rId213"/>
    <p:sldId id="591" r:id="rId214"/>
    <p:sldId id="592" r:id="rId215"/>
    <p:sldId id="593" r:id="rId2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41"/>
    <p:restoredTop sz="93060"/>
  </p:normalViewPr>
  <p:slideViewPr>
    <p:cSldViewPr snapToGrid="0" snapToObjects="1">
      <p:cViewPr varScale="1">
        <p:scale>
          <a:sx n="97" d="100"/>
          <a:sy n="97" d="100"/>
        </p:scale>
        <p:origin x="592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42" Type="http://schemas.openxmlformats.org/officeDocument/2006/relationships/slide" Target="slides/slide141.xml"/><Relationship Id="rId143" Type="http://schemas.openxmlformats.org/officeDocument/2006/relationships/slide" Target="slides/slide142.xml"/><Relationship Id="rId144" Type="http://schemas.openxmlformats.org/officeDocument/2006/relationships/slide" Target="slides/slide143.xml"/><Relationship Id="rId145" Type="http://schemas.openxmlformats.org/officeDocument/2006/relationships/slide" Target="slides/slide144.xml"/><Relationship Id="rId146" Type="http://schemas.openxmlformats.org/officeDocument/2006/relationships/slide" Target="slides/slide145.xml"/><Relationship Id="rId147" Type="http://schemas.openxmlformats.org/officeDocument/2006/relationships/slide" Target="slides/slide146.xml"/><Relationship Id="rId148" Type="http://schemas.openxmlformats.org/officeDocument/2006/relationships/slide" Target="slides/slide147.xml"/><Relationship Id="rId149" Type="http://schemas.openxmlformats.org/officeDocument/2006/relationships/slide" Target="slides/slide148.xml"/><Relationship Id="rId180" Type="http://schemas.openxmlformats.org/officeDocument/2006/relationships/slide" Target="slides/slide179.xml"/><Relationship Id="rId181" Type="http://schemas.openxmlformats.org/officeDocument/2006/relationships/slide" Target="slides/slide180.xml"/><Relationship Id="rId182" Type="http://schemas.openxmlformats.org/officeDocument/2006/relationships/slide" Target="slides/slide181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83" Type="http://schemas.openxmlformats.org/officeDocument/2006/relationships/slide" Target="slides/slide182.xml"/><Relationship Id="rId184" Type="http://schemas.openxmlformats.org/officeDocument/2006/relationships/slide" Target="slides/slide183.xml"/><Relationship Id="rId185" Type="http://schemas.openxmlformats.org/officeDocument/2006/relationships/slide" Target="slides/slide184.xml"/><Relationship Id="rId186" Type="http://schemas.openxmlformats.org/officeDocument/2006/relationships/slide" Target="slides/slide185.xml"/><Relationship Id="rId187" Type="http://schemas.openxmlformats.org/officeDocument/2006/relationships/slide" Target="slides/slide186.xml"/><Relationship Id="rId188" Type="http://schemas.openxmlformats.org/officeDocument/2006/relationships/slide" Target="slides/slide187.xml"/><Relationship Id="rId189" Type="http://schemas.openxmlformats.org/officeDocument/2006/relationships/slide" Target="slides/slide188.xml"/><Relationship Id="rId220" Type="http://schemas.openxmlformats.org/officeDocument/2006/relationships/theme" Target="theme/theme1.xml"/><Relationship Id="rId221" Type="http://schemas.openxmlformats.org/officeDocument/2006/relationships/tableStyles" Target="tableStyles.xml"/><Relationship Id="rId80" Type="http://schemas.openxmlformats.org/officeDocument/2006/relationships/slide" Target="slides/slide79.xml"/><Relationship Id="rId81" Type="http://schemas.openxmlformats.org/officeDocument/2006/relationships/slide" Target="slides/slide80.xml"/><Relationship Id="rId82" Type="http://schemas.openxmlformats.org/officeDocument/2006/relationships/slide" Target="slides/slide81.xml"/><Relationship Id="rId83" Type="http://schemas.openxmlformats.org/officeDocument/2006/relationships/slide" Target="slides/slide82.xml"/><Relationship Id="rId84" Type="http://schemas.openxmlformats.org/officeDocument/2006/relationships/slide" Target="slides/slide83.xml"/><Relationship Id="rId85" Type="http://schemas.openxmlformats.org/officeDocument/2006/relationships/slide" Target="slides/slide84.xml"/><Relationship Id="rId86" Type="http://schemas.openxmlformats.org/officeDocument/2006/relationships/slide" Target="slides/slide85.xml"/><Relationship Id="rId87" Type="http://schemas.openxmlformats.org/officeDocument/2006/relationships/slide" Target="slides/slide86.xml"/><Relationship Id="rId88" Type="http://schemas.openxmlformats.org/officeDocument/2006/relationships/slide" Target="slides/slide87.xml"/><Relationship Id="rId89" Type="http://schemas.openxmlformats.org/officeDocument/2006/relationships/slide" Target="slides/slide88.xml"/><Relationship Id="rId110" Type="http://schemas.openxmlformats.org/officeDocument/2006/relationships/slide" Target="slides/slide109.xml"/><Relationship Id="rId111" Type="http://schemas.openxmlformats.org/officeDocument/2006/relationships/slide" Target="slides/slide110.xml"/><Relationship Id="rId112" Type="http://schemas.openxmlformats.org/officeDocument/2006/relationships/slide" Target="slides/slide111.xml"/><Relationship Id="rId113" Type="http://schemas.openxmlformats.org/officeDocument/2006/relationships/slide" Target="slides/slide112.xml"/><Relationship Id="rId114" Type="http://schemas.openxmlformats.org/officeDocument/2006/relationships/slide" Target="slides/slide113.xml"/><Relationship Id="rId115" Type="http://schemas.openxmlformats.org/officeDocument/2006/relationships/slide" Target="slides/slide114.xml"/><Relationship Id="rId116" Type="http://schemas.openxmlformats.org/officeDocument/2006/relationships/slide" Target="slides/slide115.xml"/><Relationship Id="rId117" Type="http://schemas.openxmlformats.org/officeDocument/2006/relationships/slide" Target="slides/slide116.xml"/><Relationship Id="rId118" Type="http://schemas.openxmlformats.org/officeDocument/2006/relationships/slide" Target="slides/slide117.xml"/><Relationship Id="rId119" Type="http://schemas.openxmlformats.org/officeDocument/2006/relationships/slide" Target="slides/slide118.xml"/><Relationship Id="rId150" Type="http://schemas.openxmlformats.org/officeDocument/2006/relationships/slide" Target="slides/slide149.xml"/><Relationship Id="rId151" Type="http://schemas.openxmlformats.org/officeDocument/2006/relationships/slide" Target="slides/slide150.xml"/><Relationship Id="rId152" Type="http://schemas.openxmlformats.org/officeDocument/2006/relationships/slide" Target="slides/slide15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53" Type="http://schemas.openxmlformats.org/officeDocument/2006/relationships/slide" Target="slides/slide152.xml"/><Relationship Id="rId154" Type="http://schemas.openxmlformats.org/officeDocument/2006/relationships/slide" Target="slides/slide153.xml"/><Relationship Id="rId155" Type="http://schemas.openxmlformats.org/officeDocument/2006/relationships/slide" Target="slides/slide154.xml"/><Relationship Id="rId156" Type="http://schemas.openxmlformats.org/officeDocument/2006/relationships/slide" Target="slides/slide155.xml"/><Relationship Id="rId157" Type="http://schemas.openxmlformats.org/officeDocument/2006/relationships/slide" Target="slides/slide156.xml"/><Relationship Id="rId158" Type="http://schemas.openxmlformats.org/officeDocument/2006/relationships/slide" Target="slides/slide157.xml"/><Relationship Id="rId159" Type="http://schemas.openxmlformats.org/officeDocument/2006/relationships/slide" Target="slides/slide158.xml"/><Relationship Id="rId190" Type="http://schemas.openxmlformats.org/officeDocument/2006/relationships/slide" Target="slides/slide189.xml"/><Relationship Id="rId191" Type="http://schemas.openxmlformats.org/officeDocument/2006/relationships/slide" Target="slides/slide190.xml"/><Relationship Id="rId192" Type="http://schemas.openxmlformats.org/officeDocument/2006/relationships/slide" Target="slides/slide191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slide" Target="slides/slide53.xml"/><Relationship Id="rId55" Type="http://schemas.openxmlformats.org/officeDocument/2006/relationships/slide" Target="slides/slide54.xml"/><Relationship Id="rId56" Type="http://schemas.openxmlformats.org/officeDocument/2006/relationships/slide" Target="slides/slide55.xml"/><Relationship Id="rId57" Type="http://schemas.openxmlformats.org/officeDocument/2006/relationships/slide" Target="slides/slide56.xml"/><Relationship Id="rId58" Type="http://schemas.openxmlformats.org/officeDocument/2006/relationships/slide" Target="slides/slide57.xml"/><Relationship Id="rId59" Type="http://schemas.openxmlformats.org/officeDocument/2006/relationships/slide" Target="slides/slide58.xml"/><Relationship Id="rId193" Type="http://schemas.openxmlformats.org/officeDocument/2006/relationships/slide" Target="slides/slide192.xml"/><Relationship Id="rId194" Type="http://schemas.openxmlformats.org/officeDocument/2006/relationships/slide" Target="slides/slide193.xml"/><Relationship Id="rId195" Type="http://schemas.openxmlformats.org/officeDocument/2006/relationships/slide" Target="slides/slide194.xml"/><Relationship Id="rId196" Type="http://schemas.openxmlformats.org/officeDocument/2006/relationships/slide" Target="slides/slide195.xml"/><Relationship Id="rId197" Type="http://schemas.openxmlformats.org/officeDocument/2006/relationships/slide" Target="slides/slide196.xml"/><Relationship Id="rId198" Type="http://schemas.openxmlformats.org/officeDocument/2006/relationships/slide" Target="slides/slide197.xml"/><Relationship Id="rId199" Type="http://schemas.openxmlformats.org/officeDocument/2006/relationships/slide" Target="slides/slide198.xml"/><Relationship Id="rId90" Type="http://schemas.openxmlformats.org/officeDocument/2006/relationships/slide" Target="slides/slide89.xml"/><Relationship Id="rId91" Type="http://schemas.openxmlformats.org/officeDocument/2006/relationships/slide" Target="slides/slide90.xml"/><Relationship Id="rId92" Type="http://schemas.openxmlformats.org/officeDocument/2006/relationships/slide" Target="slides/slide91.xml"/><Relationship Id="rId93" Type="http://schemas.openxmlformats.org/officeDocument/2006/relationships/slide" Target="slides/slide92.xml"/><Relationship Id="rId94" Type="http://schemas.openxmlformats.org/officeDocument/2006/relationships/slide" Target="slides/slide93.xml"/><Relationship Id="rId95" Type="http://schemas.openxmlformats.org/officeDocument/2006/relationships/slide" Target="slides/slide94.xml"/><Relationship Id="rId96" Type="http://schemas.openxmlformats.org/officeDocument/2006/relationships/slide" Target="slides/slide95.xml"/><Relationship Id="rId97" Type="http://schemas.openxmlformats.org/officeDocument/2006/relationships/slide" Target="slides/slide96.xml"/><Relationship Id="rId98" Type="http://schemas.openxmlformats.org/officeDocument/2006/relationships/slide" Target="slides/slide97.xml"/><Relationship Id="rId99" Type="http://schemas.openxmlformats.org/officeDocument/2006/relationships/slide" Target="slides/slide98.xml"/><Relationship Id="rId120" Type="http://schemas.openxmlformats.org/officeDocument/2006/relationships/slide" Target="slides/slide119.xml"/><Relationship Id="rId121" Type="http://schemas.openxmlformats.org/officeDocument/2006/relationships/slide" Target="slides/slide120.xml"/><Relationship Id="rId122" Type="http://schemas.openxmlformats.org/officeDocument/2006/relationships/slide" Target="slides/slide121.xml"/><Relationship Id="rId123" Type="http://schemas.openxmlformats.org/officeDocument/2006/relationships/slide" Target="slides/slide122.xml"/><Relationship Id="rId124" Type="http://schemas.openxmlformats.org/officeDocument/2006/relationships/slide" Target="slides/slide123.xml"/><Relationship Id="rId125" Type="http://schemas.openxmlformats.org/officeDocument/2006/relationships/slide" Target="slides/slide124.xml"/><Relationship Id="rId126" Type="http://schemas.openxmlformats.org/officeDocument/2006/relationships/slide" Target="slides/slide125.xml"/><Relationship Id="rId127" Type="http://schemas.openxmlformats.org/officeDocument/2006/relationships/slide" Target="slides/slide126.xml"/><Relationship Id="rId128" Type="http://schemas.openxmlformats.org/officeDocument/2006/relationships/slide" Target="slides/slide127.xml"/><Relationship Id="rId129" Type="http://schemas.openxmlformats.org/officeDocument/2006/relationships/slide" Target="slides/slide128.xml"/><Relationship Id="rId160" Type="http://schemas.openxmlformats.org/officeDocument/2006/relationships/slide" Target="slides/slide159.xml"/><Relationship Id="rId161" Type="http://schemas.openxmlformats.org/officeDocument/2006/relationships/slide" Target="slides/slide160.xml"/><Relationship Id="rId162" Type="http://schemas.openxmlformats.org/officeDocument/2006/relationships/slide" Target="slides/slide161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63" Type="http://schemas.openxmlformats.org/officeDocument/2006/relationships/slide" Target="slides/slide162.xml"/><Relationship Id="rId164" Type="http://schemas.openxmlformats.org/officeDocument/2006/relationships/slide" Target="slides/slide163.xml"/><Relationship Id="rId165" Type="http://schemas.openxmlformats.org/officeDocument/2006/relationships/slide" Target="slides/slide164.xml"/><Relationship Id="rId166" Type="http://schemas.openxmlformats.org/officeDocument/2006/relationships/slide" Target="slides/slide165.xml"/><Relationship Id="rId167" Type="http://schemas.openxmlformats.org/officeDocument/2006/relationships/slide" Target="slides/slide166.xml"/><Relationship Id="rId168" Type="http://schemas.openxmlformats.org/officeDocument/2006/relationships/slide" Target="slides/slide167.xml"/><Relationship Id="rId169" Type="http://schemas.openxmlformats.org/officeDocument/2006/relationships/slide" Target="slides/slide168.xml"/><Relationship Id="rId200" Type="http://schemas.openxmlformats.org/officeDocument/2006/relationships/slide" Target="slides/slide199.xml"/><Relationship Id="rId201" Type="http://schemas.openxmlformats.org/officeDocument/2006/relationships/slide" Target="slides/slide200.xml"/><Relationship Id="rId202" Type="http://schemas.openxmlformats.org/officeDocument/2006/relationships/slide" Target="slides/slide201.xml"/><Relationship Id="rId203" Type="http://schemas.openxmlformats.org/officeDocument/2006/relationships/slide" Target="slides/slide202.xml"/><Relationship Id="rId60" Type="http://schemas.openxmlformats.org/officeDocument/2006/relationships/slide" Target="slides/slide59.xml"/><Relationship Id="rId61" Type="http://schemas.openxmlformats.org/officeDocument/2006/relationships/slide" Target="slides/slide60.xml"/><Relationship Id="rId62" Type="http://schemas.openxmlformats.org/officeDocument/2006/relationships/slide" Target="slides/slide61.xml"/><Relationship Id="rId63" Type="http://schemas.openxmlformats.org/officeDocument/2006/relationships/slide" Target="slides/slide62.xml"/><Relationship Id="rId64" Type="http://schemas.openxmlformats.org/officeDocument/2006/relationships/slide" Target="slides/slide63.xml"/><Relationship Id="rId65" Type="http://schemas.openxmlformats.org/officeDocument/2006/relationships/slide" Target="slides/slide64.xml"/><Relationship Id="rId66" Type="http://schemas.openxmlformats.org/officeDocument/2006/relationships/slide" Target="slides/slide65.xml"/><Relationship Id="rId67" Type="http://schemas.openxmlformats.org/officeDocument/2006/relationships/slide" Target="slides/slide66.xml"/><Relationship Id="rId68" Type="http://schemas.openxmlformats.org/officeDocument/2006/relationships/slide" Target="slides/slide67.xml"/><Relationship Id="rId69" Type="http://schemas.openxmlformats.org/officeDocument/2006/relationships/slide" Target="slides/slide68.xml"/><Relationship Id="rId204" Type="http://schemas.openxmlformats.org/officeDocument/2006/relationships/slide" Target="slides/slide203.xml"/><Relationship Id="rId205" Type="http://schemas.openxmlformats.org/officeDocument/2006/relationships/slide" Target="slides/slide204.xml"/><Relationship Id="rId206" Type="http://schemas.openxmlformats.org/officeDocument/2006/relationships/slide" Target="slides/slide205.xml"/><Relationship Id="rId207" Type="http://schemas.openxmlformats.org/officeDocument/2006/relationships/slide" Target="slides/slide206.xml"/><Relationship Id="rId208" Type="http://schemas.openxmlformats.org/officeDocument/2006/relationships/slide" Target="slides/slide207.xml"/><Relationship Id="rId209" Type="http://schemas.openxmlformats.org/officeDocument/2006/relationships/slide" Target="slides/slide208.xml"/><Relationship Id="rId130" Type="http://schemas.openxmlformats.org/officeDocument/2006/relationships/slide" Target="slides/slide129.xml"/><Relationship Id="rId131" Type="http://schemas.openxmlformats.org/officeDocument/2006/relationships/slide" Target="slides/slide130.xml"/><Relationship Id="rId132" Type="http://schemas.openxmlformats.org/officeDocument/2006/relationships/slide" Target="slides/slide131.xml"/><Relationship Id="rId133" Type="http://schemas.openxmlformats.org/officeDocument/2006/relationships/slide" Target="slides/slide132.xml"/><Relationship Id="rId134" Type="http://schemas.openxmlformats.org/officeDocument/2006/relationships/slide" Target="slides/slide133.xml"/><Relationship Id="rId135" Type="http://schemas.openxmlformats.org/officeDocument/2006/relationships/slide" Target="slides/slide134.xml"/><Relationship Id="rId136" Type="http://schemas.openxmlformats.org/officeDocument/2006/relationships/slide" Target="slides/slide135.xml"/><Relationship Id="rId137" Type="http://schemas.openxmlformats.org/officeDocument/2006/relationships/slide" Target="slides/slide136.xml"/><Relationship Id="rId138" Type="http://schemas.openxmlformats.org/officeDocument/2006/relationships/slide" Target="slides/slide137.xml"/><Relationship Id="rId139" Type="http://schemas.openxmlformats.org/officeDocument/2006/relationships/slide" Target="slides/slide138.xml"/><Relationship Id="rId170" Type="http://schemas.openxmlformats.org/officeDocument/2006/relationships/slide" Target="slides/slide169.xml"/><Relationship Id="rId171" Type="http://schemas.openxmlformats.org/officeDocument/2006/relationships/slide" Target="slides/slide170.xml"/><Relationship Id="rId172" Type="http://schemas.openxmlformats.org/officeDocument/2006/relationships/slide" Target="slides/slide171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173" Type="http://schemas.openxmlformats.org/officeDocument/2006/relationships/slide" Target="slides/slide172.xml"/><Relationship Id="rId174" Type="http://schemas.openxmlformats.org/officeDocument/2006/relationships/slide" Target="slides/slide173.xml"/><Relationship Id="rId175" Type="http://schemas.openxmlformats.org/officeDocument/2006/relationships/slide" Target="slides/slide174.xml"/><Relationship Id="rId176" Type="http://schemas.openxmlformats.org/officeDocument/2006/relationships/slide" Target="slides/slide175.xml"/><Relationship Id="rId177" Type="http://schemas.openxmlformats.org/officeDocument/2006/relationships/slide" Target="slides/slide176.xml"/><Relationship Id="rId178" Type="http://schemas.openxmlformats.org/officeDocument/2006/relationships/slide" Target="slides/slide177.xml"/><Relationship Id="rId179" Type="http://schemas.openxmlformats.org/officeDocument/2006/relationships/slide" Target="slides/slide178.xml"/><Relationship Id="rId210" Type="http://schemas.openxmlformats.org/officeDocument/2006/relationships/slide" Target="slides/slide209.xml"/><Relationship Id="rId211" Type="http://schemas.openxmlformats.org/officeDocument/2006/relationships/slide" Target="slides/slide210.xml"/><Relationship Id="rId212" Type="http://schemas.openxmlformats.org/officeDocument/2006/relationships/slide" Target="slides/slide211.xml"/><Relationship Id="rId213" Type="http://schemas.openxmlformats.org/officeDocument/2006/relationships/slide" Target="slides/slide212.xml"/><Relationship Id="rId70" Type="http://schemas.openxmlformats.org/officeDocument/2006/relationships/slide" Target="slides/slide69.xml"/><Relationship Id="rId71" Type="http://schemas.openxmlformats.org/officeDocument/2006/relationships/slide" Target="slides/slide70.xml"/><Relationship Id="rId72" Type="http://schemas.openxmlformats.org/officeDocument/2006/relationships/slide" Target="slides/slide71.xml"/><Relationship Id="rId73" Type="http://schemas.openxmlformats.org/officeDocument/2006/relationships/slide" Target="slides/slide72.xml"/><Relationship Id="rId74" Type="http://schemas.openxmlformats.org/officeDocument/2006/relationships/slide" Target="slides/slide73.xml"/><Relationship Id="rId75" Type="http://schemas.openxmlformats.org/officeDocument/2006/relationships/slide" Target="slides/slide74.xml"/><Relationship Id="rId76" Type="http://schemas.openxmlformats.org/officeDocument/2006/relationships/slide" Target="slides/slide75.xml"/><Relationship Id="rId77" Type="http://schemas.openxmlformats.org/officeDocument/2006/relationships/slide" Target="slides/slide76.xml"/><Relationship Id="rId78" Type="http://schemas.openxmlformats.org/officeDocument/2006/relationships/slide" Target="slides/slide77.xml"/><Relationship Id="rId79" Type="http://schemas.openxmlformats.org/officeDocument/2006/relationships/slide" Target="slides/slide78.xml"/><Relationship Id="rId214" Type="http://schemas.openxmlformats.org/officeDocument/2006/relationships/slide" Target="slides/slide213.xml"/><Relationship Id="rId215" Type="http://schemas.openxmlformats.org/officeDocument/2006/relationships/slide" Target="slides/slide214.xml"/><Relationship Id="rId216" Type="http://schemas.openxmlformats.org/officeDocument/2006/relationships/slide" Target="slides/slide215.xml"/><Relationship Id="rId217" Type="http://schemas.openxmlformats.org/officeDocument/2006/relationships/notesMaster" Target="notesMasters/notesMaster1.xml"/><Relationship Id="rId218" Type="http://schemas.openxmlformats.org/officeDocument/2006/relationships/presProps" Target="presProps.xml"/><Relationship Id="rId21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100" Type="http://schemas.openxmlformats.org/officeDocument/2006/relationships/slide" Target="slides/slide99.xml"/><Relationship Id="rId101" Type="http://schemas.openxmlformats.org/officeDocument/2006/relationships/slide" Target="slides/slide100.xml"/><Relationship Id="rId102" Type="http://schemas.openxmlformats.org/officeDocument/2006/relationships/slide" Target="slides/slide101.xml"/><Relationship Id="rId103" Type="http://schemas.openxmlformats.org/officeDocument/2006/relationships/slide" Target="slides/slide102.xml"/><Relationship Id="rId104" Type="http://schemas.openxmlformats.org/officeDocument/2006/relationships/slide" Target="slides/slide103.xml"/><Relationship Id="rId105" Type="http://schemas.openxmlformats.org/officeDocument/2006/relationships/slide" Target="slides/slide104.xml"/><Relationship Id="rId106" Type="http://schemas.openxmlformats.org/officeDocument/2006/relationships/slide" Target="slides/slide105.xml"/><Relationship Id="rId107" Type="http://schemas.openxmlformats.org/officeDocument/2006/relationships/slide" Target="slides/slide106.xml"/><Relationship Id="rId108" Type="http://schemas.openxmlformats.org/officeDocument/2006/relationships/slide" Target="slides/slide107.xml"/><Relationship Id="rId109" Type="http://schemas.openxmlformats.org/officeDocument/2006/relationships/slide" Target="slides/slide108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40" Type="http://schemas.openxmlformats.org/officeDocument/2006/relationships/slide" Target="slides/slide139.xml"/><Relationship Id="rId141" Type="http://schemas.openxmlformats.org/officeDocument/2006/relationships/slide" Target="slides/slide14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Relationship Id="rId2" Type="http://schemas.openxmlformats.org/officeDocument/2006/relationships/image" Target="../media/image2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Relationship Id="rId2" Type="http://schemas.openxmlformats.org/officeDocument/2006/relationships/image" Target="../media/image3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Relationship Id="rId2" Type="http://schemas.openxmlformats.org/officeDocument/2006/relationships/image" Target="../media/image33.emf"/><Relationship Id="rId3" Type="http://schemas.openxmlformats.org/officeDocument/2006/relationships/image" Target="../media/image3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Relationship Id="rId2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Relationship Id="rId2" Type="http://schemas.openxmlformats.org/officeDocument/2006/relationships/image" Target="../media/image3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Relationship Id="rId2" Type="http://schemas.openxmlformats.org/officeDocument/2006/relationships/image" Target="../media/image4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Relationship Id="rId2" Type="http://schemas.openxmlformats.org/officeDocument/2006/relationships/image" Target="../media/image6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Relationship Id="rId2" Type="http://schemas.openxmlformats.org/officeDocument/2006/relationships/image" Target="../media/image11.emf"/><Relationship Id="rId3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Relationship Id="rId2" Type="http://schemas.openxmlformats.org/officeDocument/2006/relationships/image" Target="../media/image1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Relationship Id="rId2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B187C-2260-9442-BC8D-A08B4E9D01CA}" type="datetimeFigureOut">
              <a:rPr lang="en-US" smtClean="0"/>
              <a:t>8/21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6E4857-65C7-7D47-8DE9-001E6FF8AB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0433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0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8.xml"/></Relationships>
</file>

<file path=ppt/notesSlides/_rels/notesSlide10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9.xml"/></Relationships>
</file>

<file path=ppt/notesSlides/_rels/notesSlide10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0.xml"/></Relationships>
</file>

<file path=ppt/notesSlides/_rels/notesSlide10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1.xml"/></Relationships>
</file>

<file path=ppt/notesSlides/_rels/notesSlide10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2.xml"/></Relationships>
</file>

<file path=ppt/notesSlides/_rels/notesSlide10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3.xml"/></Relationships>
</file>

<file path=ppt/notesSlides/_rels/notesSlide10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4.xml"/></Relationships>
</file>

<file path=ppt/notesSlides/_rels/notesSlide10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5.xml"/></Relationships>
</file>

<file path=ppt/notesSlides/_rels/notesSlide10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6.xml"/></Relationships>
</file>

<file path=ppt/notesSlides/_rels/notesSlide10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7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8.xml"/></Relationships>
</file>

<file path=ppt/notesSlides/_rels/notesSlide1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9.xml"/></Relationships>
</file>

<file path=ppt/notesSlides/_rels/notesSlide1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0.xml"/></Relationships>
</file>

<file path=ppt/notesSlides/_rels/notesSlide1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1.xml"/></Relationships>
</file>

<file path=ppt/notesSlides/_rels/notesSlide1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2.xml"/></Relationships>
</file>

<file path=ppt/notesSlides/_rels/notesSlide1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3.xml"/></Relationships>
</file>

<file path=ppt/notesSlides/_rels/notesSlide1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4.xml"/></Relationships>
</file>

<file path=ppt/notesSlides/_rels/notesSlide1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5.xml"/></Relationships>
</file>

<file path=ppt/notesSlides/_rels/notesSlide1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6.xml"/></Relationships>
</file>

<file path=ppt/notesSlides/_rels/notesSlide1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7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8.xml"/></Relationships>
</file>

<file path=ppt/notesSlides/_rels/notesSlide1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9.xml"/></Relationships>
</file>

<file path=ppt/notesSlides/_rels/notesSlide1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0.xml"/></Relationships>
</file>

<file path=ppt/notesSlides/_rels/notesSlide1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1.xml"/></Relationships>
</file>

<file path=ppt/notesSlides/_rels/notesSlide1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2.xml"/></Relationships>
</file>

<file path=ppt/notesSlides/_rels/notesSlide1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3.xml"/></Relationships>
</file>

<file path=ppt/notesSlides/_rels/notesSlide1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4.xml"/></Relationships>
</file>

<file path=ppt/notesSlides/_rels/notesSlide1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5.xml"/></Relationships>
</file>

<file path=ppt/notesSlides/_rels/notesSlide1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6.xml"/></Relationships>
</file>

<file path=ppt/notesSlides/_rels/notesSlide1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7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8.xml"/></Relationships>
</file>

<file path=ppt/notesSlides/_rels/notesSlide1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9.xml"/></Relationships>
</file>

<file path=ppt/notesSlides/_rels/notesSlide1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0.xml"/></Relationships>
</file>

<file path=ppt/notesSlides/_rels/notesSlide1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2.xml"/></Relationships>
</file>

<file path=ppt/notesSlides/_rels/notesSlide1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3.xml"/></Relationships>
</file>

<file path=ppt/notesSlides/_rels/notesSlide1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4.xml"/></Relationships>
</file>

<file path=ppt/notesSlides/_rels/notesSlide1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5.xml"/></Relationships>
</file>

<file path=ppt/notesSlides/_rels/notesSlide13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6.xml"/></Relationships>
</file>

<file path=ppt/notesSlides/_rels/notesSlide13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7.xml"/></Relationships>
</file>

<file path=ppt/notesSlides/_rels/notesSlide13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8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4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9.xml"/></Relationships>
</file>

<file path=ppt/notesSlides/_rels/notesSlide14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0.xml"/></Relationships>
</file>

<file path=ppt/notesSlides/_rels/notesSlide14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1.xml"/></Relationships>
</file>

<file path=ppt/notesSlides/_rels/notesSlide14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2.xml"/></Relationships>
</file>

<file path=ppt/notesSlides/_rels/notesSlide14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3.xml"/></Relationships>
</file>

<file path=ppt/notesSlides/_rels/notesSlide14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4.xml"/></Relationships>
</file>

<file path=ppt/notesSlides/_rels/notesSlide14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5.xml"/></Relationships>
</file>

<file path=ppt/notesSlides/_rels/notesSlide14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6.xml"/></Relationships>
</file>

<file path=ppt/notesSlides/_rels/notesSlide14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8.xml"/></Relationships>
</file>

<file path=ppt/notesSlides/_rels/notesSlide14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9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5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0.xml"/></Relationships>
</file>

<file path=ppt/notesSlides/_rels/notesSlide15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1.xml"/></Relationships>
</file>

<file path=ppt/notesSlides/_rels/notesSlide15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2.xml"/></Relationships>
</file>

<file path=ppt/notesSlides/_rels/notesSlide15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3.xml"/></Relationships>
</file>

<file path=ppt/notesSlides/_rels/notesSlide15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5.xml"/></Relationships>
</file>

<file path=ppt/notesSlides/_rels/notesSlide15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6.xml"/></Relationships>
</file>

<file path=ppt/notesSlides/_rels/notesSlide15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7.xml"/></Relationships>
</file>

<file path=ppt/notesSlides/_rels/notesSlide15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8.xml"/></Relationships>
</file>

<file path=ppt/notesSlides/_rels/notesSlide15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9.xml"/></Relationships>
</file>

<file path=ppt/notesSlides/_rels/notesSlide15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0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6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1.xml"/></Relationships>
</file>

<file path=ppt/notesSlides/_rels/notesSlide16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2.xml"/></Relationships>
</file>

<file path=ppt/notesSlides/_rels/notesSlide16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3.xml"/></Relationships>
</file>

<file path=ppt/notesSlides/_rels/notesSlide16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4.xml"/></Relationships>
</file>

<file path=ppt/notesSlides/_rels/notesSlide16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5.xml"/></Relationships>
</file>

<file path=ppt/notesSlides/_rels/notesSlide16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6.xml"/></Relationships>
</file>

<file path=ppt/notesSlides/_rels/notesSlide16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7.xml"/></Relationships>
</file>

<file path=ppt/notesSlides/_rels/notesSlide16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8.xml"/></Relationships>
</file>

<file path=ppt/notesSlides/_rels/notesSlide16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9.xml"/></Relationships>
</file>

<file path=ppt/notesSlides/_rels/notesSlide16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0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7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1.xml"/></Relationships>
</file>

<file path=ppt/notesSlides/_rels/notesSlide17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2.xml"/></Relationships>
</file>

<file path=ppt/notesSlides/_rels/notesSlide17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3.xml"/></Relationships>
</file>

<file path=ppt/notesSlides/_rels/notesSlide17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4.xml"/></Relationships>
</file>

<file path=ppt/notesSlides/_rels/notesSlide17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5.xml"/></Relationships>
</file>

<file path=ppt/notesSlides/_rels/notesSlide17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6.xml"/></Relationships>
</file>

<file path=ppt/notesSlides/_rels/notesSlide17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7.xml"/></Relationships>
</file>

<file path=ppt/notesSlides/_rels/notesSlide17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8.xml"/></Relationships>
</file>

<file path=ppt/notesSlides/_rels/notesSlide17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9.xml"/></Relationships>
</file>

<file path=ppt/notesSlides/_rels/notesSlide17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1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8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2.xml"/></Relationships>
</file>

<file path=ppt/notesSlides/_rels/notesSlide18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3.xml"/></Relationships>
</file>

<file path=ppt/notesSlides/_rels/notesSlide18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4.xml"/></Relationships>
</file>

<file path=ppt/notesSlides/_rels/notesSlide18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5.xml"/></Relationships>
</file>

<file path=ppt/notesSlides/_rels/notesSlide18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7.xml"/></Relationships>
</file>

<file path=ppt/notesSlides/_rels/notesSlide18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8.xml"/></Relationships>
</file>

<file path=ppt/notesSlides/_rels/notesSlide18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9.xml"/></Relationships>
</file>

<file path=ppt/notesSlides/_rels/notesSlide18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1.xml"/></Relationships>
</file>

<file path=ppt/notesSlides/_rels/notesSlide18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2.xml"/></Relationships>
</file>

<file path=ppt/notesSlides/_rels/notesSlide18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3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9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4.xml"/></Relationships>
</file>

<file path=ppt/notesSlides/_rels/notesSlide19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5.xml"/></Relationships>
</file>

<file path=ppt/notesSlides/_rels/notesSlide19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6.xml"/></Relationships>
</file>

<file path=ppt/notesSlides/_rels/notesSlide19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7.xml"/></Relationships>
</file>

<file path=ppt/notesSlides/_rels/notesSlide19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8.xml"/></Relationships>
</file>

<file path=ppt/notesSlides/_rels/notesSlide19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9.xml"/></Relationships>
</file>

<file path=ppt/notesSlides/_rels/notesSlide19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1.xml"/></Relationships>
</file>

<file path=ppt/notesSlides/_rels/notesSlide19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2.xml"/></Relationships>
</file>

<file path=ppt/notesSlides/_rels/notesSlide19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3.xml"/></Relationships>
</file>

<file path=ppt/notesSlides/_rels/notesSlide19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0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5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0.xml"/></Relationships>
</file>

<file path=ppt/notesSlides/_rels/notesSlide3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3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_rels/notesSlide3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4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5.xml"/></Relationships>
</file>

<file path=ppt/notesSlides/_rels/notesSlide4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6.xml"/></Relationships>
</file>

<file path=ppt/notesSlides/_rels/notesSlide4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7.xml"/></Relationships>
</file>

<file path=ppt/notesSlides/_rels/notesSlide4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8.xml"/></Relationships>
</file>

<file path=ppt/notesSlides/_rels/notesSlide4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9.xml"/></Relationships>
</file>

<file path=ppt/notesSlides/_rels/notesSlide4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0.xml"/></Relationships>
</file>

<file path=ppt/notesSlides/_rels/notesSlide4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1.xml"/></Relationships>
</file>

<file path=ppt/notesSlides/_rels/notesSlide4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2.xml"/></Relationships>
</file>

<file path=ppt/notesSlides/_rels/notesSlide4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4.xml"/></Relationships>
</file>

<file path=ppt/notesSlides/_rels/notesSlide4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5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6.xml"/></Relationships>
</file>

<file path=ppt/notesSlides/_rels/notesSlide5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8.xml"/></Relationships>
</file>

<file path=ppt/notesSlides/_rels/notesSlide5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9.xml"/></Relationships>
</file>

<file path=ppt/notesSlides/_rels/notesSlide5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0.xml"/></Relationships>
</file>

<file path=ppt/notesSlides/_rels/notesSlide5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1.xml"/></Relationships>
</file>

<file path=ppt/notesSlides/_rels/notesSlide5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2.xml"/></Relationships>
</file>

<file path=ppt/notesSlides/_rels/notesSlide5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3.xml"/></Relationships>
</file>

<file path=ppt/notesSlides/_rels/notesSlide5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4.xml"/></Relationships>
</file>

<file path=ppt/notesSlides/_rels/notesSlide5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5.xml"/></Relationships>
</file>

<file path=ppt/notesSlides/_rels/notesSlide5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6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7.xml"/></Relationships>
</file>

<file path=ppt/notesSlides/_rels/notesSlide6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8.xml"/></Relationships>
</file>

<file path=ppt/notesSlides/_rels/notesSlide6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9.xml"/></Relationships>
</file>

<file path=ppt/notesSlides/_rels/notesSlide6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1.xml"/></Relationships>
</file>

<file path=ppt/notesSlides/_rels/notesSlide6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2.xml"/></Relationships>
</file>

<file path=ppt/notesSlides/_rels/notesSlide6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3.xml"/></Relationships>
</file>

<file path=ppt/notesSlides/_rels/notesSlide6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4.xml"/></Relationships>
</file>

<file path=ppt/notesSlides/_rels/notesSlide6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5.xml"/></Relationships>
</file>

<file path=ppt/notesSlides/_rels/notesSlide6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6.xml"/></Relationships>
</file>

<file path=ppt/notesSlides/_rels/notesSlide6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7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8.xml"/></Relationships>
</file>

<file path=ppt/notesSlides/_rels/notesSlide7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9.xml"/></Relationships>
</file>

<file path=ppt/notesSlides/_rels/notesSlide7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0.xml"/></Relationships>
</file>

<file path=ppt/notesSlides/_rels/notesSlide7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1.xml"/></Relationships>
</file>

<file path=ppt/notesSlides/_rels/notesSlide7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2.xml"/></Relationships>
</file>

<file path=ppt/notesSlides/_rels/notesSlide7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3.xml"/></Relationships>
</file>

<file path=ppt/notesSlides/_rels/notesSlide7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4.xml"/></Relationships>
</file>

<file path=ppt/notesSlides/_rels/notesSlide7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5.xml"/></Relationships>
</file>

<file path=ppt/notesSlides/_rels/notesSlide7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6.xml"/></Relationships>
</file>

<file path=ppt/notesSlides/_rels/notesSlide7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8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8.xml"/></Relationships>
</file>

<file path=ppt/notesSlides/_rels/notesSlide8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9.xml"/></Relationships>
</file>

<file path=ppt/notesSlides/_rels/notesSlide8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0.xml"/></Relationships>
</file>

<file path=ppt/notesSlides/_rels/notesSlide8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1.xml"/></Relationships>
</file>

<file path=ppt/notesSlides/_rels/notesSlide8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2.xml"/></Relationships>
</file>

<file path=ppt/notesSlides/_rels/notesSlide8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3.xml"/></Relationships>
</file>

<file path=ppt/notesSlides/_rels/notesSlide8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4.xml"/></Relationships>
</file>

<file path=ppt/notesSlides/_rels/notesSlide8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5.xml"/></Relationships>
</file>

<file path=ppt/notesSlides/_rels/notesSlide8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6.xml"/></Relationships>
</file>

<file path=ppt/notesSlides/_rels/notesSlide8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7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9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8.xml"/></Relationships>
</file>

<file path=ppt/notesSlides/_rels/notesSlide9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9.xml"/></Relationships>
</file>

<file path=ppt/notesSlides/_rels/notesSlide9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0.xml"/></Relationships>
</file>

<file path=ppt/notesSlides/_rels/notesSlide9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1.xml"/></Relationships>
</file>

<file path=ppt/notesSlides/_rels/notesSlide9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2.xml"/></Relationships>
</file>

<file path=ppt/notesSlides/_rels/notesSlide9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3.xml"/></Relationships>
</file>

<file path=ppt/notesSlides/_rels/notesSlide9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4.xml"/></Relationships>
</file>

<file path=ppt/notesSlides/_rels/notesSlide9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5.xml"/></Relationships>
</file>

<file path=ppt/notesSlides/_rels/notesSlide9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6.xml"/></Relationships>
</file>

<file path=ppt/notesSlides/_rels/notesSlide9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2F86A19-8F1A-4D2C-8552-36FA62A213EA}" type="slidenum">
              <a:rPr lang="en-US"/>
              <a:pPr/>
              <a:t>3</a:t>
            </a:fld>
            <a:endParaRPr lang="en-US"/>
          </a:p>
        </p:txBody>
      </p:sp>
      <p:sp>
        <p:nvSpPr>
          <p:cNvPr id="30351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351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91798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B054CEA-0171-4D57-9E31-D5ED1E9BBB2E}" type="slidenum">
              <a:rPr lang="en-US"/>
              <a:pPr/>
              <a:t>12</a:t>
            </a:fld>
            <a:endParaRPr lang="en-US"/>
          </a:p>
        </p:txBody>
      </p:sp>
      <p:sp>
        <p:nvSpPr>
          <p:cNvPr id="3024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248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7021013"/>
      </p:ext>
    </p:extLst>
  </p:cSld>
  <p:clrMapOvr>
    <a:masterClrMapping/>
  </p:clrMapOvr>
</p:notes>
</file>

<file path=ppt/notesSlides/notesSlide1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C779246-2F54-49F5-B371-4EF07727C666}" type="slidenum">
              <a:rPr lang="en-US"/>
              <a:pPr/>
              <a:t>108</a:t>
            </a:fld>
            <a:endParaRPr lang="en-US"/>
          </a:p>
        </p:txBody>
      </p:sp>
      <p:sp>
        <p:nvSpPr>
          <p:cNvPr id="3205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0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002716"/>
      </p:ext>
    </p:extLst>
  </p:cSld>
  <p:clrMapOvr>
    <a:masterClrMapping/>
  </p:clrMapOvr>
</p:notes>
</file>

<file path=ppt/notesSlides/notesSlide10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06F7B6F-AD23-466B-8A13-E61AD9CF90B0}" type="slidenum">
              <a:rPr lang="en-US"/>
              <a:pPr/>
              <a:t>109</a:t>
            </a:fld>
            <a:endParaRPr lang="en-US"/>
          </a:p>
        </p:txBody>
      </p:sp>
      <p:sp>
        <p:nvSpPr>
          <p:cNvPr id="32071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071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1700846"/>
      </p:ext>
    </p:extLst>
  </p:cSld>
  <p:clrMapOvr>
    <a:masterClrMapping/>
  </p:clrMapOvr>
</p:notes>
</file>

<file path=ppt/notesSlides/notesSlide10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CB33D30-75A1-437B-A8C7-DF4151209F11}" type="slidenum">
              <a:rPr lang="en-US"/>
              <a:pPr/>
              <a:t>110</a:t>
            </a:fld>
            <a:endParaRPr lang="en-US"/>
          </a:p>
        </p:txBody>
      </p:sp>
      <p:sp>
        <p:nvSpPr>
          <p:cNvPr id="32092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092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121823"/>
      </p:ext>
    </p:extLst>
  </p:cSld>
  <p:clrMapOvr>
    <a:masterClrMapping/>
  </p:clrMapOvr>
</p:notes>
</file>

<file path=ppt/notesSlides/notesSlide10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F215B2E-FCC4-429F-BE61-BD653F81DED7}" type="slidenum">
              <a:rPr lang="en-US"/>
              <a:pPr/>
              <a:t>111</a:t>
            </a:fld>
            <a:endParaRPr lang="en-US"/>
          </a:p>
        </p:txBody>
      </p:sp>
      <p:sp>
        <p:nvSpPr>
          <p:cNvPr id="32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11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7032743"/>
      </p:ext>
    </p:extLst>
  </p:cSld>
  <p:clrMapOvr>
    <a:masterClrMapping/>
  </p:clrMapOvr>
</p:notes>
</file>

<file path=ppt/notesSlides/notesSlide10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7FEE879-FBB1-4FBB-90AD-BC90FD022A33}" type="slidenum">
              <a:rPr lang="en-US"/>
              <a:pPr/>
              <a:t>112</a:t>
            </a:fld>
            <a:endParaRPr lang="en-US"/>
          </a:p>
        </p:txBody>
      </p:sp>
      <p:sp>
        <p:nvSpPr>
          <p:cNvPr id="3213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133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3848588"/>
      </p:ext>
    </p:extLst>
  </p:cSld>
  <p:clrMapOvr>
    <a:masterClrMapping/>
  </p:clrMapOvr>
</p:notes>
</file>

<file path=ppt/notesSlides/notesSlide10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9CC23E0-AE84-48BD-8171-2D01D4C60023}" type="slidenum">
              <a:rPr lang="en-US"/>
              <a:pPr/>
              <a:t>113</a:t>
            </a:fld>
            <a:endParaRPr lang="en-US"/>
          </a:p>
        </p:txBody>
      </p:sp>
      <p:sp>
        <p:nvSpPr>
          <p:cNvPr id="32153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153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3938197"/>
      </p:ext>
    </p:extLst>
  </p:cSld>
  <p:clrMapOvr>
    <a:masterClrMapping/>
  </p:clrMapOvr>
</p:notes>
</file>

<file path=ppt/notesSlides/notesSlide10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8FDBDDB-849D-403B-92BA-92489BF8FD7A}" type="slidenum">
              <a:rPr lang="en-US"/>
              <a:pPr/>
              <a:t>114</a:t>
            </a:fld>
            <a:endParaRPr lang="en-US"/>
          </a:p>
        </p:txBody>
      </p:sp>
      <p:sp>
        <p:nvSpPr>
          <p:cNvPr id="3217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174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827459"/>
      </p:ext>
    </p:extLst>
  </p:cSld>
  <p:clrMapOvr>
    <a:masterClrMapping/>
  </p:clrMapOvr>
</p:notes>
</file>

<file path=ppt/notesSlides/notesSlide10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ED472C7-F3B9-4ABA-AC6B-18625B3861EA}" type="slidenum">
              <a:rPr lang="en-US"/>
              <a:pPr/>
              <a:t>115</a:t>
            </a:fld>
            <a:endParaRPr lang="en-US"/>
          </a:p>
        </p:txBody>
      </p:sp>
      <p:sp>
        <p:nvSpPr>
          <p:cNvPr id="32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194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0175710"/>
      </p:ext>
    </p:extLst>
  </p:cSld>
  <p:clrMapOvr>
    <a:masterClrMapping/>
  </p:clrMapOvr>
</p:notes>
</file>

<file path=ppt/notesSlides/notesSlide10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C7F0459-EE83-4A83-8B02-03335853587B}" type="slidenum">
              <a:rPr lang="en-US"/>
              <a:pPr/>
              <a:t>116</a:t>
            </a:fld>
            <a:endParaRPr lang="en-US"/>
          </a:p>
        </p:txBody>
      </p:sp>
      <p:sp>
        <p:nvSpPr>
          <p:cNvPr id="32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215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1252374"/>
      </p:ext>
    </p:extLst>
  </p:cSld>
  <p:clrMapOvr>
    <a:masterClrMapping/>
  </p:clrMapOvr>
</p:notes>
</file>

<file path=ppt/notesSlides/notesSlide10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EB5F112-7F63-4949-A682-51ED6A5479C1}" type="slidenum">
              <a:rPr lang="en-US"/>
              <a:pPr/>
              <a:t>117</a:t>
            </a:fld>
            <a:endParaRPr lang="en-US"/>
          </a:p>
        </p:txBody>
      </p:sp>
      <p:sp>
        <p:nvSpPr>
          <p:cNvPr id="3223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235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31009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AB2CD26-983B-4248-A7CC-185DB7E0D516}" type="slidenum">
              <a:rPr lang="en-US"/>
              <a:pPr/>
              <a:t>13</a:t>
            </a:fld>
            <a:endParaRPr lang="en-US"/>
          </a:p>
        </p:txBody>
      </p:sp>
      <p:sp>
        <p:nvSpPr>
          <p:cNvPr id="30208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208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951730"/>
      </p:ext>
    </p:extLst>
  </p:cSld>
  <p:clrMapOvr>
    <a:masterClrMapping/>
  </p:clrMapOvr>
</p:notes>
</file>

<file path=ppt/notesSlides/notesSlide1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CB0321A-86A1-4FB8-B3C8-893DD8874DA8}" type="slidenum">
              <a:rPr lang="en-US"/>
              <a:pPr/>
              <a:t>118</a:t>
            </a:fld>
            <a:endParaRPr lang="en-US"/>
          </a:p>
        </p:txBody>
      </p:sp>
      <p:sp>
        <p:nvSpPr>
          <p:cNvPr id="32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276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725280"/>
      </p:ext>
    </p:extLst>
  </p:cSld>
  <p:clrMapOvr>
    <a:masterClrMapping/>
  </p:clrMapOvr>
</p:notes>
</file>

<file path=ppt/notesSlides/notesSlide1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FA6FD2C-3552-4F1E-A8C2-7444978C9668}" type="slidenum">
              <a:rPr lang="en-US"/>
              <a:pPr/>
              <a:t>119</a:t>
            </a:fld>
            <a:endParaRPr lang="en-US"/>
          </a:p>
        </p:txBody>
      </p:sp>
      <p:sp>
        <p:nvSpPr>
          <p:cNvPr id="3229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296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6449235"/>
      </p:ext>
    </p:extLst>
  </p:cSld>
  <p:clrMapOvr>
    <a:masterClrMapping/>
  </p:clrMapOvr>
</p:notes>
</file>

<file path=ppt/notesSlides/notesSlide1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4E37049-1D1F-43B4-811A-B0B186174AEB}" type="slidenum">
              <a:rPr lang="en-US"/>
              <a:pPr/>
              <a:t>120</a:t>
            </a:fld>
            <a:endParaRPr lang="en-US"/>
          </a:p>
        </p:txBody>
      </p:sp>
      <p:sp>
        <p:nvSpPr>
          <p:cNvPr id="32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5600" y="1162050"/>
            <a:ext cx="6048375" cy="3403600"/>
          </a:xfrm>
          <a:ln/>
        </p:spPr>
      </p:sp>
      <p:sp>
        <p:nvSpPr>
          <p:cNvPr id="3231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48383" y="609699"/>
            <a:ext cx="5346527" cy="532932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4317345"/>
      </p:ext>
    </p:extLst>
  </p:cSld>
  <p:clrMapOvr>
    <a:masterClrMapping/>
  </p:clrMapOvr>
</p:notes>
</file>

<file path=ppt/notesSlides/notesSlide1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FAA97C0-1375-4A4B-BCA6-3DAFF5E1AF2C}" type="slidenum">
              <a:rPr lang="en-US"/>
              <a:pPr/>
              <a:t>121</a:t>
            </a:fld>
            <a:endParaRPr lang="en-US"/>
          </a:p>
        </p:txBody>
      </p:sp>
      <p:sp>
        <p:nvSpPr>
          <p:cNvPr id="3233794" name="Rectangle 2"/>
          <p:cNvSpPr>
            <a:spLocks noChangeArrowheads="1"/>
          </p:cNvSpPr>
          <p:nvPr/>
        </p:nvSpPr>
        <p:spPr bwMode="auto">
          <a:xfrm>
            <a:off x="3900417" y="10335"/>
            <a:ext cx="2990264" cy="4281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33795" name="Rectangle 3"/>
          <p:cNvSpPr>
            <a:spLocks noChangeArrowheads="1"/>
          </p:cNvSpPr>
          <p:nvPr/>
        </p:nvSpPr>
        <p:spPr bwMode="auto">
          <a:xfrm>
            <a:off x="3900417" y="8704072"/>
            <a:ext cx="2990264" cy="426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9035" tIns="0" rIns="19035" bIns="0" anchor="b"/>
          <a:lstStyle/>
          <a:p>
            <a:pPr algn="r" defTabSz="762000">
              <a:spcAft>
                <a:spcPct val="0"/>
              </a:spcAft>
              <a:buClrTx/>
              <a:buSzTx/>
              <a:buFontTx/>
              <a:buNone/>
            </a:pPr>
            <a:r>
              <a:rPr lang="en-US" sz="1000" i="1">
                <a:latin typeface="Times New Roman" pitchFamily="18" charset="0"/>
              </a:rPr>
              <a:t>4</a:t>
            </a:r>
          </a:p>
        </p:txBody>
      </p:sp>
      <p:sp>
        <p:nvSpPr>
          <p:cNvPr id="3233796" name="Rectangle 4"/>
          <p:cNvSpPr>
            <a:spLocks noChangeArrowheads="1"/>
          </p:cNvSpPr>
          <p:nvPr/>
        </p:nvSpPr>
        <p:spPr bwMode="auto">
          <a:xfrm>
            <a:off x="-32681" y="8704072"/>
            <a:ext cx="2988631" cy="426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33797" name="Rectangle 5"/>
          <p:cNvSpPr>
            <a:spLocks noChangeArrowheads="1"/>
          </p:cNvSpPr>
          <p:nvPr/>
        </p:nvSpPr>
        <p:spPr bwMode="auto">
          <a:xfrm>
            <a:off x="-32681" y="10335"/>
            <a:ext cx="2988631" cy="4281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33798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84200" y="763588"/>
            <a:ext cx="5691188" cy="3201987"/>
          </a:xfrm>
          <a:ln w="12700" cap="flat"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sp>
      <p:sp>
        <p:nvSpPr>
          <p:cNvPr id="3233799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915054" y="4341703"/>
            <a:ext cx="5024625" cy="4108452"/>
          </a:xfrm>
          <a:ln/>
          <a:extLst>
            <a:ext uri="{91240B29-F687-4F45-9708-019B960494DF}">
              <a14:hiddenLine xmlns:a14="http://schemas.microsoft.com/office/drawing/2010/main" w="12700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90415" tIns="44414" rIns="90415" bIns="44414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9053079"/>
      </p:ext>
    </p:extLst>
  </p:cSld>
  <p:clrMapOvr>
    <a:masterClrMapping/>
  </p:clrMapOvr>
</p:notes>
</file>

<file path=ppt/notesSlides/notesSlide1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0FF06F7-CDB6-4F8E-904E-00276CD541BF}" type="slidenum">
              <a:rPr lang="en-US"/>
              <a:pPr/>
              <a:t>122</a:t>
            </a:fld>
            <a:endParaRPr lang="en-US"/>
          </a:p>
        </p:txBody>
      </p:sp>
      <p:sp>
        <p:nvSpPr>
          <p:cNvPr id="32358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358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0038387"/>
      </p:ext>
    </p:extLst>
  </p:cSld>
  <p:clrMapOvr>
    <a:masterClrMapping/>
  </p:clrMapOvr>
</p:notes>
</file>

<file path=ppt/notesSlides/notesSlide1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FA16A7F-BC1B-418C-8A66-6BF1315FB3EE}" type="slidenum">
              <a:rPr lang="en-US"/>
              <a:pPr/>
              <a:t>123</a:t>
            </a:fld>
            <a:endParaRPr lang="en-US"/>
          </a:p>
        </p:txBody>
      </p:sp>
      <p:sp>
        <p:nvSpPr>
          <p:cNvPr id="32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378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4025271"/>
      </p:ext>
    </p:extLst>
  </p:cSld>
  <p:clrMapOvr>
    <a:masterClrMapping/>
  </p:clrMapOvr>
</p:notes>
</file>

<file path=ppt/notesSlides/notesSlide1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24DBD67-4E1A-4788-942F-0C1612D48A93}" type="slidenum">
              <a:rPr lang="en-US"/>
              <a:pPr/>
              <a:t>124</a:t>
            </a:fld>
            <a:endParaRPr lang="en-US"/>
          </a:p>
        </p:txBody>
      </p:sp>
      <p:sp>
        <p:nvSpPr>
          <p:cNvPr id="3239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399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3212424"/>
      </p:ext>
    </p:extLst>
  </p:cSld>
  <p:clrMapOvr>
    <a:masterClrMapping/>
  </p:clrMapOvr>
</p:notes>
</file>

<file path=ppt/notesSlides/notesSlide1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8B074CA-4C57-4B12-AEE0-F6905A9CB8FF}" type="slidenum">
              <a:rPr lang="en-US"/>
              <a:pPr/>
              <a:t>125</a:t>
            </a:fld>
            <a:endParaRPr lang="en-US"/>
          </a:p>
        </p:txBody>
      </p:sp>
      <p:sp>
        <p:nvSpPr>
          <p:cNvPr id="3241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419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9548456"/>
      </p:ext>
    </p:extLst>
  </p:cSld>
  <p:clrMapOvr>
    <a:masterClrMapping/>
  </p:clrMapOvr>
</p:notes>
</file>

<file path=ppt/notesSlides/notesSlide1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1EB06BF-530B-4DE2-8B36-D9F374A452AA}" type="slidenum">
              <a:rPr lang="en-US"/>
              <a:pPr/>
              <a:t>126</a:t>
            </a:fld>
            <a:endParaRPr lang="en-US"/>
          </a:p>
        </p:txBody>
      </p:sp>
      <p:sp>
        <p:nvSpPr>
          <p:cNvPr id="325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522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1737338"/>
      </p:ext>
    </p:extLst>
  </p:cSld>
  <p:clrMapOvr>
    <a:masterClrMapping/>
  </p:clrMapOvr>
</p:notes>
</file>

<file path=ppt/notesSlides/notesSlide1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B5C0F83-2AB6-42EF-B813-9A9D69C015E9}" type="slidenum">
              <a:rPr lang="en-US"/>
              <a:pPr/>
              <a:t>127</a:t>
            </a:fld>
            <a:endParaRPr lang="en-US"/>
          </a:p>
        </p:txBody>
      </p:sp>
      <p:sp>
        <p:nvSpPr>
          <p:cNvPr id="3254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542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67774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10ACD16-D245-419F-BC0B-CF9E280D9755}" type="slidenum">
              <a:rPr lang="en-US"/>
              <a:pPr/>
              <a:t>14</a:t>
            </a:fld>
            <a:endParaRPr lang="en-US"/>
          </a:p>
        </p:txBody>
      </p:sp>
      <p:sp>
        <p:nvSpPr>
          <p:cNvPr id="30228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58750" y="766763"/>
            <a:ext cx="7154863" cy="4025900"/>
          </a:xfrm>
          <a:ln/>
        </p:spPr>
      </p:sp>
      <p:sp>
        <p:nvSpPr>
          <p:cNvPr id="30228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8246130"/>
      </p:ext>
    </p:extLst>
  </p:cSld>
  <p:clrMapOvr>
    <a:masterClrMapping/>
  </p:clrMapOvr>
</p:notes>
</file>

<file path=ppt/notesSlides/notesSlide1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B5ADFD1-8B7A-4C44-9B20-088E1DF6C802}" type="slidenum">
              <a:rPr lang="en-US"/>
              <a:pPr/>
              <a:t>128</a:t>
            </a:fld>
            <a:endParaRPr lang="en-US"/>
          </a:p>
        </p:txBody>
      </p:sp>
      <p:sp>
        <p:nvSpPr>
          <p:cNvPr id="3256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563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16550"/>
      </p:ext>
    </p:extLst>
  </p:cSld>
  <p:clrMapOvr>
    <a:masterClrMapping/>
  </p:clrMapOvr>
</p:notes>
</file>

<file path=ppt/notesSlides/notesSlide1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91FDFC1-480C-4BD0-A68A-754FA4BFAC35}" type="slidenum">
              <a:rPr lang="en-US"/>
              <a:pPr/>
              <a:t>129</a:t>
            </a:fld>
            <a:endParaRPr lang="en-US"/>
          </a:p>
        </p:txBody>
      </p:sp>
      <p:sp>
        <p:nvSpPr>
          <p:cNvPr id="3258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583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2158846"/>
      </p:ext>
    </p:extLst>
  </p:cSld>
  <p:clrMapOvr>
    <a:masterClrMapping/>
  </p:clrMapOvr>
</p:notes>
</file>

<file path=ppt/notesSlides/notesSlide1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83336C3-B400-4851-B464-FABDBEFFD502}" type="slidenum">
              <a:rPr lang="en-US"/>
              <a:pPr/>
              <a:t>130</a:t>
            </a:fld>
            <a:endParaRPr lang="en-US"/>
          </a:p>
        </p:txBody>
      </p:sp>
      <p:sp>
        <p:nvSpPr>
          <p:cNvPr id="3260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604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4104637"/>
      </p:ext>
    </p:extLst>
  </p:cSld>
  <p:clrMapOvr>
    <a:masterClrMapping/>
  </p:clrMapOvr>
</p:notes>
</file>

<file path=ppt/notesSlides/notesSlide1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0483264-F06E-4E43-B329-5696F68724B6}" type="slidenum">
              <a:rPr lang="en-US"/>
              <a:pPr/>
              <a:t>131</a:t>
            </a:fld>
            <a:endParaRPr lang="en-US"/>
          </a:p>
        </p:txBody>
      </p:sp>
      <p:sp>
        <p:nvSpPr>
          <p:cNvPr id="326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62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7500213"/>
      </p:ext>
    </p:extLst>
  </p:cSld>
  <p:clrMapOvr>
    <a:masterClrMapping/>
  </p:clrMapOvr>
</p:notes>
</file>

<file path=ppt/notesSlides/notesSlide1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FE973A6-4678-41E9-807A-FF74D07263EB}" type="slidenum">
              <a:rPr lang="en-US"/>
              <a:pPr/>
              <a:t>132</a:t>
            </a:fld>
            <a:endParaRPr lang="en-US"/>
          </a:p>
        </p:txBody>
      </p:sp>
      <p:sp>
        <p:nvSpPr>
          <p:cNvPr id="3264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  <a:ln/>
        </p:spPr>
      </p:sp>
      <p:sp>
        <p:nvSpPr>
          <p:cNvPr id="32645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054" y="4343179"/>
            <a:ext cx="5027893" cy="169771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8492607"/>
      </p:ext>
    </p:extLst>
  </p:cSld>
  <p:clrMapOvr>
    <a:masterClrMapping/>
  </p:clrMapOvr>
</p:notes>
</file>

<file path=ppt/notesSlides/notesSlide1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A048F29-82D1-4091-85DD-319A3ADD8D3B}" type="slidenum">
              <a:rPr lang="en-US"/>
              <a:pPr/>
              <a:t>133</a:t>
            </a:fld>
            <a:endParaRPr lang="en-US"/>
          </a:p>
        </p:txBody>
      </p:sp>
      <p:sp>
        <p:nvSpPr>
          <p:cNvPr id="32665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665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6692666"/>
      </p:ext>
    </p:extLst>
  </p:cSld>
  <p:clrMapOvr>
    <a:masterClrMapping/>
  </p:clrMapOvr>
</p:notes>
</file>

<file path=ppt/notesSlides/notesSlide1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9291B47-F002-4135-BF8D-5D2541F59209}" type="slidenum">
              <a:rPr lang="en-US"/>
              <a:pPr/>
              <a:t>134</a:t>
            </a:fld>
            <a:endParaRPr lang="en-US"/>
          </a:p>
        </p:txBody>
      </p:sp>
      <p:sp>
        <p:nvSpPr>
          <p:cNvPr id="32706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706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1405066"/>
      </p:ext>
    </p:extLst>
  </p:cSld>
  <p:clrMapOvr>
    <a:masterClrMapping/>
  </p:clrMapOvr>
</p:notes>
</file>

<file path=ppt/notesSlides/notesSlide1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A70F9E2-BA4A-45FA-BA7F-B8D2B2054A5C}" type="slidenum">
              <a:rPr lang="en-US"/>
              <a:pPr/>
              <a:t>135</a:t>
            </a:fld>
            <a:endParaRPr lang="en-US"/>
          </a:p>
        </p:txBody>
      </p:sp>
      <p:sp>
        <p:nvSpPr>
          <p:cNvPr id="32768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768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2577269"/>
      </p:ext>
    </p:extLst>
  </p:cSld>
  <p:clrMapOvr>
    <a:masterClrMapping/>
  </p:clrMapOvr>
</p:notes>
</file>

<file path=ppt/notesSlides/notesSlide1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AE22A04-4469-4B57-AAEA-3FEFBF3B7AE6}" type="slidenum">
              <a:rPr lang="en-US"/>
              <a:pPr/>
              <a:t>136</a:t>
            </a:fld>
            <a:endParaRPr lang="en-US"/>
          </a:p>
        </p:txBody>
      </p:sp>
      <p:sp>
        <p:nvSpPr>
          <p:cNvPr id="3280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808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5202016"/>
      </p:ext>
    </p:extLst>
  </p:cSld>
  <p:clrMapOvr>
    <a:masterClrMapping/>
  </p:clrMapOvr>
</p:notes>
</file>

<file path=ppt/notesSlides/notesSlide1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9B2DDFC-4D4D-49DA-8CEB-A2CFF73F1399}" type="slidenum">
              <a:rPr lang="en-US"/>
              <a:pPr/>
              <a:t>137</a:t>
            </a:fld>
            <a:endParaRPr lang="en-US"/>
          </a:p>
        </p:txBody>
      </p:sp>
      <p:sp>
        <p:nvSpPr>
          <p:cNvPr id="32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00983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2F3203C-3BAD-4D96-8706-133F51F9A86E}" type="slidenum">
              <a:rPr lang="en-US"/>
              <a:pPr/>
              <a:t>15</a:t>
            </a:fld>
            <a:endParaRPr lang="en-US"/>
          </a:p>
        </p:txBody>
      </p:sp>
      <p:sp>
        <p:nvSpPr>
          <p:cNvPr id="3016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167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8430952"/>
      </p:ext>
    </p:extLst>
  </p:cSld>
  <p:clrMapOvr>
    <a:masterClrMapping/>
  </p:clrMapOvr>
</p:notes>
</file>

<file path=ppt/notesSlides/notesSlide1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A32B1BA-5882-4397-8F57-8479A663BE56}" type="slidenum">
              <a:rPr lang="en-US"/>
              <a:pPr/>
              <a:t>138</a:t>
            </a:fld>
            <a:endParaRPr lang="en-US"/>
          </a:p>
        </p:txBody>
      </p:sp>
      <p:sp>
        <p:nvSpPr>
          <p:cNvPr id="3287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  <a:ln/>
        </p:spPr>
      </p:sp>
      <p:sp>
        <p:nvSpPr>
          <p:cNvPr id="32870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054" y="4343179"/>
            <a:ext cx="5027893" cy="4114358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2631402"/>
      </p:ext>
    </p:extLst>
  </p:cSld>
  <p:clrMapOvr>
    <a:masterClrMapping/>
  </p:clrMapOvr>
</p:notes>
</file>

<file path=ppt/notesSlides/notesSlide1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3E541C4-217E-4A2E-8274-6C4C03A0B862}" type="slidenum">
              <a:rPr lang="en-US"/>
              <a:pPr/>
              <a:t>139</a:t>
            </a:fld>
            <a:endParaRPr lang="en-US"/>
          </a:p>
        </p:txBody>
      </p:sp>
      <p:sp>
        <p:nvSpPr>
          <p:cNvPr id="328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  <a:ln/>
        </p:spPr>
      </p:sp>
      <p:sp>
        <p:nvSpPr>
          <p:cNvPr id="32890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054" y="4343179"/>
            <a:ext cx="5027893" cy="4114358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452343"/>
      </p:ext>
    </p:extLst>
  </p:cSld>
  <p:clrMapOvr>
    <a:masterClrMapping/>
  </p:clrMapOvr>
</p:notes>
</file>

<file path=ppt/notesSlides/notesSlide1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0FF41D3-44D2-4A52-B71B-D53F0E303B2D}" type="slidenum">
              <a:rPr lang="en-US"/>
              <a:pPr/>
              <a:t>140</a:t>
            </a:fld>
            <a:endParaRPr lang="en-US"/>
          </a:p>
        </p:txBody>
      </p:sp>
      <p:sp>
        <p:nvSpPr>
          <p:cNvPr id="32911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911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7377609"/>
      </p:ext>
    </p:extLst>
  </p:cSld>
  <p:clrMapOvr>
    <a:masterClrMapping/>
  </p:clrMapOvr>
</p:notes>
</file>

<file path=ppt/notesSlides/notesSlide1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A6BEFC3-077F-42CE-86B1-EE9A7C15754C}" type="slidenum">
              <a:rPr lang="en-US"/>
              <a:pPr/>
              <a:t>142</a:t>
            </a:fld>
            <a:endParaRPr lang="en-US"/>
          </a:p>
        </p:txBody>
      </p:sp>
      <p:sp>
        <p:nvSpPr>
          <p:cNvPr id="30986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986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7675534"/>
      </p:ext>
    </p:extLst>
  </p:cSld>
  <p:clrMapOvr>
    <a:masterClrMapping/>
  </p:clrMapOvr>
</p:notes>
</file>

<file path=ppt/notesSlides/notesSlide1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80FC553-ADA6-4567-A475-27D34991E083}" type="slidenum">
              <a:rPr lang="en-US"/>
              <a:pPr/>
              <a:t>143</a:t>
            </a:fld>
            <a:endParaRPr lang="en-US"/>
          </a:p>
        </p:txBody>
      </p:sp>
      <p:sp>
        <p:nvSpPr>
          <p:cNvPr id="23971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971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8799954"/>
      </p:ext>
    </p:extLst>
  </p:cSld>
  <p:clrMapOvr>
    <a:masterClrMapping/>
  </p:clrMapOvr>
</p:notes>
</file>

<file path=ppt/notesSlides/notesSlide1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7C41399-61AD-4E94-ABAE-5E7CF85B3E81}" type="slidenum">
              <a:rPr lang="en-US"/>
              <a:pPr/>
              <a:t>144</a:t>
            </a:fld>
            <a:endParaRPr lang="en-US"/>
          </a:p>
        </p:txBody>
      </p:sp>
      <p:sp>
        <p:nvSpPr>
          <p:cNvPr id="2368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685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1136867"/>
      </p:ext>
    </p:extLst>
  </p:cSld>
  <p:clrMapOvr>
    <a:masterClrMapping/>
  </p:clrMapOvr>
</p:notes>
</file>

<file path=ppt/notesSlides/notesSlide1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B297416-06CB-40E3-8CA4-D143D70B4BE0}" type="slidenum">
              <a:rPr lang="en-US"/>
              <a:pPr/>
              <a:t>145</a:t>
            </a:fld>
            <a:endParaRPr lang="en-US"/>
          </a:p>
        </p:txBody>
      </p:sp>
      <p:sp>
        <p:nvSpPr>
          <p:cNvPr id="23705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705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0147194"/>
      </p:ext>
    </p:extLst>
  </p:cSld>
  <p:clrMapOvr>
    <a:masterClrMapping/>
  </p:clrMapOvr>
</p:notes>
</file>

<file path=ppt/notesSlides/notesSlide1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759DC4A-4711-441F-B427-8D8F20197F4F}" type="slidenum">
              <a:rPr lang="en-US"/>
              <a:pPr/>
              <a:t>146</a:t>
            </a:fld>
            <a:endParaRPr lang="en-US"/>
          </a:p>
        </p:txBody>
      </p:sp>
      <p:sp>
        <p:nvSpPr>
          <p:cNvPr id="2376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767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7716668"/>
      </p:ext>
    </p:extLst>
  </p:cSld>
  <p:clrMapOvr>
    <a:masterClrMapping/>
  </p:clrMapOvr>
</p:notes>
</file>

<file path=ppt/notesSlides/notesSlide1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11614A0-CF15-490E-8425-4C58162B2980}" type="slidenum">
              <a:rPr lang="en-US"/>
              <a:pPr/>
              <a:t>147</a:t>
            </a:fld>
            <a:endParaRPr lang="en-US"/>
          </a:p>
        </p:txBody>
      </p:sp>
      <p:sp>
        <p:nvSpPr>
          <p:cNvPr id="23808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808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6412605"/>
      </p:ext>
    </p:extLst>
  </p:cSld>
  <p:clrMapOvr>
    <a:masterClrMapping/>
  </p:clrMapOvr>
</p:notes>
</file>

<file path=ppt/notesSlides/notesSlide1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4238183-CDC1-49B6-BE1F-33EF8070CCCC}" type="slidenum">
              <a:rPr lang="en-US"/>
              <a:pPr/>
              <a:t>148</a:t>
            </a:fld>
            <a:endParaRPr lang="en-US"/>
          </a:p>
        </p:txBody>
      </p:sp>
      <p:sp>
        <p:nvSpPr>
          <p:cNvPr id="2386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869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48910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E42CC14-4C28-4FCC-80F0-AB8350B13733}" type="slidenum">
              <a:rPr lang="en-US"/>
              <a:pPr/>
              <a:t>16</a:t>
            </a:fld>
            <a:endParaRPr lang="en-US"/>
          </a:p>
        </p:txBody>
      </p:sp>
      <p:sp>
        <p:nvSpPr>
          <p:cNvPr id="3018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187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5117146"/>
      </p:ext>
    </p:extLst>
  </p:cSld>
  <p:clrMapOvr>
    <a:masterClrMapping/>
  </p:clrMapOvr>
</p:notes>
</file>

<file path=ppt/notesSlides/notesSlide1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F4C8D25-3B4A-4A5E-95BB-0A71031F643D}" type="slidenum">
              <a:rPr lang="en-US"/>
              <a:pPr/>
              <a:t>149</a:t>
            </a:fld>
            <a:endParaRPr lang="en-US"/>
          </a:p>
        </p:txBody>
      </p:sp>
      <p:sp>
        <p:nvSpPr>
          <p:cNvPr id="2393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93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4539024"/>
      </p:ext>
    </p:extLst>
  </p:cSld>
  <p:clrMapOvr>
    <a:masterClrMapping/>
  </p:clrMapOvr>
</p:notes>
</file>

<file path=ppt/notesSlides/notesSlide1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3985B5B-4B25-4EF7-9E4B-EFACA286FD2F}" type="slidenum">
              <a:rPr lang="en-US"/>
              <a:pPr/>
              <a:t>150</a:t>
            </a:fld>
            <a:endParaRPr lang="en-US"/>
          </a:p>
        </p:txBody>
      </p:sp>
      <p:sp>
        <p:nvSpPr>
          <p:cNvPr id="24012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4012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4943386"/>
      </p:ext>
    </p:extLst>
  </p:cSld>
  <p:clrMapOvr>
    <a:masterClrMapping/>
  </p:clrMapOvr>
</p:notes>
</file>

<file path=ppt/notesSlides/notesSlide1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7C1382C-0ED4-4654-9C70-3ABE203CA7E4}" type="slidenum">
              <a:rPr lang="en-US"/>
              <a:pPr/>
              <a:t>151</a:t>
            </a:fld>
            <a:endParaRPr lang="en-US"/>
          </a:p>
        </p:txBody>
      </p:sp>
      <p:sp>
        <p:nvSpPr>
          <p:cNvPr id="2384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848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739245"/>
      </p:ext>
    </p:extLst>
  </p:cSld>
  <p:clrMapOvr>
    <a:masterClrMapping/>
  </p:clrMapOvr>
</p:notes>
</file>

<file path=ppt/notesSlides/notesSlide1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198306D-A26E-4CBF-A442-07A23FCDFB71}" type="slidenum">
              <a:rPr lang="en-US"/>
              <a:pPr/>
              <a:t>152</a:t>
            </a:fld>
            <a:endParaRPr lang="en-US"/>
          </a:p>
        </p:txBody>
      </p:sp>
      <p:sp>
        <p:nvSpPr>
          <p:cNvPr id="2391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910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357479"/>
      </p:ext>
    </p:extLst>
  </p:cSld>
  <p:clrMapOvr>
    <a:masterClrMapping/>
  </p:clrMapOvr>
</p:notes>
</file>

<file path=ppt/notesSlides/notesSlide1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1AC6D05-52F9-4729-A6F4-1CB9C8AD3B35}" type="slidenum">
              <a:rPr lang="en-US"/>
              <a:pPr/>
              <a:t>153</a:t>
            </a:fld>
            <a:endParaRPr lang="en-US"/>
          </a:p>
        </p:txBody>
      </p:sp>
      <p:sp>
        <p:nvSpPr>
          <p:cNvPr id="23992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992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582985"/>
      </p:ext>
    </p:extLst>
  </p:cSld>
  <p:clrMapOvr>
    <a:masterClrMapping/>
  </p:clrMapOvr>
</p:notes>
</file>

<file path=ppt/notesSlides/notesSlide1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C6C54F0-7E5E-466E-AEF5-E7E62F6ACE43}" type="slidenum">
              <a:rPr lang="en-US"/>
              <a:pPr/>
              <a:t>154</a:t>
            </a:fld>
            <a:endParaRPr lang="en-US"/>
          </a:p>
        </p:txBody>
      </p:sp>
      <p:sp>
        <p:nvSpPr>
          <p:cNvPr id="2403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403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731027"/>
      </p:ext>
    </p:extLst>
  </p:cSld>
  <p:clrMapOvr>
    <a:masterClrMapping/>
  </p:clrMapOvr>
</p:notes>
</file>

<file path=ppt/notesSlides/notesSlide1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F9AF46D-997C-4F3B-AA43-005758CF7F77}" type="slidenum">
              <a:rPr lang="en-US"/>
              <a:pPr/>
              <a:t>155</a:t>
            </a:fld>
            <a:endParaRPr lang="en-US"/>
          </a:p>
        </p:txBody>
      </p:sp>
      <p:sp>
        <p:nvSpPr>
          <p:cNvPr id="24442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7463" y="487363"/>
            <a:ext cx="6894513" cy="3879850"/>
          </a:xfrm>
          <a:ln w="12700" cap="flat"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sp>
      <p:sp>
        <p:nvSpPr>
          <p:cNvPr id="24442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054" y="4368276"/>
            <a:ext cx="5027893" cy="4064164"/>
          </a:xfrm>
          <a:ln/>
        </p:spPr>
        <p:txBody>
          <a:bodyPr lIns="93322" tIns="47453" rIns="93322" bIns="47453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0610699"/>
      </p:ext>
    </p:extLst>
  </p:cSld>
  <p:clrMapOvr>
    <a:masterClrMapping/>
  </p:clrMapOvr>
</p:notes>
</file>

<file path=ppt/notesSlides/notesSlide1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A69A412-9CC0-42D8-BA3B-8B46B4A1B714}" type="slidenum">
              <a:rPr lang="en-US"/>
              <a:pPr/>
              <a:t>156</a:t>
            </a:fld>
            <a:endParaRPr lang="en-US"/>
          </a:p>
        </p:txBody>
      </p:sp>
      <p:sp>
        <p:nvSpPr>
          <p:cNvPr id="24422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4422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144274"/>
      </p:ext>
    </p:extLst>
  </p:cSld>
  <p:clrMapOvr>
    <a:masterClrMapping/>
  </p:clrMapOvr>
</p:notes>
</file>

<file path=ppt/notesSlides/notesSlide1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A60AA24-9148-431C-9394-4CBF53782440}" type="slidenum">
              <a:rPr lang="en-US"/>
              <a:pPr/>
              <a:t>158</a:t>
            </a:fld>
            <a:endParaRPr lang="en-US"/>
          </a:p>
        </p:txBody>
      </p:sp>
      <p:sp>
        <p:nvSpPr>
          <p:cNvPr id="28948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8948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71234"/>
      </p:ext>
    </p:extLst>
  </p:cSld>
  <p:clrMapOvr>
    <a:masterClrMapping/>
  </p:clrMapOvr>
</p:notes>
</file>

<file path=ppt/notesSlides/notesSlide1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498E744-A3DC-46A5-B8F3-37747F5EE222}" type="slidenum">
              <a:rPr lang="en-US"/>
              <a:pPr/>
              <a:t>159</a:t>
            </a:fld>
            <a:endParaRPr lang="en-US"/>
          </a:p>
        </p:txBody>
      </p:sp>
      <p:sp>
        <p:nvSpPr>
          <p:cNvPr id="2896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8968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25233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C9E2AE8-3ADA-45DC-9687-FB2AB2DCECC7}" type="slidenum">
              <a:rPr lang="en-US"/>
              <a:pPr/>
              <a:t>17</a:t>
            </a:fld>
            <a:endParaRPr lang="en-US"/>
          </a:p>
        </p:txBody>
      </p:sp>
      <p:sp>
        <p:nvSpPr>
          <p:cNvPr id="2876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  <a:ln/>
        </p:spPr>
      </p:sp>
      <p:sp>
        <p:nvSpPr>
          <p:cNvPr id="28764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054" y="4343179"/>
            <a:ext cx="5027893" cy="4114358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843484"/>
      </p:ext>
    </p:extLst>
  </p:cSld>
  <p:clrMapOvr>
    <a:masterClrMapping/>
  </p:clrMapOvr>
</p:notes>
</file>

<file path=ppt/notesSlides/notesSlide1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0BF3387-E371-46DB-81F6-82E3D824A3B2}" type="slidenum">
              <a:rPr lang="en-US"/>
              <a:pPr/>
              <a:t>160</a:t>
            </a:fld>
            <a:endParaRPr lang="en-US"/>
          </a:p>
        </p:txBody>
      </p:sp>
      <p:sp>
        <p:nvSpPr>
          <p:cNvPr id="2898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8989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03334"/>
      </p:ext>
    </p:extLst>
  </p:cSld>
  <p:clrMapOvr>
    <a:masterClrMapping/>
  </p:clrMapOvr>
</p:notes>
</file>

<file path=ppt/notesSlides/notesSlide1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1DFD7C4-EC33-4C76-BDEF-62AB8AC512FD}" type="slidenum">
              <a:rPr lang="en-US"/>
              <a:pPr/>
              <a:t>161</a:t>
            </a:fld>
            <a:endParaRPr lang="en-US"/>
          </a:p>
        </p:txBody>
      </p:sp>
      <p:sp>
        <p:nvSpPr>
          <p:cNvPr id="2903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9030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7069116"/>
      </p:ext>
    </p:extLst>
  </p:cSld>
  <p:clrMapOvr>
    <a:masterClrMapping/>
  </p:clrMapOvr>
</p:notes>
</file>

<file path=ppt/notesSlides/notesSlide1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CEED6F-DDAA-4AB3-A042-3590063BD763}" type="slidenum">
              <a:rPr lang="en-US"/>
              <a:pPr/>
              <a:t>162</a:t>
            </a:fld>
            <a:endParaRPr lang="en-US"/>
          </a:p>
        </p:txBody>
      </p:sp>
      <p:sp>
        <p:nvSpPr>
          <p:cNvPr id="2640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98425" y="515938"/>
            <a:ext cx="7083425" cy="3984625"/>
          </a:xfrm>
          <a:ln/>
        </p:spPr>
      </p:sp>
      <p:sp>
        <p:nvSpPr>
          <p:cNvPr id="26408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9229" y="4954353"/>
            <a:ext cx="5795884" cy="1300592"/>
          </a:xfrm>
        </p:spPr>
        <p:txBody>
          <a:bodyPr lIns="90589" tIns="45295" rIns="90589" bIns="45295"/>
          <a:lstStyle/>
          <a:p>
            <a:pPr marL="228600" indent="-228600"/>
            <a:r>
              <a:rPr lang="en-US" b="0"/>
              <a:t>Conduct and document in-depth analyses </a:t>
            </a:r>
          </a:p>
          <a:p>
            <a:pPr marL="228600" indent="-228600"/>
            <a:r>
              <a:rPr lang="en-US" b="0"/>
              <a:t>Phase shade flyer according to activity you describe </a:t>
            </a:r>
          </a:p>
        </p:txBody>
      </p:sp>
    </p:spTree>
    <p:extLst>
      <p:ext uri="{BB962C8B-B14F-4D97-AF65-F5344CB8AC3E}">
        <p14:creationId xmlns:p14="http://schemas.microsoft.com/office/powerpoint/2010/main" val="994945057"/>
      </p:ext>
    </p:extLst>
  </p:cSld>
  <p:clrMapOvr>
    <a:masterClrMapping/>
  </p:clrMapOvr>
</p:notes>
</file>

<file path=ppt/notesSlides/notesSlide1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CB834CA-641B-4468-825B-5992AF52664B}" type="slidenum">
              <a:rPr lang="en-US"/>
              <a:pPr/>
              <a:t>163</a:t>
            </a:fld>
            <a:endParaRPr lang="en-US"/>
          </a:p>
        </p:txBody>
      </p:sp>
      <p:sp>
        <p:nvSpPr>
          <p:cNvPr id="264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98425" y="515938"/>
            <a:ext cx="7083425" cy="3984625"/>
          </a:xfrm>
          <a:ln/>
        </p:spPr>
      </p:sp>
      <p:sp>
        <p:nvSpPr>
          <p:cNvPr id="26429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9229" y="4954353"/>
            <a:ext cx="5795884" cy="1300592"/>
          </a:xfrm>
        </p:spPr>
        <p:txBody>
          <a:bodyPr lIns="90589" tIns="45295" rIns="90589" bIns="45295"/>
          <a:lstStyle/>
          <a:p>
            <a:pPr marL="228600" indent="-228600"/>
            <a:r>
              <a:rPr lang="en-US" b="0"/>
              <a:t>Conduct and document in-depth analyses </a:t>
            </a:r>
          </a:p>
          <a:p>
            <a:pPr marL="228600" indent="-228600"/>
            <a:r>
              <a:rPr lang="en-US" b="0"/>
              <a:t>Phase shade flyer according to activity you describe </a:t>
            </a:r>
          </a:p>
        </p:txBody>
      </p:sp>
    </p:spTree>
    <p:extLst>
      <p:ext uri="{BB962C8B-B14F-4D97-AF65-F5344CB8AC3E}">
        <p14:creationId xmlns:p14="http://schemas.microsoft.com/office/powerpoint/2010/main" val="261470009"/>
      </p:ext>
    </p:extLst>
  </p:cSld>
  <p:clrMapOvr>
    <a:masterClrMapping/>
  </p:clrMapOvr>
</p:notes>
</file>

<file path=ppt/notesSlides/notesSlide1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F2C2C4C-033F-4707-9A89-2A2DF6D69166}" type="slidenum">
              <a:rPr lang="en-US"/>
              <a:pPr/>
              <a:t>165</a:t>
            </a:fld>
            <a:endParaRPr lang="en-US"/>
          </a:p>
        </p:txBody>
      </p:sp>
      <p:sp>
        <p:nvSpPr>
          <p:cNvPr id="29235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9235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7790547"/>
      </p:ext>
    </p:extLst>
  </p:cSld>
  <p:clrMapOvr>
    <a:masterClrMapping/>
  </p:clrMapOvr>
</p:notes>
</file>

<file path=ppt/notesSlides/notesSlide1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981749B-BF66-4605-81C1-92285D65B17E}" type="slidenum">
              <a:rPr lang="en-US"/>
              <a:pPr/>
              <a:t>166</a:t>
            </a:fld>
            <a:endParaRPr lang="en-US"/>
          </a:p>
        </p:txBody>
      </p:sp>
      <p:sp>
        <p:nvSpPr>
          <p:cNvPr id="29255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9255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5381232"/>
      </p:ext>
    </p:extLst>
  </p:cSld>
  <p:clrMapOvr>
    <a:masterClrMapping/>
  </p:clrMapOvr>
</p:notes>
</file>

<file path=ppt/notesSlides/notesSlide1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302D8D8-01BB-405E-8AA4-CBE5E08625D7}" type="slidenum">
              <a:rPr lang="en-US"/>
              <a:pPr/>
              <a:t>167</a:t>
            </a:fld>
            <a:endParaRPr lang="en-US"/>
          </a:p>
        </p:txBody>
      </p:sp>
      <p:sp>
        <p:nvSpPr>
          <p:cNvPr id="2927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927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3190764"/>
      </p:ext>
    </p:extLst>
  </p:cSld>
  <p:clrMapOvr>
    <a:masterClrMapping/>
  </p:clrMapOvr>
</p:notes>
</file>

<file path=ppt/notesSlides/notesSlide1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29C3FBC-BF90-4EA4-9BC9-70A2A0787FD1}" type="slidenum">
              <a:rPr lang="en-US"/>
              <a:pPr/>
              <a:t>168</a:t>
            </a:fld>
            <a:endParaRPr lang="en-US"/>
          </a:p>
        </p:txBody>
      </p:sp>
      <p:sp>
        <p:nvSpPr>
          <p:cNvPr id="25589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589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6823168"/>
      </p:ext>
    </p:extLst>
  </p:cSld>
  <p:clrMapOvr>
    <a:masterClrMapping/>
  </p:clrMapOvr>
</p:notes>
</file>

<file path=ppt/notesSlides/notesSlide1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E41AEBE-6F00-4A9D-9E2A-3B7B36F9C90E}" type="slidenum">
              <a:rPr lang="en-US"/>
              <a:pPr/>
              <a:t>169</a:t>
            </a:fld>
            <a:endParaRPr lang="en-US"/>
          </a:p>
        </p:txBody>
      </p:sp>
      <p:sp>
        <p:nvSpPr>
          <p:cNvPr id="25610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610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1860683"/>
      </p:ext>
    </p:extLst>
  </p:cSld>
  <p:clrMapOvr>
    <a:masterClrMapping/>
  </p:clrMapOvr>
</p:notes>
</file>

<file path=ppt/notesSlides/notesSlide1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AB5BF1B-C782-4475-A3A6-208EBA71CE45}" type="slidenum">
              <a:rPr lang="en-US"/>
              <a:pPr/>
              <a:t>170</a:t>
            </a:fld>
            <a:endParaRPr lang="en-US"/>
          </a:p>
        </p:txBody>
      </p:sp>
      <p:sp>
        <p:nvSpPr>
          <p:cNvPr id="25630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630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10545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125E0EA-2E9F-4CC2-9E1E-B573C9F851E9}" type="slidenum">
              <a:rPr lang="en-US"/>
              <a:pPr/>
              <a:t>18</a:t>
            </a:fld>
            <a:endParaRPr lang="en-US"/>
          </a:p>
        </p:txBody>
      </p:sp>
      <p:sp>
        <p:nvSpPr>
          <p:cNvPr id="30392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392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6430084"/>
      </p:ext>
    </p:extLst>
  </p:cSld>
  <p:clrMapOvr>
    <a:masterClrMapping/>
  </p:clrMapOvr>
</p:notes>
</file>

<file path=ppt/notesSlides/notesSlide1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D995C4C-437C-421A-AC32-E001616B6D45}" type="slidenum">
              <a:rPr lang="en-US"/>
              <a:pPr/>
              <a:t>171</a:t>
            </a:fld>
            <a:endParaRPr lang="en-US"/>
          </a:p>
        </p:txBody>
      </p:sp>
      <p:sp>
        <p:nvSpPr>
          <p:cNvPr id="2565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6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36625"/>
      </p:ext>
    </p:extLst>
  </p:cSld>
  <p:clrMapOvr>
    <a:masterClrMapping/>
  </p:clrMapOvr>
</p:notes>
</file>

<file path=ppt/notesSlides/notesSlide1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4D9DDC8-2124-4151-9304-E68291D18ACE}" type="slidenum">
              <a:rPr lang="en-US"/>
              <a:pPr/>
              <a:t>172</a:t>
            </a:fld>
            <a:endParaRPr lang="en-US"/>
          </a:p>
        </p:txBody>
      </p:sp>
      <p:sp>
        <p:nvSpPr>
          <p:cNvPr id="25692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692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3645189"/>
      </p:ext>
    </p:extLst>
  </p:cSld>
  <p:clrMapOvr>
    <a:masterClrMapping/>
  </p:clrMapOvr>
</p:notes>
</file>

<file path=ppt/notesSlides/notesSlide1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FA303FB-2175-4FD6-BE3B-63AACB061A7D}" type="slidenum">
              <a:rPr lang="en-US"/>
              <a:pPr/>
              <a:t>173</a:t>
            </a:fld>
            <a:endParaRPr lang="en-US"/>
          </a:p>
        </p:txBody>
      </p:sp>
      <p:sp>
        <p:nvSpPr>
          <p:cNvPr id="3095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84200" y="763588"/>
            <a:ext cx="5691188" cy="3201987"/>
          </a:xfrm>
          <a:ln/>
        </p:spPr>
      </p:sp>
      <p:sp>
        <p:nvSpPr>
          <p:cNvPr id="30955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054" y="4341703"/>
            <a:ext cx="5024625" cy="4108452"/>
          </a:xfrm>
        </p:spPr>
        <p:txBody>
          <a:bodyPr lIns="91366" tIns="45683" rIns="91366" bIns="45683"/>
          <a:lstStyle/>
          <a:p>
            <a:pPr marL="190500" indent="-190500">
              <a:buFontTx/>
              <a:buChar char="•"/>
            </a:pPr>
            <a:r>
              <a:rPr lang="en-US"/>
              <a:t>If Illustrative and/or Example need to appear they should always be 14pt bold and horizontal and never at an angle</a:t>
            </a:r>
          </a:p>
        </p:txBody>
      </p:sp>
    </p:spTree>
    <p:extLst>
      <p:ext uri="{BB962C8B-B14F-4D97-AF65-F5344CB8AC3E}">
        <p14:creationId xmlns:p14="http://schemas.microsoft.com/office/powerpoint/2010/main" val="1071286260"/>
      </p:ext>
    </p:extLst>
  </p:cSld>
  <p:clrMapOvr>
    <a:masterClrMapping/>
  </p:clrMapOvr>
</p:notes>
</file>

<file path=ppt/notesSlides/notesSlide1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4597EBD-9B15-4E17-BA26-009CA24D5ADC}" type="slidenum">
              <a:rPr lang="en-US"/>
              <a:pPr/>
              <a:t>174</a:t>
            </a:fld>
            <a:endParaRPr lang="en-US"/>
          </a:p>
        </p:txBody>
      </p:sp>
      <p:sp>
        <p:nvSpPr>
          <p:cNvPr id="257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71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141365"/>
      </p:ext>
    </p:extLst>
  </p:cSld>
  <p:clrMapOvr>
    <a:masterClrMapping/>
  </p:clrMapOvr>
</p:notes>
</file>

<file path=ppt/notesSlides/notesSlide1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1A59BC3-57BD-476E-B35D-2EB40BB83CEE}" type="slidenum">
              <a:rPr lang="en-US"/>
              <a:pPr/>
              <a:t>175</a:t>
            </a:fld>
            <a:endParaRPr lang="en-US"/>
          </a:p>
        </p:txBody>
      </p:sp>
      <p:sp>
        <p:nvSpPr>
          <p:cNvPr id="2573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733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3874232"/>
      </p:ext>
    </p:extLst>
  </p:cSld>
  <p:clrMapOvr>
    <a:masterClrMapping/>
  </p:clrMapOvr>
</p:notes>
</file>

<file path=ppt/notesSlides/notesSlide1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6260CBE-BDDD-4FE4-87A9-4223AB68F7D5}" type="slidenum">
              <a:rPr lang="en-US"/>
              <a:pPr/>
              <a:t>176</a:t>
            </a:fld>
            <a:endParaRPr lang="en-US"/>
          </a:p>
        </p:txBody>
      </p:sp>
      <p:sp>
        <p:nvSpPr>
          <p:cNvPr id="25753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753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8187071"/>
      </p:ext>
    </p:extLst>
  </p:cSld>
  <p:clrMapOvr>
    <a:masterClrMapping/>
  </p:clrMapOvr>
</p:notes>
</file>

<file path=ppt/notesSlides/notesSlide1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375845B-9699-4B70-B37F-B9CE140A5C31}" type="slidenum">
              <a:rPr lang="en-US"/>
              <a:pPr/>
              <a:t>177</a:t>
            </a:fld>
            <a:endParaRPr lang="en-US"/>
          </a:p>
        </p:txBody>
      </p:sp>
      <p:sp>
        <p:nvSpPr>
          <p:cNvPr id="2577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774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5154659"/>
      </p:ext>
    </p:extLst>
  </p:cSld>
  <p:clrMapOvr>
    <a:masterClrMapping/>
  </p:clrMapOvr>
</p:notes>
</file>

<file path=ppt/notesSlides/notesSlide1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ABC7AC9-11DE-404C-A322-8B9D4666AB50}" type="slidenum">
              <a:rPr lang="en-US"/>
              <a:pPr/>
              <a:t>178</a:t>
            </a:fld>
            <a:endParaRPr lang="en-US"/>
          </a:p>
        </p:txBody>
      </p:sp>
      <p:sp>
        <p:nvSpPr>
          <p:cNvPr id="257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794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6389018"/>
      </p:ext>
    </p:extLst>
  </p:cSld>
  <p:clrMapOvr>
    <a:masterClrMapping/>
  </p:clrMapOvr>
</p:notes>
</file>

<file path=ppt/notesSlides/notesSlide1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A66D775-7BF7-410F-A743-E73D580EAFF1}" type="slidenum">
              <a:rPr lang="en-US"/>
              <a:pPr/>
              <a:t>179</a:t>
            </a:fld>
            <a:endParaRPr lang="en-US"/>
          </a:p>
        </p:txBody>
      </p:sp>
      <p:sp>
        <p:nvSpPr>
          <p:cNvPr id="258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856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4512141"/>
      </p:ext>
    </p:extLst>
  </p:cSld>
  <p:clrMapOvr>
    <a:masterClrMapping/>
  </p:clrMapOvr>
</p:notes>
</file>

<file path=ppt/notesSlides/notesSlide1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6A5D705-1B0C-4E8D-B595-153102B7F6FF}" type="slidenum">
              <a:rPr lang="en-US"/>
              <a:pPr/>
              <a:t>180</a:t>
            </a:fld>
            <a:endParaRPr lang="en-US"/>
          </a:p>
        </p:txBody>
      </p:sp>
      <p:sp>
        <p:nvSpPr>
          <p:cNvPr id="258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876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5670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D8E01DE-58F2-4C46-89D6-C55DD420E021}" type="slidenum">
              <a:rPr lang="en-US"/>
              <a:pPr/>
              <a:t>19</a:t>
            </a:fld>
            <a:endParaRPr lang="en-US"/>
          </a:p>
        </p:txBody>
      </p:sp>
      <p:sp>
        <p:nvSpPr>
          <p:cNvPr id="30371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371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3231410"/>
      </p:ext>
    </p:extLst>
  </p:cSld>
  <p:clrMapOvr>
    <a:masterClrMapping/>
  </p:clrMapOvr>
</p:notes>
</file>

<file path=ppt/notesSlides/notesSlide1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F9A67A3-EF9B-472C-ADF5-BB7F18026E52}" type="slidenum">
              <a:rPr lang="en-US"/>
              <a:pPr/>
              <a:t>181</a:t>
            </a:fld>
            <a:endParaRPr lang="en-US"/>
          </a:p>
        </p:txBody>
      </p:sp>
      <p:sp>
        <p:nvSpPr>
          <p:cNvPr id="2589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84200" y="763588"/>
            <a:ext cx="5691188" cy="3201987"/>
          </a:xfrm>
          <a:ln/>
        </p:spPr>
      </p:sp>
      <p:sp>
        <p:nvSpPr>
          <p:cNvPr id="25896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054" y="4341703"/>
            <a:ext cx="5024625" cy="4108452"/>
          </a:xfrm>
        </p:spPr>
        <p:txBody>
          <a:bodyPr lIns="91366" tIns="45683" rIns="91366" bIns="45683"/>
          <a:lstStyle/>
          <a:p>
            <a:pPr marL="190500" indent="-190500">
              <a:buFontTx/>
              <a:buChar char="•"/>
            </a:pPr>
            <a:r>
              <a:rPr lang="en-US"/>
              <a:t>If Illustrative and/or Example need to appear they should always be 14pt bold and horizontal and never at an angle</a:t>
            </a:r>
          </a:p>
        </p:txBody>
      </p:sp>
    </p:spTree>
    <p:extLst>
      <p:ext uri="{BB962C8B-B14F-4D97-AF65-F5344CB8AC3E}">
        <p14:creationId xmlns:p14="http://schemas.microsoft.com/office/powerpoint/2010/main" val="1222803909"/>
      </p:ext>
    </p:extLst>
  </p:cSld>
  <p:clrMapOvr>
    <a:masterClrMapping/>
  </p:clrMapOvr>
</p:notes>
</file>

<file path=ppt/notesSlides/notesSlide1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207F1D3-6CC3-4DC9-95B2-98F8F9584019}" type="slidenum">
              <a:rPr lang="en-US"/>
              <a:pPr/>
              <a:t>182</a:t>
            </a:fld>
            <a:endParaRPr lang="en-US"/>
          </a:p>
        </p:txBody>
      </p:sp>
      <p:sp>
        <p:nvSpPr>
          <p:cNvPr id="259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917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2441454"/>
      </p:ext>
    </p:extLst>
  </p:cSld>
  <p:clrMapOvr>
    <a:masterClrMapping/>
  </p:clrMapOvr>
</p:notes>
</file>

<file path=ppt/notesSlides/notesSlide1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009781D-BAC9-4563-9CB0-6BD4752EFE10}" type="slidenum">
              <a:rPr lang="en-US"/>
              <a:pPr/>
              <a:t>183</a:t>
            </a:fld>
            <a:endParaRPr lang="en-US"/>
          </a:p>
        </p:txBody>
      </p:sp>
      <p:sp>
        <p:nvSpPr>
          <p:cNvPr id="25937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937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171544"/>
      </p:ext>
    </p:extLst>
  </p:cSld>
  <p:clrMapOvr>
    <a:masterClrMapping/>
  </p:clrMapOvr>
</p:notes>
</file>

<file path=ppt/notesSlides/notesSlide1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F088CD2-B5A2-4B9A-944B-39C5BA194AD6}" type="slidenum">
              <a:rPr lang="en-US"/>
              <a:pPr/>
              <a:t>184</a:t>
            </a:fld>
            <a:endParaRPr lang="en-US"/>
          </a:p>
        </p:txBody>
      </p:sp>
      <p:sp>
        <p:nvSpPr>
          <p:cNvPr id="25958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958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7514492"/>
      </p:ext>
    </p:extLst>
  </p:cSld>
  <p:clrMapOvr>
    <a:masterClrMapping/>
  </p:clrMapOvr>
</p:notes>
</file>

<file path=ppt/notesSlides/notesSlide1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0D9E59C-6F07-4EA0-A577-0C2859ECA808}" type="slidenum">
              <a:rPr lang="en-US"/>
              <a:pPr/>
              <a:t>185</a:t>
            </a:fld>
            <a:endParaRPr lang="en-US"/>
          </a:p>
        </p:txBody>
      </p:sp>
      <p:sp>
        <p:nvSpPr>
          <p:cNvPr id="259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84200" y="763588"/>
            <a:ext cx="5691188" cy="3201987"/>
          </a:xfrm>
          <a:ln/>
        </p:spPr>
      </p:sp>
      <p:sp>
        <p:nvSpPr>
          <p:cNvPr id="25978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054" y="4341703"/>
            <a:ext cx="5024625" cy="4108452"/>
          </a:xfrm>
        </p:spPr>
        <p:txBody>
          <a:bodyPr lIns="91366" tIns="45683" rIns="91366" bIns="45683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6651539"/>
      </p:ext>
    </p:extLst>
  </p:cSld>
  <p:clrMapOvr>
    <a:masterClrMapping/>
  </p:clrMapOvr>
</p:notes>
</file>

<file path=ppt/notesSlides/notesSlide1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F8DA8AC-3A68-412A-833E-FA3E1A62E6D6}" type="slidenum">
              <a:rPr lang="en-US"/>
              <a:pPr/>
              <a:t>186</a:t>
            </a:fld>
            <a:endParaRPr lang="en-US"/>
          </a:p>
        </p:txBody>
      </p:sp>
      <p:sp>
        <p:nvSpPr>
          <p:cNvPr id="2599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999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0402959"/>
      </p:ext>
    </p:extLst>
  </p:cSld>
  <p:clrMapOvr>
    <a:masterClrMapping/>
  </p:clrMapOvr>
</p:notes>
</file>

<file path=ppt/notesSlides/notesSlide1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9C5DD2B-B582-472A-B1CA-E7D1FF5A31F4}" type="slidenum">
              <a:rPr lang="en-US"/>
              <a:pPr/>
              <a:t>187</a:t>
            </a:fld>
            <a:endParaRPr lang="en-US"/>
          </a:p>
        </p:txBody>
      </p:sp>
      <p:sp>
        <p:nvSpPr>
          <p:cNvPr id="260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6040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2770761"/>
      </p:ext>
    </p:extLst>
  </p:cSld>
  <p:clrMapOvr>
    <a:masterClrMapping/>
  </p:clrMapOvr>
</p:notes>
</file>

<file path=ppt/notesSlides/notesSlide1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4B102BD-8BDB-4FF4-841D-9438B4569559}" type="slidenum">
              <a:rPr lang="en-US"/>
              <a:pPr/>
              <a:t>188</a:t>
            </a:fld>
            <a:endParaRPr lang="en-US"/>
          </a:p>
        </p:txBody>
      </p:sp>
      <p:sp>
        <p:nvSpPr>
          <p:cNvPr id="2606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6060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08078"/>
      </p:ext>
    </p:extLst>
  </p:cSld>
  <p:clrMapOvr>
    <a:masterClrMapping/>
  </p:clrMapOvr>
</p:notes>
</file>

<file path=ppt/notesSlides/notesSlide1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1643F4D-855B-4D93-969C-66E3BA993E98}" type="slidenum">
              <a:rPr lang="en-US"/>
              <a:pPr/>
              <a:t>189</a:t>
            </a:fld>
            <a:endParaRPr lang="en-US"/>
          </a:p>
        </p:txBody>
      </p:sp>
      <p:sp>
        <p:nvSpPr>
          <p:cNvPr id="260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608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600977"/>
      </p:ext>
    </p:extLst>
  </p:cSld>
  <p:clrMapOvr>
    <a:masterClrMapping/>
  </p:clrMapOvr>
</p:notes>
</file>

<file path=ppt/notesSlides/notesSlide1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72E23D5-4E38-42BC-A6C0-6AD56999C25C}" type="slidenum">
              <a:rPr lang="en-US"/>
              <a:pPr/>
              <a:t>191</a:t>
            </a:fld>
            <a:endParaRPr lang="en-US"/>
          </a:p>
        </p:txBody>
      </p:sp>
      <p:sp>
        <p:nvSpPr>
          <p:cNvPr id="258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815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60052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4776226-8B0F-403D-8798-ADF6A172EFCC}" type="slidenum">
              <a:rPr lang="en-US"/>
              <a:pPr/>
              <a:t>20</a:t>
            </a:fld>
            <a:endParaRPr lang="en-US"/>
          </a:p>
        </p:txBody>
      </p:sp>
      <p:sp>
        <p:nvSpPr>
          <p:cNvPr id="30412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412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1961121"/>
      </p:ext>
    </p:extLst>
  </p:cSld>
  <p:clrMapOvr>
    <a:masterClrMapping/>
  </p:clrMapOvr>
</p:notes>
</file>

<file path=ppt/notesSlides/notesSlide1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ABF99EE-EA63-460D-AEE0-B98DA62089C4}" type="slidenum">
              <a:rPr lang="en-US"/>
              <a:pPr/>
              <a:t>192</a:t>
            </a:fld>
            <a:endParaRPr lang="en-US"/>
          </a:p>
        </p:txBody>
      </p:sp>
      <p:sp>
        <p:nvSpPr>
          <p:cNvPr id="2583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5835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818654"/>
      </p:ext>
    </p:extLst>
  </p:cSld>
  <p:clrMapOvr>
    <a:masterClrMapping/>
  </p:clrMapOvr>
</p:notes>
</file>

<file path=ppt/notesSlides/notesSlide1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3BA3C12-28DD-45BC-BCF5-0C1C889E18F2}" type="slidenum">
              <a:rPr lang="en-US"/>
              <a:pPr/>
              <a:t>193</a:t>
            </a:fld>
            <a:endParaRPr lang="en-US"/>
          </a:p>
        </p:txBody>
      </p:sp>
      <p:sp>
        <p:nvSpPr>
          <p:cNvPr id="29562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9562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6597933"/>
      </p:ext>
    </p:extLst>
  </p:cSld>
  <p:clrMapOvr>
    <a:masterClrMapping/>
  </p:clrMapOvr>
</p:notes>
</file>

<file path=ppt/notesSlides/notesSlide1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DAE7211-69E6-4E11-BC4A-8C4509A11AD8}" type="slidenum">
              <a:rPr lang="en-US"/>
              <a:pPr/>
              <a:t>194</a:t>
            </a:fld>
            <a:endParaRPr lang="en-US"/>
          </a:p>
        </p:txBody>
      </p:sp>
      <p:sp>
        <p:nvSpPr>
          <p:cNvPr id="2993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9050" y="487363"/>
            <a:ext cx="6894513" cy="3879850"/>
          </a:xfrm>
          <a:ln w="12700" cap="flat"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sp>
      <p:sp>
        <p:nvSpPr>
          <p:cNvPr id="29931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054" y="4368276"/>
            <a:ext cx="5027893" cy="4064164"/>
          </a:xfrm>
          <a:ln/>
        </p:spPr>
        <p:txBody>
          <a:bodyPr lIns="91796" tIns="45898" rIns="91796" bIns="45898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2280522"/>
      </p:ext>
    </p:extLst>
  </p:cSld>
  <p:clrMapOvr>
    <a:masterClrMapping/>
  </p:clrMapOvr>
</p:notes>
</file>

<file path=ppt/notesSlides/notesSlide1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816DF15-E5B9-4800-A314-AFF305BA7C13}" type="slidenum">
              <a:rPr lang="en-US"/>
              <a:pPr/>
              <a:t>195</a:t>
            </a:fld>
            <a:endParaRPr lang="en-US"/>
          </a:p>
        </p:txBody>
      </p:sp>
      <p:sp>
        <p:nvSpPr>
          <p:cNvPr id="2995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9952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0803311"/>
      </p:ext>
    </p:extLst>
  </p:cSld>
  <p:clrMapOvr>
    <a:masterClrMapping/>
  </p:clrMapOvr>
</p:notes>
</file>

<file path=ppt/notesSlides/notesSlide1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C878B12-7BAC-473B-935E-862500C8A198}" type="slidenum">
              <a:rPr lang="en-US"/>
              <a:pPr/>
              <a:t>197</a:t>
            </a:fld>
            <a:endParaRPr lang="en-US"/>
          </a:p>
        </p:txBody>
      </p:sp>
      <p:sp>
        <p:nvSpPr>
          <p:cNvPr id="30863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863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2079760"/>
      </p:ext>
    </p:extLst>
  </p:cSld>
  <p:clrMapOvr>
    <a:masterClrMapping/>
  </p:clrMapOvr>
</p:notes>
</file>

<file path=ppt/notesSlides/notesSlide1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9C94F1E-ED22-49B1-9AE2-9C29646ED955}" type="slidenum">
              <a:rPr lang="en-US"/>
              <a:pPr/>
              <a:t>198</a:t>
            </a:fld>
            <a:endParaRPr lang="en-US"/>
          </a:p>
        </p:txBody>
      </p:sp>
      <p:sp>
        <p:nvSpPr>
          <p:cNvPr id="3090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904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3823279"/>
      </p:ext>
    </p:extLst>
  </p:cSld>
  <p:clrMapOvr>
    <a:masterClrMapping/>
  </p:clrMapOvr>
</p:notes>
</file>

<file path=ppt/notesSlides/notesSlide1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52D1F0D-4106-4E06-AEAE-3699084E144C}" type="slidenum">
              <a:rPr lang="en-US"/>
              <a:pPr/>
              <a:t>199</a:t>
            </a:fld>
            <a:endParaRPr lang="en-US"/>
          </a:p>
        </p:txBody>
      </p:sp>
      <p:sp>
        <p:nvSpPr>
          <p:cNvPr id="3092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924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3802579"/>
      </p:ext>
    </p:extLst>
  </p:cSld>
  <p:clrMapOvr>
    <a:masterClrMapping/>
  </p:clrMapOvr>
</p:notes>
</file>

<file path=ppt/notesSlides/notesSlide1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C3A0A6D-E220-4B45-BFF5-903A09529F7E}" type="slidenum">
              <a:rPr lang="en-US"/>
              <a:pPr/>
              <a:t>201</a:t>
            </a:fld>
            <a:endParaRPr lang="en-US"/>
          </a:p>
        </p:txBody>
      </p:sp>
      <p:sp>
        <p:nvSpPr>
          <p:cNvPr id="2775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7750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3451851"/>
      </p:ext>
    </p:extLst>
  </p:cSld>
  <p:clrMapOvr>
    <a:masterClrMapping/>
  </p:clrMapOvr>
</p:notes>
</file>

<file path=ppt/notesSlides/notesSlide1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F879B3C-F901-4642-889F-D480AA41BF72}" type="slidenum">
              <a:rPr lang="en-US"/>
              <a:pPr/>
              <a:t>202</a:t>
            </a:fld>
            <a:endParaRPr lang="en-US"/>
          </a:p>
        </p:txBody>
      </p:sp>
      <p:sp>
        <p:nvSpPr>
          <p:cNvPr id="27811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7811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3308451"/>
      </p:ext>
    </p:extLst>
  </p:cSld>
  <p:clrMapOvr>
    <a:masterClrMapping/>
  </p:clrMapOvr>
</p:notes>
</file>

<file path=ppt/notesSlides/notesSlide1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9B62272-D750-487F-973B-7E90D9BFF3DD}" type="slidenum">
              <a:rPr lang="en-US"/>
              <a:pPr/>
              <a:t>203</a:t>
            </a:fld>
            <a:endParaRPr lang="en-US"/>
          </a:p>
        </p:txBody>
      </p:sp>
      <p:sp>
        <p:nvSpPr>
          <p:cNvPr id="27791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7791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52722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7104EA9-0176-4F1E-806F-B08B85AFDC41}" type="slidenum">
              <a:rPr lang="en-US"/>
              <a:pPr/>
              <a:t>21</a:t>
            </a:fld>
            <a:endParaRPr lang="en-US"/>
          </a:p>
        </p:txBody>
      </p:sp>
      <p:sp>
        <p:nvSpPr>
          <p:cNvPr id="2864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8641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3325497"/>
      </p:ext>
    </p:extLst>
  </p:cSld>
  <p:clrMapOvr>
    <a:masterClrMapping/>
  </p:clrMapOvr>
</p:notes>
</file>

<file path=ppt/notesSlides/notesSlide1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A95C048-C23D-4251-A266-0DC08881E32C}" type="slidenum">
              <a:rPr lang="en-US"/>
              <a:pPr/>
              <a:t>204</a:t>
            </a:fld>
            <a:endParaRPr lang="en-US"/>
          </a:p>
        </p:txBody>
      </p:sp>
      <p:sp>
        <p:nvSpPr>
          <p:cNvPr id="27832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7832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298974"/>
      </p:ext>
    </p:extLst>
  </p:cSld>
  <p:clrMapOvr>
    <a:masterClrMapping/>
  </p:clrMapOvr>
</p:notes>
</file>

<file path=ppt/notesSlides/notesSlide1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0C89701-8968-46EC-BE28-B12A4C05970A}" type="slidenum">
              <a:rPr lang="en-US"/>
              <a:pPr/>
              <a:t>205</a:t>
            </a:fld>
            <a:endParaRPr lang="en-US"/>
          </a:p>
        </p:txBody>
      </p:sp>
      <p:sp>
        <p:nvSpPr>
          <p:cNvPr id="27893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7893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407870"/>
      </p:ext>
    </p:extLst>
  </p:cSld>
  <p:clrMapOvr>
    <a:masterClrMapping/>
  </p:clrMapOvr>
</p:notes>
</file>

<file path=ppt/notesSlides/notesSlide1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0D7B5B0-AE7A-47FE-9D60-A21144BCB603}" type="slidenum">
              <a:rPr lang="en-US"/>
              <a:pPr/>
              <a:t>206</a:t>
            </a:fld>
            <a:endParaRPr lang="en-US"/>
          </a:p>
        </p:txBody>
      </p:sp>
      <p:sp>
        <p:nvSpPr>
          <p:cNvPr id="27914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7914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9730625"/>
      </p:ext>
    </p:extLst>
  </p:cSld>
  <p:clrMapOvr>
    <a:masterClrMapping/>
  </p:clrMapOvr>
</p:notes>
</file>

<file path=ppt/notesSlides/notesSlide1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579E854-70F7-4C5E-9157-43F73B70221D}" type="slidenum">
              <a:rPr lang="en-US"/>
              <a:pPr/>
              <a:t>207</a:t>
            </a:fld>
            <a:endParaRPr lang="en-US"/>
          </a:p>
        </p:txBody>
      </p:sp>
      <p:sp>
        <p:nvSpPr>
          <p:cNvPr id="27934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7934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678612"/>
      </p:ext>
    </p:extLst>
  </p:cSld>
  <p:clrMapOvr>
    <a:masterClrMapping/>
  </p:clrMapOvr>
</p:notes>
</file>

<file path=ppt/notesSlides/notesSlide1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1D94E46-08F1-4790-9A2D-D26D4EFD1A48}" type="slidenum">
              <a:rPr lang="en-US"/>
              <a:pPr/>
              <a:t>208</a:t>
            </a:fld>
            <a:endParaRPr lang="en-US"/>
          </a:p>
        </p:txBody>
      </p:sp>
      <p:sp>
        <p:nvSpPr>
          <p:cNvPr id="2799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799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7186447"/>
      </p:ext>
    </p:extLst>
  </p:cSld>
  <p:clrMapOvr>
    <a:masterClrMapping/>
  </p:clrMapOvr>
</p:notes>
</file>

<file path=ppt/notesSlides/notesSlide1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A8B5131-AE4A-4BCE-A853-9C385D26D7AA}" type="slidenum">
              <a:rPr lang="en-US"/>
              <a:pPr/>
              <a:t>209</a:t>
            </a:fld>
            <a:endParaRPr lang="en-US"/>
          </a:p>
        </p:txBody>
      </p:sp>
      <p:sp>
        <p:nvSpPr>
          <p:cNvPr id="28078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8078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6470289"/>
      </p:ext>
    </p:extLst>
  </p:cSld>
  <p:clrMapOvr>
    <a:masterClrMapping/>
  </p:clrMapOvr>
</p:notes>
</file>

<file path=ppt/notesSlides/notesSlide1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1DF55D8-71CC-42EA-B4C5-01AE597092C1}" type="slidenum">
              <a:rPr lang="en-US"/>
              <a:pPr/>
              <a:t>211</a:t>
            </a:fld>
            <a:endParaRPr lang="en-US"/>
          </a:p>
        </p:txBody>
      </p:sp>
      <p:sp>
        <p:nvSpPr>
          <p:cNvPr id="28119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8119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1461884"/>
      </p:ext>
    </p:extLst>
  </p:cSld>
  <p:clrMapOvr>
    <a:masterClrMapping/>
  </p:clrMapOvr>
</p:notes>
</file>

<file path=ppt/notesSlides/notesSlide1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F88FE8E-1786-4B9F-A7C6-8A14A5DFB6E4}" type="slidenum">
              <a:rPr lang="en-US"/>
              <a:pPr/>
              <a:t>212</a:t>
            </a:fld>
            <a:endParaRPr lang="en-US"/>
          </a:p>
        </p:txBody>
      </p:sp>
      <p:sp>
        <p:nvSpPr>
          <p:cNvPr id="2997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997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5126912"/>
      </p:ext>
    </p:extLst>
  </p:cSld>
  <p:clrMapOvr>
    <a:masterClrMapping/>
  </p:clrMapOvr>
</p:notes>
</file>

<file path=ppt/notesSlides/notesSlide1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9A73308-78F6-4209-8C5C-69370306C2F8}" type="slidenum">
              <a:rPr lang="en-US"/>
              <a:pPr/>
              <a:t>213</a:t>
            </a:fld>
            <a:endParaRPr lang="en-US"/>
          </a:p>
        </p:txBody>
      </p:sp>
      <p:sp>
        <p:nvSpPr>
          <p:cNvPr id="3006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06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1131773"/>
      </p:ext>
    </p:extLst>
  </p:cSld>
  <p:clrMapOvr>
    <a:masterClrMapping/>
  </p:clrMapOvr>
</p:notes>
</file>

<file path=ppt/notesSlides/notesSlide1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0C6676F-9B0B-4E60-804B-05FACACAF421}" type="slidenum">
              <a:rPr lang="en-US"/>
              <a:pPr/>
              <a:t>214</a:t>
            </a:fld>
            <a:endParaRPr lang="en-US"/>
          </a:p>
        </p:txBody>
      </p:sp>
      <p:sp>
        <p:nvSpPr>
          <p:cNvPr id="3004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044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94007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644DCC1-9BD2-495C-813B-19C171F91EB6}" type="slidenum">
              <a:rPr lang="en-US"/>
              <a:pPr/>
              <a:t>4</a:t>
            </a:fld>
            <a:endParaRPr lang="en-US"/>
          </a:p>
        </p:txBody>
      </p:sp>
      <p:sp>
        <p:nvSpPr>
          <p:cNvPr id="283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8354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7345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467EBA4-35CF-400C-B3AD-C74645083944}" type="slidenum">
              <a:rPr lang="en-US"/>
              <a:pPr/>
              <a:t>23</a:t>
            </a:fld>
            <a:endParaRPr lang="en-US"/>
          </a:p>
        </p:txBody>
      </p:sp>
      <p:sp>
        <p:nvSpPr>
          <p:cNvPr id="2960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960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3494623"/>
      </p:ext>
    </p:extLst>
  </p:cSld>
  <p:clrMapOvr>
    <a:masterClrMapping/>
  </p:clrMapOvr>
</p:notes>
</file>

<file path=ppt/notesSlides/notesSlide20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C312F80-5F28-4F91-B853-7DBA811D8E0F}" type="slidenum">
              <a:rPr lang="en-US"/>
              <a:pPr/>
              <a:t>215</a:t>
            </a:fld>
            <a:endParaRPr lang="en-US"/>
          </a:p>
        </p:txBody>
      </p:sp>
      <p:sp>
        <p:nvSpPr>
          <p:cNvPr id="3002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023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0154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F22CA1A-C970-4915-AB7B-6E4854CE922A}" type="slidenum">
              <a:rPr lang="en-US"/>
              <a:pPr/>
              <a:t>24</a:t>
            </a:fld>
            <a:endParaRPr lang="en-US"/>
          </a:p>
        </p:txBody>
      </p:sp>
      <p:sp>
        <p:nvSpPr>
          <p:cNvPr id="2962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58750" y="766763"/>
            <a:ext cx="7154863" cy="4025900"/>
          </a:xfrm>
          <a:ln/>
        </p:spPr>
      </p:sp>
      <p:sp>
        <p:nvSpPr>
          <p:cNvPr id="29624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19302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54E96DF-4435-4177-860D-2B45F6ACE833}" type="slidenum">
              <a:rPr lang="en-US"/>
              <a:pPr/>
              <a:t>25</a:t>
            </a:fld>
            <a:endParaRPr lang="en-US"/>
          </a:p>
        </p:txBody>
      </p:sp>
      <p:sp>
        <p:nvSpPr>
          <p:cNvPr id="2964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58750" y="766763"/>
            <a:ext cx="7154863" cy="4025900"/>
          </a:xfrm>
          <a:ln/>
        </p:spPr>
      </p:sp>
      <p:sp>
        <p:nvSpPr>
          <p:cNvPr id="29644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620784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692020E-0346-4E6F-BF4A-7BAD41C7288C}" type="slidenum">
              <a:rPr lang="en-US"/>
              <a:pPr/>
              <a:t>26</a:t>
            </a:fld>
            <a:endParaRPr lang="en-US"/>
          </a:p>
        </p:txBody>
      </p:sp>
      <p:sp>
        <p:nvSpPr>
          <p:cNvPr id="2966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9665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11770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55F4991-3CC3-449B-9F9B-3E3668F635C7}" type="slidenum">
              <a:rPr lang="en-US"/>
              <a:pPr/>
              <a:t>27</a:t>
            </a:fld>
            <a:endParaRPr lang="en-US"/>
          </a:p>
        </p:txBody>
      </p:sp>
      <p:sp>
        <p:nvSpPr>
          <p:cNvPr id="29685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9685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358220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743FE40-1EBB-43B1-896C-ED58B4A9F7B1}" type="slidenum">
              <a:rPr lang="en-US"/>
              <a:pPr/>
              <a:t>28</a:t>
            </a:fld>
            <a:endParaRPr lang="en-US"/>
          </a:p>
        </p:txBody>
      </p:sp>
      <p:sp>
        <p:nvSpPr>
          <p:cNvPr id="32952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952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52669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297F1CB-B0E4-47A8-885B-8D59E48EDB9A}" type="slidenum">
              <a:rPr lang="en-US"/>
              <a:pPr/>
              <a:t>29</a:t>
            </a:fld>
            <a:endParaRPr lang="en-US"/>
          </a:p>
        </p:txBody>
      </p:sp>
      <p:sp>
        <p:nvSpPr>
          <p:cNvPr id="29706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9706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301441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17FBAB0-0EA9-49F1-900A-BC5989CA8725}" type="slidenum">
              <a:rPr lang="en-US"/>
              <a:pPr/>
              <a:t>30</a:t>
            </a:fld>
            <a:endParaRPr lang="en-US"/>
          </a:p>
        </p:txBody>
      </p:sp>
      <p:sp>
        <p:nvSpPr>
          <p:cNvPr id="2972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9726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880280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790C01-1D81-4802-AE1B-23BC1784EC5C}" type="slidenum">
              <a:rPr lang="en-US"/>
              <a:pPr/>
              <a:t>31</a:t>
            </a:fld>
            <a:endParaRPr lang="en-US"/>
          </a:p>
        </p:txBody>
      </p:sp>
      <p:sp>
        <p:nvSpPr>
          <p:cNvPr id="2974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9747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705915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7585FA8-9C76-4C7B-B1B2-24F577B19697}" type="slidenum">
              <a:rPr lang="en-US"/>
              <a:pPr/>
              <a:t>32</a:t>
            </a:fld>
            <a:endParaRPr lang="en-US"/>
          </a:p>
        </p:txBody>
      </p:sp>
      <p:sp>
        <p:nvSpPr>
          <p:cNvPr id="2976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58750" y="766763"/>
            <a:ext cx="7154863" cy="4025900"/>
          </a:xfrm>
          <a:ln/>
        </p:spPr>
      </p:sp>
      <p:sp>
        <p:nvSpPr>
          <p:cNvPr id="29767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7118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CECFD3E-D81F-4CD7-A2D1-80B82ABC4F5E}" type="slidenum">
              <a:rPr lang="en-US"/>
              <a:pPr/>
              <a:t>5</a:t>
            </a:fld>
            <a:endParaRPr lang="en-US"/>
          </a:p>
        </p:txBody>
      </p:sp>
      <p:sp>
        <p:nvSpPr>
          <p:cNvPr id="3008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58750" y="766763"/>
            <a:ext cx="7154863" cy="4025900"/>
          </a:xfrm>
          <a:ln/>
        </p:spPr>
      </p:sp>
      <p:sp>
        <p:nvSpPr>
          <p:cNvPr id="30085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731873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3AB4889-0E92-426B-BF35-FE5B1DD19141}" type="slidenum">
              <a:rPr lang="en-US"/>
              <a:pPr/>
              <a:t>34</a:t>
            </a:fld>
            <a:endParaRPr lang="en-US"/>
          </a:p>
        </p:txBody>
      </p:sp>
      <p:sp>
        <p:nvSpPr>
          <p:cNvPr id="3076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76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358179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08837AE-2C46-4D43-9699-3ED500C919CC}" type="slidenum">
              <a:rPr lang="en-US"/>
              <a:pPr/>
              <a:t>35</a:t>
            </a:fld>
            <a:endParaRPr lang="en-US"/>
          </a:p>
        </p:txBody>
      </p:sp>
      <p:sp>
        <p:nvSpPr>
          <p:cNvPr id="3078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781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167274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86F8CFA-32BD-4638-AFD3-F5444F51B112}" type="slidenum">
              <a:rPr lang="en-US"/>
              <a:pPr/>
              <a:t>36</a:t>
            </a:fld>
            <a:endParaRPr lang="en-US"/>
          </a:p>
        </p:txBody>
      </p:sp>
      <p:sp>
        <p:nvSpPr>
          <p:cNvPr id="22702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2702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934951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0328D5B-BD1B-42E2-9464-1AA7BA8283B7}" type="slidenum">
              <a:rPr lang="en-US"/>
              <a:pPr/>
              <a:t>37</a:t>
            </a:fld>
            <a:endParaRPr lang="en-US"/>
          </a:p>
        </p:txBody>
      </p:sp>
      <p:sp>
        <p:nvSpPr>
          <p:cNvPr id="22722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2722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365684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A75A65D-E07C-4403-8C7F-F0915FB376CF}" type="slidenum">
              <a:rPr lang="en-US"/>
              <a:pPr/>
              <a:t>38</a:t>
            </a:fld>
            <a:endParaRPr lang="en-US"/>
          </a:p>
        </p:txBody>
      </p:sp>
      <p:sp>
        <p:nvSpPr>
          <p:cNvPr id="22743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2743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747729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4AF6458-D889-418B-822C-660DB79FE3DB}" type="slidenum">
              <a:rPr lang="en-US"/>
              <a:pPr/>
              <a:t>39</a:t>
            </a:fld>
            <a:endParaRPr lang="en-US"/>
          </a:p>
        </p:txBody>
      </p:sp>
      <p:sp>
        <p:nvSpPr>
          <p:cNvPr id="2276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2763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40647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C8C0345-4D7B-4C53-B43D-99CE32B2061F}" type="slidenum">
              <a:rPr lang="en-US"/>
              <a:pPr/>
              <a:t>40</a:t>
            </a:fld>
            <a:endParaRPr lang="en-US"/>
          </a:p>
        </p:txBody>
      </p:sp>
      <p:sp>
        <p:nvSpPr>
          <p:cNvPr id="33034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5600" y="1162050"/>
            <a:ext cx="6048375" cy="3403600"/>
          </a:xfrm>
          <a:ln/>
        </p:spPr>
      </p:sp>
      <p:sp>
        <p:nvSpPr>
          <p:cNvPr id="33034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48383" y="609699"/>
            <a:ext cx="5346527" cy="532932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72235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358FAF0-C926-449C-9F18-5234C2AA5394}" type="slidenum">
              <a:rPr lang="en-US"/>
              <a:pPr/>
              <a:t>41</a:t>
            </a:fld>
            <a:endParaRPr lang="en-US"/>
          </a:p>
        </p:txBody>
      </p:sp>
      <p:sp>
        <p:nvSpPr>
          <p:cNvPr id="2278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2784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011481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5B1B0F2-B4F0-4194-AEE7-45D84743488B}" type="slidenum">
              <a:rPr lang="en-US"/>
              <a:pPr/>
              <a:t>42</a:t>
            </a:fld>
            <a:endParaRPr lang="en-US"/>
          </a:p>
        </p:txBody>
      </p:sp>
      <p:sp>
        <p:nvSpPr>
          <p:cNvPr id="22804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2804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480914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B76A26A-FBCF-47D0-97ED-6221BC5BA3A6}" type="slidenum">
              <a:rPr lang="en-US"/>
              <a:pPr/>
              <a:t>44</a:t>
            </a:fld>
            <a:endParaRPr lang="en-US"/>
          </a:p>
        </p:txBody>
      </p:sp>
      <p:sp>
        <p:nvSpPr>
          <p:cNvPr id="2317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173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06445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D02B0A-BCED-483A-BD8A-CFF55BF83541}" type="slidenum">
              <a:rPr lang="en-US"/>
              <a:pPr/>
              <a:t>6</a:t>
            </a:fld>
            <a:endParaRPr lang="en-US"/>
          </a:p>
        </p:txBody>
      </p:sp>
      <p:sp>
        <p:nvSpPr>
          <p:cNvPr id="30105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58750" y="766763"/>
            <a:ext cx="7154863" cy="4025900"/>
          </a:xfrm>
          <a:ln/>
        </p:spPr>
      </p:sp>
      <p:sp>
        <p:nvSpPr>
          <p:cNvPr id="30105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076770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4A5034E-6B9B-42BB-A6B2-D66D9F84B503}" type="slidenum">
              <a:rPr lang="en-US"/>
              <a:pPr/>
              <a:t>45</a:t>
            </a:fld>
            <a:endParaRPr lang="en-US"/>
          </a:p>
        </p:txBody>
      </p:sp>
      <p:sp>
        <p:nvSpPr>
          <p:cNvPr id="2329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296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490089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C25F8DE-4410-4BA9-AC94-E4C5536C34BB}" type="slidenum">
              <a:rPr lang="en-US"/>
              <a:pPr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41632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6909B41-7775-4F74-AE45-68A44B022F7E}" type="slidenum">
              <a:rPr lang="en-US"/>
              <a:pPr/>
              <a:t>47</a:t>
            </a:fld>
            <a:endParaRPr lang="en-US"/>
          </a:p>
        </p:txBody>
      </p:sp>
      <p:sp>
        <p:nvSpPr>
          <p:cNvPr id="2362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623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305517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AA87B30-123A-4E0A-BBA2-940216DE1A97}" type="slidenum">
              <a:rPr lang="en-US"/>
              <a:pPr/>
              <a:t>48</a:t>
            </a:fld>
            <a:endParaRPr lang="en-US"/>
          </a:p>
        </p:txBody>
      </p:sp>
      <p:sp>
        <p:nvSpPr>
          <p:cNvPr id="2332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79438" y="763588"/>
            <a:ext cx="5700712" cy="3206750"/>
          </a:xfrm>
          <a:ln w="12700" cap="flat"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sp>
      <p:sp>
        <p:nvSpPr>
          <p:cNvPr id="23326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054" y="4341703"/>
            <a:ext cx="5027893" cy="4108452"/>
          </a:xfrm>
          <a:ln/>
          <a:extLst>
            <a:ext uri="{91240B29-F687-4F45-9708-019B960494DF}">
              <a14:hiddenLine xmlns:a14="http://schemas.microsoft.com/office/drawing/2010/main" w="12700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94899" tIns="46616" rIns="94899" bIns="46616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180637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77DAC15-853D-48B9-9178-F06C8497F96D}" type="slidenum">
              <a:rPr lang="en-US"/>
              <a:pPr/>
              <a:t>49</a:t>
            </a:fld>
            <a:endParaRPr lang="en-US"/>
          </a:p>
        </p:txBody>
      </p:sp>
      <p:sp>
        <p:nvSpPr>
          <p:cNvPr id="2336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367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22912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19F4F8B-742C-48E1-AFD4-5F5AC91FCF02}" type="slidenum">
              <a:rPr lang="en-US"/>
              <a:pPr/>
              <a:t>50</a:t>
            </a:fld>
            <a:endParaRPr lang="en-US"/>
          </a:p>
        </p:txBody>
      </p:sp>
      <p:sp>
        <p:nvSpPr>
          <p:cNvPr id="23511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  <a:ln/>
        </p:spPr>
      </p:sp>
      <p:sp>
        <p:nvSpPr>
          <p:cNvPr id="23511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054" y="4343179"/>
            <a:ext cx="5027893" cy="4114358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509088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5FE9705-818A-4912-949D-EEA68DAD473A}" type="slidenum">
              <a:rPr lang="en-US"/>
              <a:pPr/>
              <a:t>51</a:t>
            </a:fld>
            <a:endParaRPr lang="en-US"/>
          </a:p>
        </p:txBody>
      </p:sp>
      <p:sp>
        <p:nvSpPr>
          <p:cNvPr id="26511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6511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859573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5A2B55B-7715-4CE6-AAFC-1A4E005DD852}" type="slidenum">
              <a:rPr lang="en-US"/>
              <a:pPr/>
              <a:t>52</a:t>
            </a:fld>
            <a:endParaRPr lang="en-US"/>
          </a:p>
        </p:txBody>
      </p:sp>
      <p:sp>
        <p:nvSpPr>
          <p:cNvPr id="29296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9296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171681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669FBA9-744B-4C72-9042-14BDF8D4714D}" type="slidenum">
              <a:rPr lang="en-US"/>
              <a:pPr/>
              <a:t>54</a:t>
            </a:fld>
            <a:endParaRPr lang="en-US"/>
          </a:p>
        </p:txBody>
      </p:sp>
      <p:sp>
        <p:nvSpPr>
          <p:cNvPr id="2647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6470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5614398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626CD04-246D-4766-947A-6549F36E79C3}" type="slidenum">
              <a:rPr lang="en-US"/>
              <a:pPr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0309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CD21E59-6E7F-4415-828B-3E600607C55E}" type="slidenum">
              <a:rPr lang="en-US"/>
              <a:pPr/>
              <a:t>7</a:t>
            </a:fld>
            <a:endParaRPr lang="en-US"/>
          </a:p>
        </p:txBody>
      </p:sp>
      <p:sp>
        <p:nvSpPr>
          <p:cNvPr id="3031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310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275745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D211723-096F-49D5-8277-39435D5DCBD2}" type="slidenum">
              <a:rPr lang="en-US"/>
              <a:pPr/>
              <a:t>56</a:t>
            </a:fld>
            <a:endParaRPr lang="en-US"/>
          </a:p>
        </p:txBody>
      </p:sp>
      <p:sp>
        <p:nvSpPr>
          <p:cNvPr id="264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64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108671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8691706-C7CD-42CA-8DC9-1EF9BB00F37E}" type="slidenum">
              <a:rPr lang="en-US"/>
              <a:pPr/>
              <a:t>58</a:t>
            </a:fld>
            <a:endParaRPr lang="en-US"/>
          </a:p>
        </p:txBody>
      </p:sp>
      <p:sp>
        <p:nvSpPr>
          <p:cNvPr id="2349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490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8050067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9CD6D59-62B3-470E-A95E-D4A140832DE1}" type="slidenum">
              <a:rPr lang="en-US"/>
              <a:pPr/>
              <a:t>59</a:t>
            </a:fld>
            <a:endParaRPr lang="en-US"/>
          </a:p>
        </p:txBody>
      </p:sp>
      <p:sp>
        <p:nvSpPr>
          <p:cNvPr id="2347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470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0081942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80E67BB-53E7-492D-8C18-66A73C35966F}" type="slidenum">
              <a:rPr lang="en-US"/>
              <a:pPr/>
              <a:t>60</a:t>
            </a:fld>
            <a:endParaRPr lang="en-US"/>
          </a:p>
        </p:txBody>
      </p:sp>
      <p:sp>
        <p:nvSpPr>
          <p:cNvPr id="2353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53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4305369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68A6F3D-E8DF-4388-961E-45C998DE3CA5}" type="slidenum">
              <a:rPr lang="en-US"/>
              <a:pPr/>
              <a:t>61</a:t>
            </a:fld>
            <a:endParaRPr lang="en-US"/>
          </a:p>
        </p:txBody>
      </p:sp>
      <p:sp>
        <p:nvSpPr>
          <p:cNvPr id="2357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57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5353289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D4136C6-4DCE-4200-89E5-5085FC0D00A7}" type="slidenum">
              <a:rPr lang="en-US"/>
              <a:pPr/>
              <a:t>62</a:t>
            </a:fld>
            <a:endParaRPr lang="en-US"/>
          </a:p>
        </p:txBody>
      </p:sp>
      <p:sp>
        <p:nvSpPr>
          <p:cNvPr id="26101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6101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3553892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2C03BE0-C1D0-4D24-B16A-8EDFBF778F21}" type="slidenum">
              <a:rPr lang="en-US"/>
              <a:pPr/>
              <a:t>63</a:t>
            </a:fld>
            <a:endParaRPr lang="en-US"/>
          </a:p>
        </p:txBody>
      </p:sp>
      <p:sp>
        <p:nvSpPr>
          <p:cNvPr id="2616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6163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4456066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32DAF9A-07D6-4647-9B24-64713B0B84D0}" type="slidenum">
              <a:rPr lang="en-US"/>
              <a:pPr/>
              <a:t>64</a:t>
            </a:fld>
            <a:endParaRPr lang="en-US"/>
          </a:p>
        </p:txBody>
      </p:sp>
      <p:sp>
        <p:nvSpPr>
          <p:cNvPr id="2624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6245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226186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BA001EF-7A08-4116-881D-61C0897342E7}" type="slidenum">
              <a:rPr lang="en-US"/>
              <a:pPr/>
              <a:t>65</a:t>
            </a:fld>
            <a:endParaRPr lang="en-US"/>
          </a:p>
        </p:txBody>
      </p:sp>
      <p:sp>
        <p:nvSpPr>
          <p:cNvPr id="26265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6265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784201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C22EB02-6D90-497B-95E8-5B5D06F69F5C}" type="slidenum">
              <a:rPr lang="en-US"/>
              <a:pPr/>
              <a:t>66</a:t>
            </a:fld>
            <a:endParaRPr lang="en-US"/>
          </a:p>
        </p:txBody>
      </p:sp>
      <p:sp>
        <p:nvSpPr>
          <p:cNvPr id="2614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6142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45459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25E9DC1-C60B-4E02-9807-6E85D73A6765}" type="slidenum">
              <a:rPr lang="en-US"/>
              <a:pPr/>
              <a:t>8</a:t>
            </a:fld>
            <a:endParaRPr lang="en-US"/>
          </a:p>
        </p:txBody>
      </p:sp>
      <p:sp>
        <p:nvSpPr>
          <p:cNvPr id="30146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146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0920777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0605A85-03E8-49BC-A5CF-A6373ECB1CBF}" type="slidenum">
              <a:rPr lang="en-US"/>
              <a:pPr/>
              <a:t>67</a:t>
            </a:fld>
            <a:endParaRPr lang="en-US"/>
          </a:p>
        </p:txBody>
      </p:sp>
      <p:sp>
        <p:nvSpPr>
          <p:cNvPr id="2334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3347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718605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4BC603C-C943-4D7C-93C1-942BCC449A1F}" type="slidenum">
              <a:rPr lang="en-US"/>
              <a:pPr/>
              <a:t>68</a:t>
            </a:fld>
            <a:endParaRPr lang="en-US"/>
          </a:p>
        </p:txBody>
      </p:sp>
      <p:sp>
        <p:nvSpPr>
          <p:cNvPr id="2618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6183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3638067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B4125DD-67B5-4C32-86F6-8F047FC9A086}" type="slidenum">
              <a:rPr lang="en-US"/>
              <a:pPr/>
              <a:t>69</a:t>
            </a:fld>
            <a:endParaRPr lang="en-US"/>
          </a:p>
        </p:txBody>
      </p:sp>
      <p:sp>
        <p:nvSpPr>
          <p:cNvPr id="264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64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13725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26A90CD-C56F-44A8-B6A9-A34B123CCD6C}" type="slidenum">
              <a:rPr lang="en-US"/>
              <a:pPr/>
              <a:t>71</a:t>
            </a:fld>
            <a:endParaRPr lang="en-US"/>
          </a:p>
        </p:txBody>
      </p:sp>
      <p:sp>
        <p:nvSpPr>
          <p:cNvPr id="3126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262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922265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6A7FE3B-8462-4EA3-B726-F5B67B1C7A3F}" type="slidenum">
              <a:rPr lang="en-US"/>
              <a:pPr/>
              <a:t>72</a:t>
            </a:fld>
            <a:endParaRPr lang="en-US"/>
          </a:p>
        </p:txBody>
      </p:sp>
      <p:sp>
        <p:nvSpPr>
          <p:cNvPr id="3128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283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3413602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FE3424E-B483-49C6-B7B9-5FFABB72406B}" type="slidenum">
              <a:rPr lang="en-US"/>
              <a:pPr/>
              <a:t>73</a:t>
            </a:fld>
            <a:endParaRPr lang="en-US"/>
          </a:p>
        </p:txBody>
      </p:sp>
      <p:sp>
        <p:nvSpPr>
          <p:cNvPr id="3130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303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3935481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8BBCF54-E166-4389-B196-6AC662F9A6B7}" type="slidenum">
              <a:rPr lang="en-US"/>
              <a:pPr/>
              <a:t>74</a:t>
            </a:fld>
            <a:endParaRPr lang="en-US"/>
          </a:p>
        </p:txBody>
      </p:sp>
      <p:sp>
        <p:nvSpPr>
          <p:cNvPr id="3132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324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1682158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5B02783-32AC-4A6C-B7E0-21543EA6FD4B}" type="slidenum">
              <a:rPr lang="en-US"/>
              <a:pPr/>
              <a:t>75</a:t>
            </a:fld>
            <a:endParaRPr lang="en-US"/>
          </a:p>
        </p:txBody>
      </p:sp>
      <p:sp>
        <p:nvSpPr>
          <p:cNvPr id="3134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344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1176040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5697593-19C2-4E83-A4C0-DC384F732F92}" type="slidenum">
              <a:rPr lang="en-US"/>
              <a:pPr/>
              <a:t>76</a:t>
            </a:fld>
            <a:endParaRPr lang="en-US"/>
          </a:p>
        </p:txBody>
      </p:sp>
      <p:sp>
        <p:nvSpPr>
          <p:cNvPr id="3136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365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6209952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7548D0-5EBF-4C1C-B324-07C473760DE9}" type="slidenum">
              <a:rPr lang="en-US"/>
              <a:pPr/>
              <a:t>77</a:t>
            </a:fld>
            <a:endParaRPr lang="en-US"/>
          </a:p>
        </p:txBody>
      </p:sp>
      <p:sp>
        <p:nvSpPr>
          <p:cNvPr id="31385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385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38921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4A934D6-202A-4972-9F8F-0C38D8A3C020}" type="slidenum">
              <a:rPr lang="en-US"/>
              <a:pPr/>
              <a:t>9</a:t>
            </a:fld>
            <a:endParaRPr lang="en-US"/>
          </a:p>
        </p:txBody>
      </p:sp>
      <p:sp>
        <p:nvSpPr>
          <p:cNvPr id="2837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8375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7873128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91965B6-1B8F-4118-87D7-3105D3C13BF7}" type="slidenum">
              <a:rPr lang="en-US"/>
              <a:pPr/>
              <a:t>78</a:t>
            </a:fld>
            <a:endParaRPr lang="en-US"/>
          </a:p>
        </p:txBody>
      </p:sp>
      <p:sp>
        <p:nvSpPr>
          <p:cNvPr id="31406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406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9063228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1692D58-ABB0-4CFE-AD23-632B985C5C3D}" type="slidenum">
              <a:rPr lang="en-US"/>
              <a:pPr/>
              <a:t>79</a:t>
            </a:fld>
            <a:endParaRPr lang="en-US"/>
          </a:p>
        </p:txBody>
      </p:sp>
      <p:sp>
        <p:nvSpPr>
          <p:cNvPr id="31426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426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0413994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B9D5BE2-35E6-44A1-93B4-42636518B477}" type="slidenum">
              <a:rPr lang="en-US"/>
              <a:pPr/>
              <a:t>80</a:t>
            </a:fld>
            <a:endParaRPr lang="en-US"/>
          </a:p>
        </p:txBody>
      </p:sp>
      <p:sp>
        <p:nvSpPr>
          <p:cNvPr id="3144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447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9171352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A8EF439-3D26-4E3B-A173-5FD41821EE97}" type="slidenum">
              <a:rPr lang="en-US"/>
              <a:pPr/>
              <a:t>81</a:t>
            </a:fld>
            <a:endParaRPr lang="en-US"/>
          </a:p>
        </p:txBody>
      </p:sp>
      <p:sp>
        <p:nvSpPr>
          <p:cNvPr id="3146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467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4619821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137CB37-317A-4B39-81C3-A1FDA9C9D2FC}" type="slidenum">
              <a:rPr lang="en-US"/>
              <a:pPr/>
              <a:t>82</a:t>
            </a:fld>
            <a:endParaRPr lang="en-US"/>
          </a:p>
        </p:txBody>
      </p:sp>
      <p:sp>
        <p:nvSpPr>
          <p:cNvPr id="31488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488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1764147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D4EA721-EBEB-4507-828F-3FC378A126CF}" type="slidenum">
              <a:rPr lang="en-US"/>
              <a:pPr/>
              <a:t>83</a:t>
            </a:fld>
            <a:endParaRPr lang="en-US"/>
          </a:p>
        </p:txBody>
      </p:sp>
      <p:sp>
        <p:nvSpPr>
          <p:cNvPr id="31508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508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9894310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B016D94-4525-4983-BD81-6BC6BFB86961}" type="slidenum">
              <a:rPr lang="en-US"/>
              <a:pPr/>
              <a:t>84</a:t>
            </a:fld>
            <a:endParaRPr lang="en-US"/>
          </a:p>
        </p:txBody>
      </p:sp>
      <p:sp>
        <p:nvSpPr>
          <p:cNvPr id="3152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84200" y="763588"/>
            <a:ext cx="5691188" cy="3201987"/>
          </a:xfrm>
          <a:ln w="12700" cap="flat"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sp>
      <p:sp>
        <p:nvSpPr>
          <p:cNvPr id="31528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054" y="4341703"/>
            <a:ext cx="5024625" cy="4115833"/>
          </a:xfrm>
          <a:ln/>
          <a:extLst>
            <a:ext uri="{91240B29-F687-4F45-9708-019B960494DF}">
              <a14:hiddenLine xmlns:a14="http://schemas.microsoft.com/office/drawing/2010/main" w="12700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90415" tIns="44414" rIns="90415" bIns="44414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2240125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E5F41F0-7A56-4351-B1A4-C0CBA1953028}" type="slidenum">
              <a:rPr lang="en-US"/>
              <a:pPr/>
              <a:t>85</a:t>
            </a:fld>
            <a:endParaRPr lang="en-US"/>
          </a:p>
        </p:txBody>
      </p:sp>
      <p:sp>
        <p:nvSpPr>
          <p:cNvPr id="3154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84200" y="763588"/>
            <a:ext cx="5691188" cy="3201987"/>
          </a:xfrm>
          <a:ln w="12700" cap="flat"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sp>
      <p:sp>
        <p:nvSpPr>
          <p:cNvPr id="31549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054" y="4341703"/>
            <a:ext cx="5024625" cy="4115833"/>
          </a:xfrm>
          <a:ln/>
          <a:extLst>
            <a:ext uri="{91240B29-F687-4F45-9708-019B960494DF}">
              <a14:hiddenLine xmlns:a14="http://schemas.microsoft.com/office/drawing/2010/main" w="12700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90415" tIns="44414" rIns="90415" bIns="44414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0217555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CC2E294-5B88-40AB-AA8B-E93D0F8A17CD}" type="slidenum">
              <a:rPr lang="en-US"/>
              <a:pPr/>
              <a:t>86</a:t>
            </a:fld>
            <a:endParaRPr lang="en-US"/>
          </a:p>
        </p:txBody>
      </p:sp>
      <p:sp>
        <p:nvSpPr>
          <p:cNvPr id="3156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84200" y="763588"/>
            <a:ext cx="5691188" cy="3201987"/>
          </a:xfrm>
          <a:ln w="12700" cap="flat"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sp>
      <p:sp>
        <p:nvSpPr>
          <p:cNvPr id="31569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054" y="4341703"/>
            <a:ext cx="5024625" cy="4115833"/>
          </a:xfrm>
          <a:ln/>
          <a:extLst>
            <a:ext uri="{91240B29-F687-4F45-9708-019B960494DF}">
              <a14:hiddenLine xmlns:a14="http://schemas.microsoft.com/office/drawing/2010/main" w="12700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90415" tIns="44414" rIns="90415" bIns="44414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7411456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1084278-ED99-44BD-A749-D9D306E9ABDA}" type="slidenum">
              <a:rPr lang="en-US"/>
              <a:pPr/>
              <a:t>87</a:t>
            </a:fld>
            <a:endParaRPr lang="en-US"/>
          </a:p>
        </p:txBody>
      </p:sp>
      <p:sp>
        <p:nvSpPr>
          <p:cNvPr id="3159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84200" y="763588"/>
            <a:ext cx="5691188" cy="3201987"/>
          </a:xfrm>
          <a:ln w="12700" cap="flat"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sp>
      <p:sp>
        <p:nvSpPr>
          <p:cNvPr id="31590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054" y="4341703"/>
            <a:ext cx="5024625" cy="4115833"/>
          </a:xfrm>
          <a:ln/>
          <a:extLst>
            <a:ext uri="{91240B29-F687-4F45-9708-019B960494DF}">
              <a14:hiddenLine xmlns:a14="http://schemas.microsoft.com/office/drawing/2010/main" w="12700">
                <a:solidFill>
                  <a:schemeClr val="bg1"/>
                </a:solidFill>
                <a:miter lim="800000"/>
                <a:headEnd/>
                <a:tailEnd/>
              </a14:hiddenLine>
            </a:ext>
          </a:extLst>
        </p:spPr>
        <p:txBody>
          <a:bodyPr lIns="90415" tIns="44414" rIns="90415" bIns="44414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93340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7B2B0D-F088-4AA3-9093-1EEBA4BB43BB}" type="slidenum">
              <a:rPr lang="en-US"/>
              <a:pPr/>
              <a:t>10</a:t>
            </a:fld>
            <a:endParaRPr lang="en-US"/>
          </a:p>
        </p:txBody>
      </p:sp>
      <p:sp>
        <p:nvSpPr>
          <p:cNvPr id="2839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28395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0268769"/>
      </p:ext>
    </p:extLst>
  </p:cSld>
  <p:clrMapOvr>
    <a:masterClrMapping/>
  </p:clrMapOvr>
</p:notes>
</file>

<file path=ppt/notesSlides/notesSlide8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F553432-F10C-4F44-BC0C-C444D576DB50}" type="slidenum">
              <a:rPr lang="en-US"/>
              <a:pPr/>
              <a:t>88</a:t>
            </a:fld>
            <a:endParaRPr lang="en-US"/>
          </a:p>
        </p:txBody>
      </p:sp>
      <p:sp>
        <p:nvSpPr>
          <p:cNvPr id="3161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61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8612832"/>
      </p:ext>
    </p:extLst>
  </p:cSld>
  <p:clrMapOvr>
    <a:masterClrMapping/>
  </p:clrMapOvr>
</p:notes>
</file>

<file path=ppt/notesSlides/notesSlide8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5012A86-B4AD-4F70-8DE9-D21650E74EFB}" type="slidenum">
              <a:rPr lang="en-US"/>
              <a:pPr/>
              <a:t>89</a:t>
            </a:fld>
            <a:endParaRPr lang="en-US"/>
          </a:p>
        </p:txBody>
      </p:sp>
      <p:sp>
        <p:nvSpPr>
          <p:cNvPr id="31631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631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5366927"/>
      </p:ext>
    </p:extLst>
  </p:cSld>
  <p:clrMapOvr>
    <a:masterClrMapping/>
  </p:clrMapOvr>
</p:notes>
</file>

<file path=ppt/notesSlides/notesSlide8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12C5A83-3896-4EA2-B4A9-57A67B6FB0CE}" type="slidenum">
              <a:rPr lang="en-US"/>
              <a:pPr/>
              <a:t>90</a:t>
            </a:fld>
            <a:endParaRPr lang="en-US"/>
          </a:p>
        </p:txBody>
      </p:sp>
      <p:sp>
        <p:nvSpPr>
          <p:cNvPr id="31651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651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811688"/>
      </p:ext>
    </p:extLst>
  </p:cSld>
  <p:clrMapOvr>
    <a:masterClrMapping/>
  </p:clrMapOvr>
</p:notes>
</file>

<file path=ppt/notesSlides/notesSlide8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366BCE0-5099-4D9A-BD57-788E821BD230}" type="slidenum">
              <a:rPr lang="en-US"/>
              <a:pPr/>
              <a:t>91</a:t>
            </a:fld>
            <a:endParaRPr lang="en-US"/>
          </a:p>
        </p:txBody>
      </p:sp>
      <p:sp>
        <p:nvSpPr>
          <p:cNvPr id="31672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672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4443129"/>
      </p:ext>
    </p:extLst>
  </p:cSld>
  <p:clrMapOvr>
    <a:masterClrMapping/>
  </p:clrMapOvr>
</p:notes>
</file>

<file path=ppt/notesSlides/notesSlide8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40A3300-56CE-4A5D-A928-1EC7566F84A2}" type="slidenum">
              <a:rPr lang="en-US"/>
              <a:pPr/>
              <a:t>92</a:t>
            </a:fld>
            <a:endParaRPr lang="en-US"/>
          </a:p>
        </p:txBody>
      </p:sp>
      <p:sp>
        <p:nvSpPr>
          <p:cNvPr id="31692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692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288210"/>
      </p:ext>
    </p:extLst>
  </p:cSld>
  <p:clrMapOvr>
    <a:masterClrMapping/>
  </p:clrMapOvr>
</p:notes>
</file>

<file path=ppt/notesSlides/notesSlide8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9E0E3BF-08E6-467F-A59F-CEBEECC65EBF}" type="slidenum">
              <a:rPr lang="en-US"/>
              <a:pPr/>
              <a:t>93</a:t>
            </a:fld>
            <a:endParaRPr lang="en-US"/>
          </a:p>
        </p:txBody>
      </p:sp>
      <p:sp>
        <p:nvSpPr>
          <p:cNvPr id="3171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71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5908378"/>
      </p:ext>
    </p:extLst>
  </p:cSld>
  <p:clrMapOvr>
    <a:masterClrMapping/>
  </p:clrMapOvr>
</p:notes>
</file>

<file path=ppt/notesSlides/notesSlide8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0E6B747-A486-411E-A9FD-80C0F23ACAAC}" type="slidenum">
              <a:rPr lang="en-US"/>
              <a:pPr/>
              <a:t>94</a:t>
            </a:fld>
            <a:endParaRPr lang="en-US"/>
          </a:p>
        </p:txBody>
      </p:sp>
      <p:sp>
        <p:nvSpPr>
          <p:cNvPr id="31733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733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4291894"/>
      </p:ext>
    </p:extLst>
  </p:cSld>
  <p:clrMapOvr>
    <a:masterClrMapping/>
  </p:clrMapOvr>
</p:notes>
</file>

<file path=ppt/notesSlides/notesSlide8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01E7E4-E70E-4481-B64A-F880BEE504BF}" type="slidenum">
              <a:rPr lang="en-US"/>
              <a:pPr/>
              <a:t>95</a:t>
            </a:fld>
            <a:endParaRPr lang="en-US"/>
          </a:p>
        </p:txBody>
      </p:sp>
      <p:sp>
        <p:nvSpPr>
          <p:cNvPr id="31754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754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552376"/>
      </p:ext>
    </p:extLst>
  </p:cSld>
  <p:clrMapOvr>
    <a:masterClrMapping/>
  </p:clrMapOvr>
</p:notes>
</file>

<file path=ppt/notesSlides/notesSlide8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4339CD1-EB71-4A36-983F-D395236911A6}" type="slidenum">
              <a:rPr lang="en-US"/>
              <a:pPr/>
              <a:t>96</a:t>
            </a:fld>
            <a:endParaRPr lang="en-US"/>
          </a:p>
        </p:txBody>
      </p:sp>
      <p:sp>
        <p:nvSpPr>
          <p:cNvPr id="31774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774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8339288"/>
      </p:ext>
    </p:extLst>
  </p:cSld>
  <p:clrMapOvr>
    <a:masterClrMapping/>
  </p:clrMapOvr>
</p:notes>
</file>

<file path=ppt/notesSlides/notesSlide8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1ECEC11-0910-4EA4-9CDE-327501344590}" type="slidenum">
              <a:rPr lang="en-US"/>
              <a:pPr/>
              <a:t>97</a:t>
            </a:fld>
            <a:endParaRPr lang="en-US"/>
          </a:p>
        </p:txBody>
      </p:sp>
      <p:sp>
        <p:nvSpPr>
          <p:cNvPr id="31795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795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46091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B26DC99-918D-4DCD-A48E-99D7C0D8A2A0}" type="slidenum">
              <a:rPr lang="en-US"/>
              <a:pPr/>
              <a:t>11</a:t>
            </a:fld>
            <a:endParaRPr lang="en-US"/>
          </a:p>
        </p:txBody>
      </p:sp>
      <p:sp>
        <p:nvSpPr>
          <p:cNvPr id="3033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033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9349061"/>
      </p:ext>
    </p:extLst>
  </p:cSld>
  <p:clrMapOvr>
    <a:masterClrMapping/>
  </p:clrMapOvr>
</p:notes>
</file>

<file path=ppt/notesSlides/notesSlide9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A63F0CC-E6C3-47AF-82FD-5BAB9EB9E039}" type="slidenum">
              <a:rPr lang="en-US"/>
              <a:pPr/>
              <a:t>98</a:t>
            </a:fld>
            <a:endParaRPr lang="en-US"/>
          </a:p>
        </p:txBody>
      </p:sp>
      <p:sp>
        <p:nvSpPr>
          <p:cNvPr id="31815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815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1734910"/>
      </p:ext>
    </p:extLst>
  </p:cSld>
  <p:clrMapOvr>
    <a:masterClrMapping/>
  </p:clrMapOvr>
</p:notes>
</file>

<file path=ppt/notesSlides/notesSlide9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C895F98-CD03-47C9-BBCB-690DB17EF88E}" type="slidenum">
              <a:rPr lang="en-US"/>
              <a:pPr/>
              <a:t>99</a:t>
            </a:fld>
            <a:endParaRPr lang="en-US"/>
          </a:p>
        </p:txBody>
      </p:sp>
      <p:sp>
        <p:nvSpPr>
          <p:cNvPr id="3183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83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5146514"/>
      </p:ext>
    </p:extLst>
  </p:cSld>
  <p:clrMapOvr>
    <a:masterClrMapping/>
  </p:clrMapOvr>
</p:notes>
</file>

<file path=ppt/notesSlides/notesSlide9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3B388B5-E739-4E09-BB36-E024A3648C2C}" type="slidenum">
              <a:rPr lang="en-US"/>
              <a:pPr/>
              <a:t>100</a:t>
            </a:fld>
            <a:endParaRPr lang="en-US"/>
          </a:p>
        </p:txBody>
      </p:sp>
      <p:sp>
        <p:nvSpPr>
          <p:cNvPr id="31856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856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6893097"/>
      </p:ext>
    </p:extLst>
  </p:cSld>
  <p:clrMapOvr>
    <a:masterClrMapping/>
  </p:clrMapOvr>
</p:notes>
</file>

<file path=ppt/notesSlides/notesSlide9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B566AD9-47AC-4FE0-9FA4-8D5968C08DD3}" type="slidenum">
              <a:rPr lang="en-US"/>
              <a:pPr/>
              <a:t>101</a:t>
            </a:fld>
            <a:endParaRPr lang="en-US"/>
          </a:p>
        </p:txBody>
      </p:sp>
      <p:sp>
        <p:nvSpPr>
          <p:cNvPr id="31877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877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7825544"/>
      </p:ext>
    </p:extLst>
  </p:cSld>
  <p:clrMapOvr>
    <a:masterClrMapping/>
  </p:clrMapOvr>
</p:notes>
</file>

<file path=ppt/notesSlides/notesSlide9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FDF7EFE-7FC5-4E16-9A59-7DA562459005}" type="slidenum">
              <a:rPr lang="en-US"/>
              <a:pPr/>
              <a:t>102</a:t>
            </a:fld>
            <a:endParaRPr lang="en-US"/>
          </a:p>
        </p:txBody>
      </p:sp>
      <p:sp>
        <p:nvSpPr>
          <p:cNvPr id="31897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897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8682424"/>
      </p:ext>
    </p:extLst>
  </p:cSld>
  <p:clrMapOvr>
    <a:masterClrMapping/>
  </p:clrMapOvr>
</p:notes>
</file>

<file path=ppt/notesSlides/notesSlide9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A2AD7D7-E430-4135-95B7-162EFE04A44B}" type="slidenum">
              <a:rPr lang="en-US"/>
              <a:pPr/>
              <a:t>103</a:t>
            </a:fld>
            <a:endParaRPr lang="en-US"/>
          </a:p>
        </p:txBody>
      </p:sp>
      <p:sp>
        <p:nvSpPr>
          <p:cNvPr id="31918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918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7500443"/>
      </p:ext>
    </p:extLst>
  </p:cSld>
  <p:clrMapOvr>
    <a:masterClrMapping/>
  </p:clrMapOvr>
</p:notes>
</file>

<file path=ppt/notesSlides/notesSlide9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C30B9D-FEFD-407F-A75C-EAAEE03465BA}" type="slidenum">
              <a:rPr lang="en-US"/>
              <a:pPr/>
              <a:t>104</a:t>
            </a:fld>
            <a:endParaRPr lang="en-US"/>
          </a:p>
        </p:txBody>
      </p:sp>
      <p:sp>
        <p:nvSpPr>
          <p:cNvPr id="31938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938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063714"/>
      </p:ext>
    </p:extLst>
  </p:cSld>
  <p:clrMapOvr>
    <a:masterClrMapping/>
  </p:clrMapOvr>
</p:notes>
</file>

<file path=ppt/notesSlides/notesSlide9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B5AC4FC-0B1D-4F10-9DDD-3E5B38FA550B}" type="slidenum">
              <a:rPr lang="en-US"/>
              <a:pPr/>
              <a:t>105</a:t>
            </a:fld>
            <a:endParaRPr lang="en-US"/>
          </a:p>
        </p:txBody>
      </p:sp>
      <p:sp>
        <p:nvSpPr>
          <p:cNvPr id="31959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959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5453952"/>
      </p:ext>
    </p:extLst>
  </p:cSld>
  <p:clrMapOvr>
    <a:masterClrMapping/>
  </p:clrMapOvr>
</p:notes>
</file>

<file path=ppt/notesSlides/notesSlide9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2AE0747-0786-49BC-8077-F18776D61B47}" type="slidenum">
              <a:rPr lang="en-US"/>
              <a:pPr/>
              <a:t>106</a:t>
            </a:fld>
            <a:endParaRPr lang="en-US"/>
          </a:p>
        </p:txBody>
      </p:sp>
      <p:sp>
        <p:nvSpPr>
          <p:cNvPr id="31979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1979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6600685"/>
      </p:ext>
    </p:extLst>
  </p:cSld>
  <p:clrMapOvr>
    <a:masterClrMapping/>
  </p:clrMapOvr>
</p:notes>
</file>

<file path=ppt/notesSlides/notesSlide9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EC84828-2C3F-4D77-A570-3182E9BA350E}" type="slidenum">
              <a:rPr lang="en-US"/>
              <a:pPr/>
              <a:t>107</a:t>
            </a:fld>
            <a:endParaRPr lang="en-US"/>
          </a:p>
        </p:txBody>
      </p:sp>
      <p:sp>
        <p:nvSpPr>
          <p:cNvPr id="32000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60338" y="766763"/>
            <a:ext cx="7156451" cy="4025900"/>
          </a:xfrm>
          <a:ln/>
        </p:spPr>
      </p:sp>
      <p:sp>
        <p:nvSpPr>
          <p:cNvPr id="32000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17099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62900" y="2015067"/>
            <a:ext cx="3657600" cy="1909762"/>
          </a:xfrm>
        </p:spPr>
        <p:txBody>
          <a:bodyPr anchor="b"/>
          <a:lstStyle>
            <a:lvl1pPr algn="l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001000" y="5410198"/>
            <a:ext cx="3657600" cy="838201"/>
          </a:xfrm>
        </p:spPr>
        <p:txBody>
          <a:bodyPr>
            <a:noAutofit/>
          </a:bodyPr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962900" y="5410199"/>
            <a:ext cx="0" cy="838201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E099E6AB-A699-3A4A-B468-4608BEDC74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405" b="-515"/>
          <a:stretch/>
        </p:blipFill>
        <p:spPr>
          <a:xfrm>
            <a:off x="8732479" y="649080"/>
            <a:ext cx="456677" cy="44594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6F1F429-882F-C547-B919-654C1BB8A766}"/>
              </a:ext>
            </a:extLst>
          </p:cNvPr>
          <p:cNvSpPr txBox="1"/>
          <p:nvPr userDrawn="1"/>
        </p:nvSpPr>
        <p:spPr>
          <a:xfrm>
            <a:off x="9215709" y="687385"/>
            <a:ext cx="15840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latin typeface="Baskerville" charset="0"/>
                <a:ea typeface="Baskerville" charset="0"/>
                <a:cs typeface="Baskerville" charset="0"/>
              </a:rPr>
              <a:t>LEARNING</a:t>
            </a:r>
          </a:p>
        </p:txBody>
      </p:sp>
    </p:spTree>
    <p:extLst>
      <p:ext uri="{BB962C8B-B14F-4D97-AF65-F5344CB8AC3E}">
        <p14:creationId xmlns:p14="http://schemas.microsoft.com/office/powerpoint/2010/main" val="1803364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Baskerville" charset="0"/>
                <a:ea typeface="Baskerville" charset="0"/>
                <a:cs typeface="Baskerville" charset="0"/>
              </a:defRPr>
            </a:lvl1pPr>
          </a:lstStyle>
          <a:p>
            <a:fld id="{29AF5079-4363-884B-816E-D579802C494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472592"/>
            <a:ext cx="0" cy="1218096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0091" y="365125"/>
            <a:ext cx="573709" cy="573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0044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2170533" y="6566401"/>
            <a:ext cx="1440000" cy="151200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rgbClr val="000066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11409600" y="6566400"/>
            <a:ext cx="350400" cy="151200"/>
          </a:xfr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EA6AD245-CE23-44AA-B096-4A6180C9AA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272001" y="6566401"/>
            <a:ext cx="6720001" cy="151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313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AF5079-4363-884B-816E-D579802C49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557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Baskerville" charset="0"/>
          <a:ea typeface="Baskerville" charset="0"/>
          <a:cs typeface="Baskerville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/>
        <a:buChar char="•"/>
        <a:defRPr sz="2800" kern="1200">
          <a:solidFill>
            <a:schemeClr val="tx1"/>
          </a:solidFill>
          <a:latin typeface="Baskerville" charset="0"/>
          <a:ea typeface="Baskerville" charset="0"/>
          <a:cs typeface="Baskerville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7030A0"/>
        </a:buClr>
        <a:buFont typeface=".AppleSystemUIFont" charset="-120"/>
        <a:buChar char="−"/>
        <a:defRPr sz="2400" kern="1200">
          <a:solidFill>
            <a:schemeClr val="tx1"/>
          </a:solidFill>
          <a:latin typeface="Baskerville" charset="0"/>
          <a:ea typeface="Baskerville" charset="0"/>
          <a:cs typeface="Baskerville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7030A0"/>
        </a:buClr>
        <a:buFont typeface=".AppleSystemUIFont" charset="-120"/>
        <a:buChar char="−"/>
        <a:defRPr sz="2000" kern="1200">
          <a:solidFill>
            <a:schemeClr val="tx1"/>
          </a:solidFill>
          <a:latin typeface="Baskerville" charset="0"/>
          <a:ea typeface="Baskerville" charset="0"/>
          <a:cs typeface="Baskerville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7030A0"/>
        </a:buClr>
        <a:buFont typeface=".AppleSystemUIFont" charset="-120"/>
        <a:buChar char="−"/>
        <a:defRPr sz="1800" kern="1200">
          <a:solidFill>
            <a:schemeClr val="tx1"/>
          </a:solidFill>
          <a:latin typeface="Baskerville" charset="0"/>
          <a:ea typeface="Baskerville" charset="0"/>
          <a:cs typeface="Baskerville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7030A0"/>
        </a:buClr>
        <a:buFont typeface=".AppleSystemUIFont" charset="-120"/>
        <a:buChar char="−"/>
        <a:defRPr sz="1800" kern="1200">
          <a:solidFill>
            <a:schemeClr val="tx1"/>
          </a:solidFill>
          <a:latin typeface="Baskerville" charset="0"/>
          <a:ea typeface="Baskerville" charset="0"/>
          <a:cs typeface="Baskerville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2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3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4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5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6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7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8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9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0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2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3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4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05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6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7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8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9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0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2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3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4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5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6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7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8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9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0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2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3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4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5.xml"/></Relationships>
</file>

<file path=ppt/slides/_rels/slide1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6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7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8.xml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9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0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2.xml"/></Relationships>
</file>

<file path=ppt/slides/_rels/slide1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3.xml"/></Relationships>
</file>

<file path=ppt/slides/_rels/slide1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4.xml"/></Relationships>
</file>

<file path=ppt/slides/_rels/slide1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5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6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7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8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9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/Relationships>
</file>

<file path=ppt/slides/_rels/slide1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1.xml"/></Relationships>
</file>

<file path=ppt/slides/_rels/slide1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2.xml"/></Relationships>
</file>

<file path=ppt/slides/_rels/slide1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3.xml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4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5.xml"/></Relationships>
</file>

<file path=ppt/slides/_rels/slide1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6.xml"/></Relationships>
</file>

<file path=ppt/slides/_rels/slide1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7.xml"/></Relationships>
</file>

<file path=ppt/slides/_rels/slide1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8.xml"/></Relationships>
</file>

<file path=ppt/slides/_rels/slide1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/Relationships>
</file>

<file path=ppt/slides/_rels/slide1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0.xml"/></Relationships>
</file>

<file path=ppt/slides/_rels/slide1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1.xml"/></Relationships>
</file>

<file path=ppt/slides/_rels/slide1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52.xml"/></Relationships>
</file>

<file path=ppt/slides/_rels/slide1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53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4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7.emf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/Relationships>
</file>

<file path=ppt/slides/_rels/slide1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5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8.emf"/><Relationship Id="rId6" Type="http://schemas.openxmlformats.org/officeDocument/2006/relationships/oleObject" Target="../embeddings/oleObject3.bin"/><Relationship Id="rId7" Type="http://schemas.openxmlformats.org/officeDocument/2006/relationships/image" Target="../media/image9.emf"/><Relationship Id="rId1" Type="http://schemas.openxmlformats.org/officeDocument/2006/relationships/vmlDrawing" Target="../drawings/vmlDrawing2.vml"/><Relationship Id="rId2" Type="http://schemas.openxmlformats.org/officeDocument/2006/relationships/slideLayout" Target="../slideLayouts/slideLayout2.xml"/></Relationships>
</file>

<file path=ppt/slides/_rels/slide1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6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0.emf"/><Relationship Id="rId6" Type="http://schemas.openxmlformats.org/officeDocument/2006/relationships/oleObject" Target="../embeddings/oleObject5.bin"/><Relationship Id="rId7" Type="http://schemas.openxmlformats.org/officeDocument/2006/relationships/image" Target="../media/image11.emf"/><Relationship Id="rId8" Type="http://schemas.openxmlformats.org/officeDocument/2006/relationships/oleObject" Target="../embeddings/oleObject6.bin"/><Relationship Id="rId9" Type="http://schemas.openxmlformats.org/officeDocument/2006/relationships/image" Target="../media/image12.emf"/><Relationship Id="rId1" Type="http://schemas.openxmlformats.org/officeDocument/2006/relationships/vmlDrawing" Target="../drawings/vmlDrawing3.vml"/><Relationship Id="rId2" Type="http://schemas.openxmlformats.org/officeDocument/2006/relationships/slideLayout" Target="../slideLayouts/slideLayout2.xml"/></Relationships>
</file>

<file path=ppt/slides/_rels/slide1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7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3.emf"/><Relationship Id="rId1" Type="http://schemas.openxmlformats.org/officeDocument/2006/relationships/vmlDrawing" Target="../drawings/vmlDrawing4.vml"/><Relationship Id="rId2" Type="http://schemas.openxmlformats.org/officeDocument/2006/relationships/slideLayout" Target="../slideLayouts/slideLayout2.xml"/></Relationships>
</file>

<file path=ppt/slides/_rels/slide1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8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4.emf"/><Relationship Id="rId1" Type="http://schemas.openxmlformats.org/officeDocument/2006/relationships/vmlDrawing" Target="../drawings/vmlDrawing5.vml"/><Relationship Id="rId2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/Relationships>
</file>

<file path=ppt/slides/_rels/slide1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9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5.emf"/><Relationship Id="rId1" Type="http://schemas.openxmlformats.org/officeDocument/2006/relationships/vmlDrawing" Target="../drawings/vmlDrawing6.vml"/><Relationship Id="rId2" Type="http://schemas.openxmlformats.org/officeDocument/2006/relationships/slideLayout" Target="../slideLayouts/slideLayout2.xml"/></Relationships>
</file>

<file path=ppt/slides/_rels/slide1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0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6.emf"/><Relationship Id="rId1" Type="http://schemas.openxmlformats.org/officeDocument/2006/relationships/vmlDrawing" Target="../drawings/vmlDrawing7.vml"/><Relationship Id="rId2" Type="http://schemas.openxmlformats.org/officeDocument/2006/relationships/slideLayout" Target="../slideLayouts/slideLayout2.xml"/></Relationships>
</file>

<file path=ppt/slides/_rels/slide17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1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7.emf"/><Relationship Id="rId6" Type="http://schemas.openxmlformats.org/officeDocument/2006/relationships/oleObject" Target="../embeddings/oleObject12.bin"/><Relationship Id="rId7" Type="http://schemas.openxmlformats.org/officeDocument/2006/relationships/image" Target="../media/image18.emf"/><Relationship Id="rId1" Type="http://schemas.openxmlformats.org/officeDocument/2006/relationships/vmlDrawing" Target="../drawings/vmlDrawing8.vml"/><Relationship Id="rId2" Type="http://schemas.openxmlformats.org/officeDocument/2006/relationships/slideLayout" Target="../slideLayouts/slideLayout2.xml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2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9.emf"/><Relationship Id="rId6" Type="http://schemas.openxmlformats.org/officeDocument/2006/relationships/oleObject" Target="../embeddings/oleObject14.bin"/><Relationship Id="rId7" Type="http://schemas.openxmlformats.org/officeDocument/2006/relationships/image" Target="../media/image20.emf"/><Relationship Id="rId1" Type="http://schemas.openxmlformats.org/officeDocument/2006/relationships/vmlDrawing" Target="../drawings/vmlDrawing9.vml"/><Relationship Id="rId2" Type="http://schemas.openxmlformats.org/officeDocument/2006/relationships/slideLayout" Target="../slideLayouts/slideLayout2.xml"/></Relationships>
</file>

<file path=ppt/slides/_rels/slide1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3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21.emf"/><Relationship Id="rId1" Type="http://schemas.openxmlformats.org/officeDocument/2006/relationships/vmlDrawing" Target="../drawings/vmlDrawing10.vml"/><Relationship Id="rId2" Type="http://schemas.openxmlformats.org/officeDocument/2006/relationships/slideLayout" Target="../slideLayouts/slideLayout2.xml"/></Relationships>
</file>

<file path=ppt/slides/_rels/slide1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4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22.emf"/><Relationship Id="rId1" Type="http://schemas.openxmlformats.org/officeDocument/2006/relationships/vmlDrawing" Target="../drawings/vmlDrawing11.vml"/><Relationship Id="rId2" Type="http://schemas.openxmlformats.org/officeDocument/2006/relationships/slideLayout" Target="../slideLayouts/slideLayout2.xml"/></Relationships>
</file>

<file path=ppt/slides/_rels/slide17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5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23.emf"/><Relationship Id="rId1" Type="http://schemas.openxmlformats.org/officeDocument/2006/relationships/vmlDrawing" Target="../drawings/vmlDrawing12.vml"/><Relationship Id="rId2" Type="http://schemas.openxmlformats.org/officeDocument/2006/relationships/slideLayout" Target="../slideLayouts/slideLayout2.xml"/></Relationships>
</file>

<file path=ppt/slides/_rels/slide1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6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24.emf"/><Relationship Id="rId1" Type="http://schemas.openxmlformats.org/officeDocument/2006/relationships/vmlDrawing" Target="../drawings/vmlDrawing13.vml"/><Relationship Id="rId2" Type="http://schemas.openxmlformats.org/officeDocument/2006/relationships/slideLayout" Target="../slideLayouts/slideLayout2.xml"/></Relationships>
</file>

<file path=ppt/slides/_rels/slide17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7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25.emf"/><Relationship Id="rId1" Type="http://schemas.openxmlformats.org/officeDocument/2006/relationships/vmlDrawing" Target="../drawings/vmlDrawing14.vml"/><Relationship Id="rId2" Type="http://schemas.openxmlformats.org/officeDocument/2006/relationships/slideLayout" Target="../slideLayouts/slideLayout2.xml"/></Relationships>
</file>

<file path=ppt/slides/_rels/slide1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8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26.emf"/><Relationship Id="rId1" Type="http://schemas.openxmlformats.org/officeDocument/2006/relationships/vmlDrawing" Target="../drawings/vmlDrawing15.vml"/><Relationship Id="rId2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6.xml"/></Relationships>
</file>

<file path=ppt/slides/_rels/slide18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9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27.emf"/><Relationship Id="rId1" Type="http://schemas.openxmlformats.org/officeDocument/2006/relationships/vmlDrawing" Target="../drawings/vmlDrawing16.vml"/><Relationship Id="rId2" Type="http://schemas.openxmlformats.org/officeDocument/2006/relationships/slideLayout" Target="../slideLayouts/slideLayout2.xml"/></Relationships>
</file>

<file path=ppt/slides/_rels/slide181.xml.rels><?xml version="1.0" encoding="UTF-8" standalone="yes"?>
<Relationships xmlns="http://schemas.openxmlformats.org/package/2006/relationships"><Relationship Id="rId11" Type="http://schemas.openxmlformats.org/officeDocument/2006/relationships/tags" Target="../tags/tag33.xml"/><Relationship Id="rId12" Type="http://schemas.openxmlformats.org/officeDocument/2006/relationships/tags" Target="../tags/tag34.xml"/><Relationship Id="rId13" Type="http://schemas.openxmlformats.org/officeDocument/2006/relationships/tags" Target="../tags/tag35.xml"/><Relationship Id="rId14" Type="http://schemas.openxmlformats.org/officeDocument/2006/relationships/slideLayout" Target="../slideLayouts/slideLayout2.xml"/><Relationship Id="rId15" Type="http://schemas.openxmlformats.org/officeDocument/2006/relationships/notesSlide" Target="../notesSlides/notesSlide170.xml"/><Relationship Id="rId16" Type="http://schemas.openxmlformats.org/officeDocument/2006/relationships/oleObject" Target="../embeddings/oleObject22.bin"/><Relationship Id="rId17" Type="http://schemas.openxmlformats.org/officeDocument/2006/relationships/image" Target="../media/image28.emf"/><Relationship Id="rId18" Type="http://schemas.openxmlformats.org/officeDocument/2006/relationships/oleObject" Target="../embeddings/oleObject23.bin"/><Relationship Id="rId19" Type="http://schemas.openxmlformats.org/officeDocument/2006/relationships/image" Target="../media/image29.emf"/><Relationship Id="rId1" Type="http://schemas.openxmlformats.org/officeDocument/2006/relationships/vmlDrawing" Target="../drawings/vmlDrawing17.vml"/><Relationship Id="rId2" Type="http://schemas.openxmlformats.org/officeDocument/2006/relationships/tags" Target="../tags/tag24.xml"/><Relationship Id="rId3" Type="http://schemas.openxmlformats.org/officeDocument/2006/relationships/tags" Target="../tags/tag25.xml"/><Relationship Id="rId4" Type="http://schemas.openxmlformats.org/officeDocument/2006/relationships/tags" Target="../tags/tag26.xml"/><Relationship Id="rId5" Type="http://schemas.openxmlformats.org/officeDocument/2006/relationships/tags" Target="../tags/tag27.xml"/><Relationship Id="rId6" Type="http://schemas.openxmlformats.org/officeDocument/2006/relationships/tags" Target="../tags/tag28.xml"/><Relationship Id="rId7" Type="http://schemas.openxmlformats.org/officeDocument/2006/relationships/tags" Target="../tags/tag29.xml"/><Relationship Id="rId8" Type="http://schemas.openxmlformats.org/officeDocument/2006/relationships/tags" Target="../tags/tag30.xml"/><Relationship Id="rId9" Type="http://schemas.openxmlformats.org/officeDocument/2006/relationships/tags" Target="../tags/tag31.xml"/><Relationship Id="rId10" Type="http://schemas.openxmlformats.org/officeDocument/2006/relationships/tags" Target="../tags/tag32.xml"/></Relationships>
</file>

<file path=ppt/slides/_rels/slide18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1.xml"/><Relationship Id="rId4" Type="http://schemas.openxmlformats.org/officeDocument/2006/relationships/oleObject" Target="../embeddings/oleObject24.bin"/><Relationship Id="rId5" Type="http://schemas.openxmlformats.org/officeDocument/2006/relationships/image" Target="../media/image30.emf"/><Relationship Id="rId6" Type="http://schemas.openxmlformats.org/officeDocument/2006/relationships/oleObject" Target="../embeddings/oleObject25.bin"/><Relationship Id="rId7" Type="http://schemas.openxmlformats.org/officeDocument/2006/relationships/image" Target="../media/image31.emf"/><Relationship Id="rId1" Type="http://schemas.openxmlformats.org/officeDocument/2006/relationships/vmlDrawing" Target="../drawings/vmlDrawing18.vml"/><Relationship Id="rId2" Type="http://schemas.openxmlformats.org/officeDocument/2006/relationships/slideLayout" Target="../slideLayouts/slideLayout2.xml"/></Relationships>
</file>

<file path=ppt/slides/_rels/slide18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2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32.emf"/><Relationship Id="rId6" Type="http://schemas.openxmlformats.org/officeDocument/2006/relationships/oleObject" Target="../embeddings/oleObject27.bin"/><Relationship Id="rId7" Type="http://schemas.openxmlformats.org/officeDocument/2006/relationships/image" Target="../media/image33.emf"/><Relationship Id="rId8" Type="http://schemas.openxmlformats.org/officeDocument/2006/relationships/oleObject" Target="../embeddings/oleObject28.bin"/><Relationship Id="rId9" Type="http://schemas.openxmlformats.org/officeDocument/2006/relationships/image" Target="../media/image34.emf"/><Relationship Id="rId1" Type="http://schemas.openxmlformats.org/officeDocument/2006/relationships/vmlDrawing" Target="../drawings/vmlDrawing19.vml"/><Relationship Id="rId2" Type="http://schemas.openxmlformats.org/officeDocument/2006/relationships/slideLayout" Target="../slideLayouts/slideLayout2.xml"/></Relationships>
</file>

<file path=ppt/slides/_rels/slide1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3.xml"/><Relationship Id="rId4" Type="http://schemas.openxmlformats.org/officeDocument/2006/relationships/oleObject" Target="../embeddings/oleObject29.bin"/><Relationship Id="rId5" Type="http://schemas.openxmlformats.org/officeDocument/2006/relationships/image" Target="../media/image35.emf"/><Relationship Id="rId1" Type="http://schemas.openxmlformats.org/officeDocument/2006/relationships/vmlDrawing" Target="../drawings/vmlDrawing20.vml"/><Relationship Id="rId2" Type="http://schemas.openxmlformats.org/officeDocument/2006/relationships/slideLayout" Target="../slideLayouts/slideLayout2.xml"/></Relationships>
</file>

<file path=ppt/slides/_rels/slide18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4.xml"/><Relationship Id="rId4" Type="http://schemas.openxmlformats.org/officeDocument/2006/relationships/oleObject" Target="../embeddings/oleObject30.bin"/><Relationship Id="rId5" Type="http://schemas.openxmlformats.org/officeDocument/2006/relationships/image" Target="../media/image36.emf"/><Relationship Id="rId6" Type="http://schemas.openxmlformats.org/officeDocument/2006/relationships/oleObject" Target="../embeddings/oleObject31.bin"/><Relationship Id="rId7" Type="http://schemas.openxmlformats.org/officeDocument/2006/relationships/image" Target="../media/image37.emf"/><Relationship Id="rId1" Type="http://schemas.openxmlformats.org/officeDocument/2006/relationships/vmlDrawing" Target="../drawings/vmlDrawing21.vml"/><Relationship Id="rId2" Type="http://schemas.openxmlformats.org/officeDocument/2006/relationships/slideLayout" Target="../slideLayouts/slideLayout2.xml"/></Relationships>
</file>

<file path=ppt/slides/_rels/slide18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5.xml"/><Relationship Id="rId4" Type="http://schemas.openxmlformats.org/officeDocument/2006/relationships/oleObject" Target="../embeddings/oleObject32.bin"/><Relationship Id="rId5" Type="http://schemas.openxmlformats.org/officeDocument/2006/relationships/image" Target="../media/image38.emf"/><Relationship Id="rId1" Type="http://schemas.openxmlformats.org/officeDocument/2006/relationships/vmlDrawing" Target="../drawings/vmlDrawing22.vml"/><Relationship Id="rId2" Type="http://schemas.openxmlformats.org/officeDocument/2006/relationships/slideLayout" Target="../slideLayouts/slideLayout2.xml"/></Relationships>
</file>

<file path=ppt/slides/_rels/slide18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6.xml"/><Relationship Id="rId4" Type="http://schemas.openxmlformats.org/officeDocument/2006/relationships/oleObject" Target="../embeddings/oleObject33.bin"/><Relationship Id="rId5" Type="http://schemas.openxmlformats.org/officeDocument/2006/relationships/image" Target="../media/image39.emf"/><Relationship Id="rId1" Type="http://schemas.openxmlformats.org/officeDocument/2006/relationships/vmlDrawing" Target="../drawings/vmlDrawing23.vml"/><Relationship Id="rId2" Type="http://schemas.openxmlformats.org/officeDocument/2006/relationships/slideLayout" Target="../slideLayouts/slideLayout2.xml"/></Relationships>
</file>

<file path=ppt/slides/_rels/slide18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7.xml"/><Relationship Id="rId4" Type="http://schemas.openxmlformats.org/officeDocument/2006/relationships/oleObject" Target="../embeddings/oleObject34.bin"/><Relationship Id="rId5" Type="http://schemas.openxmlformats.org/officeDocument/2006/relationships/image" Target="../media/image40.emf"/><Relationship Id="rId1" Type="http://schemas.openxmlformats.org/officeDocument/2006/relationships/vmlDrawing" Target="../drawings/vmlDrawing24.vml"/><Relationship Id="rId2" Type="http://schemas.openxmlformats.org/officeDocument/2006/relationships/slideLayout" Target="../slideLayouts/slideLayout2.xml"/></Relationships>
</file>

<file path=ppt/slides/_rels/slide1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41.emf"/><Relationship Id="rId6" Type="http://schemas.openxmlformats.org/officeDocument/2006/relationships/oleObject" Target="../embeddings/oleObject36.bin"/><Relationship Id="rId7" Type="http://schemas.openxmlformats.org/officeDocument/2006/relationships/image" Target="../media/image42.emf"/><Relationship Id="rId1" Type="http://schemas.openxmlformats.org/officeDocument/2006/relationships/vmlDrawing" Target="../drawings/vmlDrawing25.vml"/><Relationship Id="rId2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4.wmf"/></Relationships>
</file>

<file path=ppt/slides/_rels/slide1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79.xml"/></Relationships>
</file>

<file path=ppt/slides/_rels/slide1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0.xml"/></Relationships>
</file>

<file path=ppt/slides/_rels/slide1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1.xml"/></Relationships>
</file>

<file path=ppt/slides/_rels/slide1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2.xml"/></Relationships>
</file>

<file path=ppt/slides/_rels/slide1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3.xml"/></Relationships>
</file>

<file path=ppt/slides/_rels/slide1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4.xml"/></Relationships>
</file>

<file path=ppt/slides/_rels/slide1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5.xml"/></Relationships>
</file>

<file path=ppt/slides/_rels/slide1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.xml"/></Relationships>
</file>

<file path=ppt/slides/_rels/slide2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7.xml"/></Relationships>
</file>

<file path=ppt/slides/_rels/slide2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8.xml"/></Relationships>
</file>

<file path=ppt/slides/_rels/slide2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9.xml"/></Relationships>
</file>

<file path=ppt/slides/_rels/slide2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0.xml"/></Relationships>
</file>

<file path=ppt/slides/_rels/slide2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1.xml"/></Relationships>
</file>

<file path=ppt/slides/_rels/slide2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2.xml"/></Relationships>
</file>

<file path=ppt/slides/_rels/slide2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3.xml"/></Relationships>
</file>

<file path=ppt/slides/_rels/slide2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4.xml"/></Relationships>
</file>

<file path=ppt/slides/_rels/slide2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.xml"/></Relationships>
</file>

<file path=ppt/slides/_rels/slide2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1.xml.rels><?xml version="1.0" encoding="UTF-8" standalone="yes"?>
<Relationships xmlns="http://schemas.openxmlformats.org/package/2006/relationships"><Relationship Id="rId9" Type="http://schemas.openxmlformats.org/officeDocument/2006/relationships/image" Target="../media/image49.png"/><Relationship Id="rId20" Type="http://schemas.openxmlformats.org/officeDocument/2006/relationships/image" Target="../media/image60.png"/><Relationship Id="rId21" Type="http://schemas.openxmlformats.org/officeDocument/2006/relationships/image" Target="../media/image61.png"/><Relationship Id="rId22" Type="http://schemas.openxmlformats.org/officeDocument/2006/relationships/image" Target="../media/image62.png"/><Relationship Id="rId23" Type="http://schemas.openxmlformats.org/officeDocument/2006/relationships/image" Target="../media/image63.png"/><Relationship Id="rId24" Type="http://schemas.openxmlformats.org/officeDocument/2006/relationships/image" Target="../media/image64.png"/><Relationship Id="rId25" Type="http://schemas.openxmlformats.org/officeDocument/2006/relationships/image" Target="../media/image65.png"/><Relationship Id="rId26" Type="http://schemas.openxmlformats.org/officeDocument/2006/relationships/image" Target="../media/image66.png"/><Relationship Id="rId10" Type="http://schemas.openxmlformats.org/officeDocument/2006/relationships/image" Target="../media/image50.png"/><Relationship Id="rId11" Type="http://schemas.openxmlformats.org/officeDocument/2006/relationships/image" Target="../media/image51.png"/><Relationship Id="rId12" Type="http://schemas.openxmlformats.org/officeDocument/2006/relationships/image" Target="../media/image52.png"/><Relationship Id="rId13" Type="http://schemas.openxmlformats.org/officeDocument/2006/relationships/image" Target="../media/image53.png"/><Relationship Id="rId14" Type="http://schemas.openxmlformats.org/officeDocument/2006/relationships/image" Target="../media/image54.png"/><Relationship Id="rId15" Type="http://schemas.openxmlformats.org/officeDocument/2006/relationships/image" Target="../media/image55.png"/><Relationship Id="rId16" Type="http://schemas.openxmlformats.org/officeDocument/2006/relationships/image" Target="../media/image56.png"/><Relationship Id="rId17" Type="http://schemas.openxmlformats.org/officeDocument/2006/relationships/image" Target="../media/image57.png"/><Relationship Id="rId18" Type="http://schemas.openxmlformats.org/officeDocument/2006/relationships/image" Target="../media/image58.png"/><Relationship Id="rId19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6.xml"/><Relationship Id="rId3" Type="http://schemas.openxmlformats.org/officeDocument/2006/relationships/image" Target="../media/image43.png"/><Relationship Id="rId4" Type="http://schemas.openxmlformats.org/officeDocument/2006/relationships/image" Target="../media/image44.png"/><Relationship Id="rId5" Type="http://schemas.openxmlformats.org/officeDocument/2006/relationships/image" Target="../media/image45.png"/><Relationship Id="rId6" Type="http://schemas.openxmlformats.org/officeDocument/2006/relationships/image" Target="../media/image46.png"/><Relationship Id="rId7" Type="http://schemas.openxmlformats.org/officeDocument/2006/relationships/image" Target="../media/image47.png"/><Relationship Id="rId8" Type="http://schemas.openxmlformats.org/officeDocument/2006/relationships/image" Target="../media/image48.png"/></Relationships>
</file>

<file path=ppt/slides/_rels/slide21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8.emf"/><Relationship Id="rId12" Type="http://schemas.openxmlformats.org/officeDocument/2006/relationships/image" Target="../media/image69.jpeg"/><Relationship Id="rId1" Type="http://schemas.openxmlformats.org/officeDocument/2006/relationships/vmlDrawing" Target="../drawings/vmlDrawing26.vml"/><Relationship Id="rId2" Type="http://schemas.openxmlformats.org/officeDocument/2006/relationships/tags" Target="../tags/tag36.xml"/><Relationship Id="rId3" Type="http://schemas.openxmlformats.org/officeDocument/2006/relationships/tags" Target="../tags/tag37.xml"/><Relationship Id="rId4" Type="http://schemas.openxmlformats.org/officeDocument/2006/relationships/tags" Target="../tags/tag38.xml"/><Relationship Id="rId5" Type="http://schemas.openxmlformats.org/officeDocument/2006/relationships/tags" Target="../tags/tag39.xml"/><Relationship Id="rId6" Type="http://schemas.openxmlformats.org/officeDocument/2006/relationships/slideLayout" Target="../slideLayouts/slideLayout2.xml"/><Relationship Id="rId7" Type="http://schemas.openxmlformats.org/officeDocument/2006/relationships/notesSlide" Target="../notesSlides/notesSlide197.xml"/><Relationship Id="rId8" Type="http://schemas.openxmlformats.org/officeDocument/2006/relationships/oleObject" Target="../embeddings/oleObject37.bin"/><Relationship Id="rId9" Type="http://schemas.openxmlformats.org/officeDocument/2006/relationships/oleObject" Target="../embeddings/oleObject38.bin"/><Relationship Id="rId10" Type="http://schemas.openxmlformats.org/officeDocument/2006/relationships/image" Target="../media/image67.emf"/></Relationships>
</file>

<file path=ppt/slides/_rels/slide2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8.xml"/></Relationships>
</file>

<file path=ppt/slides/_rels/slide2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9.xml"/></Relationships>
</file>

<file path=ppt/slides/_rels/slide2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0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0.xml"/><Relationship Id="rId3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1.xml"/><Relationship Id="rId3" Type="http://schemas.openxmlformats.org/officeDocument/2006/relationships/image" Target="../media/image6.emf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8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0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slideLayout" Target="../slideLayouts/slideLayout2.xml"/><Relationship Id="rId6" Type="http://schemas.openxmlformats.org/officeDocument/2006/relationships/notesSlide" Target="../notesSlides/notesSlide41.xml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3.xml"/></Relationships>
</file>

<file path=ppt/slides/_rels/slide49.xml.rels><?xml version="1.0" encoding="UTF-8" standalone="yes"?>
<Relationships xmlns="http://schemas.openxmlformats.org/package/2006/relationships"><Relationship Id="rId11" Type="http://schemas.openxmlformats.org/officeDocument/2006/relationships/tags" Target="../tags/tag15.xml"/><Relationship Id="rId12" Type="http://schemas.openxmlformats.org/officeDocument/2006/relationships/tags" Target="../tags/tag16.xml"/><Relationship Id="rId13" Type="http://schemas.openxmlformats.org/officeDocument/2006/relationships/tags" Target="../tags/tag17.xml"/><Relationship Id="rId14" Type="http://schemas.openxmlformats.org/officeDocument/2006/relationships/tags" Target="../tags/tag18.xml"/><Relationship Id="rId15" Type="http://schemas.openxmlformats.org/officeDocument/2006/relationships/tags" Target="../tags/tag19.xml"/><Relationship Id="rId16" Type="http://schemas.openxmlformats.org/officeDocument/2006/relationships/slideLayout" Target="../slideLayouts/slideLayout2.xml"/><Relationship Id="rId17" Type="http://schemas.openxmlformats.org/officeDocument/2006/relationships/notesSlide" Target="../notesSlides/notesSlide44.xml"/><Relationship Id="rId1" Type="http://schemas.openxmlformats.org/officeDocument/2006/relationships/tags" Target="../tags/tag5.xml"/><Relationship Id="rId2" Type="http://schemas.openxmlformats.org/officeDocument/2006/relationships/tags" Target="../tags/tag6.xml"/><Relationship Id="rId3" Type="http://schemas.openxmlformats.org/officeDocument/2006/relationships/tags" Target="../tags/tag7.xml"/><Relationship Id="rId4" Type="http://schemas.openxmlformats.org/officeDocument/2006/relationships/tags" Target="../tags/tag8.xml"/><Relationship Id="rId5" Type="http://schemas.openxmlformats.org/officeDocument/2006/relationships/tags" Target="../tags/tag9.xml"/><Relationship Id="rId6" Type="http://schemas.openxmlformats.org/officeDocument/2006/relationships/tags" Target="../tags/tag10.xml"/><Relationship Id="rId7" Type="http://schemas.openxmlformats.org/officeDocument/2006/relationships/tags" Target="../tags/tag11.xml"/><Relationship Id="rId8" Type="http://schemas.openxmlformats.org/officeDocument/2006/relationships/tags" Target="../tags/tag12.xml"/><Relationship Id="rId9" Type="http://schemas.openxmlformats.org/officeDocument/2006/relationships/tags" Target="../tags/tag13.xml"/><Relationship Id="rId10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48.xml"/><Relationship Id="rId1" Type="http://schemas.openxmlformats.org/officeDocument/2006/relationships/tags" Target="../tags/tag20.xml"/><Relationship Id="rId2" Type="http://schemas.openxmlformats.org/officeDocument/2006/relationships/tags" Target="../tags/tag21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49.xml"/><Relationship Id="rId1" Type="http://schemas.openxmlformats.org/officeDocument/2006/relationships/tags" Target="../tags/tag22.xml"/><Relationship Id="rId2" Type="http://schemas.openxmlformats.org/officeDocument/2006/relationships/tags" Target="../tags/tag23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0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3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4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6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8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9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0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1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3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4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5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6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7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8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9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0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3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4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5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6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7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8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9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0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2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3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4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5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6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7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8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9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0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62899" y="2031999"/>
            <a:ext cx="4033157" cy="1908630"/>
          </a:xfrm>
        </p:spPr>
        <p:txBody>
          <a:bodyPr>
            <a:normAutofit/>
          </a:bodyPr>
          <a:lstStyle/>
          <a:p>
            <a:r>
              <a:rPr lang="en-US" sz="2800" dirty="0"/>
              <a:t>MANAGERIAL COMMUNICATION (WRITTEN)</a:t>
            </a:r>
            <a:br>
              <a:rPr lang="en-US" sz="2800" dirty="0"/>
            </a:br>
            <a:endParaRPr lang="en-US" sz="2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000" dirty="0"/>
              <a:t>THEME </a:t>
            </a:r>
            <a:r>
              <a:rPr lang="en-US" sz="2000" dirty="0" smtClean="0"/>
              <a:t>CATALOGUE</a:t>
            </a:r>
          </a:p>
          <a:p>
            <a:r>
              <a:rPr lang="en-US" sz="2000" dirty="0" err="1" smtClean="0"/>
              <a:t>mq-learning.com</a:t>
            </a:r>
            <a:endParaRPr lang="en-US" sz="20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8001000" y="3370942"/>
            <a:ext cx="3657600" cy="190863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Baskerville" charset="0"/>
                <a:ea typeface="Baskerville" charset="0"/>
                <a:cs typeface="Baskerville" charset="0"/>
              </a:defRPr>
            </a:lvl1pPr>
          </a:lstStyle>
          <a:p>
            <a:endParaRPr lang="en-US" sz="2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239"/>
          <a:stretch/>
        </p:blipFill>
        <p:spPr>
          <a:xfrm>
            <a:off x="1436914" y="0"/>
            <a:ext cx="604468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071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8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able </a:t>
            </a:r>
          </a:p>
        </p:txBody>
      </p:sp>
      <p:grpSp>
        <p:nvGrpSpPr>
          <p:cNvPr id="2838559" name="Group 31"/>
          <p:cNvGrpSpPr>
            <a:grpSpLocks/>
          </p:cNvGrpSpPr>
          <p:nvPr/>
        </p:nvGrpSpPr>
        <p:grpSpPr bwMode="auto">
          <a:xfrm>
            <a:off x="1893888" y="1447800"/>
            <a:ext cx="8323262" cy="4706938"/>
            <a:chOff x="233" y="912"/>
            <a:chExt cx="5243" cy="2965"/>
          </a:xfrm>
        </p:grpSpPr>
        <p:sp>
          <p:nvSpPr>
            <p:cNvPr id="2838535" name="Text Box 7"/>
            <p:cNvSpPr txBox="1">
              <a:spLocks noChangeArrowheads="1"/>
            </p:cNvSpPr>
            <p:nvPr/>
          </p:nvSpPr>
          <p:spPr bwMode="gray">
            <a:xfrm>
              <a:off x="2301" y="912"/>
              <a:ext cx="940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/>
            <a:lstStyle>
              <a:lvl1pPr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71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714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286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buSzTx/>
              </a:pPr>
              <a:r>
                <a:rPr lang="en-US" sz="18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36" name="Line 8"/>
            <p:cNvSpPr>
              <a:spLocks noChangeShapeType="1"/>
            </p:cNvSpPr>
            <p:nvPr/>
          </p:nvSpPr>
          <p:spPr bwMode="gray">
            <a:xfrm>
              <a:off x="2301" y="1054"/>
              <a:ext cx="94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38540" name="Text Box 12"/>
            <p:cNvSpPr txBox="1">
              <a:spLocks noChangeArrowheads="1"/>
            </p:cNvSpPr>
            <p:nvPr/>
          </p:nvSpPr>
          <p:spPr bwMode="gray">
            <a:xfrm>
              <a:off x="3418" y="912"/>
              <a:ext cx="940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/>
            <a:lstStyle>
              <a:lvl1pPr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71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714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286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buSzTx/>
              </a:pPr>
              <a:r>
                <a:rPr lang="en-US" sz="18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41" name="Line 13"/>
            <p:cNvSpPr>
              <a:spLocks noChangeShapeType="1"/>
            </p:cNvSpPr>
            <p:nvPr/>
          </p:nvSpPr>
          <p:spPr bwMode="gray">
            <a:xfrm>
              <a:off x="3418" y="1054"/>
              <a:ext cx="94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38545" name="Text Box 17"/>
            <p:cNvSpPr txBox="1">
              <a:spLocks noChangeArrowheads="1"/>
            </p:cNvSpPr>
            <p:nvPr/>
          </p:nvSpPr>
          <p:spPr bwMode="gray">
            <a:xfrm>
              <a:off x="4536" y="912"/>
              <a:ext cx="940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/>
            <a:lstStyle>
              <a:lvl1pPr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71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714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286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buSzTx/>
              </a:pPr>
              <a:r>
                <a:rPr lang="en-US" sz="18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46" name="Line 18"/>
            <p:cNvSpPr>
              <a:spLocks noChangeShapeType="1"/>
            </p:cNvSpPr>
            <p:nvPr/>
          </p:nvSpPr>
          <p:spPr bwMode="gray">
            <a:xfrm>
              <a:off x="4536" y="1054"/>
              <a:ext cx="94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38550" name="Text Box 22"/>
            <p:cNvSpPr txBox="1">
              <a:spLocks noChangeArrowheads="1"/>
            </p:cNvSpPr>
            <p:nvPr/>
          </p:nvSpPr>
          <p:spPr bwMode="gray">
            <a:xfrm>
              <a:off x="1184" y="912"/>
              <a:ext cx="940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/>
            <a:lstStyle>
              <a:lvl1pPr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71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714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286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buSzTx/>
              </a:pPr>
              <a:r>
                <a:rPr lang="en-US" sz="18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51" name="Line 23"/>
            <p:cNvSpPr>
              <a:spLocks noChangeShapeType="1"/>
            </p:cNvSpPr>
            <p:nvPr/>
          </p:nvSpPr>
          <p:spPr bwMode="gray">
            <a:xfrm>
              <a:off x="1184" y="1054"/>
              <a:ext cx="94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38532" name="Text Box 4"/>
            <p:cNvSpPr txBox="1">
              <a:spLocks noChangeArrowheads="1"/>
            </p:cNvSpPr>
            <p:nvPr/>
          </p:nvSpPr>
          <p:spPr bwMode="gray">
            <a:xfrm>
              <a:off x="239" y="1178"/>
              <a:ext cx="768" cy="80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>
              <a:lvl1pPr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71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714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286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buSzTx/>
              </a:pPr>
              <a:r>
                <a:rPr lang="en-US" sz="18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33" name="Text Box 5"/>
            <p:cNvSpPr txBox="1">
              <a:spLocks noChangeArrowheads="1"/>
            </p:cNvSpPr>
            <p:nvPr/>
          </p:nvSpPr>
          <p:spPr bwMode="gray">
            <a:xfrm>
              <a:off x="239" y="2123"/>
              <a:ext cx="768" cy="80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>
              <a:lvl1pPr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71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714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286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buSzTx/>
              </a:pPr>
              <a:r>
                <a:rPr lang="en-US" sz="18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34" name="Text Box 6"/>
            <p:cNvSpPr txBox="1">
              <a:spLocks noChangeArrowheads="1"/>
            </p:cNvSpPr>
            <p:nvPr/>
          </p:nvSpPr>
          <p:spPr bwMode="gray">
            <a:xfrm>
              <a:off x="239" y="3068"/>
              <a:ext cx="768" cy="80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>
              <a:lvl1pPr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71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714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286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buSzTx/>
              </a:pPr>
              <a:r>
                <a:rPr lang="en-US" sz="18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37" name="Rectangle 9"/>
            <p:cNvSpPr>
              <a:spLocks noChangeArrowheads="1"/>
            </p:cNvSpPr>
            <p:nvPr/>
          </p:nvSpPr>
          <p:spPr bwMode="gray">
            <a:xfrm>
              <a:off x="2301" y="1178"/>
              <a:ext cx="940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38" name="Rectangle 10"/>
            <p:cNvSpPr>
              <a:spLocks noChangeArrowheads="1"/>
            </p:cNvSpPr>
            <p:nvPr/>
          </p:nvSpPr>
          <p:spPr bwMode="gray">
            <a:xfrm>
              <a:off x="2301" y="2123"/>
              <a:ext cx="940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39" name="Rectangle 11"/>
            <p:cNvSpPr>
              <a:spLocks noChangeArrowheads="1"/>
            </p:cNvSpPr>
            <p:nvPr/>
          </p:nvSpPr>
          <p:spPr bwMode="gray">
            <a:xfrm>
              <a:off x="2301" y="3068"/>
              <a:ext cx="940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42" name="Rectangle 14"/>
            <p:cNvSpPr>
              <a:spLocks noChangeArrowheads="1"/>
            </p:cNvSpPr>
            <p:nvPr/>
          </p:nvSpPr>
          <p:spPr bwMode="gray">
            <a:xfrm>
              <a:off x="3418" y="1178"/>
              <a:ext cx="940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43" name="Rectangle 15"/>
            <p:cNvSpPr>
              <a:spLocks noChangeArrowheads="1"/>
            </p:cNvSpPr>
            <p:nvPr/>
          </p:nvSpPr>
          <p:spPr bwMode="gray">
            <a:xfrm>
              <a:off x="3418" y="2123"/>
              <a:ext cx="940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44" name="Rectangle 16"/>
            <p:cNvSpPr>
              <a:spLocks noChangeArrowheads="1"/>
            </p:cNvSpPr>
            <p:nvPr/>
          </p:nvSpPr>
          <p:spPr bwMode="gray">
            <a:xfrm>
              <a:off x="3418" y="3068"/>
              <a:ext cx="940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47" name="Rectangle 19"/>
            <p:cNvSpPr>
              <a:spLocks noChangeArrowheads="1"/>
            </p:cNvSpPr>
            <p:nvPr/>
          </p:nvSpPr>
          <p:spPr bwMode="gray">
            <a:xfrm>
              <a:off x="4536" y="1178"/>
              <a:ext cx="940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48" name="Rectangle 20"/>
            <p:cNvSpPr>
              <a:spLocks noChangeArrowheads="1"/>
            </p:cNvSpPr>
            <p:nvPr/>
          </p:nvSpPr>
          <p:spPr bwMode="gray">
            <a:xfrm>
              <a:off x="4536" y="2123"/>
              <a:ext cx="940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49" name="Rectangle 21"/>
            <p:cNvSpPr>
              <a:spLocks noChangeArrowheads="1"/>
            </p:cNvSpPr>
            <p:nvPr/>
          </p:nvSpPr>
          <p:spPr bwMode="gray">
            <a:xfrm>
              <a:off x="4536" y="3068"/>
              <a:ext cx="940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52" name="Rectangle 24"/>
            <p:cNvSpPr>
              <a:spLocks noChangeArrowheads="1"/>
            </p:cNvSpPr>
            <p:nvPr/>
          </p:nvSpPr>
          <p:spPr bwMode="gray">
            <a:xfrm>
              <a:off x="1184" y="1178"/>
              <a:ext cx="940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53" name="Rectangle 25"/>
            <p:cNvSpPr>
              <a:spLocks noChangeArrowheads="1"/>
            </p:cNvSpPr>
            <p:nvPr/>
          </p:nvSpPr>
          <p:spPr bwMode="gray">
            <a:xfrm>
              <a:off x="1184" y="2123"/>
              <a:ext cx="940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54" name="Rectangle 26"/>
            <p:cNvSpPr>
              <a:spLocks noChangeArrowheads="1"/>
            </p:cNvSpPr>
            <p:nvPr/>
          </p:nvSpPr>
          <p:spPr bwMode="gray">
            <a:xfrm>
              <a:off x="1184" y="3068"/>
              <a:ext cx="940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8555" name="Line 27"/>
            <p:cNvSpPr>
              <a:spLocks noChangeShapeType="1"/>
            </p:cNvSpPr>
            <p:nvPr/>
          </p:nvSpPr>
          <p:spPr bwMode="gray">
            <a:xfrm>
              <a:off x="233" y="2055"/>
              <a:ext cx="5237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38556" name="Line 28"/>
            <p:cNvSpPr>
              <a:spLocks noChangeShapeType="1"/>
            </p:cNvSpPr>
            <p:nvPr/>
          </p:nvSpPr>
          <p:spPr bwMode="gray">
            <a:xfrm>
              <a:off x="233" y="3000"/>
              <a:ext cx="5237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153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46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sequences</a:t>
            </a:r>
          </a:p>
        </p:txBody>
      </p:sp>
      <p:grpSp>
        <p:nvGrpSpPr>
          <p:cNvPr id="3184643" name="Group 3"/>
          <p:cNvGrpSpPr>
            <a:grpSpLocks/>
          </p:cNvGrpSpPr>
          <p:nvPr/>
        </p:nvGrpSpPr>
        <p:grpSpPr bwMode="auto">
          <a:xfrm>
            <a:off x="1905000" y="1713143"/>
            <a:ext cx="8307388" cy="4664075"/>
            <a:chOff x="240" y="943"/>
            <a:chExt cx="5233" cy="2938"/>
          </a:xfrm>
        </p:grpSpPr>
        <p:sp>
          <p:nvSpPr>
            <p:cNvPr id="3184644" name="AutoShape 4"/>
            <p:cNvSpPr>
              <a:spLocks noChangeArrowheads="1"/>
            </p:cNvSpPr>
            <p:nvPr/>
          </p:nvSpPr>
          <p:spPr bwMode="gray">
            <a:xfrm flipV="1">
              <a:off x="971" y="943"/>
              <a:ext cx="3264" cy="955"/>
            </a:xfrm>
            <a:prstGeom prst="parallelogram">
              <a:avLst>
                <a:gd name="adj" fmla="val 22089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pPr defTabSz="912813"/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84645" name="AutoShape 5"/>
            <p:cNvSpPr>
              <a:spLocks noChangeArrowheads="1"/>
            </p:cNvSpPr>
            <p:nvPr/>
          </p:nvSpPr>
          <p:spPr bwMode="gray">
            <a:xfrm>
              <a:off x="971" y="2926"/>
              <a:ext cx="3264" cy="955"/>
            </a:xfrm>
            <a:prstGeom prst="parallelogram">
              <a:avLst>
                <a:gd name="adj" fmla="val 22089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84646" name="AutoShape 6"/>
            <p:cNvSpPr>
              <a:spLocks noChangeArrowheads="1"/>
            </p:cNvSpPr>
            <p:nvPr/>
          </p:nvSpPr>
          <p:spPr bwMode="gray">
            <a:xfrm>
              <a:off x="1191" y="1946"/>
              <a:ext cx="3146" cy="930"/>
            </a:xfrm>
            <a:prstGeom prst="chevron">
              <a:avLst>
                <a:gd name="adj" fmla="val 10211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74320" tIns="9144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84647" name="AutoShape 7"/>
            <p:cNvSpPr>
              <a:spLocks noChangeArrowheads="1"/>
            </p:cNvSpPr>
            <p:nvPr/>
          </p:nvSpPr>
          <p:spPr bwMode="gray">
            <a:xfrm>
              <a:off x="240" y="943"/>
              <a:ext cx="974" cy="2933"/>
            </a:xfrm>
            <a:prstGeom prst="homePlate">
              <a:avLst>
                <a:gd name="adj" fmla="val 32343"/>
              </a:avLst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/>
              <a:r>
                <a:rPr lang="de-DE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84648" name="AutoShape 8"/>
            <p:cNvSpPr>
              <a:spLocks noChangeArrowheads="1"/>
            </p:cNvSpPr>
            <p:nvPr/>
          </p:nvSpPr>
          <p:spPr bwMode="gray">
            <a:xfrm>
              <a:off x="4098" y="943"/>
              <a:ext cx="1375" cy="2937"/>
            </a:xfrm>
            <a:prstGeom prst="chevron">
              <a:avLst>
                <a:gd name="adj" fmla="val 23273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0" tIns="0" rIns="0" bIns="0" anchor="ctr"/>
            <a:lstStyle/>
            <a:p>
              <a:pPr defTabSz="912813"/>
              <a:r>
                <a:rPr lang="de-DE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0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5031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66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sequences</a:t>
            </a:r>
          </a:p>
        </p:txBody>
      </p:sp>
      <p:grpSp>
        <p:nvGrpSpPr>
          <p:cNvPr id="3186691" name="Group 3"/>
          <p:cNvGrpSpPr>
            <a:grpSpLocks/>
          </p:cNvGrpSpPr>
          <p:nvPr/>
        </p:nvGrpSpPr>
        <p:grpSpPr bwMode="auto">
          <a:xfrm>
            <a:off x="1905000" y="1493839"/>
            <a:ext cx="8307388" cy="4676775"/>
            <a:chOff x="240" y="941"/>
            <a:chExt cx="5233" cy="2946"/>
          </a:xfrm>
        </p:grpSpPr>
        <p:sp>
          <p:nvSpPr>
            <p:cNvPr id="3186692" name="Rectangle 4"/>
            <p:cNvSpPr>
              <a:spLocks noChangeArrowheads="1"/>
            </p:cNvSpPr>
            <p:nvPr/>
          </p:nvSpPr>
          <p:spPr bwMode="gray">
            <a:xfrm>
              <a:off x="4211" y="941"/>
              <a:ext cx="1262" cy="2946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5760" tIns="182880" rIns="182880" bIns="18288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pPr defTabSz="912813"/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86693" name="Rectangle 5"/>
            <p:cNvSpPr>
              <a:spLocks noChangeArrowheads="1"/>
            </p:cNvSpPr>
            <p:nvPr/>
          </p:nvSpPr>
          <p:spPr bwMode="gray">
            <a:xfrm>
              <a:off x="240" y="941"/>
              <a:ext cx="1627" cy="294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2880" tIns="182880" rIns="640080" bIns="18288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pPr defTabSz="912813"/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86694" name="AutoShape 6"/>
            <p:cNvSpPr>
              <a:spLocks noChangeArrowheads="1"/>
            </p:cNvSpPr>
            <p:nvPr/>
          </p:nvSpPr>
          <p:spPr bwMode="gray">
            <a:xfrm>
              <a:off x="1613" y="1143"/>
              <a:ext cx="2752" cy="360"/>
            </a:xfrm>
            <a:prstGeom prst="homePlate">
              <a:avLst>
                <a:gd name="adj" fmla="val 22261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6695" name="AutoShape 7"/>
            <p:cNvSpPr>
              <a:spLocks noChangeArrowheads="1"/>
            </p:cNvSpPr>
            <p:nvPr/>
          </p:nvSpPr>
          <p:spPr bwMode="gray">
            <a:xfrm>
              <a:off x="1613" y="3309"/>
              <a:ext cx="2752" cy="360"/>
            </a:xfrm>
            <a:prstGeom prst="homePlate">
              <a:avLst>
                <a:gd name="adj" fmla="val 22261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6696" name="AutoShape 8"/>
            <p:cNvSpPr>
              <a:spLocks noChangeArrowheads="1"/>
            </p:cNvSpPr>
            <p:nvPr/>
          </p:nvSpPr>
          <p:spPr bwMode="gray">
            <a:xfrm>
              <a:off x="1613" y="2875"/>
              <a:ext cx="2752" cy="360"/>
            </a:xfrm>
            <a:prstGeom prst="homePlate">
              <a:avLst>
                <a:gd name="adj" fmla="val 22261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6697" name="AutoShape 9"/>
            <p:cNvSpPr>
              <a:spLocks noChangeArrowheads="1"/>
            </p:cNvSpPr>
            <p:nvPr/>
          </p:nvSpPr>
          <p:spPr bwMode="gray">
            <a:xfrm>
              <a:off x="1613" y="2442"/>
              <a:ext cx="2752" cy="360"/>
            </a:xfrm>
            <a:prstGeom prst="homePlate">
              <a:avLst>
                <a:gd name="adj" fmla="val 22261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6698" name="AutoShape 10"/>
            <p:cNvSpPr>
              <a:spLocks noChangeArrowheads="1"/>
            </p:cNvSpPr>
            <p:nvPr/>
          </p:nvSpPr>
          <p:spPr bwMode="gray">
            <a:xfrm>
              <a:off x="1613" y="2009"/>
              <a:ext cx="2752" cy="360"/>
            </a:xfrm>
            <a:prstGeom prst="homePlate">
              <a:avLst>
                <a:gd name="adj" fmla="val 22261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6699" name="AutoShape 11"/>
            <p:cNvSpPr>
              <a:spLocks noChangeArrowheads="1"/>
            </p:cNvSpPr>
            <p:nvPr/>
          </p:nvSpPr>
          <p:spPr bwMode="gray">
            <a:xfrm>
              <a:off x="1613" y="1576"/>
              <a:ext cx="2752" cy="360"/>
            </a:xfrm>
            <a:prstGeom prst="homePlate">
              <a:avLst>
                <a:gd name="adj" fmla="val 22261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6700" name="Oval 12"/>
            <p:cNvSpPr>
              <a:spLocks noChangeArrowheads="1"/>
            </p:cNvSpPr>
            <p:nvPr/>
          </p:nvSpPr>
          <p:spPr bwMode="gray">
            <a:xfrm>
              <a:off x="1533" y="2975"/>
              <a:ext cx="155" cy="154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sz="12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5</a:t>
              </a:r>
            </a:p>
          </p:txBody>
        </p:sp>
        <p:sp>
          <p:nvSpPr>
            <p:cNvPr id="3186701" name="Oval 13"/>
            <p:cNvSpPr>
              <a:spLocks noChangeArrowheads="1"/>
            </p:cNvSpPr>
            <p:nvPr/>
          </p:nvSpPr>
          <p:spPr bwMode="gray">
            <a:xfrm>
              <a:off x="1533" y="2106"/>
              <a:ext cx="155" cy="154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sz="12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3</a:t>
              </a:r>
            </a:p>
          </p:txBody>
        </p:sp>
        <p:sp>
          <p:nvSpPr>
            <p:cNvPr id="3186702" name="Oval 14"/>
            <p:cNvSpPr>
              <a:spLocks noChangeArrowheads="1"/>
            </p:cNvSpPr>
            <p:nvPr/>
          </p:nvSpPr>
          <p:spPr bwMode="gray">
            <a:xfrm>
              <a:off x="1533" y="2540"/>
              <a:ext cx="155" cy="154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sz="12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4</a:t>
              </a:r>
            </a:p>
          </p:txBody>
        </p:sp>
        <p:sp>
          <p:nvSpPr>
            <p:cNvPr id="3186703" name="Oval 15"/>
            <p:cNvSpPr>
              <a:spLocks noChangeArrowheads="1"/>
            </p:cNvSpPr>
            <p:nvPr/>
          </p:nvSpPr>
          <p:spPr bwMode="gray">
            <a:xfrm>
              <a:off x="1533" y="1672"/>
              <a:ext cx="155" cy="154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sz="12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2</a:t>
              </a:r>
            </a:p>
          </p:txBody>
        </p:sp>
        <p:sp>
          <p:nvSpPr>
            <p:cNvPr id="3186704" name="Oval 16"/>
            <p:cNvSpPr>
              <a:spLocks noChangeArrowheads="1"/>
            </p:cNvSpPr>
            <p:nvPr/>
          </p:nvSpPr>
          <p:spPr bwMode="gray">
            <a:xfrm>
              <a:off x="1533" y="1238"/>
              <a:ext cx="155" cy="154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sz="12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1</a:t>
              </a:r>
            </a:p>
          </p:txBody>
        </p:sp>
        <p:sp>
          <p:nvSpPr>
            <p:cNvPr id="3186705" name="Oval 17"/>
            <p:cNvSpPr>
              <a:spLocks noChangeArrowheads="1"/>
            </p:cNvSpPr>
            <p:nvPr/>
          </p:nvSpPr>
          <p:spPr bwMode="gray">
            <a:xfrm>
              <a:off x="1533" y="3409"/>
              <a:ext cx="155" cy="154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sz="12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6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0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722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87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3 Factors</a:t>
            </a:r>
          </a:p>
        </p:txBody>
      </p:sp>
      <p:grpSp>
        <p:nvGrpSpPr>
          <p:cNvPr id="3188739" name="Group 3"/>
          <p:cNvGrpSpPr>
            <a:grpSpLocks/>
          </p:cNvGrpSpPr>
          <p:nvPr/>
        </p:nvGrpSpPr>
        <p:grpSpPr bwMode="auto">
          <a:xfrm>
            <a:off x="1906589" y="1487489"/>
            <a:ext cx="8301037" cy="4662487"/>
            <a:chOff x="247" y="937"/>
            <a:chExt cx="5235" cy="2937"/>
          </a:xfrm>
        </p:grpSpPr>
        <p:sp>
          <p:nvSpPr>
            <p:cNvPr id="3188740" name="Rectangle 4"/>
            <p:cNvSpPr>
              <a:spLocks noChangeArrowheads="1"/>
            </p:cNvSpPr>
            <p:nvPr/>
          </p:nvSpPr>
          <p:spPr bwMode="gray">
            <a:xfrm>
              <a:off x="1202" y="937"/>
              <a:ext cx="2945" cy="360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8741" name="Rectangle 5"/>
            <p:cNvSpPr>
              <a:spLocks noChangeArrowheads="1"/>
            </p:cNvSpPr>
            <p:nvPr/>
          </p:nvSpPr>
          <p:spPr bwMode="gray">
            <a:xfrm>
              <a:off x="4366" y="937"/>
              <a:ext cx="1116" cy="360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8742" name="Rectangle 6"/>
            <p:cNvSpPr>
              <a:spLocks noChangeArrowheads="1"/>
            </p:cNvSpPr>
            <p:nvPr/>
          </p:nvSpPr>
          <p:spPr bwMode="gray">
            <a:xfrm>
              <a:off x="247" y="937"/>
              <a:ext cx="868" cy="360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8743" name="AutoShape 7"/>
            <p:cNvSpPr>
              <a:spLocks noChangeArrowheads="1"/>
            </p:cNvSpPr>
            <p:nvPr/>
          </p:nvSpPr>
          <p:spPr bwMode="gray">
            <a:xfrm>
              <a:off x="247" y="1372"/>
              <a:ext cx="1031" cy="762"/>
            </a:xfrm>
            <a:prstGeom prst="homePlate">
              <a:avLst>
                <a:gd name="adj" fmla="val 21755"/>
              </a:avLst>
            </a:prstGeom>
            <a:solidFill>
              <a:srgbClr val="D0D0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8744" name="AutoShape 8"/>
            <p:cNvSpPr>
              <a:spLocks noChangeArrowheads="1"/>
            </p:cNvSpPr>
            <p:nvPr/>
          </p:nvSpPr>
          <p:spPr bwMode="gray">
            <a:xfrm>
              <a:off x="247" y="2242"/>
              <a:ext cx="1031" cy="762"/>
            </a:xfrm>
            <a:prstGeom prst="homePlate">
              <a:avLst>
                <a:gd name="adj" fmla="val 21755"/>
              </a:avLst>
            </a:prstGeom>
            <a:solidFill>
              <a:srgbClr val="D0D0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8745" name="AutoShape 9"/>
            <p:cNvSpPr>
              <a:spLocks noChangeArrowheads="1"/>
            </p:cNvSpPr>
            <p:nvPr/>
          </p:nvSpPr>
          <p:spPr bwMode="gray">
            <a:xfrm>
              <a:off x="247" y="3112"/>
              <a:ext cx="1031" cy="762"/>
            </a:xfrm>
            <a:prstGeom prst="homePlate">
              <a:avLst>
                <a:gd name="adj" fmla="val 21755"/>
              </a:avLst>
            </a:prstGeom>
            <a:solidFill>
              <a:srgbClr val="D0D0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8746" name="Rectangle 10"/>
            <p:cNvSpPr>
              <a:spLocks noChangeArrowheads="1"/>
            </p:cNvSpPr>
            <p:nvPr/>
          </p:nvSpPr>
          <p:spPr bwMode="gray">
            <a:xfrm>
              <a:off x="4366" y="1372"/>
              <a:ext cx="1116" cy="76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8747" name="Rectangle 11"/>
            <p:cNvSpPr>
              <a:spLocks noChangeArrowheads="1"/>
            </p:cNvSpPr>
            <p:nvPr/>
          </p:nvSpPr>
          <p:spPr bwMode="gray">
            <a:xfrm>
              <a:off x="4366" y="2242"/>
              <a:ext cx="1116" cy="76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8748" name="Rectangle 12"/>
            <p:cNvSpPr>
              <a:spLocks noChangeArrowheads="1"/>
            </p:cNvSpPr>
            <p:nvPr/>
          </p:nvSpPr>
          <p:spPr bwMode="gray">
            <a:xfrm>
              <a:off x="4366" y="3112"/>
              <a:ext cx="1116" cy="76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8749" name="AutoShape 13"/>
            <p:cNvSpPr>
              <a:spLocks noChangeArrowheads="1"/>
            </p:cNvSpPr>
            <p:nvPr/>
          </p:nvSpPr>
          <p:spPr bwMode="gray">
            <a:xfrm>
              <a:off x="1202" y="1372"/>
              <a:ext cx="3097" cy="762"/>
            </a:xfrm>
            <a:prstGeom prst="chevron">
              <a:avLst>
                <a:gd name="adj" fmla="val 22260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8750" name="AutoShape 14"/>
            <p:cNvSpPr>
              <a:spLocks noChangeArrowheads="1"/>
            </p:cNvSpPr>
            <p:nvPr/>
          </p:nvSpPr>
          <p:spPr bwMode="gray">
            <a:xfrm>
              <a:off x="1202" y="2242"/>
              <a:ext cx="3097" cy="762"/>
            </a:xfrm>
            <a:prstGeom prst="chevron">
              <a:avLst>
                <a:gd name="adj" fmla="val 22260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8751" name="AutoShape 15"/>
            <p:cNvSpPr>
              <a:spLocks noChangeArrowheads="1"/>
            </p:cNvSpPr>
            <p:nvPr/>
          </p:nvSpPr>
          <p:spPr bwMode="gray">
            <a:xfrm>
              <a:off x="1202" y="3112"/>
              <a:ext cx="3097" cy="762"/>
            </a:xfrm>
            <a:prstGeom prst="chevron">
              <a:avLst>
                <a:gd name="adj" fmla="val 22260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0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3553985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07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4 Factors</a:t>
            </a:r>
          </a:p>
        </p:txBody>
      </p:sp>
      <p:grpSp>
        <p:nvGrpSpPr>
          <p:cNvPr id="3190787" name="Group 3"/>
          <p:cNvGrpSpPr>
            <a:grpSpLocks/>
          </p:cNvGrpSpPr>
          <p:nvPr/>
        </p:nvGrpSpPr>
        <p:grpSpPr bwMode="auto">
          <a:xfrm>
            <a:off x="1903413" y="1498600"/>
            <a:ext cx="8305800" cy="4648200"/>
            <a:chOff x="239" y="944"/>
            <a:chExt cx="5232" cy="2928"/>
          </a:xfrm>
        </p:grpSpPr>
        <p:sp>
          <p:nvSpPr>
            <p:cNvPr id="3190788" name="Rectangle 4"/>
            <p:cNvSpPr>
              <a:spLocks noChangeArrowheads="1"/>
            </p:cNvSpPr>
            <p:nvPr/>
          </p:nvSpPr>
          <p:spPr bwMode="gray">
            <a:xfrm>
              <a:off x="4445" y="944"/>
              <a:ext cx="1026" cy="312"/>
            </a:xfrm>
            <a:prstGeom prst="rect">
              <a:avLst/>
            </a:prstGeom>
            <a:solidFill>
              <a:srgbClr val="D0D0D0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 Text</a:t>
              </a:r>
            </a:p>
          </p:txBody>
        </p:sp>
        <p:sp>
          <p:nvSpPr>
            <p:cNvPr id="3190789" name="Rectangle 5"/>
            <p:cNvSpPr>
              <a:spLocks noChangeArrowheads="1"/>
            </p:cNvSpPr>
            <p:nvPr/>
          </p:nvSpPr>
          <p:spPr bwMode="gray">
            <a:xfrm>
              <a:off x="1202" y="944"/>
              <a:ext cx="3129" cy="312"/>
            </a:xfrm>
            <a:prstGeom prst="rect">
              <a:avLst/>
            </a:prstGeom>
            <a:solidFill>
              <a:srgbClr val="D0D0D0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0790" name="Rectangle 6"/>
            <p:cNvSpPr>
              <a:spLocks noChangeArrowheads="1"/>
            </p:cNvSpPr>
            <p:nvPr/>
          </p:nvSpPr>
          <p:spPr bwMode="gray">
            <a:xfrm>
              <a:off x="4445" y="1298"/>
              <a:ext cx="1026" cy="257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marL="174625" lvl="1" indent="-173038"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defTabSz="912813"/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90791" name="AutoShape 7"/>
            <p:cNvSpPr>
              <a:spLocks noChangeArrowheads="1"/>
            </p:cNvSpPr>
            <p:nvPr/>
          </p:nvSpPr>
          <p:spPr bwMode="gray">
            <a:xfrm>
              <a:off x="239" y="1296"/>
              <a:ext cx="808" cy="594"/>
            </a:xfrm>
            <a:prstGeom prst="homePlate">
              <a:avLst>
                <a:gd name="adj" fmla="val 22262"/>
              </a:avLst>
            </a:prstGeom>
            <a:solidFill>
              <a:srgbClr val="D0D0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0792" name="Rectangle 8"/>
            <p:cNvSpPr>
              <a:spLocks noChangeArrowheads="1"/>
            </p:cNvSpPr>
            <p:nvPr/>
          </p:nvSpPr>
          <p:spPr bwMode="gray">
            <a:xfrm>
              <a:off x="1202" y="1296"/>
              <a:ext cx="3129" cy="59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0793" name="AutoShape 9"/>
            <p:cNvSpPr>
              <a:spLocks noChangeArrowheads="1"/>
            </p:cNvSpPr>
            <p:nvPr/>
          </p:nvSpPr>
          <p:spPr bwMode="gray">
            <a:xfrm>
              <a:off x="239" y="1956"/>
              <a:ext cx="808" cy="594"/>
            </a:xfrm>
            <a:prstGeom prst="homePlate">
              <a:avLst>
                <a:gd name="adj" fmla="val 22262"/>
              </a:avLst>
            </a:prstGeom>
            <a:solidFill>
              <a:srgbClr val="D0D0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0794" name="Rectangle 10"/>
            <p:cNvSpPr>
              <a:spLocks noChangeArrowheads="1"/>
            </p:cNvSpPr>
            <p:nvPr/>
          </p:nvSpPr>
          <p:spPr bwMode="gray">
            <a:xfrm>
              <a:off x="1202" y="1956"/>
              <a:ext cx="3129" cy="59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0795" name="AutoShape 11"/>
            <p:cNvSpPr>
              <a:spLocks noChangeArrowheads="1"/>
            </p:cNvSpPr>
            <p:nvPr/>
          </p:nvSpPr>
          <p:spPr bwMode="gray">
            <a:xfrm>
              <a:off x="239" y="2617"/>
              <a:ext cx="808" cy="594"/>
            </a:xfrm>
            <a:prstGeom prst="homePlate">
              <a:avLst>
                <a:gd name="adj" fmla="val 22262"/>
              </a:avLst>
            </a:prstGeom>
            <a:solidFill>
              <a:srgbClr val="D0D0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0796" name="Rectangle 12"/>
            <p:cNvSpPr>
              <a:spLocks noChangeArrowheads="1"/>
            </p:cNvSpPr>
            <p:nvPr/>
          </p:nvSpPr>
          <p:spPr bwMode="gray">
            <a:xfrm>
              <a:off x="1202" y="2617"/>
              <a:ext cx="3129" cy="59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0797" name="AutoShape 13"/>
            <p:cNvSpPr>
              <a:spLocks noChangeArrowheads="1"/>
            </p:cNvSpPr>
            <p:nvPr/>
          </p:nvSpPr>
          <p:spPr bwMode="gray">
            <a:xfrm>
              <a:off x="239" y="3278"/>
              <a:ext cx="808" cy="594"/>
            </a:xfrm>
            <a:prstGeom prst="homePlate">
              <a:avLst>
                <a:gd name="adj" fmla="val 22262"/>
              </a:avLst>
            </a:prstGeom>
            <a:solidFill>
              <a:srgbClr val="D0D0D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0798" name="Rectangle 14"/>
            <p:cNvSpPr>
              <a:spLocks noChangeArrowheads="1"/>
            </p:cNvSpPr>
            <p:nvPr/>
          </p:nvSpPr>
          <p:spPr bwMode="gray">
            <a:xfrm>
              <a:off x="1202" y="3278"/>
              <a:ext cx="3129" cy="59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0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889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28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5 Factors</a:t>
            </a:r>
          </a:p>
        </p:txBody>
      </p:sp>
      <p:grpSp>
        <p:nvGrpSpPr>
          <p:cNvPr id="3192835" name="Group 3"/>
          <p:cNvGrpSpPr>
            <a:grpSpLocks/>
          </p:cNvGrpSpPr>
          <p:nvPr/>
        </p:nvGrpSpPr>
        <p:grpSpPr bwMode="auto">
          <a:xfrm>
            <a:off x="1893888" y="1490664"/>
            <a:ext cx="8310562" cy="4664075"/>
            <a:chOff x="239" y="939"/>
            <a:chExt cx="5241" cy="2938"/>
          </a:xfrm>
        </p:grpSpPr>
        <p:sp>
          <p:nvSpPr>
            <p:cNvPr id="3192836" name="AutoShape 4"/>
            <p:cNvSpPr>
              <a:spLocks noChangeArrowheads="1"/>
            </p:cNvSpPr>
            <p:nvPr/>
          </p:nvSpPr>
          <p:spPr bwMode="gray">
            <a:xfrm>
              <a:off x="329" y="1353"/>
              <a:ext cx="2500" cy="460"/>
            </a:xfrm>
            <a:prstGeom prst="homePlate">
              <a:avLst>
                <a:gd name="adj" fmla="val 22268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2837" name="Oval 5"/>
            <p:cNvSpPr>
              <a:spLocks noChangeArrowheads="1"/>
            </p:cNvSpPr>
            <p:nvPr/>
          </p:nvSpPr>
          <p:spPr bwMode="gray">
            <a:xfrm>
              <a:off x="239" y="1498"/>
              <a:ext cx="170" cy="170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sz="1200" b="1" dirty="0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1</a:t>
              </a:r>
            </a:p>
          </p:txBody>
        </p:sp>
        <p:sp>
          <p:nvSpPr>
            <p:cNvPr id="3192838" name="Rectangle 6"/>
            <p:cNvSpPr>
              <a:spLocks noChangeArrowheads="1"/>
            </p:cNvSpPr>
            <p:nvPr/>
          </p:nvSpPr>
          <p:spPr bwMode="gray">
            <a:xfrm>
              <a:off x="2980" y="1353"/>
              <a:ext cx="2500" cy="4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2839" name="Rectangle 7"/>
            <p:cNvSpPr>
              <a:spLocks noChangeArrowheads="1"/>
            </p:cNvSpPr>
            <p:nvPr/>
          </p:nvSpPr>
          <p:spPr bwMode="gray">
            <a:xfrm>
              <a:off x="2980" y="939"/>
              <a:ext cx="2500" cy="353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4572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2840" name="Rectangle 8"/>
            <p:cNvSpPr>
              <a:spLocks noChangeArrowheads="1"/>
            </p:cNvSpPr>
            <p:nvPr/>
          </p:nvSpPr>
          <p:spPr bwMode="gray">
            <a:xfrm>
              <a:off x="335" y="939"/>
              <a:ext cx="2392" cy="353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4572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2841" name="AutoShape 9"/>
            <p:cNvSpPr>
              <a:spLocks noChangeArrowheads="1"/>
            </p:cNvSpPr>
            <p:nvPr/>
          </p:nvSpPr>
          <p:spPr bwMode="gray">
            <a:xfrm>
              <a:off x="329" y="1869"/>
              <a:ext cx="2500" cy="460"/>
            </a:xfrm>
            <a:prstGeom prst="homePlate">
              <a:avLst>
                <a:gd name="adj" fmla="val 22268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2842" name="Oval 10"/>
            <p:cNvSpPr>
              <a:spLocks noChangeArrowheads="1"/>
            </p:cNvSpPr>
            <p:nvPr/>
          </p:nvSpPr>
          <p:spPr bwMode="gray">
            <a:xfrm>
              <a:off x="239" y="2014"/>
              <a:ext cx="170" cy="170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sz="12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2</a:t>
              </a:r>
            </a:p>
          </p:txBody>
        </p:sp>
        <p:sp>
          <p:nvSpPr>
            <p:cNvPr id="3192843" name="Rectangle 11"/>
            <p:cNvSpPr>
              <a:spLocks noChangeArrowheads="1"/>
            </p:cNvSpPr>
            <p:nvPr/>
          </p:nvSpPr>
          <p:spPr bwMode="gray">
            <a:xfrm>
              <a:off x="2980" y="1869"/>
              <a:ext cx="2500" cy="4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2844" name="AutoShape 12"/>
            <p:cNvSpPr>
              <a:spLocks noChangeArrowheads="1"/>
            </p:cNvSpPr>
            <p:nvPr/>
          </p:nvSpPr>
          <p:spPr bwMode="gray">
            <a:xfrm>
              <a:off x="329" y="2385"/>
              <a:ext cx="2500" cy="460"/>
            </a:xfrm>
            <a:prstGeom prst="homePlate">
              <a:avLst>
                <a:gd name="adj" fmla="val 22268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2845" name="Oval 13"/>
            <p:cNvSpPr>
              <a:spLocks noChangeArrowheads="1"/>
            </p:cNvSpPr>
            <p:nvPr/>
          </p:nvSpPr>
          <p:spPr bwMode="gray">
            <a:xfrm>
              <a:off x="239" y="2530"/>
              <a:ext cx="170" cy="170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sz="12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3</a:t>
              </a:r>
            </a:p>
          </p:txBody>
        </p:sp>
        <p:sp>
          <p:nvSpPr>
            <p:cNvPr id="3192846" name="Rectangle 14"/>
            <p:cNvSpPr>
              <a:spLocks noChangeArrowheads="1"/>
            </p:cNvSpPr>
            <p:nvPr/>
          </p:nvSpPr>
          <p:spPr bwMode="gray">
            <a:xfrm>
              <a:off x="2980" y="2385"/>
              <a:ext cx="2500" cy="4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2847" name="AutoShape 15"/>
            <p:cNvSpPr>
              <a:spLocks noChangeArrowheads="1"/>
            </p:cNvSpPr>
            <p:nvPr/>
          </p:nvSpPr>
          <p:spPr bwMode="gray">
            <a:xfrm>
              <a:off x="329" y="2901"/>
              <a:ext cx="2500" cy="460"/>
            </a:xfrm>
            <a:prstGeom prst="homePlate">
              <a:avLst>
                <a:gd name="adj" fmla="val 22268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2848" name="Oval 16"/>
            <p:cNvSpPr>
              <a:spLocks noChangeArrowheads="1"/>
            </p:cNvSpPr>
            <p:nvPr/>
          </p:nvSpPr>
          <p:spPr bwMode="gray">
            <a:xfrm>
              <a:off x="239" y="3046"/>
              <a:ext cx="170" cy="170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sz="12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4</a:t>
              </a:r>
            </a:p>
          </p:txBody>
        </p:sp>
        <p:sp>
          <p:nvSpPr>
            <p:cNvPr id="3192849" name="Rectangle 17"/>
            <p:cNvSpPr>
              <a:spLocks noChangeArrowheads="1"/>
            </p:cNvSpPr>
            <p:nvPr/>
          </p:nvSpPr>
          <p:spPr bwMode="gray">
            <a:xfrm>
              <a:off x="2980" y="2901"/>
              <a:ext cx="2500" cy="4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2850" name="AutoShape 18"/>
            <p:cNvSpPr>
              <a:spLocks noChangeArrowheads="1"/>
            </p:cNvSpPr>
            <p:nvPr/>
          </p:nvSpPr>
          <p:spPr bwMode="gray">
            <a:xfrm>
              <a:off x="329" y="3417"/>
              <a:ext cx="2500" cy="460"/>
            </a:xfrm>
            <a:prstGeom prst="homePlate">
              <a:avLst>
                <a:gd name="adj" fmla="val 22268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2851" name="Oval 19"/>
            <p:cNvSpPr>
              <a:spLocks noChangeArrowheads="1"/>
            </p:cNvSpPr>
            <p:nvPr/>
          </p:nvSpPr>
          <p:spPr bwMode="gray">
            <a:xfrm>
              <a:off x="239" y="3562"/>
              <a:ext cx="170" cy="170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sz="12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5</a:t>
              </a:r>
            </a:p>
          </p:txBody>
        </p:sp>
        <p:sp>
          <p:nvSpPr>
            <p:cNvPr id="3192852" name="Rectangle 20"/>
            <p:cNvSpPr>
              <a:spLocks noChangeArrowheads="1"/>
            </p:cNvSpPr>
            <p:nvPr/>
          </p:nvSpPr>
          <p:spPr bwMode="gray">
            <a:xfrm>
              <a:off x="2980" y="3417"/>
              <a:ext cx="2500" cy="4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0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839639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48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5 Factors</a:t>
            </a:r>
          </a:p>
        </p:txBody>
      </p:sp>
      <p:grpSp>
        <p:nvGrpSpPr>
          <p:cNvPr id="3194883" name="Group 3"/>
          <p:cNvGrpSpPr>
            <a:grpSpLocks/>
          </p:cNvGrpSpPr>
          <p:nvPr/>
        </p:nvGrpSpPr>
        <p:grpSpPr bwMode="auto">
          <a:xfrm>
            <a:off x="1908176" y="1495427"/>
            <a:ext cx="8174038" cy="4576763"/>
            <a:chOff x="242" y="942"/>
            <a:chExt cx="5149" cy="2883"/>
          </a:xfrm>
        </p:grpSpPr>
        <p:sp>
          <p:nvSpPr>
            <p:cNvPr id="3194885" name="Rectangle 5"/>
            <p:cNvSpPr>
              <a:spLocks noChangeArrowheads="1"/>
            </p:cNvSpPr>
            <p:nvPr/>
          </p:nvSpPr>
          <p:spPr bwMode="gray">
            <a:xfrm>
              <a:off x="3719" y="2893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4886" name="AutoShape 6"/>
            <p:cNvSpPr>
              <a:spLocks noChangeArrowheads="1"/>
            </p:cNvSpPr>
            <p:nvPr/>
          </p:nvSpPr>
          <p:spPr bwMode="gray">
            <a:xfrm>
              <a:off x="242" y="942"/>
              <a:ext cx="4709" cy="499"/>
            </a:xfrm>
            <a:prstGeom prst="homePlate">
              <a:avLst>
                <a:gd name="adj" fmla="val 22325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4887" name="AutoShape 7"/>
            <p:cNvSpPr>
              <a:spLocks noChangeArrowheads="1"/>
            </p:cNvSpPr>
            <p:nvPr/>
          </p:nvSpPr>
          <p:spPr bwMode="gray">
            <a:xfrm>
              <a:off x="243" y="1541"/>
              <a:ext cx="4248" cy="499"/>
            </a:xfrm>
            <a:prstGeom prst="homePlate">
              <a:avLst>
                <a:gd name="adj" fmla="val 22307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4888" name="AutoShape 8"/>
            <p:cNvSpPr>
              <a:spLocks noChangeArrowheads="1"/>
            </p:cNvSpPr>
            <p:nvPr/>
          </p:nvSpPr>
          <p:spPr bwMode="gray">
            <a:xfrm>
              <a:off x="244" y="2136"/>
              <a:ext cx="3800" cy="499"/>
            </a:xfrm>
            <a:prstGeom prst="homePlate">
              <a:avLst>
                <a:gd name="adj" fmla="val 22317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4889" name="AutoShape 9"/>
            <p:cNvSpPr>
              <a:spLocks noChangeArrowheads="1"/>
            </p:cNvSpPr>
            <p:nvPr/>
          </p:nvSpPr>
          <p:spPr bwMode="gray">
            <a:xfrm>
              <a:off x="245" y="2730"/>
              <a:ext cx="3339" cy="499"/>
            </a:xfrm>
            <a:prstGeom prst="homePlate">
              <a:avLst>
                <a:gd name="adj" fmla="val 22305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4890" name="AutoShape 10"/>
            <p:cNvSpPr>
              <a:spLocks noChangeArrowheads="1"/>
            </p:cNvSpPr>
            <p:nvPr/>
          </p:nvSpPr>
          <p:spPr bwMode="gray">
            <a:xfrm>
              <a:off x="246" y="3326"/>
              <a:ext cx="2879" cy="499"/>
            </a:xfrm>
            <a:prstGeom prst="homePlate">
              <a:avLst>
                <a:gd name="adj" fmla="val 22304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4891" name="Rectangle 11"/>
            <p:cNvSpPr>
              <a:spLocks noChangeArrowheads="1"/>
            </p:cNvSpPr>
            <p:nvPr/>
          </p:nvSpPr>
          <p:spPr bwMode="gray">
            <a:xfrm>
              <a:off x="4179" y="2299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4892" name="Rectangle 12"/>
            <p:cNvSpPr>
              <a:spLocks noChangeArrowheads="1"/>
            </p:cNvSpPr>
            <p:nvPr/>
          </p:nvSpPr>
          <p:spPr bwMode="gray">
            <a:xfrm>
              <a:off x="3262" y="3489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4893" name="Rectangle 13"/>
            <p:cNvSpPr>
              <a:spLocks noChangeArrowheads="1"/>
            </p:cNvSpPr>
            <p:nvPr/>
          </p:nvSpPr>
          <p:spPr bwMode="gray">
            <a:xfrm>
              <a:off x="4635" y="1704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4894" name="Rectangle 14"/>
            <p:cNvSpPr>
              <a:spLocks noChangeArrowheads="1"/>
            </p:cNvSpPr>
            <p:nvPr/>
          </p:nvSpPr>
          <p:spPr bwMode="gray">
            <a:xfrm>
              <a:off x="5097" y="1105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0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771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69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paration</a:t>
            </a:r>
          </a:p>
        </p:txBody>
      </p:sp>
      <p:grpSp>
        <p:nvGrpSpPr>
          <p:cNvPr id="3196931" name="Group 3"/>
          <p:cNvGrpSpPr>
            <a:grpSpLocks/>
          </p:cNvGrpSpPr>
          <p:nvPr/>
        </p:nvGrpSpPr>
        <p:grpSpPr bwMode="auto">
          <a:xfrm>
            <a:off x="6245225" y="4100513"/>
            <a:ext cx="3963988" cy="2051050"/>
            <a:chOff x="2969" y="2583"/>
            <a:chExt cx="2497" cy="1292"/>
          </a:xfrm>
        </p:grpSpPr>
        <p:sp>
          <p:nvSpPr>
            <p:cNvPr id="3196932" name="Rectangle 4"/>
            <p:cNvSpPr>
              <a:spLocks noChangeArrowheads="1"/>
            </p:cNvSpPr>
            <p:nvPr/>
          </p:nvSpPr>
          <p:spPr bwMode="gray">
            <a:xfrm>
              <a:off x="2969" y="2583"/>
              <a:ext cx="2497" cy="257"/>
            </a:xfrm>
            <a:prstGeom prst="rect">
              <a:avLst/>
            </a:prstGeom>
            <a:solidFill>
              <a:srgbClr val="C0C0C0"/>
            </a:solidFill>
            <a:ln w="12700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</a:pPr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6933" name="Rectangle 5"/>
            <p:cNvSpPr>
              <a:spLocks noChangeArrowheads="1"/>
            </p:cNvSpPr>
            <p:nvPr/>
          </p:nvSpPr>
          <p:spPr bwMode="gray">
            <a:xfrm>
              <a:off x="2969" y="2882"/>
              <a:ext cx="2497" cy="99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tIns="108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alt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grpSp>
        <p:nvGrpSpPr>
          <p:cNvPr id="3196934" name="Group 6"/>
          <p:cNvGrpSpPr>
            <a:grpSpLocks/>
          </p:cNvGrpSpPr>
          <p:nvPr/>
        </p:nvGrpSpPr>
        <p:grpSpPr bwMode="auto">
          <a:xfrm>
            <a:off x="1912939" y="1498601"/>
            <a:ext cx="8296275" cy="4652963"/>
            <a:chOff x="245" y="944"/>
            <a:chExt cx="5226" cy="2931"/>
          </a:xfrm>
        </p:grpSpPr>
        <p:sp>
          <p:nvSpPr>
            <p:cNvPr id="3196935" name="Rectangle 7"/>
            <p:cNvSpPr>
              <a:spLocks noChangeArrowheads="1"/>
            </p:cNvSpPr>
            <p:nvPr/>
          </p:nvSpPr>
          <p:spPr bwMode="gray">
            <a:xfrm>
              <a:off x="245" y="944"/>
              <a:ext cx="5226" cy="257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</a:pPr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6936" name="AutoShape 8"/>
            <p:cNvSpPr>
              <a:spLocks noChangeArrowheads="1"/>
            </p:cNvSpPr>
            <p:nvPr/>
          </p:nvSpPr>
          <p:spPr bwMode="gray">
            <a:xfrm flipV="1">
              <a:off x="1039" y="2308"/>
              <a:ext cx="3634" cy="206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96937" name="Rectangle 9"/>
            <p:cNvSpPr>
              <a:spLocks noChangeArrowheads="1"/>
            </p:cNvSpPr>
            <p:nvPr/>
          </p:nvSpPr>
          <p:spPr bwMode="gray">
            <a:xfrm>
              <a:off x="245" y="2583"/>
              <a:ext cx="2497" cy="257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C0C0C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</a:pPr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6938" name="Rectangle 10"/>
            <p:cNvSpPr>
              <a:spLocks noChangeArrowheads="1"/>
            </p:cNvSpPr>
            <p:nvPr/>
          </p:nvSpPr>
          <p:spPr bwMode="gray">
            <a:xfrm>
              <a:off x="245" y="2882"/>
              <a:ext cx="2497" cy="99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tIns="108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alt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6939" name="Rectangle 11"/>
            <p:cNvSpPr>
              <a:spLocks noChangeArrowheads="1"/>
            </p:cNvSpPr>
            <p:nvPr/>
          </p:nvSpPr>
          <p:spPr bwMode="gray">
            <a:xfrm>
              <a:off x="245" y="1246"/>
              <a:ext cx="5226" cy="99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tIns="108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0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19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89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arallel Operations</a:t>
            </a:r>
          </a:p>
        </p:txBody>
      </p:sp>
      <p:grpSp>
        <p:nvGrpSpPr>
          <p:cNvPr id="3198979" name="Group 3"/>
          <p:cNvGrpSpPr>
            <a:grpSpLocks/>
          </p:cNvGrpSpPr>
          <p:nvPr/>
        </p:nvGrpSpPr>
        <p:grpSpPr bwMode="auto">
          <a:xfrm>
            <a:off x="3200400" y="1819275"/>
            <a:ext cx="5754688" cy="3048000"/>
            <a:chOff x="1056" y="1146"/>
            <a:chExt cx="3625" cy="1920"/>
          </a:xfrm>
        </p:grpSpPr>
        <p:sp>
          <p:nvSpPr>
            <p:cNvPr id="3198980" name="Freeform 4"/>
            <p:cNvSpPr>
              <a:spLocks/>
            </p:cNvSpPr>
            <p:nvPr/>
          </p:nvSpPr>
          <p:spPr bwMode="gray">
            <a:xfrm>
              <a:off x="1056" y="2545"/>
              <a:ext cx="3625" cy="521"/>
            </a:xfrm>
            <a:custGeom>
              <a:avLst/>
              <a:gdLst>
                <a:gd name="T0" fmla="*/ 2824 w 2888"/>
                <a:gd name="T1" fmla="*/ 190 h 418"/>
                <a:gd name="T2" fmla="*/ 2455 w 2888"/>
                <a:gd name="T3" fmla="*/ 0 h 418"/>
                <a:gd name="T4" fmla="*/ 2558 w 2888"/>
                <a:gd name="T5" fmla="*/ 88 h 418"/>
                <a:gd name="T6" fmla="*/ 0 w 2888"/>
                <a:gd name="T7" fmla="*/ 190 h 418"/>
                <a:gd name="T8" fmla="*/ 621 w 2888"/>
                <a:gd name="T9" fmla="*/ 380 h 418"/>
                <a:gd name="T10" fmla="*/ 2755 w 2888"/>
                <a:gd name="T11" fmla="*/ 333 h 418"/>
                <a:gd name="T12" fmla="*/ 2887 w 2888"/>
                <a:gd name="T13" fmla="*/ 417 h 418"/>
                <a:gd name="T14" fmla="*/ 2824 w 2888"/>
                <a:gd name="T15" fmla="*/ 190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88" h="418">
                  <a:moveTo>
                    <a:pt x="2824" y="190"/>
                  </a:moveTo>
                  <a:lnTo>
                    <a:pt x="2455" y="0"/>
                  </a:lnTo>
                  <a:lnTo>
                    <a:pt x="2558" y="88"/>
                  </a:lnTo>
                  <a:lnTo>
                    <a:pt x="0" y="190"/>
                  </a:lnTo>
                  <a:lnTo>
                    <a:pt x="621" y="380"/>
                  </a:lnTo>
                  <a:lnTo>
                    <a:pt x="2755" y="333"/>
                  </a:lnTo>
                  <a:lnTo>
                    <a:pt x="2887" y="417"/>
                  </a:lnTo>
                  <a:lnTo>
                    <a:pt x="2824" y="190"/>
                  </a:lnTo>
                </a:path>
              </a:pathLst>
            </a:custGeom>
            <a:solidFill>
              <a:srgbClr val="EAEAEA"/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98981" name="Freeform 5"/>
            <p:cNvSpPr>
              <a:spLocks/>
            </p:cNvSpPr>
            <p:nvPr/>
          </p:nvSpPr>
          <p:spPr bwMode="gray">
            <a:xfrm>
              <a:off x="1079" y="1737"/>
              <a:ext cx="3437" cy="1283"/>
            </a:xfrm>
            <a:custGeom>
              <a:avLst/>
              <a:gdLst>
                <a:gd name="T0" fmla="*/ 90 w 2738"/>
                <a:gd name="T1" fmla="*/ 865 h 1030"/>
                <a:gd name="T2" fmla="*/ 267 w 2738"/>
                <a:gd name="T3" fmla="*/ 912 h 1030"/>
                <a:gd name="T4" fmla="*/ 444 w 2738"/>
                <a:gd name="T5" fmla="*/ 966 h 1030"/>
                <a:gd name="T6" fmla="*/ 618 w 2738"/>
                <a:gd name="T7" fmla="*/ 1029 h 1030"/>
                <a:gd name="T8" fmla="*/ 764 w 2738"/>
                <a:gd name="T9" fmla="*/ 1008 h 1030"/>
                <a:gd name="T10" fmla="*/ 906 w 2738"/>
                <a:gd name="T11" fmla="*/ 977 h 1030"/>
                <a:gd name="T12" fmla="*/ 1043 w 2738"/>
                <a:gd name="T13" fmla="*/ 939 h 1030"/>
                <a:gd name="T14" fmla="*/ 1174 w 2738"/>
                <a:gd name="T15" fmla="*/ 893 h 1030"/>
                <a:gd name="T16" fmla="*/ 1298 w 2738"/>
                <a:gd name="T17" fmla="*/ 839 h 1030"/>
                <a:gd name="T18" fmla="*/ 1415 w 2738"/>
                <a:gd name="T19" fmla="*/ 779 h 1030"/>
                <a:gd name="T20" fmla="*/ 1524 w 2738"/>
                <a:gd name="T21" fmla="*/ 710 h 1030"/>
                <a:gd name="T22" fmla="*/ 1623 w 2738"/>
                <a:gd name="T23" fmla="*/ 636 h 1030"/>
                <a:gd name="T24" fmla="*/ 1714 w 2738"/>
                <a:gd name="T25" fmla="*/ 555 h 1030"/>
                <a:gd name="T26" fmla="*/ 1774 w 2738"/>
                <a:gd name="T27" fmla="*/ 502 h 1030"/>
                <a:gd name="T28" fmla="*/ 1838 w 2738"/>
                <a:gd name="T29" fmla="*/ 452 h 1030"/>
                <a:gd name="T30" fmla="*/ 1904 w 2738"/>
                <a:gd name="T31" fmla="*/ 406 h 1030"/>
                <a:gd name="T32" fmla="*/ 1972 w 2738"/>
                <a:gd name="T33" fmla="*/ 365 h 1030"/>
                <a:gd name="T34" fmla="*/ 2039 w 2738"/>
                <a:gd name="T35" fmla="*/ 329 h 1030"/>
                <a:gd name="T36" fmla="*/ 2104 w 2738"/>
                <a:gd name="T37" fmla="*/ 300 h 1030"/>
                <a:gd name="T38" fmla="*/ 2166 w 2738"/>
                <a:gd name="T39" fmla="*/ 279 h 1030"/>
                <a:gd name="T40" fmla="*/ 2223 w 2738"/>
                <a:gd name="T41" fmla="*/ 265 h 1030"/>
                <a:gd name="T42" fmla="*/ 2274 w 2738"/>
                <a:gd name="T43" fmla="*/ 260 h 1030"/>
                <a:gd name="T44" fmla="*/ 2323 w 2738"/>
                <a:gd name="T45" fmla="*/ 259 h 1030"/>
                <a:gd name="T46" fmla="*/ 2379 w 2738"/>
                <a:gd name="T47" fmla="*/ 262 h 1030"/>
                <a:gd name="T48" fmla="*/ 2439 w 2738"/>
                <a:gd name="T49" fmla="*/ 269 h 1030"/>
                <a:gd name="T50" fmla="*/ 2502 w 2738"/>
                <a:gd name="T51" fmla="*/ 280 h 1030"/>
                <a:gd name="T52" fmla="*/ 2566 w 2738"/>
                <a:gd name="T53" fmla="*/ 294 h 1030"/>
                <a:gd name="T54" fmla="*/ 2627 w 2738"/>
                <a:gd name="T55" fmla="*/ 310 h 1030"/>
                <a:gd name="T56" fmla="*/ 2686 w 2738"/>
                <a:gd name="T57" fmla="*/ 382 h 1030"/>
                <a:gd name="T58" fmla="*/ 2737 w 2738"/>
                <a:gd name="T59" fmla="*/ 459 h 1030"/>
                <a:gd name="T60" fmla="*/ 2577 w 2738"/>
                <a:gd name="T61" fmla="*/ 101 h 1030"/>
                <a:gd name="T62" fmla="*/ 2329 w 2738"/>
                <a:gd name="T63" fmla="*/ 32 h 1030"/>
                <a:gd name="T64" fmla="*/ 2324 w 2738"/>
                <a:gd name="T65" fmla="*/ 80 h 1030"/>
                <a:gd name="T66" fmla="*/ 2305 w 2738"/>
                <a:gd name="T67" fmla="*/ 73 h 1030"/>
                <a:gd name="T68" fmla="*/ 2276 w 2738"/>
                <a:gd name="T69" fmla="*/ 66 h 1030"/>
                <a:gd name="T70" fmla="*/ 2242 w 2738"/>
                <a:gd name="T71" fmla="*/ 60 h 1030"/>
                <a:gd name="T72" fmla="*/ 2203 w 2738"/>
                <a:gd name="T73" fmla="*/ 55 h 1030"/>
                <a:gd name="T74" fmla="*/ 2163 w 2738"/>
                <a:gd name="T75" fmla="*/ 52 h 1030"/>
                <a:gd name="T76" fmla="*/ 2123 w 2738"/>
                <a:gd name="T77" fmla="*/ 51 h 1030"/>
                <a:gd name="T78" fmla="*/ 2024 w 2738"/>
                <a:gd name="T79" fmla="*/ 53 h 1030"/>
                <a:gd name="T80" fmla="*/ 1932 w 2738"/>
                <a:gd name="T81" fmla="*/ 61 h 1030"/>
                <a:gd name="T82" fmla="*/ 1849 w 2738"/>
                <a:gd name="T83" fmla="*/ 75 h 1030"/>
                <a:gd name="T84" fmla="*/ 1774 w 2738"/>
                <a:gd name="T85" fmla="*/ 94 h 1030"/>
                <a:gd name="T86" fmla="*/ 1708 w 2738"/>
                <a:gd name="T87" fmla="*/ 118 h 1030"/>
                <a:gd name="T88" fmla="*/ 1599 w 2738"/>
                <a:gd name="T89" fmla="*/ 217 h 1030"/>
                <a:gd name="T90" fmla="*/ 1442 w 2738"/>
                <a:gd name="T91" fmla="*/ 381 h 1030"/>
                <a:gd name="T92" fmla="*/ 1282 w 2738"/>
                <a:gd name="T93" fmla="*/ 533 h 1030"/>
                <a:gd name="T94" fmla="*/ 1119 w 2738"/>
                <a:gd name="T95" fmla="*/ 674 h 1030"/>
                <a:gd name="T96" fmla="*/ 954 w 2738"/>
                <a:gd name="T97" fmla="*/ 804 h 1030"/>
                <a:gd name="T98" fmla="*/ 787 w 2738"/>
                <a:gd name="T99" fmla="*/ 923 h 1030"/>
                <a:gd name="T100" fmla="*/ 618 w 2738"/>
                <a:gd name="T101" fmla="*/ 1029 h 1030"/>
                <a:gd name="T102" fmla="*/ 206 w 2738"/>
                <a:gd name="T103" fmla="*/ 905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38" h="1030">
                  <a:moveTo>
                    <a:pt x="0" y="845"/>
                  </a:moveTo>
                  <a:lnTo>
                    <a:pt x="90" y="865"/>
                  </a:lnTo>
                  <a:lnTo>
                    <a:pt x="178" y="888"/>
                  </a:lnTo>
                  <a:lnTo>
                    <a:pt x="267" y="912"/>
                  </a:lnTo>
                  <a:lnTo>
                    <a:pt x="356" y="938"/>
                  </a:lnTo>
                  <a:lnTo>
                    <a:pt x="444" y="966"/>
                  </a:lnTo>
                  <a:lnTo>
                    <a:pt x="532" y="997"/>
                  </a:lnTo>
                  <a:lnTo>
                    <a:pt x="618" y="1029"/>
                  </a:lnTo>
                  <a:lnTo>
                    <a:pt x="691" y="1019"/>
                  </a:lnTo>
                  <a:lnTo>
                    <a:pt x="764" y="1008"/>
                  </a:lnTo>
                  <a:lnTo>
                    <a:pt x="835" y="994"/>
                  </a:lnTo>
                  <a:lnTo>
                    <a:pt x="906" y="977"/>
                  </a:lnTo>
                  <a:lnTo>
                    <a:pt x="975" y="959"/>
                  </a:lnTo>
                  <a:lnTo>
                    <a:pt x="1043" y="939"/>
                  </a:lnTo>
                  <a:lnTo>
                    <a:pt x="1109" y="917"/>
                  </a:lnTo>
                  <a:lnTo>
                    <a:pt x="1174" y="893"/>
                  </a:lnTo>
                  <a:lnTo>
                    <a:pt x="1237" y="867"/>
                  </a:lnTo>
                  <a:lnTo>
                    <a:pt x="1298" y="839"/>
                  </a:lnTo>
                  <a:lnTo>
                    <a:pt x="1358" y="810"/>
                  </a:lnTo>
                  <a:lnTo>
                    <a:pt x="1415" y="779"/>
                  </a:lnTo>
                  <a:lnTo>
                    <a:pt x="1471" y="745"/>
                  </a:lnTo>
                  <a:lnTo>
                    <a:pt x="1524" y="710"/>
                  </a:lnTo>
                  <a:lnTo>
                    <a:pt x="1575" y="674"/>
                  </a:lnTo>
                  <a:lnTo>
                    <a:pt x="1623" y="636"/>
                  </a:lnTo>
                  <a:lnTo>
                    <a:pt x="1670" y="597"/>
                  </a:lnTo>
                  <a:lnTo>
                    <a:pt x="1714" y="555"/>
                  </a:lnTo>
                  <a:lnTo>
                    <a:pt x="1743" y="529"/>
                  </a:lnTo>
                  <a:lnTo>
                    <a:pt x="1774" y="502"/>
                  </a:lnTo>
                  <a:lnTo>
                    <a:pt x="1805" y="477"/>
                  </a:lnTo>
                  <a:lnTo>
                    <a:pt x="1838" y="452"/>
                  </a:lnTo>
                  <a:lnTo>
                    <a:pt x="1870" y="428"/>
                  </a:lnTo>
                  <a:lnTo>
                    <a:pt x="1904" y="406"/>
                  </a:lnTo>
                  <a:lnTo>
                    <a:pt x="1938" y="384"/>
                  </a:lnTo>
                  <a:lnTo>
                    <a:pt x="1972" y="365"/>
                  </a:lnTo>
                  <a:lnTo>
                    <a:pt x="2005" y="346"/>
                  </a:lnTo>
                  <a:lnTo>
                    <a:pt x="2039" y="329"/>
                  </a:lnTo>
                  <a:lnTo>
                    <a:pt x="2071" y="314"/>
                  </a:lnTo>
                  <a:lnTo>
                    <a:pt x="2104" y="300"/>
                  </a:lnTo>
                  <a:lnTo>
                    <a:pt x="2135" y="288"/>
                  </a:lnTo>
                  <a:lnTo>
                    <a:pt x="2166" y="279"/>
                  </a:lnTo>
                  <a:lnTo>
                    <a:pt x="2195" y="271"/>
                  </a:lnTo>
                  <a:lnTo>
                    <a:pt x="2223" y="265"/>
                  </a:lnTo>
                  <a:lnTo>
                    <a:pt x="2249" y="262"/>
                  </a:lnTo>
                  <a:lnTo>
                    <a:pt x="2274" y="260"/>
                  </a:lnTo>
                  <a:lnTo>
                    <a:pt x="2297" y="259"/>
                  </a:lnTo>
                  <a:lnTo>
                    <a:pt x="2323" y="259"/>
                  </a:lnTo>
                  <a:lnTo>
                    <a:pt x="2350" y="260"/>
                  </a:lnTo>
                  <a:lnTo>
                    <a:pt x="2379" y="262"/>
                  </a:lnTo>
                  <a:lnTo>
                    <a:pt x="2409" y="265"/>
                  </a:lnTo>
                  <a:lnTo>
                    <a:pt x="2439" y="269"/>
                  </a:lnTo>
                  <a:lnTo>
                    <a:pt x="2470" y="274"/>
                  </a:lnTo>
                  <a:lnTo>
                    <a:pt x="2502" y="280"/>
                  </a:lnTo>
                  <a:lnTo>
                    <a:pt x="2534" y="287"/>
                  </a:lnTo>
                  <a:lnTo>
                    <a:pt x="2566" y="294"/>
                  </a:lnTo>
                  <a:lnTo>
                    <a:pt x="2597" y="301"/>
                  </a:lnTo>
                  <a:lnTo>
                    <a:pt x="2627" y="310"/>
                  </a:lnTo>
                  <a:lnTo>
                    <a:pt x="2658" y="346"/>
                  </a:lnTo>
                  <a:lnTo>
                    <a:pt x="2686" y="382"/>
                  </a:lnTo>
                  <a:lnTo>
                    <a:pt x="2713" y="421"/>
                  </a:lnTo>
                  <a:lnTo>
                    <a:pt x="2737" y="459"/>
                  </a:lnTo>
                  <a:lnTo>
                    <a:pt x="2700" y="139"/>
                  </a:lnTo>
                  <a:lnTo>
                    <a:pt x="2577" y="101"/>
                  </a:lnTo>
                  <a:lnTo>
                    <a:pt x="2453" y="65"/>
                  </a:lnTo>
                  <a:lnTo>
                    <a:pt x="2329" y="32"/>
                  </a:lnTo>
                  <a:lnTo>
                    <a:pt x="2203" y="0"/>
                  </a:lnTo>
                  <a:lnTo>
                    <a:pt x="2324" y="80"/>
                  </a:lnTo>
                  <a:lnTo>
                    <a:pt x="2315" y="76"/>
                  </a:lnTo>
                  <a:lnTo>
                    <a:pt x="2305" y="73"/>
                  </a:lnTo>
                  <a:lnTo>
                    <a:pt x="2291" y="69"/>
                  </a:lnTo>
                  <a:lnTo>
                    <a:pt x="2276" y="66"/>
                  </a:lnTo>
                  <a:lnTo>
                    <a:pt x="2260" y="63"/>
                  </a:lnTo>
                  <a:lnTo>
                    <a:pt x="2242" y="60"/>
                  </a:lnTo>
                  <a:lnTo>
                    <a:pt x="2223" y="58"/>
                  </a:lnTo>
                  <a:lnTo>
                    <a:pt x="2203" y="55"/>
                  </a:lnTo>
                  <a:lnTo>
                    <a:pt x="2183" y="54"/>
                  </a:lnTo>
                  <a:lnTo>
                    <a:pt x="2163" y="52"/>
                  </a:lnTo>
                  <a:lnTo>
                    <a:pt x="2142" y="51"/>
                  </a:lnTo>
                  <a:lnTo>
                    <a:pt x="2123" y="51"/>
                  </a:lnTo>
                  <a:lnTo>
                    <a:pt x="2072" y="51"/>
                  </a:lnTo>
                  <a:lnTo>
                    <a:pt x="2024" y="53"/>
                  </a:lnTo>
                  <a:lnTo>
                    <a:pt x="1977" y="57"/>
                  </a:lnTo>
                  <a:lnTo>
                    <a:pt x="1932" y="61"/>
                  </a:lnTo>
                  <a:lnTo>
                    <a:pt x="1889" y="67"/>
                  </a:lnTo>
                  <a:lnTo>
                    <a:pt x="1849" y="75"/>
                  </a:lnTo>
                  <a:lnTo>
                    <a:pt x="1810" y="83"/>
                  </a:lnTo>
                  <a:lnTo>
                    <a:pt x="1774" y="94"/>
                  </a:lnTo>
                  <a:lnTo>
                    <a:pt x="1739" y="104"/>
                  </a:lnTo>
                  <a:lnTo>
                    <a:pt x="1708" y="118"/>
                  </a:lnTo>
                  <a:lnTo>
                    <a:pt x="1677" y="132"/>
                  </a:lnTo>
                  <a:lnTo>
                    <a:pt x="1599" y="217"/>
                  </a:lnTo>
                  <a:lnTo>
                    <a:pt x="1521" y="301"/>
                  </a:lnTo>
                  <a:lnTo>
                    <a:pt x="1442" y="381"/>
                  </a:lnTo>
                  <a:lnTo>
                    <a:pt x="1362" y="459"/>
                  </a:lnTo>
                  <a:lnTo>
                    <a:pt x="1282" y="533"/>
                  </a:lnTo>
                  <a:lnTo>
                    <a:pt x="1201" y="606"/>
                  </a:lnTo>
                  <a:lnTo>
                    <a:pt x="1119" y="674"/>
                  </a:lnTo>
                  <a:lnTo>
                    <a:pt x="1037" y="741"/>
                  </a:lnTo>
                  <a:lnTo>
                    <a:pt x="954" y="804"/>
                  </a:lnTo>
                  <a:lnTo>
                    <a:pt x="871" y="865"/>
                  </a:lnTo>
                  <a:lnTo>
                    <a:pt x="787" y="923"/>
                  </a:lnTo>
                  <a:lnTo>
                    <a:pt x="703" y="977"/>
                  </a:lnTo>
                  <a:lnTo>
                    <a:pt x="618" y="1029"/>
                  </a:lnTo>
                  <a:lnTo>
                    <a:pt x="412" y="966"/>
                  </a:lnTo>
                  <a:lnTo>
                    <a:pt x="206" y="905"/>
                  </a:lnTo>
                  <a:lnTo>
                    <a:pt x="0" y="845"/>
                  </a:ln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98982" name="Freeform 6"/>
            <p:cNvSpPr>
              <a:spLocks/>
            </p:cNvSpPr>
            <p:nvPr/>
          </p:nvSpPr>
          <p:spPr bwMode="gray">
            <a:xfrm>
              <a:off x="1059" y="1146"/>
              <a:ext cx="3376" cy="1874"/>
            </a:xfrm>
            <a:custGeom>
              <a:avLst/>
              <a:gdLst>
                <a:gd name="T0" fmla="*/ 669 w 2690"/>
                <a:gd name="T1" fmla="*/ 1491 h 1505"/>
                <a:gd name="T2" fmla="*/ 790 w 2690"/>
                <a:gd name="T3" fmla="*/ 1458 h 1505"/>
                <a:gd name="T4" fmla="*/ 909 w 2690"/>
                <a:gd name="T5" fmla="*/ 1415 h 1505"/>
                <a:gd name="T6" fmla="*/ 1024 w 2690"/>
                <a:gd name="T7" fmla="*/ 1361 h 1505"/>
                <a:gd name="T8" fmla="*/ 1137 w 2690"/>
                <a:gd name="T9" fmla="*/ 1296 h 1505"/>
                <a:gd name="T10" fmla="*/ 1244 w 2690"/>
                <a:gd name="T11" fmla="*/ 1223 h 1505"/>
                <a:gd name="T12" fmla="*/ 1346 w 2690"/>
                <a:gd name="T13" fmla="*/ 1140 h 1505"/>
                <a:gd name="T14" fmla="*/ 1441 w 2690"/>
                <a:gd name="T15" fmla="*/ 1049 h 1505"/>
                <a:gd name="T16" fmla="*/ 1529 w 2690"/>
                <a:gd name="T17" fmla="*/ 951 h 1505"/>
                <a:gd name="T18" fmla="*/ 1609 w 2690"/>
                <a:gd name="T19" fmla="*/ 846 h 1505"/>
                <a:gd name="T20" fmla="*/ 1680 w 2690"/>
                <a:gd name="T21" fmla="*/ 735 h 1505"/>
                <a:gd name="T22" fmla="*/ 1723 w 2690"/>
                <a:gd name="T23" fmla="*/ 673 h 1505"/>
                <a:gd name="T24" fmla="*/ 1770 w 2690"/>
                <a:gd name="T25" fmla="*/ 614 h 1505"/>
                <a:gd name="T26" fmla="*/ 1819 w 2690"/>
                <a:gd name="T27" fmla="*/ 559 h 1505"/>
                <a:gd name="T28" fmla="*/ 1870 w 2690"/>
                <a:gd name="T29" fmla="*/ 510 h 1505"/>
                <a:gd name="T30" fmla="*/ 1922 w 2690"/>
                <a:gd name="T31" fmla="*/ 468 h 1505"/>
                <a:gd name="T32" fmla="*/ 1972 w 2690"/>
                <a:gd name="T33" fmla="*/ 433 h 1505"/>
                <a:gd name="T34" fmla="*/ 2020 w 2690"/>
                <a:gd name="T35" fmla="*/ 407 h 1505"/>
                <a:gd name="T36" fmla="*/ 2065 w 2690"/>
                <a:gd name="T37" fmla="*/ 389 h 1505"/>
                <a:gd name="T38" fmla="*/ 2155 w 2690"/>
                <a:gd name="T39" fmla="*/ 371 h 1505"/>
                <a:gd name="T40" fmla="*/ 2295 w 2690"/>
                <a:gd name="T41" fmla="*/ 351 h 1505"/>
                <a:gd name="T42" fmla="*/ 2435 w 2690"/>
                <a:gd name="T43" fmla="*/ 343 h 1505"/>
                <a:gd name="T44" fmla="*/ 2546 w 2690"/>
                <a:gd name="T45" fmla="*/ 379 h 1505"/>
                <a:gd name="T46" fmla="*/ 2621 w 2690"/>
                <a:gd name="T47" fmla="*/ 452 h 1505"/>
                <a:gd name="T48" fmla="*/ 2689 w 2690"/>
                <a:gd name="T49" fmla="*/ 532 h 1505"/>
                <a:gd name="T50" fmla="*/ 2494 w 2690"/>
                <a:gd name="T51" fmla="*/ 119 h 1505"/>
                <a:gd name="T52" fmla="*/ 2173 w 2690"/>
                <a:gd name="T53" fmla="*/ 37 h 1505"/>
                <a:gd name="T54" fmla="*/ 2157 w 2690"/>
                <a:gd name="T55" fmla="*/ 97 h 1505"/>
                <a:gd name="T56" fmla="*/ 2056 w 2690"/>
                <a:gd name="T57" fmla="*/ 88 h 1505"/>
                <a:gd name="T58" fmla="*/ 1955 w 2690"/>
                <a:gd name="T59" fmla="*/ 88 h 1505"/>
                <a:gd name="T60" fmla="*/ 1854 w 2690"/>
                <a:gd name="T61" fmla="*/ 97 h 1505"/>
                <a:gd name="T62" fmla="*/ 1755 w 2690"/>
                <a:gd name="T63" fmla="*/ 115 h 1505"/>
                <a:gd name="T64" fmla="*/ 1658 w 2690"/>
                <a:gd name="T65" fmla="*/ 140 h 1505"/>
                <a:gd name="T66" fmla="*/ 1586 w 2690"/>
                <a:gd name="T67" fmla="*/ 165 h 1505"/>
                <a:gd name="T68" fmla="*/ 1519 w 2690"/>
                <a:gd name="T69" fmla="*/ 199 h 1505"/>
                <a:gd name="T70" fmla="*/ 1459 w 2690"/>
                <a:gd name="T71" fmla="*/ 242 h 1505"/>
                <a:gd name="T72" fmla="*/ 1407 w 2690"/>
                <a:gd name="T73" fmla="*/ 293 h 1505"/>
                <a:gd name="T74" fmla="*/ 1365 w 2690"/>
                <a:gd name="T75" fmla="*/ 349 h 1505"/>
                <a:gd name="T76" fmla="*/ 1333 w 2690"/>
                <a:gd name="T77" fmla="*/ 411 h 1505"/>
                <a:gd name="T78" fmla="*/ 1283 w 2690"/>
                <a:gd name="T79" fmla="*/ 522 h 1505"/>
                <a:gd name="T80" fmla="*/ 1222 w 2690"/>
                <a:gd name="T81" fmla="*/ 629 h 1505"/>
                <a:gd name="T82" fmla="*/ 1150 w 2690"/>
                <a:gd name="T83" fmla="*/ 731 h 1505"/>
                <a:gd name="T84" fmla="*/ 1068 w 2690"/>
                <a:gd name="T85" fmla="*/ 827 h 1505"/>
                <a:gd name="T86" fmla="*/ 977 w 2690"/>
                <a:gd name="T87" fmla="*/ 916 h 1505"/>
                <a:gd name="T88" fmla="*/ 876 w 2690"/>
                <a:gd name="T89" fmla="*/ 998 h 1505"/>
                <a:gd name="T90" fmla="*/ 768 w 2690"/>
                <a:gd name="T91" fmla="*/ 1072 h 1505"/>
                <a:gd name="T92" fmla="*/ 652 w 2690"/>
                <a:gd name="T93" fmla="*/ 1137 h 1505"/>
                <a:gd name="T94" fmla="*/ 530 w 2690"/>
                <a:gd name="T95" fmla="*/ 1193 h 1505"/>
                <a:gd name="T96" fmla="*/ 403 w 2690"/>
                <a:gd name="T97" fmla="*/ 1239 h 1505"/>
                <a:gd name="T98" fmla="*/ 272 w 2690"/>
                <a:gd name="T99" fmla="*/ 1275 h 1505"/>
                <a:gd name="T100" fmla="*/ 137 w 2690"/>
                <a:gd name="T101" fmla="*/ 1301 h 1505"/>
                <a:gd name="T102" fmla="*/ 0 w 2690"/>
                <a:gd name="T103" fmla="*/ 1317 h 1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90" h="1505">
                  <a:moveTo>
                    <a:pt x="608" y="1504"/>
                  </a:moveTo>
                  <a:lnTo>
                    <a:pt x="669" y="1491"/>
                  </a:lnTo>
                  <a:lnTo>
                    <a:pt x="730" y="1476"/>
                  </a:lnTo>
                  <a:lnTo>
                    <a:pt x="790" y="1458"/>
                  </a:lnTo>
                  <a:lnTo>
                    <a:pt x="850" y="1438"/>
                  </a:lnTo>
                  <a:lnTo>
                    <a:pt x="909" y="1415"/>
                  </a:lnTo>
                  <a:lnTo>
                    <a:pt x="968" y="1389"/>
                  </a:lnTo>
                  <a:lnTo>
                    <a:pt x="1024" y="1361"/>
                  </a:lnTo>
                  <a:lnTo>
                    <a:pt x="1081" y="1330"/>
                  </a:lnTo>
                  <a:lnTo>
                    <a:pt x="1137" y="1296"/>
                  </a:lnTo>
                  <a:lnTo>
                    <a:pt x="1191" y="1261"/>
                  </a:lnTo>
                  <a:lnTo>
                    <a:pt x="1244" y="1223"/>
                  </a:lnTo>
                  <a:lnTo>
                    <a:pt x="1296" y="1182"/>
                  </a:lnTo>
                  <a:lnTo>
                    <a:pt x="1346" y="1140"/>
                  </a:lnTo>
                  <a:lnTo>
                    <a:pt x="1395" y="1096"/>
                  </a:lnTo>
                  <a:lnTo>
                    <a:pt x="1441" y="1049"/>
                  </a:lnTo>
                  <a:lnTo>
                    <a:pt x="1486" y="1001"/>
                  </a:lnTo>
                  <a:lnTo>
                    <a:pt x="1529" y="951"/>
                  </a:lnTo>
                  <a:lnTo>
                    <a:pt x="1570" y="899"/>
                  </a:lnTo>
                  <a:lnTo>
                    <a:pt x="1609" y="846"/>
                  </a:lnTo>
                  <a:lnTo>
                    <a:pt x="1646" y="791"/>
                  </a:lnTo>
                  <a:lnTo>
                    <a:pt x="1680" y="735"/>
                  </a:lnTo>
                  <a:lnTo>
                    <a:pt x="1701" y="704"/>
                  </a:lnTo>
                  <a:lnTo>
                    <a:pt x="1723" y="673"/>
                  </a:lnTo>
                  <a:lnTo>
                    <a:pt x="1746" y="643"/>
                  </a:lnTo>
                  <a:lnTo>
                    <a:pt x="1770" y="614"/>
                  </a:lnTo>
                  <a:lnTo>
                    <a:pt x="1794" y="586"/>
                  </a:lnTo>
                  <a:lnTo>
                    <a:pt x="1819" y="559"/>
                  </a:lnTo>
                  <a:lnTo>
                    <a:pt x="1845" y="534"/>
                  </a:lnTo>
                  <a:lnTo>
                    <a:pt x="1870" y="510"/>
                  </a:lnTo>
                  <a:lnTo>
                    <a:pt x="1896" y="488"/>
                  </a:lnTo>
                  <a:lnTo>
                    <a:pt x="1922" y="468"/>
                  </a:lnTo>
                  <a:lnTo>
                    <a:pt x="1947" y="449"/>
                  </a:lnTo>
                  <a:lnTo>
                    <a:pt x="1972" y="433"/>
                  </a:lnTo>
                  <a:lnTo>
                    <a:pt x="1996" y="418"/>
                  </a:lnTo>
                  <a:lnTo>
                    <a:pt x="2020" y="407"/>
                  </a:lnTo>
                  <a:lnTo>
                    <a:pt x="2043" y="396"/>
                  </a:lnTo>
                  <a:lnTo>
                    <a:pt x="2065" y="389"/>
                  </a:lnTo>
                  <a:lnTo>
                    <a:pt x="2086" y="384"/>
                  </a:lnTo>
                  <a:lnTo>
                    <a:pt x="2155" y="371"/>
                  </a:lnTo>
                  <a:lnTo>
                    <a:pt x="2225" y="360"/>
                  </a:lnTo>
                  <a:lnTo>
                    <a:pt x="2295" y="351"/>
                  </a:lnTo>
                  <a:lnTo>
                    <a:pt x="2365" y="346"/>
                  </a:lnTo>
                  <a:lnTo>
                    <a:pt x="2435" y="343"/>
                  </a:lnTo>
                  <a:lnTo>
                    <a:pt x="2506" y="343"/>
                  </a:lnTo>
                  <a:lnTo>
                    <a:pt x="2546" y="379"/>
                  </a:lnTo>
                  <a:lnTo>
                    <a:pt x="2584" y="415"/>
                  </a:lnTo>
                  <a:lnTo>
                    <a:pt x="2621" y="452"/>
                  </a:lnTo>
                  <a:lnTo>
                    <a:pt x="2656" y="491"/>
                  </a:lnTo>
                  <a:lnTo>
                    <a:pt x="2689" y="532"/>
                  </a:lnTo>
                  <a:lnTo>
                    <a:pt x="2654" y="162"/>
                  </a:lnTo>
                  <a:lnTo>
                    <a:pt x="2494" y="119"/>
                  </a:lnTo>
                  <a:lnTo>
                    <a:pt x="2334" y="76"/>
                  </a:lnTo>
                  <a:lnTo>
                    <a:pt x="2173" y="37"/>
                  </a:lnTo>
                  <a:lnTo>
                    <a:pt x="2011" y="0"/>
                  </a:lnTo>
                  <a:lnTo>
                    <a:pt x="2157" y="97"/>
                  </a:lnTo>
                  <a:lnTo>
                    <a:pt x="2107" y="91"/>
                  </a:lnTo>
                  <a:lnTo>
                    <a:pt x="2056" y="88"/>
                  </a:lnTo>
                  <a:lnTo>
                    <a:pt x="2006" y="87"/>
                  </a:lnTo>
                  <a:lnTo>
                    <a:pt x="1955" y="88"/>
                  </a:lnTo>
                  <a:lnTo>
                    <a:pt x="1904" y="91"/>
                  </a:lnTo>
                  <a:lnTo>
                    <a:pt x="1854" y="97"/>
                  </a:lnTo>
                  <a:lnTo>
                    <a:pt x="1804" y="105"/>
                  </a:lnTo>
                  <a:lnTo>
                    <a:pt x="1755" y="115"/>
                  </a:lnTo>
                  <a:lnTo>
                    <a:pt x="1706" y="126"/>
                  </a:lnTo>
                  <a:lnTo>
                    <a:pt x="1658" y="140"/>
                  </a:lnTo>
                  <a:lnTo>
                    <a:pt x="1621" y="152"/>
                  </a:lnTo>
                  <a:lnTo>
                    <a:pt x="1586" y="165"/>
                  </a:lnTo>
                  <a:lnTo>
                    <a:pt x="1552" y="181"/>
                  </a:lnTo>
                  <a:lnTo>
                    <a:pt x="1519" y="199"/>
                  </a:lnTo>
                  <a:lnTo>
                    <a:pt x="1488" y="220"/>
                  </a:lnTo>
                  <a:lnTo>
                    <a:pt x="1459" y="242"/>
                  </a:lnTo>
                  <a:lnTo>
                    <a:pt x="1432" y="266"/>
                  </a:lnTo>
                  <a:lnTo>
                    <a:pt x="1407" y="293"/>
                  </a:lnTo>
                  <a:lnTo>
                    <a:pt x="1385" y="320"/>
                  </a:lnTo>
                  <a:lnTo>
                    <a:pt x="1365" y="349"/>
                  </a:lnTo>
                  <a:lnTo>
                    <a:pt x="1348" y="379"/>
                  </a:lnTo>
                  <a:lnTo>
                    <a:pt x="1333" y="411"/>
                  </a:lnTo>
                  <a:lnTo>
                    <a:pt x="1310" y="467"/>
                  </a:lnTo>
                  <a:lnTo>
                    <a:pt x="1283" y="522"/>
                  </a:lnTo>
                  <a:lnTo>
                    <a:pt x="1254" y="576"/>
                  </a:lnTo>
                  <a:lnTo>
                    <a:pt x="1222" y="629"/>
                  </a:lnTo>
                  <a:lnTo>
                    <a:pt x="1187" y="681"/>
                  </a:lnTo>
                  <a:lnTo>
                    <a:pt x="1150" y="731"/>
                  </a:lnTo>
                  <a:lnTo>
                    <a:pt x="1110" y="779"/>
                  </a:lnTo>
                  <a:lnTo>
                    <a:pt x="1068" y="827"/>
                  </a:lnTo>
                  <a:lnTo>
                    <a:pt x="1024" y="872"/>
                  </a:lnTo>
                  <a:lnTo>
                    <a:pt x="977" y="916"/>
                  </a:lnTo>
                  <a:lnTo>
                    <a:pt x="928" y="958"/>
                  </a:lnTo>
                  <a:lnTo>
                    <a:pt x="876" y="998"/>
                  </a:lnTo>
                  <a:lnTo>
                    <a:pt x="823" y="1036"/>
                  </a:lnTo>
                  <a:lnTo>
                    <a:pt x="768" y="1072"/>
                  </a:lnTo>
                  <a:lnTo>
                    <a:pt x="710" y="1105"/>
                  </a:lnTo>
                  <a:lnTo>
                    <a:pt x="652" y="1137"/>
                  </a:lnTo>
                  <a:lnTo>
                    <a:pt x="592" y="1166"/>
                  </a:lnTo>
                  <a:lnTo>
                    <a:pt x="530" y="1193"/>
                  </a:lnTo>
                  <a:lnTo>
                    <a:pt x="467" y="1217"/>
                  </a:lnTo>
                  <a:lnTo>
                    <a:pt x="403" y="1239"/>
                  </a:lnTo>
                  <a:lnTo>
                    <a:pt x="338" y="1258"/>
                  </a:lnTo>
                  <a:lnTo>
                    <a:pt x="272" y="1275"/>
                  </a:lnTo>
                  <a:lnTo>
                    <a:pt x="204" y="1290"/>
                  </a:lnTo>
                  <a:lnTo>
                    <a:pt x="137" y="1301"/>
                  </a:lnTo>
                  <a:lnTo>
                    <a:pt x="69" y="1310"/>
                  </a:lnTo>
                  <a:lnTo>
                    <a:pt x="0" y="1317"/>
                  </a:lnTo>
                  <a:lnTo>
                    <a:pt x="608" y="1504"/>
                  </a:lnTo>
                </a:path>
              </a:pathLst>
            </a:custGeom>
            <a:solidFill>
              <a:srgbClr val="969696"/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98983" name="Rectangle 7"/>
            <p:cNvSpPr>
              <a:spLocks noChangeArrowheads="1"/>
            </p:cNvSpPr>
            <p:nvPr/>
          </p:nvSpPr>
          <p:spPr bwMode="gray">
            <a:xfrm>
              <a:off x="3484" y="1356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8984" name="Rectangle 8"/>
            <p:cNvSpPr>
              <a:spLocks noChangeArrowheads="1"/>
            </p:cNvSpPr>
            <p:nvPr/>
          </p:nvSpPr>
          <p:spPr bwMode="gray">
            <a:xfrm>
              <a:off x="3484" y="1878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98985" name="Rectangle 9"/>
            <p:cNvSpPr>
              <a:spLocks noChangeArrowheads="1"/>
            </p:cNvSpPr>
            <p:nvPr/>
          </p:nvSpPr>
          <p:spPr bwMode="gray">
            <a:xfrm>
              <a:off x="3484" y="2762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0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788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40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ss</a:t>
            </a:r>
          </a:p>
        </p:txBody>
      </p:sp>
      <p:grpSp>
        <p:nvGrpSpPr>
          <p:cNvPr id="3204099" name="Group 3"/>
          <p:cNvGrpSpPr>
            <a:grpSpLocks/>
          </p:cNvGrpSpPr>
          <p:nvPr/>
        </p:nvGrpSpPr>
        <p:grpSpPr bwMode="auto">
          <a:xfrm>
            <a:off x="1912939" y="1325564"/>
            <a:ext cx="8289925" cy="4830763"/>
            <a:chOff x="245" y="835"/>
            <a:chExt cx="5222" cy="3043"/>
          </a:xfrm>
        </p:grpSpPr>
        <p:sp>
          <p:nvSpPr>
            <p:cNvPr id="3204100" name="AutoShape 4"/>
            <p:cNvSpPr>
              <a:spLocks noChangeArrowheads="1"/>
            </p:cNvSpPr>
            <p:nvPr/>
          </p:nvSpPr>
          <p:spPr bwMode="gray">
            <a:xfrm>
              <a:off x="2987" y="945"/>
              <a:ext cx="2480" cy="2933"/>
            </a:xfrm>
            <a:prstGeom prst="roundRect">
              <a:avLst>
                <a:gd name="adj" fmla="val 3870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288000" rIns="0" bIns="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04101" name="Rectangle 5"/>
            <p:cNvSpPr>
              <a:spLocks noChangeArrowheads="1"/>
            </p:cNvSpPr>
            <p:nvPr/>
          </p:nvSpPr>
          <p:spPr bwMode="gray">
            <a:xfrm>
              <a:off x="3113" y="835"/>
              <a:ext cx="340" cy="22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>
              <a:spAutoFit/>
            </a:bodyPr>
            <a:lstStyle/>
            <a:p>
              <a:pPr defTabSz="912813">
                <a:buClr>
                  <a:schemeClr val="bg1"/>
                </a:buClr>
              </a:pPr>
              <a:r>
                <a:rPr lang="en-US" b="1" dirty="0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04102" name="AutoShape 6"/>
            <p:cNvSpPr>
              <a:spLocks noChangeArrowheads="1"/>
            </p:cNvSpPr>
            <p:nvPr/>
          </p:nvSpPr>
          <p:spPr bwMode="gray">
            <a:xfrm>
              <a:off x="245" y="945"/>
              <a:ext cx="2846" cy="2933"/>
            </a:xfrm>
            <a:prstGeom prst="homePlate">
              <a:avLst>
                <a:gd name="adj" fmla="val 14264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288000" rIns="0" bIns="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04103" name="Rectangle 7"/>
            <p:cNvSpPr>
              <a:spLocks noChangeArrowheads="1"/>
            </p:cNvSpPr>
            <p:nvPr/>
          </p:nvSpPr>
          <p:spPr bwMode="gray">
            <a:xfrm>
              <a:off x="335" y="835"/>
              <a:ext cx="340" cy="2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0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66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61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</a:t>
            </a:r>
          </a:p>
        </p:txBody>
      </p:sp>
      <p:grpSp>
        <p:nvGrpSpPr>
          <p:cNvPr id="3206147" name="Group 3"/>
          <p:cNvGrpSpPr>
            <a:grpSpLocks/>
          </p:cNvGrpSpPr>
          <p:nvPr/>
        </p:nvGrpSpPr>
        <p:grpSpPr bwMode="auto">
          <a:xfrm>
            <a:off x="1912939" y="1316038"/>
            <a:ext cx="8289925" cy="4830762"/>
            <a:chOff x="245" y="829"/>
            <a:chExt cx="5222" cy="3043"/>
          </a:xfrm>
        </p:grpSpPr>
        <p:sp>
          <p:nvSpPr>
            <p:cNvPr id="3206148" name="AutoShape 4"/>
            <p:cNvSpPr>
              <a:spLocks noChangeArrowheads="1"/>
            </p:cNvSpPr>
            <p:nvPr/>
          </p:nvSpPr>
          <p:spPr bwMode="gray">
            <a:xfrm>
              <a:off x="3681" y="938"/>
              <a:ext cx="1786" cy="2934"/>
            </a:xfrm>
            <a:prstGeom prst="roundRect">
              <a:avLst>
                <a:gd name="adj" fmla="val 5375"/>
              </a:avLst>
            </a:prstGeom>
            <a:solidFill>
              <a:srgbClr val="C0C0C0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252000" rIns="21600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06149" name="AutoShape 5"/>
            <p:cNvSpPr>
              <a:spLocks noChangeArrowheads="1"/>
            </p:cNvSpPr>
            <p:nvPr/>
          </p:nvSpPr>
          <p:spPr bwMode="gray">
            <a:xfrm>
              <a:off x="1955" y="938"/>
              <a:ext cx="1786" cy="2934"/>
            </a:xfrm>
            <a:prstGeom prst="homePlate">
              <a:avLst>
                <a:gd name="adj" fmla="val 12653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288000" rIns="21600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06150" name="Rectangle 6"/>
            <p:cNvSpPr>
              <a:spLocks noChangeArrowheads="1"/>
            </p:cNvSpPr>
            <p:nvPr/>
          </p:nvSpPr>
          <p:spPr bwMode="gray">
            <a:xfrm>
              <a:off x="3856" y="829"/>
              <a:ext cx="614" cy="22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>
              <a:spAutoFit/>
            </a:bodyPr>
            <a:lstStyle/>
            <a:p>
              <a:pPr defTabSz="912813"/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Solution</a:t>
              </a:r>
            </a:p>
          </p:txBody>
        </p:sp>
        <p:sp>
          <p:nvSpPr>
            <p:cNvPr id="3206151" name="AutoShape 7"/>
            <p:cNvSpPr>
              <a:spLocks noChangeArrowheads="1"/>
            </p:cNvSpPr>
            <p:nvPr/>
          </p:nvSpPr>
          <p:spPr bwMode="gray">
            <a:xfrm>
              <a:off x="245" y="938"/>
              <a:ext cx="1786" cy="2934"/>
            </a:xfrm>
            <a:prstGeom prst="homePlate">
              <a:avLst>
                <a:gd name="adj" fmla="val 13787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44000" tIns="288000" rIns="21600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06152" name="Rectangle 8"/>
            <p:cNvSpPr>
              <a:spLocks noChangeArrowheads="1"/>
            </p:cNvSpPr>
            <p:nvPr/>
          </p:nvSpPr>
          <p:spPr bwMode="gray">
            <a:xfrm>
              <a:off x="323" y="829"/>
              <a:ext cx="671" cy="2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Situation</a:t>
              </a:r>
            </a:p>
          </p:txBody>
        </p:sp>
        <p:sp>
          <p:nvSpPr>
            <p:cNvPr id="3206153" name="Rectangle 9"/>
            <p:cNvSpPr>
              <a:spLocks noChangeArrowheads="1"/>
            </p:cNvSpPr>
            <p:nvPr/>
          </p:nvSpPr>
          <p:spPr bwMode="gray">
            <a:xfrm>
              <a:off x="1983" y="829"/>
              <a:ext cx="985" cy="22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>
              <a:spAutoFit/>
            </a:bodyPr>
            <a:lstStyle/>
            <a:p>
              <a:pPr algn="just" defTabSz="912813"/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Complication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0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990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206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  <p:grpSp>
        <p:nvGrpSpPr>
          <p:cNvPr id="3032073" name="Group 9"/>
          <p:cNvGrpSpPr>
            <a:grpSpLocks/>
          </p:cNvGrpSpPr>
          <p:nvPr/>
        </p:nvGrpSpPr>
        <p:grpSpPr bwMode="auto">
          <a:xfrm>
            <a:off x="1905000" y="1495426"/>
            <a:ext cx="8301038" cy="4664075"/>
            <a:chOff x="240" y="942"/>
            <a:chExt cx="5229" cy="2938"/>
          </a:xfrm>
        </p:grpSpPr>
        <p:sp>
          <p:nvSpPr>
            <p:cNvPr id="3032070" name="Rectangle 6"/>
            <p:cNvSpPr>
              <a:spLocks noChangeArrowheads="1"/>
            </p:cNvSpPr>
            <p:nvPr/>
          </p:nvSpPr>
          <p:spPr bwMode="gray">
            <a:xfrm>
              <a:off x="1327" y="1334"/>
              <a:ext cx="3944" cy="6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dirty="0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dirty="0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dirty="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32071" name="Freeform 7"/>
            <p:cNvSpPr>
              <a:spLocks/>
            </p:cNvSpPr>
            <p:nvPr/>
          </p:nvSpPr>
          <p:spPr bwMode="gray">
            <a:xfrm>
              <a:off x="240" y="942"/>
              <a:ext cx="5229" cy="2938"/>
            </a:xfrm>
            <a:custGeom>
              <a:avLst/>
              <a:gdLst>
                <a:gd name="T0" fmla="*/ 0 w 5187"/>
                <a:gd name="T1" fmla="*/ 1073 h 2938"/>
                <a:gd name="T2" fmla="*/ 239 w 5187"/>
                <a:gd name="T3" fmla="*/ 1073 h 2938"/>
                <a:gd name="T4" fmla="*/ 239 w 5187"/>
                <a:gd name="T5" fmla="*/ 849 h 2938"/>
                <a:gd name="T6" fmla="*/ 458 w 5187"/>
                <a:gd name="T7" fmla="*/ 849 h 2938"/>
                <a:gd name="T8" fmla="*/ 458 w 5187"/>
                <a:gd name="T9" fmla="*/ 639 h 2938"/>
                <a:gd name="T10" fmla="*/ 663 w 5187"/>
                <a:gd name="T11" fmla="*/ 639 h 2938"/>
                <a:gd name="T12" fmla="*/ 663 w 5187"/>
                <a:gd name="T13" fmla="*/ 425 h 2938"/>
                <a:gd name="T14" fmla="*/ 868 w 5187"/>
                <a:gd name="T15" fmla="*/ 425 h 2938"/>
                <a:gd name="T16" fmla="*/ 868 w 5187"/>
                <a:gd name="T17" fmla="*/ 214 h 2938"/>
                <a:gd name="T18" fmla="*/ 1083 w 5187"/>
                <a:gd name="T19" fmla="*/ 214 h 2938"/>
                <a:gd name="T20" fmla="*/ 1083 w 5187"/>
                <a:gd name="T21" fmla="*/ 0 h 2938"/>
                <a:gd name="T22" fmla="*/ 5187 w 5187"/>
                <a:gd name="T23" fmla="*/ 2 h 2938"/>
                <a:gd name="T24" fmla="*/ 5187 w 5187"/>
                <a:gd name="T25" fmla="*/ 2936 h 2938"/>
                <a:gd name="T26" fmla="*/ 0 w 5187"/>
                <a:gd name="T27" fmla="*/ 2938 h 2938"/>
                <a:gd name="T28" fmla="*/ 0 w 5187"/>
                <a:gd name="T29" fmla="*/ 1073 h 29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87" h="2938">
                  <a:moveTo>
                    <a:pt x="0" y="1073"/>
                  </a:moveTo>
                  <a:lnTo>
                    <a:pt x="239" y="1073"/>
                  </a:lnTo>
                  <a:lnTo>
                    <a:pt x="239" y="849"/>
                  </a:lnTo>
                  <a:lnTo>
                    <a:pt x="458" y="849"/>
                  </a:lnTo>
                  <a:lnTo>
                    <a:pt x="458" y="639"/>
                  </a:lnTo>
                  <a:lnTo>
                    <a:pt x="663" y="639"/>
                  </a:lnTo>
                  <a:lnTo>
                    <a:pt x="663" y="425"/>
                  </a:lnTo>
                  <a:lnTo>
                    <a:pt x="868" y="425"/>
                  </a:lnTo>
                  <a:lnTo>
                    <a:pt x="868" y="214"/>
                  </a:lnTo>
                  <a:lnTo>
                    <a:pt x="1083" y="214"/>
                  </a:lnTo>
                  <a:lnTo>
                    <a:pt x="1083" y="0"/>
                  </a:lnTo>
                  <a:lnTo>
                    <a:pt x="5187" y="2"/>
                  </a:lnTo>
                  <a:lnTo>
                    <a:pt x="5187" y="2936"/>
                  </a:lnTo>
                  <a:lnTo>
                    <a:pt x="0" y="2938"/>
                  </a:lnTo>
                  <a:lnTo>
                    <a:pt x="0" y="1073"/>
                  </a:lnTo>
                  <a:close/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4051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3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2</a:t>
            </a:r>
          </a:p>
        </p:txBody>
      </p:sp>
      <p:grpSp>
        <p:nvGrpSpPr>
          <p:cNvPr id="3208195" name="Group 3"/>
          <p:cNvGrpSpPr>
            <a:grpSpLocks/>
          </p:cNvGrpSpPr>
          <p:nvPr/>
        </p:nvGrpSpPr>
        <p:grpSpPr bwMode="auto">
          <a:xfrm>
            <a:off x="1912939" y="1546888"/>
            <a:ext cx="8289925" cy="4659312"/>
            <a:chOff x="245" y="943"/>
            <a:chExt cx="5222" cy="2935"/>
          </a:xfrm>
        </p:grpSpPr>
        <p:sp>
          <p:nvSpPr>
            <p:cNvPr id="3208196" name="AutoShape 4"/>
            <p:cNvSpPr>
              <a:spLocks noChangeArrowheads="1"/>
            </p:cNvSpPr>
            <p:nvPr/>
          </p:nvSpPr>
          <p:spPr bwMode="gray">
            <a:xfrm>
              <a:off x="245" y="943"/>
              <a:ext cx="2594" cy="649"/>
            </a:xfrm>
            <a:prstGeom prst="homePlate">
              <a:avLst>
                <a:gd name="adj" fmla="val 2226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3716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08197" name="AutoShape 5"/>
            <p:cNvSpPr>
              <a:spLocks noChangeArrowheads="1"/>
            </p:cNvSpPr>
            <p:nvPr/>
          </p:nvSpPr>
          <p:spPr bwMode="gray">
            <a:xfrm>
              <a:off x="2873" y="943"/>
              <a:ext cx="2594" cy="649"/>
            </a:xfrm>
            <a:prstGeom prst="chevron">
              <a:avLst>
                <a:gd name="adj" fmla="val 2226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2004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08198" name="Rectangle 6"/>
            <p:cNvSpPr>
              <a:spLocks noChangeArrowheads="1"/>
            </p:cNvSpPr>
            <p:nvPr/>
          </p:nvSpPr>
          <p:spPr bwMode="gray">
            <a:xfrm>
              <a:off x="245" y="1699"/>
              <a:ext cx="2444" cy="217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3716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08199" name="Rectangle 7"/>
            <p:cNvSpPr>
              <a:spLocks noChangeArrowheads="1"/>
            </p:cNvSpPr>
            <p:nvPr/>
          </p:nvSpPr>
          <p:spPr bwMode="gray">
            <a:xfrm>
              <a:off x="2873" y="1699"/>
              <a:ext cx="2444" cy="217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3716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443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3</a:t>
            </a:r>
          </a:p>
        </p:txBody>
      </p:sp>
      <p:grpSp>
        <p:nvGrpSpPr>
          <p:cNvPr id="3210243" name="Group 3"/>
          <p:cNvGrpSpPr>
            <a:grpSpLocks/>
          </p:cNvGrpSpPr>
          <p:nvPr/>
        </p:nvGrpSpPr>
        <p:grpSpPr bwMode="auto">
          <a:xfrm>
            <a:off x="1912939" y="1497013"/>
            <a:ext cx="8308975" cy="4659312"/>
            <a:chOff x="245" y="943"/>
            <a:chExt cx="5234" cy="2935"/>
          </a:xfrm>
        </p:grpSpPr>
        <p:sp>
          <p:nvSpPr>
            <p:cNvPr id="3210244" name="AutoShape 4"/>
            <p:cNvSpPr>
              <a:spLocks noChangeArrowheads="1"/>
            </p:cNvSpPr>
            <p:nvPr/>
          </p:nvSpPr>
          <p:spPr bwMode="gray">
            <a:xfrm>
              <a:off x="245" y="943"/>
              <a:ext cx="1736" cy="509"/>
            </a:xfrm>
            <a:prstGeom prst="homePlate">
              <a:avLst>
                <a:gd name="adj" fmla="val 22264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0245" name="Rectangle 5"/>
            <p:cNvSpPr>
              <a:spLocks noChangeArrowheads="1"/>
            </p:cNvSpPr>
            <p:nvPr/>
          </p:nvSpPr>
          <p:spPr bwMode="gray">
            <a:xfrm>
              <a:off x="245" y="1507"/>
              <a:ext cx="1616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164592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0246" name="AutoShape 6"/>
            <p:cNvSpPr>
              <a:spLocks noChangeArrowheads="1"/>
            </p:cNvSpPr>
            <p:nvPr/>
          </p:nvSpPr>
          <p:spPr bwMode="gray">
            <a:xfrm>
              <a:off x="1994" y="943"/>
              <a:ext cx="1736" cy="509"/>
            </a:xfrm>
            <a:prstGeom prst="chevron">
              <a:avLst>
                <a:gd name="adj" fmla="val 22264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0247" name="Rectangle 7"/>
            <p:cNvSpPr>
              <a:spLocks noChangeArrowheads="1"/>
            </p:cNvSpPr>
            <p:nvPr/>
          </p:nvSpPr>
          <p:spPr bwMode="gray">
            <a:xfrm>
              <a:off x="2000" y="1507"/>
              <a:ext cx="1616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164592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0248" name="AutoShape 8"/>
            <p:cNvSpPr>
              <a:spLocks noChangeArrowheads="1"/>
            </p:cNvSpPr>
            <p:nvPr/>
          </p:nvSpPr>
          <p:spPr bwMode="gray">
            <a:xfrm>
              <a:off x="3743" y="943"/>
              <a:ext cx="1736" cy="509"/>
            </a:xfrm>
            <a:prstGeom prst="chevron">
              <a:avLst>
                <a:gd name="adj" fmla="val 22264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0249" name="Rectangle 9"/>
            <p:cNvSpPr>
              <a:spLocks noChangeArrowheads="1"/>
            </p:cNvSpPr>
            <p:nvPr/>
          </p:nvSpPr>
          <p:spPr bwMode="gray">
            <a:xfrm>
              <a:off x="3749" y="1507"/>
              <a:ext cx="1616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164592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494494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22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4</a:t>
            </a:r>
          </a:p>
        </p:txBody>
      </p:sp>
      <p:grpSp>
        <p:nvGrpSpPr>
          <p:cNvPr id="3212291" name="Group 3"/>
          <p:cNvGrpSpPr>
            <a:grpSpLocks/>
          </p:cNvGrpSpPr>
          <p:nvPr/>
        </p:nvGrpSpPr>
        <p:grpSpPr bwMode="auto">
          <a:xfrm>
            <a:off x="1912938" y="1497014"/>
            <a:ext cx="8304212" cy="4649787"/>
            <a:chOff x="245" y="943"/>
            <a:chExt cx="5231" cy="2929"/>
          </a:xfrm>
        </p:grpSpPr>
        <p:sp>
          <p:nvSpPr>
            <p:cNvPr id="3212292" name="AutoShape 4"/>
            <p:cNvSpPr>
              <a:spLocks noChangeArrowheads="1"/>
            </p:cNvSpPr>
            <p:nvPr/>
          </p:nvSpPr>
          <p:spPr bwMode="gray">
            <a:xfrm>
              <a:off x="245" y="943"/>
              <a:ext cx="1307" cy="509"/>
            </a:xfrm>
            <a:prstGeom prst="homePlate">
              <a:avLst>
                <a:gd name="adj" fmla="val 22266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2293" name="Rectangle 5"/>
            <p:cNvSpPr>
              <a:spLocks noChangeArrowheads="1"/>
            </p:cNvSpPr>
            <p:nvPr/>
          </p:nvSpPr>
          <p:spPr bwMode="gray">
            <a:xfrm>
              <a:off x="245" y="1501"/>
              <a:ext cx="1160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164592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2294" name="AutoShape 6"/>
            <p:cNvSpPr>
              <a:spLocks noChangeArrowheads="1"/>
            </p:cNvSpPr>
            <p:nvPr/>
          </p:nvSpPr>
          <p:spPr bwMode="gray">
            <a:xfrm>
              <a:off x="1553" y="943"/>
              <a:ext cx="1307" cy="509"/>
            </a:xfrm>
            <a:prstGeom prst="chevron">
              <a:avLst>
                <a:gd name="adj" fmla="val 22266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2295" name="Rectangle 7"/>
            <p:cNvSpPr>
              <a:spLocks noChangeArrowheads="1"/>
            </p:cNvSpPr>
            <p:nvPr/>
          </p:nvSpPr>
          <p:spPr bwMode="gray">
            <a:xfrm>
              <a:off x="1553" y="1501"/>
              <a:ext cx="1160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164592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2296" name="AutoShape 8"/>
            <p:cNvSpPr>
              <a:spLocks noChangeArrowheads="1"/>
            </p:cNvSpPr>
            <p:nvPr/>
          </p:nvSpPr>
          <p:spPr bwMode="gray">
            <a:xfrm>
              <a:off x="2861" y="943"/>
              <a:ext cx="1307" cy="509"/>
            </a:xfrm>
            <a:prstGeom prst="chevron">
              <a:avLst>
                <a:gd name="adj" fmla="val 22266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2297" name="Rectangle 9"/>
            <p:cNvSpPr>
              <a:spLocks noChangeArrowheads="1"/>
            </p:cNvSpPr>
            <p:nvPr/>
          </p:nvSpPr>
          <p:spPr bwMode="gray">
            <a:xfrm>
              <a:off x="2861" y="1501"/>
              <a:ext cx="1160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164592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2298" name="AutoShape 10"/>
            <p:cNvSpPr>
              <a:spLocks noChangeArrowheads="1"/>
            </p:cNvSpPr>
            <p:nvPr/>
          </p:nvSpPr>
          <p:spPr bwMode="gray">
            <a:xfrm>
              <a:off x="4169" y="943"/>
              <a:ext cx="1307" cy="509"/>
            </a:xfrm>
            <a:prstGeom prst="chevron">
              <a:avLst>
                <a:gd name="adj" fmla="val 22266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2299" name="Rectangle 11"/>
            <p:cNvSpPr>
              <a:spLocks noChangeArrowheads="1"/>
            </p:cNvSpPr>
            <p:nvPr/>
          </p:nvSpPr>
          <p:spPr bwMode="gray">
            <a:xfrm>
              <a:off x="4169" y="1501"/>
              <a:ext cx="1160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164592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33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43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5</a:t>
            </a:r>
          </a:p>
        </p:txBody>
      </p:sp>
      <p:grpSp>
        <p:nvGrpSpPr>
          <p:cNvPr id="3214339" name="Group 3"/>
          <p:cNvGrpSpPr>
            <a:grpSpLocks/>
          </p:cNvGrpSpPr>
          <p:nvPr/>
        </p:nvGrpSpPr>
        <p:grpSpPr bwMode="auto">
          <a:xfrm>
            <a:off x="1912938" y="1497013"/>
            <a:ext cx="8312150" cy="4659312"/>
            <a:chOff x="245" y="943"/>
            <a:chExt cx="5236" cy="2935"/>
          </a:xfrm>
        </p:grpSpPr>
        <p:sp>
          <p:nvSpPr>
            <p:cNvPr id="3214340" name="AutoShape 4"/>
            <p:cNvSpPr>
              <a:spLocks noChangeArrowheads="1"/>
            </p:cNvSpPr>
            <p:nvPr/>
          </p:nvSpPr>
          <p:spPr bwMode="gray">
            <a:xfrm>
              <a:off x="245" y="943"/>
              <a:ext cx="1030" cy="509"/>
            </a:xfrm>
            <a:prstGeom prst="homePlate">
              <a:avLst>
                <a:gd name="adj" fmla="val 22259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4341" name="Rectangle 5"/>
            <p:cNvSpPr>
              <a:spLocks noChangeArrowheads="1"/>
            </p:cNvSpPr>
            <p:nvPr/>
          </p:nvSpPr>
          <p:spPr bwMode="gray">
            <a:xfrm>
              <a:off x="245" y="1507"/>
              <a:ext cx="914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4342" name="AutoShape 6"/>
            <p:cNvSpPr>
              <a:spLocks noChangeArrowheads="1"/>
            </p:cNvSpPr>
            <p:nvPr/>
          </p:nvSpPr>
          <p:spPr bwMode="gray">
            <a:xfrm>
              <a:off x="1296" y="943"/>
              <a:ext cx="1030" cy="509"/>
            </a:xfrm>
            <a:prstGeom prst="chevron">
              <a:avLst>
                <a:gd name="adj" fmla="val 22259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4343" name="Rectangle 7"/>
            <p:cNvSpPr>
              <a:spLocks noChangeArrowheads="1"/>
            </p:cNvSpPr>
            <p:nvPr/>
          </p:nvSpPr>
          <p:spPr bwMode="gray">
            <a:xfrm>
              <a:off x="1296" y="1507"/>
              <a:ext cx="914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4344" name="AutoShape 8"/>
            <p:cNvSpPr>
              <a:spLocks noChangeArrowheads="1"/>
            </p:cNvSpPr>
            <p:nvPr/>
          </p:nvSpPr>
          <p:spPr bwMode="gray">
            <a:xfrm>
              <a:off x="2348" y="943"/>
              <a:ext cx="1030" cy="509"/>
            </a:xfrm>
            <a:prstGeom prst="chevron">
              <a:avLst>
                <a:gd name="adj" fmla="val 22259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4345" name="Rectangle 9"/>
            <p:cNvSpPr>
              <a:spLocks noChangeArrowheads="1"/>
            </p:cNvSpPr>
            <p:nvPr/>
          </p:nvSpPr>
          <p:spPr bwMode="gray">
            <a:xfrm>
              <a:off x="2348" y="1507"/>
              <a:ext cx="914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4346" name="AutoShape 10"/>
            <p:cNvSpPr>
              <a:spLocks noChangeArrowheads="1"/>
            </p:cNvSpPr>
            <p:nvPr/>
          </p:nvSpPr>
          <p:spPr bwMode="gray">
            <a:xfrm>
              <a:off x="3399" y="943"/>
              <a:ext cx="1030" cy="509"/>
            </a:xfrm>
            <a:prstGeom prst="chevron">
              <a:avLst>
                <a:gd name="adj" fmla="val 22259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4347" name="Rectangle 11"/>
            <p:cNvSpPr>
              <a:spLocks noChangeArrowheads="1"/>
            </p:cNvSpPr>
            <p:nvPr/>
          </p:nvSpPr>
          <p:spPr bwMode="gray">
            <a:xfrm>
              <a:off x="3399" y="1507"/>
              <a:ext cx="914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4348" name="AutoShape 12"/>
            <p:cNvSpPr>
              <a:spLocks noChangeArrowheads="1"/>
            </p:cNvSpPr>
            <p:nvPr/>
          </p:nvSpPr>
          <p:spPr bwMode="gray">
            <a:xfrm>
              <a:off x="4451" y="943"/>
              <a:ext cx="1030" cy="509"/>
            </a:xfrm>
            <a:prstGeom prst="chevron">
              <a:avLst>
                <a:gd name="adj" fmla="val 22259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4349" name="Rectangle 13"/>
            <p:cNvSpPr>
              <a:spLocks noChangeArrowheads="1"/>
            </p:cNvSpPr>
            <p:nvPr/>
          </p:nvSpPr>
          <p:spPr bwMode="gray">
            <a:xfrm>
              <a:off x="4451" y="1507"/>
              <a:ext cx="914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6AD245-CE23-44AA-B096-4A6180C9AAE6}" type="slidenum">
              <a:rPr lang="en-US" smtClean="0"/>
              <a:pPr/>
              <a:t>1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38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63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6</a:t>
            </a:r>
          </a:p>
        </p:txBody>
      </p:sp>
      <p:grpSp>
        <p:nvGrpSpPr>
          <p:cNvPr id="3216387" name="Group 3"/>
          <p:cNvGrpSpPr>
            <a:grpSpLocks/>
          </p:cNvGrpSpPr>
          <p:nvPr/>
        </p:nvGrpSpPr>
        <p:grpSpPr bwMode="auto">
          <a:xfrm>
            <a:off x="1912938" y="1497013"/>
            <a:ext cx="8304212" cy="4659312"/>
            <a:chOff x="245" y="943"/>
            <a:chExt cx="5231" cy="2935"/>
          </a:xfrm>
        </p:grpSpPr>
        <p:sp>
          <p:nvSpPr>
            <p:cNvPr id="3216388" name="AutoShape 4"/>
            <p:cNvSpPr>
              <a:spLocks noChangeArrowheads="1"/>
            </p:cNvSpPr>
            <p:nvPr/>
          </p:nvSpPr>
          <p:spPr bwMode="gray">
            <a:xfrm>
              <a:off x="245" y="943"/>
              <a:ext cx="875" cy="509"/>
            </a:xfrm>
            <a:prstGeom prst="homePlate">
              <a:avLst>
                <a:gd name="adj" fmla="val 22260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6389" name="Rectangle 5"/>
            <p:cNvSpPr>
              <a:spLocks noChangeArrowheads="1"/>
            </p:cNvSpPr>
            <p:nvPr/>
          </p:nvSpPr>
          <p:spPr bwMode="gray">
            <a:xfrm>
              <a:off x="245" y="1507"/>
              <a:ext cx="776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6390" name="AutoShape 6"/>
            <p:cNvSpPr>
              <a:spLocks noChangeArrowheads="1"/>
            </p:cNvSpPr>
            <p:nvPr/>
          </p:nvSpPr>
          <p:spPr bwMode="gray">
            <a:xfrm>
              <a:off x="1117" y="943"/>
              <a:ext cx="875" cy="509"/>
            </a:xfrm>
            <a:prstGeom prst="chevron">
              <a:avLst>
                <a:gd name="adj" fmla="val 22260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6391" name="Rectangle 7"/>
            <p:cNvSpPr>
              <a:spLocks noChangeArrowheads="1"/>
            </p:cNvSpPr>
            <p:nvPr/>
          </p:nvSpPr>
          <p:spPr bwMode="gray">
            <a:xfrm>
              <a:off x="1117" y="1507"/>
              <a:ext cx="776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6392" name="AutoShape 8"/>
            <p:cNvSpPr>
              <a:spLocks noChangeArrowheads="1"/>
            </p:cNvSpPr>
            <p:nvPr/>
          </p:nvSpPr>
          <p:spPr bwMode="gray">
            <a:xfrm>
              <a:off x="1988" y="943"/>
              <a:ext cx="875" cy="509"/>
            </a:xfrm>
            <a:prstGeom prst="chevron">
              <a:avLst>
                <a:gd name="adj" fmla="val 22260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6393" name="Rectangle 9"/>
            <p:cNvSpPr>
              <a:spLocks noChangeArrowheads="1"/>
            </p:cNvSpPr>
            <p:nvPr/>
          </p:nvSpPr>
          <p:spPr bwMode="gray">
            <a:xfrm>
              <a:off x="1988" y="1507"/>
              <a:ext cx="776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6394" name="AutoShape 10"/>
            <p:cNvSpPr>
              <a:spLocks noChangeArrowheads="1"/>
            </p:cNvSpPr>
            <p:nvPr/>
          </p:nvSpPr>
          <p:spPr bwMode="gray">
            <a:xfrm>
              <a:off x="2859" y="943"/>
              <a:ext cx="875" cy="509"/>
            </a:xfrm>
            <a:prstGeom prst="chevron">
              <a:avLst>
                <a:gd name="adj" fmla="val 22260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6395" name="Rectangle 11"/>
            <p:cNvSpPr>
              <a:spLocks noChangeArrowheads="1"/>
            </p:cNvSpPr>
            <p:nvPr/>
          </p:nvSpPr>
          <p:spPr bwMode="gray">
            <a:xfrm>
              <a:off x="2859" y="1507"/>
              <a:ext cx="776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6396" name="AutoShape 12"/>
            <p:cNvSpPr>
              <a:spLocks noChangeArrowheads="1"/>
            </p:cNvSpPr>
            <p:nvPr/>
          </p:nvSpPr>
          <p:spPr bwMode="gray">
            <a:xfrm>
              <a:off x="3730" y="943"/>
              <a:ext cx="875" cy="509"/>
            </a:xfrm>
            <a:prstGeom prst="chevron">
              <a:avLst>
                <a:gd name="adj" fmla="val 22260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6397" name="Rectangle 13"/>
            <p:cNvSpPr>
              <a:spLocks noChangeArrowheads="1"/>
            </p:cNvSpPr>
            <p:nvPr/>
          </p:nvSpPr>
          <p:spPr bwMode="gray">
            <a:xfrm>
              <a:off x="3730" y="1507"/>
              <a:ext cx="776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6398" name="AutoShape 14"/>
            <p:cNvSpPr>
              <a:spLocks noChangeArrowheads="1"/>
            </p:cNvSpPr>
            <p:nvPr/>
          </p:nvSpPr>
          <p:spPr bwMode="gray">
            <a:xfrm>
              <a:off x="4601" y="943"/>
              <a:ext cx="875" cy="509"/>
            </a:xfrm>
            <a:prstGeom prst="chevron">
              <a:avLst>
                <a:gd name="adj" fmla="val 22260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6399" name="Rectangle 15"/>
            <p:cNvSpPr>
              <a:spLocks noChangeArrowheads="1"/>
            </p:cNvSpPr>
            <p:nvPr/>
          </p:nvSpPr>
          <p:spPr bwMode="gray">
            <a:xfrm>
              <a:off x="4601" y="1507"/>
              <a:ext cx="776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210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7</a:t>
            </a:r>
          </a:p>
        </p:txBody>
      </p:sp>
      <p:grpSp>
        <p:nvGrpSpPr>
          <p:cNvPr id="3218435" name="Group 3"/>
          <p:cNvGrpSpPr>
            <a:grpSpLocks/>
          </p:cNvGrpSpPr>
          <p:nvPr/>
        </p:nvGrpSpPr>
        <p:grpSpPr bwMode="auto">
          <a:xfrm>
            <a:off x="1912939" y="1497013"/>
            <a:ext cx="8313737" cy="4659312"/>
            <a:chOff x="245" y="943"/>
            <a:chExt cx="5237" cy="2935"/>
          </a:xfrm>
        </p:grpSpPr>
        <p:sp>
          <p:nvSpPr>
            <p:cNvPr id="3218436" name="AutoShape 4"/>
            <p:cNvSpPr>
              <a:spLocks noChangeArrowheads="1"/>
            </p:cNvSpPr>
            <p:nvPr/>
          </p:nvSpPr>
          <p:spPr bwMode="gray">
            <a:xfrm>
              <a:off x="245" y="943"/>
              <a:ext cx="719" cy="509"/>
            </a:xfrm>
            <a:prstGeom prst="homePlate">
              <a:avLst>
                <a:gd name="adj" fmla="val 2226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8437" name="Rectangle 5"/>
            <p:cNvSpPr>
              <a:spLocks noChangeArrowheads="1"/>
            </p:cNvSpPr>
            <p:nvPr/>
          </p:nvSpPr>
          <p:spPr bwMode="gray">
            <a:xfrm>
              <a:off x="245" y="1507"/>
              <a:ext cx="638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8438" name="AutoShape 6"/>
            <p:cNvSpPr>
              <a:spLocks noChangeArrowheads="1"/>
            </p:cNvSpPr>
            <p:nvPr/>
          </p:nvSpPr>
          <p:spPr bwMode="gray">
            <a:xfrm>
              <a:off x="998" y="943"/>
              <a:ext cx="719" cy="509"/>
            </a:xfrm>
            <a:prstGeom prst="chevron">
              <a:avLst>
                <a:gd name="adj" fmla="val 2226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8439" name="Rectangle 7"/>
            <p:cNvSpPr>
              <a:spLocks noChangeArrowheads="1"/>
            </p:cNvSpPr>
            <p:nvPr/>
          </p:nvSpPr>
          <p:spPr bwMode="gray">
            <a:xfrm>
              <a:off x="998" y="1507"/>
              <a:ext cx="638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8440" name="AutoShape 8"/>
            <p:cNvSpPr>
              <a:spLocks noChangeArrowheads="1"/>
            </p:cNvSpPr>
            <p:nvPr/>
          </p:nvSpPr>
          <p:spPr bwMode="gray">
            <a:xfrm>
              <a:off x="1751" y="943"/>
              <a:ext cx="719" cy="509"/>
            </a:xfrm>
            <a:prstGeom prst="chevron">
              <a:avLst>
                <a:gd name="adj" fmla="val 2226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8441" name="Rectangle 9"/>
            <p:cNvSpPr>
              <a:spLocks noChangeArrowheads="1"/>
            </p:cNvSpPr>
            <p:nvPr/>
          </p:nvSpPr>
          <p:spPr bwMode="gray">
            <a:xfrm>
              <a:off x="1751" y="1507"/>
              <a:ext cx="638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8442" name="AutoShape 10"/>
            <p:cNvSpPr>
              <a:spLocks noChangeArrowheads="1"/>
            </p:cNvSpPr>
            <p:nvPr/>
          </p:nvSpPr>
          <p:spPr bwMode="gray">
            <a:xfrm>
              <a:off x="2504" y="943"/>
              <a:ext cx="719" cy="509"/>
            </a:xfrm>
            <a:prstGeom prst="chevron">
              <a:avLst>
                <a:gd name="adj" fmla="val 2226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8443" name="Rectangle 11"/>
            <p:cNvSpPr>
              <a:spLocks noChangeArrowheads="1"/>
            </p:cNvSpPr>
            <p:nvPr/>
          </p:nvSpPr>
          <p:spPr bwMode="gray">
            <a:xfrm>
              <a:off x="2504" y="1507"/>
              <a:ext cx="638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8444" name="AutoShape 12"/>
            <p:cNvSpPr>
              <a:spLocks noChangeArrowheads="1"/>
            </p:cNvSpPr>
            <p:nvPr/>
          </p:nvSpPr>
          <p:spPr bwMode="gray">
            <a:xfrm>
              <a:off x="3257" y="943"/>
              <a:ext cx="719" cy="509"/>
            </a:xfrm>
            <a:prstGeom prst="chevron">
              <a:avLst>
                <a:gd name="adj" fmla="val 2226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8445" name="Rectangle 13"/>
            <p:cNvSpPr>
              <a:spLocks noChangeArrowheads="1"/>
            </p:cNvSpPr>
            <p:nvPr/>
          </p:nvSpPr>
          <p:spPr bwMode="gray">
            <a:xfrm>
              <a:off x="3257" y="1507"/>
              <a:ext cx="638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8446" name="AutoShape 14"/>
            <p:cNvSpPr>
              <a:spLocks noChangeArrowheads="1"/>
            </p:cNvSpPr>
            <p:nvPr/>
          </p:nvSpPr>
          <p:spPr bwMode="gray">
            <a:xfrm>
              <a:off x="4010" y="943"/>
              <a:ext cx="719" cy="509"/>
            </a:xfrm>
            <a:prstGeom prst="chevron">
              <a:avLst>
                <a:gd name="adj" fmla="val 2226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8447" name="Rectangle 15"/>
            <p:cNvSpPr>
              <a:spLocks noChangeArrowheads="1"/>
            </p:cNvSpPr>
            <p:nvPr/>
          </p:nvSpPr>
          <p:spPr bwMode="gray">
            <a:xfrm>
              <a:off x="4010" y="1507"/>
              <a:ext cx="638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8448" name="AutoShape 16"/>
            <p:cNvSpPr>
              <a:spLocks noChangeArrowheads="1"/>
            </p:cNvSpPr>
            <p:nvPr/>
          </p:nvSpPr>
          <p:spPr bwMode="gray">
            <a:xfrm>
              <a:off x="4763" y="943"/>
              <a:ext cx="719" cy="509"/>
            </a:xfrm>
            <a:prstGeom prst="chevron">
              <a:avLst>
                <a:gd name="adj" fmla="val 2226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18449" name="Rectangle 17"/>
            <p:cNvSpPr>
              <a:spLocks noChangeArrowheads="1"/>
            </p:cNvSpPr>
            <p:nvPr/>
          </p:nvSpPr>
          <p:spPr bwMode="gray">
            <a:xfrm>
              <a:off x="4763" y="1507"/>
              <a:ext cx="638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276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04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8</a:t>
            </a:r>
          </a:p>
        </p:txBody>
      </p:sp>
      <p:grpSp>
        <p:nvGrpSpPr>
          <p:cNvPr id="3220483" name="Group 3"/>
          <p:cNvGrpSpPr>
            <a:grpSpLocks/>
          </p:cNvGrpSpPr>
          <p:nvPr/>
        </p:nvGrpSpPr>
        <p:grpSpPr bwMode="auto">
          <a:xfrm>
            <a:off x="1912939" y="1497013"/>
            <a:ext cx="8308975" cy="4659312"/>
            <a:chOff x="245" y="943"/>
            <a:chExt cx="5234" cy="2935"/>
          </a:xfrm>
        </p:grpSpPr>
        <p:sp>
          <p:nvSpPr>
            <p:cNvPr id="3220484" name="AutoShape 4"/>
            <p:cNvSpPr>
              <a:spLocks noChangeArrowheads="1"/>
            </p:cNvSpPr>
            <p:nvPr/>
          </p:nvSpPr>
          <p:spPr bwMode="gray">
            <a:xfrm>
              <a:off x="245" y="943"/>
              <a:ext cx="722" cy="509"/>
            </a:xfrm>
            <a:prstGeom prst="homePlate">
              <a:avLst>
                <a:gd name="adj" fmla="val 22262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0485" name="Rectangle 5"/>
            <p:cNvSpPr>
              <a:spLocks noChangeArrowheads="1"/>
            </p:cNvSpPr>
            <p:nvPr/>
          </p:nvSpPr>
          <p:spPr bwMode="gray">
            <a:xfrm>
              <a:off x="245" y="1507"/>
              <a:ext cx="608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0486" name="AutoShape 6"/>
            <p:cNvSpPr>
              <a:spLocks noChangeArrowheads="1"/>
            </p:cNvSpPr>
            <p:nvPr/>
          </p:nvSpPr>
          <p:spPr bwMode="gray">
            <a:xfrm>
              <a:off x="890" y="943"/>
              <a:ext cx="722" cy="509"/>
            </a:xfrm>
            <a:prstGeom prst="chevron">
              <a:avLst>
                <a:gd name="adj" fmla="val 22262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sz="1600" b="1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0487" name="Rectangle 7"/>
            <p:cNvSpPr>
              <a:spLocks noChangeArrowheads="1"/>
            </p:cNvSpPr>
            <p:nvPr/>
          </p:nvSpPr>
          <p:spPr bwMode="gray">
            <a:xfrm>
              <a:off x="890" y="1507"/>
              <a:ext cx="608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0488" name="AutoShape 8"/>
            <p:cNvSpPr>
              <a:spLocks noChangeArrowheads="1"/>
            </p:cNvSpPr>
            <p:nvPr/>
          </p:nvSpPr>
          <p:spPr bwMode="gray">
            <a:xfrm>
              <a:off x="1535" y="943"/>
              <a:ext cx="722" cy="509"/>
            </a:xfrm>
            <a:prstGeom prst="chevron">
              <a:avLst>
                <a:gd name="adj" fmla="val 22262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0489" name="Rectangle 9"/>
            <p:cNvSpPr>
              <a:spLocks noChangeArrowheads="1"/>
            </p:cNvSpPr>
            <p:nvPr/>
          </p:nvSpPr>
          <p:spPr bwMode="gray">
            <a:xfrm>
              <a:off x="1535" y="1507"/>
              <a:ext cx="608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0490" name="AutoShape 10"/>
            <p:cNvSpPr>
              <a:spLocks noChangeArrowheads="1"/>
            </p:cNvSpPr>
            <p:nvPr/>
          </p:nvSpPr>
          <p:spPr bwMode="gray">
            <a:xfrm>
              <a:off x="2179" y="943"/>
              <a:ext cx="722" cy="509"/>
            </a:xfrm>
            <a:prstGeom prst="chevron">
              <a:avLst>
                <a:gd name="adj" fmla="val 22262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0491" name="Rectangle 11"/>
            <p:cNvSpPr>
              <a:spLocks noChangeArrowheads="1"/>
            </p:cNvSpPr>
            <p:nvPr/>
          </p:nvSpPr>
          <p:spPr bwMode="gray">
            <a:xfrm>
              <a:off x="2179" y="1507"/>
              <a:ext cx="608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0492" name="AutoShape 12"/>
            <p:cNvSpPr>
              <a:spLocks noChangeArrowheads="1"/>
            </p:cNvSpPr>
            <p:nvPr/>
          </p:nvSpPr>
          <p:spPr bwMode="gray">
            <a:xfrm>
              <a:off x="2824" y="943"/>
              <a:ext cx="722" cy="509"/>
            </a:xfrm>
            <a:prstGeom prst="chevron">
              <a:avLst>
                <a:gd name="adj" fmla="val 22262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0493" name="Rectangle 13"/>
            <p:cNvSpPr>
              <a:spLocks noChangeArrowheads="1"/>
            </p:cNvSpPr>
            <p:nvPr/>
          </p:nvSpPr>
          <p:spPr bwMode="gray">
            <a:xfrm>
              <a:off x="2824" y="1507"/>
              <a:ext cx="608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0494" name="AutoShape 14"/>
            <p:cNvSpPr>
              <a:spLocks noChangeArrowheads="1"/>
            </p:cNvSpPr>
            <p:nvPr/>
          </p:nvSpPr>
          <p:spPr bwMode="gray">
            <a:xfrm>
              <a:off x="3468" y="943"/>
              <a:ext cx="722" cy="509"/>
            </a:xfrm>
            <a:prstGeom prst="chevron">
              <a:avLst>
                <a:gd name="adj" fmla="val 22262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0495" name="Rectangle 15"/>
            <p:cNvSpPr>
              <a:spLocks noChangeArrowheads="1"/>
            </p:cNvSpPr>
            <p:nvPr/>
          </p:nvSpPr>
          <p:spPr bwMode="gray">
            <a:xfrm>
              <a:off x="3468" y="1507"/>
              <a:ext cx="608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0496" name="AutoShape 16"/>
            <p:cNvSpPr>
              <a:spLocks noChangeArrowheads="1"/>
            </p:cNvSpPr>
            <p:nvPr/>
          </p:nvSpPr>
          <p:spPr bwMode="gray">
            <a:xfrm>
              <a:off x="4113" y="943"/>
              <a:ext cx="722" cy="509"/>
            </a:xfrm>
            <a:prstGeom prst="chevron">
              <a:avLst>
                <a:gd name="adj" fmla="val 22262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0497" name="Rectangle 17"/>
            <p:cNvSpPr>
              <a:spLocks noChangeArrowheads="1"/>
            </p:cNvSpPr>
            <p:nvPr/>
          </p:nvSpPr>
          <p:spPr bwMode="gray">
            <a:xfrm>
              <a:off x="4113" y="1507"/>
              <a:ext cx="608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0498" name="AutoShape 18"/>
            <p:cNvSpPr>
              <a:spLocks noChangeArrowheads="1"/>
            </p:cNvSpPr>
            <p:nvPr/>
          </p:nvSpPr>
          <p:spPr bwMode="gray">
            <a:xfrm>
              <a:off x="4757" y="943"/>
              <a:ext cx="722" cy="509"/>
            </a:xfrm>
            <a:prstGeom prst="chevron">
              <a:avLst>
                <a:gd name="adj" fmla="val 22262"/>
              </a:avLst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sz="1600" b="1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0499" name="Rectangle 19"/>
            <p:cNvSpPr>
              <a:spLocks noChangeArrowheads="1"/>
            </p:cNvSpPr>
            <p:nvPr/>
          </p:nvSpPr>
          <p:spPr bwMode="gray">
            <a:xfrm>
              <a:off x="4757" y="1507"/>
              <a:ext cx="608" cy="2371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485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2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Workflow</a:t>
            </a:r>
          </a:p>
        </p:txBody>
      </p:sp>
      <p:grpSp>
        <p:nvGrpSpPr>
          <p:cNvPr id="3222531" name="Group 3"/>
          <p:cNvGrpSpPr>
            <a:grpSpLocks/>
          </p:cNvGrpSpPr>
          <p:nvPr/>
        </p:nvGrpSpPr>
        <p:grpSpPr bwMode="auto">
          <a:xfrm>
            <a:off x="1905000" y="1492251"/>
            <a:ext cx="8396288" cy="4664075"/>
            <a:chOff x="240" y="940"/>
            <a:chExt cx="5289" cy="2938"/>
          </a:xfrm>
        </p:grpSpPr>
        <p:sp>
          <p:nvSpPr>
            <p:cNvPr id="3222532" name="Rectangle 4"/>
            <p:cNvSpPr>
              <a:spLocks noChangeArrowheads="1"/>
            </p:cNvSpPr>
            <p:nvPr/>
          </p:nvSpPr>
          <p:spPr bwMode="gray">
            <a:xfrm>
              <a:off x="240" y="1279"/>
              <a:ext cx="1648" cy="2599"/>
            </a:xfrm>
            <a:prstGeom prst="rect">
              <a:avLst/>
            </a:prstGeom>
            <a:noFill/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2533" name="Rectangle 5"/>
            <p:cNvSpPr>
              <a:spLocks noChangeArrowheads="1"/>
            </p:cNvSpPr>
            <p:nvPr/>
          </p:nvSpPr>
          <p:spPr bwMode="gray">
            <a:xfrm>
              <a:off x="2047" y="1279"/>
              <a:ext cx="1648" cy="2599"/>
            </a:xfrm>
            <a:prstGeom prst="rect">
              <a:avLst/>
            </a:prstGeom>
            <a:noFill/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2534" name="Rectangle 6"/>
            <p:cNvSpPr>
              <a:spLocks noChangeArrowheads="1"/>
            </p:cNvSpPr>
            <p:nvPr/>
          </p:nvSpPr>
          <p:spPr bwMode="gray">
            <a:xfrm>
              <a:off x="3823" y="1279"/>
              <a:ext cx="1648" cy="2599"/>
            </a:xfrm>
            <a:prstGeom prst="rect">
              <a:avLst/>
            </a:prstGeom>
            <a:noFill/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2535" name="AutoShape 7"/>
            <p:cNvSpPr>
              <a:spLocks noChangeArrowheads="1"/>
            </p:cNvSpPr>
            <p:nvPr/>
          </p:nvSpPr>
          <p:spPr bwMode="gray">
            <a:xfrm>
              <a:off x="240" y="940"/>
              <a:ext cx="1729" cy="300"/>
            </a:xfrm>
            <a:prstGeom prst="homePlate">
              <a:avLst>
                <a:gd name="adj" fmla="val 22333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Phase I</a:t>
              </a:r>
            </a:p>
          </p:txBody>
        </p:sp>
        <p:sp>
          <p:nvSpPr>
            <p:cNvPr id="3222536" name="AutoShape 8"/>
            <p:cNvSpPr>
              <a:spLocks noChangeArrowheads="1"/>
            </p:cNvSpPr>
            <p:nvPr/>
          </p:nvSpPr>
          <p:spPr bwMode="gray">
            <a:xfrm>
              <a:off x="2047" y="940"/>
              <a:ext cx="1706" cy="300"/>
            </a:xfrm>
            <a:prstGeom prst="chevron">
              <a:avLst>
                <a:gd name="adj" fmla="val 22036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Phase II</a:t>
              </a:r>
            </a:p>
          </p:txBody>
        </p:sp>
        <p:sp>
          <p:nvSpPr>
            <p:cNvPr id="3222537" name="AutoShape 9"/>
            <p:cNvSpPr>
              <a:spLocks noChangeArrowheads="1"/>
            </p:cNvSpPr>
            <p:nvPr/>
          </p:nvSpPr>
          <p:spPr bwMode="gray">
            <a:xfrm>
              <a:off x="3823" y="940"/>
              <a:ext cx="1706" cy="300"/>
            </a:xfrm>
            <a:prstGeom prst="chevron">
              <a:avLst>
                <a:gd name="adj" fmla="val 22036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Phase III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3632060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6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3 </a:t>
            </a:r>
          </a:p>
        </p:txBody>
      </p:sp>
      <p:grpSp>
        <p:nvGrpSpPr>
          <p:cNvPr id="3226627" name="Group 3"/>
          <p:cNvGrpSpPr>
            <a:grpSpLocks/>
          </p:cNvGrpSpPr>
          <p:nvPr/>
        </p:nvGrpSpPr>
        <p:grpSpPr bwMode="auto">
          <a:xfrm>
            <a:off x="1905001" y="1806545"/>
            <a:ext cx="8310563" cy="2722563"/>
            <a:chOff x="240" y="1107"/>
            <a:chExt cx="5235" cy="1715"/>
          </a:xfrm>
        </p:grpSpPr>
        <p:sp>
          <p:nvSpPr>
            <p:cNvPr id="3226628" name="AutoShape 4"/>
            <p:cNvSpPr>
              <a:spLocks noChangeArrowheads="1"/>
            </p:cNvSpPr>
            <p:nvPr/>
          </p:nvSpPr>
          <p:spPr bwMode="gray">
            <a:xfrm>
              <a:off x="960" y="1107"/>
              <a:ext cx="1514" cy="518"/>
            </a:xfrm>
            <a:prstGeom prst="homePlate">
              <a:avLst>
                <a:gd name="adj" fmla="val 23450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6629" name="AutoShape 5"/>
            <p:cNvSpPr>
              <a:spLocks noChangeArrowheads="1"/>
            </p:cNvSpPr>
            <p:nvPr/>
          </p:nvSpPr>
          <p:spPr bwMode="gray">
            <a:xfrm>
              <a:off x="2461" y="1107"/>
              <a:ext cx="1513" cy="518"/>
            </a:xfrm>
            <a:prstGeom prst="chevron">
              <a:avLst>
                <a:gd name="adj" fmla="val 23434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88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6630" name="AutoShape 6"/>
            <p:cNvSpPr>
              <a:spLocks noChangeArrowheads="1"/>
            </p:cNvSpPr>
            <p:nvPr/>
          </p:nvSpPr>
          <p:spPr bwMode="gray">
            <a:xfrm>
              <a:off x="3962" y="1107"/>
              <a:ext cx="1513" cy="518"/>
            </a:xfrm>
            <a:prstGeom prst="chevron">
              <a:avLst>
                <a:gd name="adj" fmla="val 23434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88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6631" name="Rectangle 7"/>
            <p:cNvSpPr>
              <a:spLocks noChangeArrowheads="1"/>
            </p:cNvSpPr>
            <p:nvPr/>
          </p:nvSpPr>
          <p:spPr bwMode="gray">
            <a:xfrm>
              <a:off x="240" y="1299"/>
              <a:ext cx="622" cy="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6632" name="Line 8"/>
            <p:cNvSpPr>
              <a:spLocks noChangeShapeType="1"/>
            </p:cNvSpPr>
            <p:nvPr/>
          </p:nvSpPr>
          <p:spPr bwMode="gray">
            <a:xfrm>
              <a:off x="240" y="2296"/>
              <a:ext cx="523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26633" name="Rectangle 9"/>
            <p:cNvSpPr>
              <a:spLocks noChangeArrowheads="1"/>
            </p:cNvSpPr>
            <p:nvPr/>
          </p:nvSpPr>
          <p:spPr bwMode="gray">
            <a:xfrm>
              <a:off x="240" y="1791"/>
              <a:ext cx="558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6634" name="Rectangle 10"/>
            <p:cNvSpPr>
              <a:spLocks noChangeArrowheads="1"/>
            </p:cNvSpPr>
            <p:nvPr/>
          </p:nvSpPr>
          <p:spPr bwMode="gray">
            <a:xfrm>
              <a:off x="240" y="2667"/>
              <a:ext cx="720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6635" name="Rectangle 11"/>
            <p:cNvSpPr>
              <a:spLocks noChangeArrowheads="1"/>
            </p:cNvSpPr>
            <p:nvPr/>
          </p:nvSpPr>
          <p:spPr bwMode="gray">
            <a:xfrm>
              <a:off x="960" y="1791"/>
              <a:ext cx="133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6636" name="Rectangle 12"/>
            <p:cNvSpPr>
              <a:spLocks noChangeArrowheads="1"/>
            </p:cNvSpPr>
            <p:nvPr/>
          </p:nvSpPr>
          <p:spPr bwMode="gray">
            <a:xfrm>
              <a:off x="2461" y="1791"/>
              <a:ext cx="133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6637" name="Rectangle 13"/>
            <p:cNvSpPr>
              <a:spLocks noChangeArrowheads="1"/>
            </p:cNvSpPr>
            <p:nvPr/>
          </p:nvSpPr>
          <p:spPr bwMode="gray">
            <a:xfrm>
              <a:off x="3962" y="1791"/>
              <a:ext cx="1338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6638" name="Rectangle 14"/>
            <p:cNvSpPr>
              <a:spLocks noChangeArrowheads="1"/>
            </p:cNvSpPr>
            <p:nvPr/>
          </p:nvSpPr>
          <p:spPr bwMode="gray">
            <a:xfrm>
              <a:off x="960" y="2667"/>
              <a:ext cx="133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6639" name="Rectangle 15"/>
            <p:cNvSpPr>
              <a:spLocks noChangeArrowheads="1"/>
            </p:cNvSpPr>
            <p:nvPr/>
          </p:nvSpPr>
          <p:spPr bwMode="gray">
            <a:xfrm>
              <a:off x="2461" y="2667"/>
              <a:ext cx="133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6640" name="Rectangle 16"/>
            <p:cNvSpPr>
              <a:spLocks noChangeArrowheads="1"/>
            </p:cNvSpPr>
            <p:nvPr/>
          </p:nvSpPr>
          <p:spPr bwMode="gray">
            <a:xfrm>
              <a:off x="3962" y="2667"/>
              <a:ext cx="1338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4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(Standard)</a:t>
            </a:r>
          </a:p>
        </p:txBody>
      </p:sp>
      <p:grpSp>
        <p:nvGrpSpPr>
          <p:cNvPr id="3228675" name="Group 3"/>
          <p:cNvGrpSpPr>
            <a:grpSpLocks/>
          </p:cNvGrpSpPr>
          <p:nvPr/>
        </p:nvGrpSpPr>
        <p:grpSpPr bwMode="auto">
          <a:xfrm>
            <a:off x="1905000" y="1873046"/>
            <a:ext cx="8312150" cy="3386138"/>
            <a:chOff x="240" y="939"/>
            <a:chExt cx="5236" cy="2133"/>
          </a:xfrm>
        </p:grpSpPr>
        <p:sp>
          <p:nvSpPr>
            <p:cNvPr id="3228676" name="Rectangle 4"/>
            <p:cNvSpPr>
              <a:spLocks noChangeArrowheads="1"/>
            </p:cNvSpPr>
            <p:nvPr/>
          </p:nvSpPr>
          <p:spPr bwMode="gray">
            <a:xfrm>
              <a:off x="240" y="1131"/>
              <a:ext cx="612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8677" name="Line 5"/>
            <p:cNvSpPr>
              <a:spLocks noChangeShapeType="1"/>
            </p:cNvSpPr>
            <p:nvPr/>
          </p:nvSpPr>
          <p:spPr bwMode="gray">
            <a:xfrm>
              <a:off x="246" y="2653"/>
              <a:ext cx="523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28678" name="Line 6"/>
            <p:cNvSpPr>
              <a:spLocks noChangeShapeType="1"/>
            </p:cNvSpPr>
            <p:nvPr/>
          </p:nvSpPr>
          <p:spPr bwMode="gray">
            <a:xfrm>
              <a:off x="246" y="1991"/>
              <a:ext cx="523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28679" name="AutoShape 7"/>
            <p:cNvSpPr>
              <a:spLocks noChangeArrowheads="1"/>
            </p:cNvSpPr>
            <p:nvPr/>
          </p:nvSpPr>
          <p:spPr bwMode="gray">
            <a:xfrm>
              <a:off x="1152" y="939"/>
              <a:ext cx="1075" cy="518"/>
            </a:xfrm>
            <a:prstGeom prst="homePlate">
              <a:avLst>
                <a:gd name="adj" fmla="val 22261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8680" name="AutoShape 8"/>
            <p:cNvSpPr>
              <a:spLocks noChangeArrowheads="1"/>
            </p:cNvSpPr>
            <p:nvPr/>
          </p:nvSpPr>
          <p:spPr bwMode="gray">
            <a:xfrm>
              <a:off x="2227" y="939"/>
              <a:ext cx="1075" cy="518"/>
            </a:xfrm>
            <a:prstGeom prst="chevron">
              <a:avLst>
                <a:gd name="adj" fmla="val 22261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88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8681" name="AutoShape 9"/>
            <p:cNvSpPr>
              <a:spLocks noChangeArrowheads="1"/>
            </p:cNvSpPr>
            <p:nvPr/>
          </p:nvSpPr>
          <p:spPr bwMode="gray">
            <a:xfrm>
              <a:off x="3302" y="939"/>
              <a:ext cx="1075" cy="518"/>
            </a:xfrm>
            <a:prstGeom prst="chevron">
              <a:avLst>
                <a:gd name="adj" fmla="val 22261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88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8682" name="AutoShape 10"/>
            <p:cNvSpPr>
              <a:spLocks noChangeArrowheads="1"/>
            </p:cNvSpPr>
            <p:nvPr/>
          </p:nvSpPr>
          <p:spPr bwMode="gray">
            <a:xfrm>
              <a:off x="4377" y="939"/>
              <a:ext cx="1075" cy="518"/>
            </a:xfrm>
            <a:prstGeom prst="chevron">
              <a:avLst>
                <a:gd name="adj" fmla="val 22261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88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8683" name="Rectangle 11"/>
            <p:cNvSpPr>
              <a:spLocks noChangeArrowheads="1"/>
            </p:cNvSpPr>
            <p:nvPr/>
          </p:nvSpPr>
          <p:spPr bwMode="gray">
            <a:xfrm>
              <a:off x="240" y="1593"/>
              <a:ext cx="81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Activities</a:t>
              </a:r>
            </a:p>
          </p:txBody>
        </p:sp>
        <p:sp>
          <p:nvSpPr>
            <p:cNvPr id="3228684" name="Rectangle 12"/>
            <p:cNvSpPr>
              <a:spLocks noChangeArrowheads="1"/>
            </p:cNvSpPr>
            <p:nvPr/>
          </p:nvSpPr>
          <p:spPr bwMode="gray">
            <a:xfrm>
              <a:off x="240" y="2255"/>
              <a:ext cx="912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Deliverables</a:t>
              </a:r>
            </a:p>
          </p:txBody>
        </p:sp>
        <p:sp>
          <p:nvSpPr>
            <p:cNvPr id="3228685" name="Rectangle 13"/>
            <p:cNvSpPr>
              <a:spLocks noChangeArrowheads="1"/>
            </p:cNvSpPr>
            <p:nvPr/>
          </p:nvSpPr>
          <p:spPr bwMode="gray">
            <a:xfrm>
              <a:off x="240" y="2917"/>
              <a:ext cx="912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Responsibles</a:t>
              </a:r>
              <a:endParaRPr lang="en-US" sz="1600" b="1" dirty="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28686" name="Rectangle 14"/>
            <p:cNvSpPr>
              <a:spLocks noChangeArrowheads="1"/>
            </p:cNvSpPr>
            <p:nvPr/>
          </p:nvSpPr>
          <p:spPr bwMode="gray">
            <a:xfrm>
              <a:off x="1152" y="1593"/>
              <a:ext cx="968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8687" name="Rectangle 15"/>
            <p:cNvSpPr>
              <a:spLocks noChangeArrowheads="1"/>
            </p:cNvSpPr>
            <p:nvPr/>
          </p:nvSpPr>
          <p:spPr bwMode="gray">
            <a:xfrm>
              <a:off x="2227" y="1593"/>
              <a:ext cx="968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8688" name="Rectangle 16"/>
            <p:cNvSpPr>
              <a:spLocks noChangeArrowheads="1"/>
            </p:cNvSpPr>
            <p:nvPr/>
          </p:nvSpPr>
          <p:spPr bwMode="gray">
            <a:xfrm>
              <a:off x="3302" y="1593"/>
              <a:ext cx="968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8689" name="Rectangle 17"/>
            <p:cNvSpPr>
              <a:spLocks noChangeArrowheads="1"/>
            </p:cNvSpPr>
            <p:nvPr/>
          </p:nvSpPr>
          <p:spPr bwMode="gray">
            <a:xfrm>
              <a:off x="4377" y="1593"/>
              <a:ext cx="968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8690" name="Rectangle 18"/>
            <p:cNvSpPr>
              <a:spLocks noChangeArrowheads="1"/>
            </p:cNvSpPr>
            <p:nvPr/>
          </p:nvSpPr>
          <p:spPr bwMode="gray">
            <a:xfrm>
              <a:off x="1152" y="2255"/>
              <a:ext cx="968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8691" name="Rectangle 19"/>
            <p:cNvSpPr>
              <a:spLocks noChangeArrowheads="1"/>
            </p:cNvSpPr>
            <p:nvPr/>
          </p:nvSpPr>
          <p:spPr bwMode="gray">
            <a:xfrm>
              <a:off x="2227" y="2255"/>
              <a:ext cx="968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8692" name="Rectangle 20"/>
            <p:cNvSpPr>
              <a:spLocks noChangeArrowheads="1"/>
            </p:cNvSpPr>
            <p:nvPr/>
          </p:nvSpPr>
          <p:spPr bwMode="gray">
            <a:xfrm>
              <a:off x="3302" y="2255"/>
              <a:ext cx="968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8693" name="Rectangle 21"/>
            <p:cNvSpPr>
              <a:spLocks noChangeArrowheads="1"/>
            </p:cNvSpPr>
            <p:nvPr/>
          </p:nvSpPr>
          <p:spPr bwMode="gray">
            <a:xfrm>
              <a:off x="4377" y="2255"/>
              <a:ext cx="968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8694" name="Rectangle 22"/>
            <p:cNvSpPr>
              <a:spLocks noChangeArrowheads="1"/>
            </p:cNvSpPr>
            <p:nvPr/>
          </p:nvSpPr>
          <p:spPr bwMode="gray">
            <a:xfrm>
              <a:off x="1152" y="2917"/>
              <a:ext cx="968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8695" name="Rectangle 23"/>
            <p:cNvSpPr>
              <a:spLocks noChangeArrowheads="1"/>
            </p:cNvSpPr>
            <p:nvPr/>
          </p:nvSpPr>
          <p:spPr bwMode="gray">
            <a:xfrm>
              <a:off x="2227" y="2917"/>
              <a:ext cx="968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8696" name="Rectangle 24"/>
            <p:cNvSpPr>
              <a:spLocks noChangeArrowheads="1"/>
            </p:cNvSpPr>
            <p:nvPr/>
          </p:nvSpPr>
          <p:spPr bwMode="gray">
            <a:xfrm>
              <a:off x="3302" y="2917"/>
              <a:ext cx="968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28697" name="Rectangle 25"/>
            <p:cNvSpPr>
              <a:spLocks noChangeArrowheads="1"/>
            </p:cNvSpPr>
            <p:nvPr/>
          </p:nvSpPr>
          <p:spPr bwMode="gray">
            <a:xfrm>
              <a:off x="4377" y="2917"/>
              <a:ext cx="968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399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38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WOT Analysis</a:t>
            </a:r>
          </a:p>
        </p:txBody>
      </p:sp>
      <p:grpSp>
        <p:nvGrpSpPr>
          <p:cNvPr id="3023889" name="Group 17"/>
          <p:cNvGrpSpPr>
            <a:grpSpLocks/>
          </p:cNvGrpSpPr>
          <p:nvPr/>
        </p:nvGrpSpPr>
        <p:grpSpPr bwMode="auto">
          <a:xfrm>
            <a:off x="1914526" y="1497013"/>
            <a:ext cx="8291513" cy="4652962"/>
            <a:chOff x="246" y="943"/>
            <a:chExt cx="5223" cy="2931"/>
          </a:xfrm>
        </p:grpSpPr>
        <p:sp>
          <p:nvSpPr>
            <p:cNvPr id="3023876" name="Text Box 4"/>
            <p:cNvSpPr txBox="1">
              <a:spLocks noChangeArrowheads="1"/>
            </p:cNvSpPr>
            <p:nvPr/>
          </p:nvSpPr>
          <p:spPr bwMode="gray">
            <a:xfrm>
              <a:off x="1244" y="1358"/>
              <a:ext cx="470" cy="8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r>
                <a:rPr lang="en-US" sz="8800" b="1" dirty="0">
                  <a:solidFill>
                    <a:schemeClr val="accent2"/>
                  </a:solidFill>
                  <a:latin typeface="Baskerville" charset="0"/>
                  <a:ea typeface="Baskerville" charset="0"/>
                  <a:cs typeface="Baskerville" charset="0"/>
                </a:rPr>
                <a:t>S</a:t>
              </a:r>
            </a:p>
          </p:txBody>
        </p:sp>
        <p:sp>
          <p:nvSpPr>
            <p:cNvPr id="3023877" name="Rectangle 5"/>
            <p:cNvSpPr>
              <a:spLocks noChangeArrowheads="1"/>
            </p:cNvSpPr>
            <p:nvPr/>
          </p:nvSpPr>
          <p:spPr bwMode="gray">
            <a:xfrm>
              <a:off x="246" y="1164"/>
              <a:ext cx="2467" cy="122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36000" bIns="3600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23878" name="Rectangle 6"/>
            <p:cNvSpPr>
              <a:spLocks noChangeArrowheads="1"/>
            </p:cNvSpPr>
            <p:nvPr/>
          </p:nvSpPr>
          <p:spPr bwMode="gray">
            <a:xfrm>
              <a:off x="246" y="943"/>
              <a:ext cx="2467" cy="2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pPr>
                <a:buClrTx/>
                <a:buSzTx/>
                <a:buFontTx/>
                <a:buNone/>
              </a:pPr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Strengths</a:t>
              </a:r>
            </a:p>
          </p:txBody>
        </p:sp>
        <p:sp>
          <p:nvSpPr>
            <p:cNvPr id="3023879" name="Text Box 7"/>
            <p:cNvSpPr txBox="1">
              <a:spLocks noChangeArrowheads="1"/>
            </p:cNvSpPr>
            <p:nvPr/>
          </p:nvSpPr>
          <p:spPr bwMode="gray">
            <a:xfrm>
              <a:off x="3903" y="1358"/>
              <a:ext cx="664" cy="8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r>
                <a:rPr lang="en-US" sz="8800" b="1">
                  <a:solidFill>
                    <a:schemeClr val="accent2"/>
                  </a:solidFill>
                  <a:latin typeface="Baskerville" charset="0"/>
                  <a:ea typeface="Baskerville" charset="0"/>
                  <a:cs typeface="Baskerville" charset="0"/>
                </a:rPr>
                <a:t>W</a:t>
              </a:r>
            </a:p>
          </p:txBody>
        </p:sp>
        <p:sp>
          <p:nvSpPr>
            <p:cNvPr id="3023880" name="Rectangle 8"/>
            <p:cNvSpPr>
              <a:spLocks noChangeArrowheads="1"/>
            </p:cNvSpPr>
            <p:nvPr/>
          </p:nvSpPr>
          <p:spPr bwMode="gray">
            <a:xfrm>
              <a:off x="3002" y="1164"/>
              <a:ext cx="2467" cy="122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36000" bIns="3600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23881" name="Rectangle 9"/>
            <p:cNvSpPr>
              <a:spLocks noChangeArrowheads="1"/>
            </p:cNvSpPr>
            <p:nvPr/>
          </p:nvSpPr>
          <p:spPr bwMode="gray">
            <a:xfrm>
              <a:off x="3002" y="943"/>
              <a:ext cx="2467" cy="2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pPr>
                <a:buClrTx/>
                <a:buSzTx/>
                <a:buFontTx/>
                <a:buNone/>
              </a:pPr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Weaknesses</a:t>
              </a:r>
            </a:p>
          </p:txBody>
        </p:sp>
        <p:sp>
          <p:nvSpPr>
            <p:cNvPr id="3023882" name="Text Box 10"/>
            <p:cNvSpPr txBox="1">
              <a:spLocks noChangeArrowheads="1"/>
            </p:cNvSpPr>
            <p:nvPr/>
          </p:nvSpPr>
          <p:spPr bwMode="gray">
            <a:xfrm>
              <a:off x="1205" y="2845"/>
              <a:ext cx="548" cy="8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r>
                <a:rPr lang="en-US" sz="8800" b="1">
                  <a:solidFill>
                    <a:schemeClr val="accent2"/>
                  </a:solidFill>
                  <a:latin typeface="Baskerville" charset="0"/>
                  <a:ea typeface="Baskerville" charset="0"/>
                  <a:cs typeface="Baskerville" charset="0"/>
                </a:rPr>
                <a:t>O</a:t>
              </a:r>
            </a:p>
          </p:txBody>
        </p:sp>
        <p:sp>
          <p:nvSpPr>
            <p:cNvPr id="3023883" name="Rectangle 11"/>
            <p:cNvSpPr>
              <a:spLocks noChangeArrowheads="1"/>
            </p:cNvSpPr>
            <p:nvPr/>
          </p:nvSpPr>
          <p:spPr bwMode="gray">
            <a:xfrm>
              <a:off x="246" y="2651"/>
              <a:ext cx="2467" cy="122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36000" bIns="3600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23884" name="Rectangle 12"/>
            <p:cNvSpPr>
              <a:spLocks noChangeArrowheads="1"/>
            </p:cNvSpPr>
            <p:nvPr/>
          </p:nvSpPr>
          <p:spPr bwMode="gray">
            <a:xfrm>
              <a:off x="246" y="2430"/>
              <a:ext cx="2467" cy="2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pPr>
                <a:buClrTx/>
                <a:buSzTx/>
                <a:buFontTx/>
                <a:buNone/>
              </a:pPr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Opportunities</a:t>
              </a:r>
            </a:p>
          </p:txBody>
        </p:sp>
        <p:sp>
          <p:nvSpPr>
            <p:cNvPr id="3023885" name="Text Box 13"/>
            <p:cNvSpPr txBox="1">
              <a:spLocks noChangeArrowheads="1"/>
            </p:cNvSpPr>
            <p:nvPr/>
          </p:nvSpPr>
          <p:spPr bwMode="gray">
            <a:xfrm>
              <a:off x="4020" y="2845"/>
              <a:ext cx="430" cy="8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r>
                <a:rPr lang="en-US" sz="8800" b="1">
                  <a:solidFill>
                    <a:schemeClr val="accent2"/>
                  </a:solidFill>
                  <a:latin typeface="Baskerville" charset="0"/>
                  <a:ea typeface="Baskerville" charset="0"/>
                  <a:cs typeface="Baskerville" charset="0"/>
                </a:rPr>
                <a:t>T</a:t>
              </a:r>
            </a:p>
          </p:txBody>
        </p:sp>
        <p:sp>
          <p:nvSpPr>
            <p:cNvPr id="3023886" name="Rectangle 14"/>
            <p:cNvSpPr>
              <a:spLocks noChangeArrowheads="1"/>
            </p:cNvSpPr>
            <p:nvPr/>
          </p:nvSpPr>
          <p:spPr bwMode="gray">
            <a:xfrm>
              <a:off x="3002" y="2651"/>
              <a:ext cx="2467" cy="122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36000" bIns="3600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23887" name="Rectangle 15"/>
            <p:cNvSpPr>
              <a:spLocks noChangeArrowheads="1"/>
            </p:cNvSpPr>
            <p:nvPr/>
          </p:nvSpPr>
          <p:spPr bwMode="gray">
            <a:xfrm>
              <a:off x="3002" y="2430"/>
              <a:ext cx="2467" cy="22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pPr>
                <a:buClrTx/>
                <a:buSzTx/>
                <a:buFontTx/>
                <a:buNone/>
              </a:pPr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hreats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485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07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</a:t>
            </a:r>
          </a:p>
        </p:txBody>
      </p:sp>
      <p:grpSp>
        <p:nvGrpSpPr>
          <p:cNvPr id="3230723" name="Group 3"/>
          <p:cNvGrpSpPr>
            <a:grpSpLocks/>
          </p:cNvGrpSpPr>
          <p:nvPr/>
        </p:nvGrpSpPr>
        <p:grpSpPr bwMode="auto">
          <a:xfrm>
            <a:off x="1905000" y="1873046"/>
            <a:ext cx="8299450" cy="3694112"/>
            <a:chOff x="240" y="939"/>
            <a:chExt cx="5228" cy="2327"/>
          </a:xfrm>
        </p:grpSpPr>
        <p:grpSp>
          <p:nvGrpSpPr>
            <p:cNvPr id="3230724" name="Group 4"/>
            <p:cNvGrpSpPr>
              <a:grpSpLocks/>
            </p:cNvGrpSpPr>
            <p:nvPr/>
          </p:nvGrpSpPr>
          <p:grpSpPr bwMode="auto">
            <a:xfrm>
              <a:off x="240" y="2071"/>
              <a:ext cx="5228" cy="662"/>
              <a:chOff x="240" y="2071"/>
              <a:chExt cx="5082" cy="662"/>
            </a:xfrm>
          </p:grpSpPr>
          <p:sp>
            <p:nvSpPr>
              <p:cNvPr id="3230725" name="Line 5"/>
              <p:cNvSpPr>
                <a:spLocks noChangeShapeType="1"/>
              </p:cNvSpPr>
              <p:nvPr/>
            </p:nvSpPr>
            <p:spPr bwMode="gray">
              <a:xfrm>
                <a:off x="240" y="2733"/>
                <a:ext cx="5082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230726" name="Line 6"/>
              <p:cNvSpPr>
                <a:spLocks noChangeShapeType="1"/>
              </p:cNvSpPr>
              <p:nvPr/>
            </p:nvSpPr>
            <p:spPr bwMode="gray">
              <a:xfrm>
                <a:off x="240" y="2071"/>
                <a:ext cx="5082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sp>
          <p:nvSpPr>
            <p:cNvPr id="3230727" name="Rectangle 7"/>
            <p:cNvSpPr>
              <a:spLocks noChangeArrowheads="1"/>
            </p:cNvSpPr>
            <p:nvPr/>
          </p:nvSpPr>
          <p:spPr bwMode="gray">
            <a:xfrm>
              <a:off x="240" y="1593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28" name="Rectangle 8"/>
            <p:cNvSpPr>
              <a:spLocks noChangeArrowheads="1"/>
            </p:cNvSpPr>
            <p:nvPr/>
          </p:nvSpPr>
          <p:spPr bwMode="gray">
            <a:xfrm>
              <a:off x="240" y="2255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29" name="Rectangle 9"/>
            <p:cNvSpPr>
              <a:spLocks noChangeArrowheads="1"/>
            </p:cNvSpPr>
            <p:nvPr/>
          </p:nvSpPr>
          <p:spPr bwMode="gray">
            <a:xfrm>
              <a:off x="240" y="2917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30" name="AutoShape 10"/>
            <p:cNvSpPr>
              <a:spLocks noChangeArrowheads="1"/>
            </p:cNvSpPr>
            <p:nvPr/>
          </p:nvSpPr>
          <p:spPr bwMode="gray">
            <a:xfrm>
              <a:off x="1152" y="939"/>
              <a:ext cx="1075" cy="518"/>
            </a:xfrm>
            <a:prstGeom prst="homePlate">
              <a:avLst>
                <a:gd name="adj" fmla="val 22261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31" name="AutoShape 11"/>
            <p:cNvSpPr>
              <a:spLocks noChangeArrowheads="1"/>
            </p:cNvSpPr>
            <p:nvPr/>
          </p:nvSpPr>
          <p:spPr bwMode="gray">
            <a:xfrm>
              <a:off x="2227" y="939"/>
              <a:ext cx="1075" cy="518"/>
            </a:xfrm>
            <a:prstGeom prst="chevron">
              <a:avLst>
                <a:gd name="adj" fmla="val 22261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88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32" name="AutoShape 12"/>
            <p:cNvSpPr>
              <a:spLocks noChangeArrowheads="1"/>
            </p:cNvSpPr>
            <p:nvPr/>
          </p:nvSpPr>
          <p:spPr bwMode="gray">
            <a:xfrm>
              <a:off x="3302" y="939"/>
              <a:ext cx="1075" cy="518"/>
            </a:xfrm>
            <a:prstGeom prst="chevron">
              <a:avLst>
                <a:gd name="adj" fmla="val 22261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88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33" name="AutoShape 13"/>
            <p:cNvSpPr>
              <a:spLocks noChangeArrowheads="1"/>
            </p:cNvSpPr>
            <p:nvPr/>
          </p:nvSpPr>
          <p:spPr bwMode="gray">
            <a:xfrm>
              <a:off x="4377" y="939"/>
              <a:ext cx="1075" cy="518"/>
            </a:xfrm>
            <a:prstGeom prst="chevron">
              <a:avLst>
                <a:gd name="adj" fmla="val 22261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88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34" name="Rectangle 14"/>
            <p:cNvSpPr>
              <a:spLocks noChangeArrowheads="1"/>
            </p:cNvSpPr>
            <p:nvPr/>
          </p:nvSpPr>
          <p:spPr bwMode="gray">
            <a:xfrm>
              <a:off x="240" y="1131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35" name="Rectangle 15"/>
            <p:cNvSpPr>
              <a:spLocks noChangeArrowheads="1"/>
            </p:cNvSpPr>
            <p:nvPr/>
          </p:nvSpPr>
          <p:spPr bwMode="gray">
            <a:xfrm>
              <a:off x="1152" y="1593"/>
              <a:ext cx="968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36" name="Rectangle 16"/>
            <p:cNvSpPr>
              <a:spLocks noChangeArrowheads="1"/>
            </p:cNvSpPr>
            <p:nvPr/>
          </p:nvSpPr>
          <p:spPr bwMode="gray">
            <a:xfrm>
              <a:off x="2227" y="1593"/>
              <a:ext cx="968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37" name="Rectangle 17"/>
            <p:cNvSpPr>
              <a:spLocks noChangeArrowheads="1"/>
            </p:cNvSpPr>
            <p:nvPr/>
          </p:nvSpPr>
          <p:spPr bwMode="gray">
            <a:xfrm>
              <a:off x="3302" y="1593"/>
              <a:ext cx="968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38" name="Rectangle 18"/>
            <p:cNvSpPr>
              <a:spLocks noChangeArrowheads="1"/>
            </p:cNvSpPr>
            <p:nvPr/>
          </p:nvSpPr>
          <p:spPr bwMode="gray">
            <a:xfrm>
              <a:off x="4377" y="1593"/>
              <a:ext cx="968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39" name="Rectangle 19"/>
            <p:cNvSpPr>
              <a:spLocks noChangeArrowheads="1"/>
            </p:cNvSpPr>
            <p:nvPr/>
          </p:nvSpPr>
          <p:spPr bwMode="gray">
            <a:xfrm>
              <a:off x="1152" y="2255"/>
              <a:ext cx="968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40" name="Rectangle 20"/>
            <p:cNvSpPr>
              <a:spLocks noChangeArrowheads="1"/>
            </p:cNvSpPr>
            <p:nvPr/>
          </p:nvSpPr>
          <p:spPr bwMode="gray">
            <a:xfrm>
              <a:off x="2227" y="2255"/>
              <a:ext cx="968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41" name="Rectangle 21"/>
            <p:cNvSpPr>
              <a:spLocks noChangeArrowheads="1"/>
            </p:cNvSpPr>
            <p:nvPr/>
          </p:nvSpPr>
          <p:spPr bwMode="gray">
            <a:xfrm>
              <a:off x="3302" y="2255"/>
              <a:ext cx="968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42" name="Rectangle 22"/>
            <p:cNvSpPr>
              <a:spLocks noChangeArrowheads="1"/>
            </p:cNvSpPr>
            <p:nvPr/>
          </p:nvSpPr>
          <p:spPr bwMode="gray">
            <a:xfrm>
              <a:off x="4377" y="2255"/>
              <a:ext cx="968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43" name="Rectangle 23"/>
            <p:cNvSpPr>
              <a:spLocks noChangeArrowheads="1"/>
            </p:cNvSpPr>
            <p:nvPr/>
          </p:nvSpPr>
          <p:spPr bwMode="gray">
            <a:xfrm>
              <a:off x="1152" y="2917"/>
              <a:ext cx="968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44" name="Rectangle 24"/>
            <p:cNvSpPr>
              <a:spLocks noChangeArrowheads="1"/>
            </p:cNvSpPr>
            <p:nvPr/>
          </p:nvSpPr>
          <p:spPr bwMode="gray">
            <a:xfrm>
              <a:off x="2227" y="2917"/>
              <a:ext cx="968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45" name="Rectangle 25"/>
            <p:cNvSpPr>
              <a:spLocks noChangeArrowheads="1"/>
            </p:cNvSpPr>
            <p:nvPr/>
          </p:nvSpPr>
          <p:spPr bwMode="gray">
            <a:xfrm>
              <a:off x="3302" y="2917"/>
              <a:ext cx="968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0746" name="Rectangle 26"/>
            <p:cNvSpPr>
              <a:spLocks noChangeArrowheads="1"/>
            </p:cNvSpPr>
            <p:nvPr/>
          </p:nvSpPr>
          <p:spPr bwMode="gray">
            <a:xfrm>
              <a:off x="4377" y="2917"/>
              <a:ext cx="968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684139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2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5/6</a:t>
            </a:r>
          </a:p>
        </p:txBody>
      </p:sp>
      <p:grpSp>
        <p:nvGrpSpPr>
          <p:cNvPr id="3232771" name="Group 3"/>
          <p:cNvGrpSpPr>
            <a:grpSpLocks/>
          </p:cNvGrpSpPr>
          <p:nvPr/>
        </p:nvGrpSpPr>
        <p:grpSpPr bwMode="auto">
          <a:xfrm>
            <a:off x="1887538" y="1882572"/>
            <a:ext cx="8329612" cy="3779837"/>
            <a:chOff x="229" y="945"/>
            <a:chExt cx="5247" cy="2381"/>
          </a:xfrm>
        </p:grpSpPr>
        <p:sp>
          <p:nvSpPr>
            <p:cNvPr id="3232772" name="AutoShape 4"/>
            <p:cNvSpPr>
              <a:spLocks noChangeArrowheads="1"/>
            </p:cNvSpPr>
            <p:nvPr/>
          </p:nvSpPr>
          <p:spPr bwMode="gray">
            <a:xfrm>
              <a:off x="241" y="945"/>
              <a:ext cx="1062" cy="842"/>
            </a:xfrm>
            <a:prstGeom prst="homePlate">
              <a:avLst>
                <a:gd name="adj" fmla="val 25337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73" name="AutoShape 5"/>
            <p:cNvSpPr>
              <a:spLocks noChangeArrowheads="1"/>
            </p:cNvSpPr>
            <p:nvPr/>
          </p:nvSpPr>
          <p:spPr bwMode="gray">
            <a:xfrm>
              <a:off x="1090" y="946"/>
              <a:ext cx="1049" cy="842"/>
            </a:xfrm>
            <a:prstGeom prst="chevron">
              <a:avLst>
                <a:gd name="adj" fmla="val 25355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3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74" name="AutoShape 6"/>
            <p:cNvSpPr>
              <a:spLocks noChangeArrowheads="1"/>
            </p:cNvSpPr>
            <p:nvPr/>
          </p:nvSpPr>
          <p:spPr bwMode="gray">
            <a:xfrm>
              <a:off x="1924" y="946"/>
              <a:ext cx="1048" cy="842"/>
            </a:xfrm>
            <a:prstGeom prst="chevron">
              <a:avLst>
                <a:gd name="adj" fmla="val 25331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3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75" name="AutoShape 7"/>
            <p:cNvSpPr>
              <a:spLocks noChangeArrowheads="1"/>
            </p:cNvSpPr>
            <p:nvPr/>
          </p:nvSpPr>
          <p:spPr bwMode="gray">
            <a:xfrm>
              <a:off x="2757" y="946"/>
              <a:ext cx="1048" cy="842"/>
            </a:xfrm>
            <a:prstGeom prst="chevron">
              <a:avLst>
                <a:gd name="adj" fmla="val 25331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3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76" name="AutoShape 8"/>
            <p:cNvSpPr>
              <a:spLocks noChangeArrowheads="1"/>
            </p:cNvSpPr>
            <p:nvPr/>
          </p:nvSpPr>
          <p:spPr bwMode="gray">
            <a:xfrm>
              <a:off x="3590" y="946"/>
              <a:ext cx="1049" cy="842"/>
            </a:xfrm>
            <a:prstGeom prst="chevron">
              <a:avLst>
                <a:gd name="adj" fmla="val 25355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3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77" name="AutoShape 9"/>
            <p:cNvSpPr>
              <a:spLocks noChangeArrowheads="1"/>
            </p:cNvSpPr>
            <p:nvPr/>
          </p:nvSpPr>
          <p:spPr bwMode="gray">
            <a:xfrm>
              <a:off x="4424" y="946"/>
              <a:ext cx="1048" cy="842"/>
            </a:xfrm>
            <a:prstGeom prst="chevron">
              <a:avLst>
                <a:gd name="adj" fmla="val 25331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endParaRPr lang="de-DE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32778" name="Line 10"/>
            <p:cNvSpPr>
              <a:spLocks noChangeShapeType="1"/>
            </p:cNvSpPr>
            <p:nvPr/>
          </p:nvSpPr>
          <p:spPr bwMode="gray">
            <a:xfrm>
              <a:off x="4640" y="1368"/>
              <a:ext cx="82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32779" name="Line 11"/>
            <p:cNvSpPr>
              <a:spLocks noChangeShapeType="1"/>
            </p:cNvSpPr>
            <p:nvPr/>
          </p:nvSpPr>
          <p:spPr bwMode="gray">
            <a:xfrm>
              <a:off x="255" y="2670"/>
              <a:ext cx="5221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32780" name="Rectangle 12"/>
            <p:cNvSpPr>
              <a:spLocks noChangeArrowheads="1"/>
            </p:cNvSpPr>
            <p:nvPr/>
          </p:nvSpPr>
          <p:spPr bwMode="gray">
            <a:xfrm>
              <a:off x="4694" y="1113"/>
              <a:ext cx="261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81" name="Rectangle 13"/>
            <p:cNvSpPr>
              <a:spLocks noChangeArrowheads="1"/>
            </p:cNvSpPr>
            <p:nvPr/>
          </p:nvSpPr>
          <p:spPr bwMode="gray">
            <a:xfrm>
              <a:off x="4694" y="1463"/>
              <a:ext cx="261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82" name="Rectangle 14"/>
            <p:cNvSpPr>
              <a:spLocks noChangeArrowheads="1"/>
            </p:cNvSpPr>
            <p:nvPr/>
          </p:nvSpPr>
          <p:spPr bwMode="gray">
            <a:xfrm>
              <a:off x="229" y="2843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83" name="Rectangle 15"/>
            <p:cNvSpPr>
              <a:spLocks noChangeArrowheads="1"/>
            </p:cNvSpPr>
            <p:nvPr/>
          </p:nvSpPr>
          <p:spPr bwMode="gray">
            <a:xfrm>
              <a:off x="229" y="3031"/>
              <a:ext cx="773" cy="2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84" name="Rectangle 16"/>
            <p:cNvSpPr>
              <a:spLocks noChangeArrowheads="1"/>
            </p:cNvSpPr>
            <p:nvPr/>
          </p:nvSpPr>
          <p:spPr bwMode="gray">
            <a:xfrm>
              <a:off x="1084" y="3031"/>
              <a:ext cx="773" cy="2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85" name="Rectangle 17"/>
            <p:cNvSpPr>
              <a:spLocks noChangeArrowheads="1"/>
            </p:cNvSpPr>
            <p:nvPr/>
          </p:nvSpPr>
          <p:spPr bwMode="gray">
            <a:xfrm>
              <a:off x="1923" y="3031"/>
              <a:ext cx="773" cy="2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86" name="Rectangle 18"/>
            <p:cNvSpPr>
              <a:spLocks noChangeArrowheads="1"/>
            </p:cNvSpPr>
            <p:nvPr/>
          </p:nvSpPr>
          <p:spPr bwMode="gray">
            <a:xfrm>
              <a:off x="2751" y="3031"/>
              <a:ext cx="773" cy="2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87" name="Rectangle 19"/>
            <p:cNvSpPr>
              <a:spLocks noChangeArrowheads="1"/>
            </p:cNvSpPr>
            <p:nvPr/>
          </p:nvSpPr>
          <p:spPr bwMode="gray">
            <a:xfrm>
              <a:off x="3583" y="3031"/>
              <a:ext cx="773" cy="2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88" name="Rectangle 20"/>
            <p:cNvSpPr>
              <a:spLocks noChangeArrowheads="1"/>
            </p:cNvSpPr>
            <p:nvPr/>
          </p:nvSpPr>
          <p:spPr bwMode="gray">
            <a:xfrm>
              <a:off x="4424" y="3031"/>
              <a:ext cx="773" cy="2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89" name="Rectangle 21"/>
            <p:cNvSpPr>
              <a:spLocks noChangeArrowheads="1"/>
            </p:cNvSpPr>
            <p:nvPr/>
          </p:nvSpPr>
          <p:spPr bwMode="gray">
            <a:xfrm>
              <a:off x="236" y="1985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90" name="Rectangle 22"/>
            <p:cNvSpPr>
              <a:spLocks noChangeArrowheads="1"/>
            </p:cNvSpPr>
            <p:nvPr/>
          </p:nvSpPr>
          <p:spPr bwMode="gray">
            <a:xfrm>
              <a:off x="1084" y="2173"/>
              <a:ext cx="773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91" name="Rectangle 23"/>
            <p:cNvSpPr>
              <a:spLocks noChangeArrowheads="1"/>
            </p:cNvSpPr>
            <p:nvPr/>
          </p:nvSpPr>
          <p:spPr bwMode="gray">
            <a:xfrm>
              <a:off x="1923" y="2173"/>
              <a:ext cx="773" cy="2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92" name="Rectangle 24"/>
            <p:cNvSpPr>
              <a:spLocks noChangeArrowheads="1"/>
            </p:cNvSpPr>
            <p:nvPr/>
          </p:nvSpPr>
          <p:spPr bwMode="gray">
            <a:xfrm>
              <a:off x="2751" y="2173"/>
              <a:ext cx="773" cy="2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93" name="Rectangle 25"/>
            <p:cNvSpPr>
              <a:spLocks noChangeArrowheads="1"/>
            </p:cNvSpPr>
            <p:nvPr/>
          </p:nvSpPr>
          <p:spPr bwMode="gray">
            <a:xfrm>
              <a:off x="3583" y="2173"/>
              <a:ext cx="773" cy="2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94" name="Rectangle 26"/>
            <p:cNvSpPr>
              <a:spLocks noChangeArrowheads="1"/>
            </p:cNvSpPr>
            <p:nvPr/>
          </p:nvSpPr>
          <p:spPr bwMode="gray">
            <a:xfrm>
              <a:off x="4424" y="2173"/>
              <a:ext cx="773" cy="2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2795" name="Rectangle 27"/>
            <p:cNvSpPr>
              <a:spLocks noChangeArrowheads="1"/>
            </p:cNvSpPr>
            <p:nvPr/>
          </p:nvSpPr>
          <p:spPr bwMode="gray">
            <a:xfrm>
              <a:off x="229" y="2173"/>
              <a:ext cx="773" cy="2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5120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34818" name="Group 2"/>
          <p:cNvGrpSpPr>
            <a:grpSpLocks/>
          </p:cNvGrpSpPr>
          <p:nvPr/>
        </p:nvGrpSpPr>
        <p:grpSpPr bwMode="auto">
          <a:xfrm>
            <a:off x="2081299" y="3656706"/>
            <a:ext cx="7881938" cy="571500"/>
            <a:chOff x="372" y="1895"/>
            <a:chExt cx="4965" cy="360"/>
          </a:xfrm>
        </p:grpSpPr>
        <p:sp>
          <p:nvSpPr>
            <p:cNvPr id="3234819" name="AutoShape 3"/>
            <p:cNvSpPr>
              <a:spLocks noChangeArrowheads="1"/>
            </p:cNvSpPr>
            <p:nvPr/>
          </p:nvSpPr>
          <p:spPr bwMode="gray">
            <a:xfrm>
              <a:off x="372" y="1895"/>
              <a:ext cx="1242" cy="360"/>
            </a:xfrm>
            <a:prstGeom prst="chevron">
              <a:avLst>
                <a:gd name="adj" fmla="val 22265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45791" dir="2021404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4820" name="AutoShape 4"/>
            <p:cNvSpPr>
              <a:spLocks noChangeArrowheads="1"/>
            </p:cNvSpPr>
            <p:nvPr/>
          </p:nvSpPr>
          <p:spPr bwMode="gray">
            <a:xfrm>
              <a:off x="1621" y="1895"/>
              <a:ext cx="1241" cy="360"/>
            </a:xfrm>
            <a:prstGeom prst="chevron">
              <a:avLst>
                <a:gd name="adj" fmla="val 22263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45791" dir="2021404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4821" name="AutoShape 5"/>
            <p:cNvSpPr>
              <a:spLocks noChangeArrowheads="1"/>
            </p:cNvSpPr>
            <p:nvPr/>
          </p:nvSpPr>
          <p:spPr bwMode="gray">
            <a:xfrm>
              <a:off x="2862" y="1895"/>
              <a:ext cx="1242" cy="360"/>
            </a:xfrm>
            <a:prstGeom prst="chevron">
              <a:avLst>
                <a:gd name="adj" fmla="val 22265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45791" dir="2021404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4822" name="AutoShape 6"/>
            <p:cNvSpPr>
              <a:spLocks noChangeArrowheads="1"/>
            </p:cNvSpPr>
            <p:nvPr/>
          </p:nvSpPr>
          <p:spPr bwMode="gray">
            <a:xfrm>
              <a:off x="4096" y="1895"/>
              <a:ext cx="1241" cy="360"/>
            </a:xfrm>
            <a:prstGeom prst="chevron">
              <a:avLst>
                <a:gd name="adj" fmla="val 22263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45791" dir="2021404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grpSp>
        <p:nvGrpSpPr>
          <p:cNvPr id="3234823" name="Group 7"/>
          <p:cNvGrpSpPr>
            <a:grpSpLocks/>
          </p:cNvGrpSpPr>
          <p:nvPr/>
        </p:nvGrpSpPr>
        <p:grpSpPr bwMode="auto">
          <a:xfrm>
            <a:off x="2111462" y="4353618"/>
            <a:ext cx="7821612" cy="571500"/>
            <a:chOff x="391" y="2334"/>
            <a:chExt cx="4927" cy="360"/>
          </a:xfrm>
        </p:grpSpPr>
        <p:sp>
          <p:nvSpPr>
            <p:cNvPr id="3234824" name="AutoShape 8"/>
            <p:cNvSpPr>
              <a:spLocks noChangeArrowheads="1"/>
            </p:cNvSpPr>
            <p:nvPr/>
          </p:nvSpPr>
          <p:spPr bwMode="gray">
            <a:xfrm>
              <a:off x="391" y="2334"/>
              <a:ext cx="1640" cy="360"/>
            </a:xfrm>
            <a:prstGeom prst="chevron">
              <a:avLst>
                <a:gd name="adj" fmla="val 22272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45791" dir="2021404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4825" name="AutoShape 9"/>
            <p:cNvSpPr>
              <a:spLocks noChangeArrowheads="1"/>
            </p:cNvSpPr>
            <p:nvPr/>
          </p:nvSpPr>
          <p:spPr bwMode="gray">
            <a:xfrm>
              <a:off x="2039" y="2334"/>
              <a:ext cx="1639" cy="360"/>
            </a:xfrm>
            <a:prstGeom prst="chevron">
              <a:avLst>
                <a:gd name="adj" fmla="val 22258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45791" dir="2021404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4826" name="AutoShape 10"/>
            <p:cNvSpPr>
              <a:spLocks noChangeArrowheads="1"/>
            </p:cNvSpPr>
            <p:nvPr/>
          </p:nvSpPr>
          <p:spPr bwMode="gray">
            <a:xfrm>
              <a:off x="3678" y="2334"/>
              <a:ext cx="1640" cy="360"/>
            </a:xfrm>
            <a:prstGeom prst="chevron">
              <a:avLst>
                <a:gd name="adj" fmla="val 22272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45791" dir="2021404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grpSp>
        <p:nvGrpSpPr>
          <p:cNvPr id="3234827" name="Group 11"/>
          <p:cNvGrpSpPr>
            <a:grpSpLocks/>
          </p:cNvGrpSpPr>
          <p:nvPr/>
        </p:nvGrpSpPr>
        <p:grpSpPr bwMode="auto">
          <a:xfrm>
            <a:off x="2093999" y="3062982"/>
            <a:ext cx="7856538" cy="485775"/>
            <a:chOff x="380" y="1521"/>
            <a:chExt cx="4949" cy="306"/>
          </a:xfrm>
        </p:grpSpPr>
        <p:sp>
          <p:nvSpPr>
            <p:cNvPr id="3234828" name="AutoShape 12"/>
            <p:cNvSpPr>
              <a:spLocks noChangeArrowheads="1"/>
            </p:cNvSpPr>
            <p:nvPr/>
          </p:nvSpPr>
          <p:spPr bwMode="gray">
            <a:xfrm>
              <a:off x="1378" y="1521"/>
              <a:ext cx="958" cy="306"/>
            </a:xfrm>
            <a:prstGeom prst="chevron">
              <a:avLst>
                <a:gd name="adj" fmla="val 22263"/>
              </a:avLst>
            </a:prstGeom>
            <a:solidFill>
              <a:srgbClr val="DADAD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rgbClr val="DADAD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4829" name="AutoShape 13"/>
            <p:cNvSpPr>
              <a:spLocks noChangeArrowheads="1"/>
            </p:cNvSpPr>
            <p:nvPr/>
          </p:nvSpPr>
          <p:spPr bwMode="gray">
            <a:xfrm>
              <a:off x="380" y="1521"/>
              <a:ext cx="958" cy="306"/>
            </a:xfrm>
            <a:prstGeom prst="homePlate">
              <a:avLst>
                <a:gd name="adj" fmla="val 22263"/>
              </a:avLst>
            </a:prstGeom>
            <a:solidFill>
              <a:srgbClr val="DADAD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rgbClr val="DADAD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4830" name="AutoShape 14"/>
            <p:cNvSpPr>
              <a:spLocks noChangeArrowheads="1"/>
            </p:cNvSpPr>
            <p:nvPr/>
          </p:nvSpPr>
          <p:spPr bwMode="gray">
            <a:xfrm>
              <a:off x="2376" y="1521"/>
              <a:ext cx="958" cy="306"/>
            </a:xfrm>
            <a:prstGeom prst="chevron">
              <a:avLst>
                <a:gd name="adj" fmla="val 22263"/>
              </a:avLst>
            </a:prstGeom>
            <a:solidFill>
              <a:srgbClr val="DADAD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rgbClr val="DADAD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4831" name="AutoShape 15"/>
            <p:cNvSpPr>
              <a:spLocks noChangeArrowheads="1"/>
            </p:cNvSpPr>
            <p:nvPr/>
          </p:nvSpPr>
          <p:spPr bwMode="gray">
            <a:xfrm>
              <a:off x="3373" y="1521"/>
              <a:ext cx="959" cy="306"/>
            </a:xfrm>
            <a:prstGeom prst="chevron">
              <a:avLst>
                <a:gd name="adj" fmla="val 22257"/>
              </a:avLst>
            </a:prstGeom>
            <a:solidFill>
              <a:srgbClr val="DADAD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rgbClr val="DADAD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4832" name="AutoShape 16"/>
            <p:cNvSpPr>
              <a:spLocks noChangeArrowheads="1"/>
            </p:cNvSpPr>
            <p:nvPr/>
          </p:nvSpPr>
          <p:spPr bwMode="gray">
            <a:xfrm>
              <a:off x="4371" y="1521"/>
              <a:ext cx="958" cy="306"/>
            </a:xfrm>
            <a:prstGeom prst="chevron">
              <a:avLst>
                <a:gd name="adj" fmla="val 22263"/>
              </a:avLst>
            </a:prstGeom>
            <a:solidFill>
              <a:srgbClr val="DADAD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rgbClr val="DADAD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grpSp>
        <p:nvGrpSpPr>
          <p:cNvPr id="3234833" name="Group 17"/>
          <p:cNvGrpSpPr>
            <a:grpSpLocks/>
          </p:cNvGrpSpPr>
          <p:nvPr/>
        </p:nvGrpSpPr>
        <p:grpSpPr bwMode="auto">
          <a:xfrm>
            <a:off x="2087650" y="2408932"/>
            <a:ext cx="7927975" cy="485775"/>
            <a:chOff x="376" y="1109"/>
            <a:chExt cx="4994" cy="306"/>
          </a:xfrm>
        </p:grpSpPr>
        <p:sp>
          <p:nvSpPr>
            <p:cNvPr id="3234834" name="AutoShape 18"/>
            <p:cNvSpPr>
              <a:spLocks noChangeArrowheads="1"/>
            </p:cNvSpPr>
            <p:nvPr/>
          </p:nvSpPr>
          <p:spPr bwMode="gray">
            <a:xfrm>
              <a:off x="995" y="1109"/>
              <a:ext cx="615" cy="306"/>
            </a:xfrm>
            <a:prstGeom prst="chevron">
              <a:avLst>
                <a:gd name="adj" fmla="val 22266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4835" name="AutoShape 19"/>
            <p:cNvSpPr>
              <a:spLocks noChangeArrowheads="1"/>
            </p:cNvSpPr>
            <p:nvPr/>
          </p:nvSpPr>
          <p:spPr bwMode="gray">
            <a:xfrm>
              <a:off x="376" y="1109"/>
              <a:ext cx="608" cy="306"/>
            </a:xfrm>
            <a:prstGeom prst="homePlate">
              <a:avLst>
                <a:gd name="adj" fmla="val 22261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4836" name="AutoShape 20"/>
            <p:cNvSpPr>
              <a:spLocks noChangeArrowheads="1"/>
            </p:cNvSpPr>
            <p:nvPr/>
          </p:nvSpPr>
          <p:spPr bwMode="gray">
            <a:xfrm>
              <a:off x="1621" y="1109"/>
              <a:ext cx="616" cy="306"/>
            </a:xfrm>
            <a:prstGeom prst="chevron">
              <a:avLst>
                <a:gd name="adj" fmla="val 22265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4837" name="AutoShape 21"/>
            <p:cNvSpPr>
              <a:spLocks noChangeArrowheads="1"/>
            </p:cNvSpPr>
            <p:nvPr/>
          </p:nvSpPr>
          <p:spPr bwMode="gray">
            <a:xfrm>
              <a:off x="2248" y="1109"/>
              <a:ext cx="616" cy="306"/>
            </a:xfrm>
            <a:prstGeom prst="chevron">
              <a:avLst>
                <a:gd name="adj" fmla="val 22265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4838" name="AutoShape 22"/>
            <p:cNvSpPr>
              <a:spLocks noChangeArrowheads="1"/>
            </p:cNvSpPr>
            <p:nvPr/>
          </p:nvSpPr>
          <p:spPr bwMode="gray">
            <a:xfrm>
              <a:off x="2874" y="1109"/>
              <a:ext cx="616" cy="306"/>
            </a:xfrm>
            <a:prstGeom prst="chevron">
              <a:avLst>
                <a:gd name="adj" fmla="val 22265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4839" name="AutoShape 23"/>
            <p:cNvSpPr>
              <a:spLocks noChangeArrowheads="1"/>
            </p:cNvSpPr>
            <p:nvPr/>
          </p:nvSpPr>
          <p:spPr bwMode="gray">
            <a:xfrm>
              <a:off x="3501" y="1109"/>
              <a:ext cx="615" cy="306"/>
            </a:xfrm>
            <a:prstGeom prst="chevron">
              <a:avLst>
                <a:gd name="adj" fmla="val 22266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4840" name="AutoShape 24"/>
            <p:cNvSpPr>
              <a:spLocks noChangeArrowheads="1"/>
            </p:cNvSpPr>
            <p:nvPr/>
          </p:nvSpPr>
          <p:spPr bwMode="gray">
            <a:xfrm>
              <a:off x="4128" y="1109"/>
              <a:ext cx="615" cy="306"/>
            </a:xfrm>
            <a:prstGeom prst="chevron">
              <a:avLst>
                <a:gd name="adj" fmla="val 22266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4841" name="AutoShape 25"/>
            <p:cNvSpPr>
              <a:spLocks noChangeArrowheads="1"/>
            </p:cNvSpPr>
            <p:nvPr/>
          </p:nvSpPr>
          <p:spPr bwMode="gray">
            <a:xfrm>
              <a:off x="4754" y="1109"/>
              <a:ext cx="616" cy="306"/>
            </a:xfrm>
            <a:prstGeom prst="chevron">
              <a:avLst>
                <a:gd name="adj" fmla="val 22265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3234842" name="Rectangle 26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/>
              <a:t>Block Arrow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426105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36866" name="Group 2"/>
          <p:cNvGrpSpPr>
            <a:grpSpLocks/>
          </p:cNvGrpSpPr>
          <p:nvPr/>
        </p:nvGrpSpPr>
        <p:grpSpPr bwMode="auto">
          <a:xfrm>
            <a:off x="2305050" y="3533225"/>
            <a:ext cx="7405688" cy="571500"/>
            <a:chOff x="492" y="1901"/>
            <a:chExt cx="4665" cy="360"/>
          </a:xfrm>
          <a:solidFill>
            <a:schemeClr val="bg1"/>
          </a:solidFill>
        </p:grpSpPr>
        <p:sp>
          <p:nvSpPr>
            <p:cNvPr id="3236867" name="AutoShape 3"/>
            <p:cNvSpPr>
              <a:spLocks noChangeArrowheads="1"/>
            </p:cNvSpPr>
            <p:nvPr/>
          </p:nvSpPr>
          <p:spPr bwMode="gray">
            <a:xfrm>
              <a:off x="492" y="1901"/>
              <a:ext cx="1242" cy="360"/>
            </a:xfrm>
            <a:prstGeom prst="chevron">
              <a:avLst>
                <a:gd name="adj" fmla="val 22265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45791" dir="2021404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6868" name="AutoShape 4"/>
            <p:cNvSpPr>
              <a:spLocks noChangeArrowheads="1"/>
            </p:cNvSpPr>
            <p:nvPr/>
          </p:nvSpPr>
          <p:spPr bwMode="gray">
            <a:xfrm>
              <a:off x="1632" y="1901"/>
              <a:ext cx="1241" cy="360"/>
            </a:xfrm>
            <a:prstGeom prst="chevron">
              <a:avLst>
                <a:gd name="adj" fmla="val 22263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45791" dir="2021404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6869" name="AutoShape 5"/>
            <p:cNvSpPr>
              <a:spLocks noChangeArrowheads="1"/>
            </p:cNvSpPr>
            <p:nvPr/>
          </p:nvSpPr>
          <p:spPr bwMode="gray">
            <a:xfrm>
              <a:off x="2771" y="1901"/>
              <a:ext cx="1242" cy="360"/>
            </a:xfrm>
            <a:prstGeom prst="chevron">
              <a:avLst>
                <a:gd name="adj" fmla="val 22265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45791" dir="2021404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6870" name="AutoShape 6"/>
            <p:cNvSpPr>
              <a:spLocks noChangeArrowheads="1"/>
            </p:cNvSpPr>
            <p:nvPr/>
          </p:nvSpPr>
          <p:spPr bwMode="gray">
            <a:xfrm>
              <a:off x="3917" y="1901"/>
              <a:ext cx="1240" cy="360"/>
            </a:xfrm>
            <a:prstGeom prst="chevron">
              <a:avLst>
                <a:gd name="adj" fmla="val 22261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45791" dir="2021404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grpSp>
        <p:nvGrpSpPr>
          <p:cNvPr id="3236871" name="Group 7"/>
          <p:cNvGrpSpPr>
            <a:grpSpLocks/>
          </p:cNvGrpSpPr>
          <p:nvPr/>
        </p:nvGrpSpPr>
        <p:grpSpPr bwMode="auto">
          <a:xfrm>
            <a:off x="2305050" y="4230137"/>
            <a:ext cx="7532688" cy="571500"/>
            <a:chOff x="492" y="2340"/>
            <a:chExt cx="4745" cy="360"/>
          </a:xfrm>
          <a:solidFill>
            <a:schemeClr val="bg1"/>
          </a:solidFill>
        </p:grpSpPr>
        <p:sp>
          <p:nvSpPr>
            <p:cNvPr id="3236872" name="AutoShape 8"/>
            <p:cNvSpPr>
              <a:spLocks noChangeArrowheads="1"/>
            </p:cNvSpPr>
            <p:nvPr/>
          </p:nvSpPr>
          <p:spPr bwMode="gray">
            <a:xfrm>
              <a:off x="492" y="2340"/>
              <a:ext cx="1641" cy="360"/>
            </a:xfrm>
            <a:prstGeom prst="chevron">
              <a:avLst>
                <a:gd name="adj" fmla="val 22264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45791" dir="2021404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6873" name="AutoShape 9"/>
            <p:cNvSpPr>
              <a:spLocks noChangeArrowheads="1"/>
            </p:cNvSpPr>
            <p:nvPr/>
          </p:nvSpPr>
          <p:spPr bwMode="gray">
            <a:xfrm>
              <a:off x="2045" y="2340"/>
              <a:ext cx="1639" cy="360"/>
            </a:xfrm>
            <a:prstGeom prst="chevron">
              <a:avLst>
                <a:gd name="adj" fmla="val 22258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45791" dir="2021404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6874" name="AutoShape 10"/>
            <p:cNvSpPr>
              <a:spLocks noChangeArrowheads="1"/>
            </p:cNvSpPr>
            <p:nvPr/>
          </p:nvSpPr>
          <p:spPr bwMode="gray">
            <a:xfrm>
              <a:off x="3597" y="2340"/>
              <a:ext cx="1640" cy="360"/>
            </a:xfrm>
            <a:prstGeom prst="chevron">
              <a:avLst>
                <a:gd name="adj" fmla="val 22272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45791" dir="2021404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grpSp>
        <p:nvGrpSpPr>
          <p:cNvPr id="3236875" name="Group 11"/>
          <p:cNvGrpSpPr>
            <a:grpSpLocks/>
          </p:cNvGrpSpPr>
          <p:nvPr/>
        </p:nvGrpSpPr>
        <p:grpSpPr bwMode="auto">
          <a:xfrm>
            <a:off x="2305050" y="2285451"/>
            <a:ext cx="7054850" cy="485775"/>
            <a:chOff x="492" y="1115"/>
            <a:chExt cx="4444" cy="306"/>
          </a:xfrm>
          <a:solidFill>
            <a:schemeClr val="bg1"/>
          </a:solidFill>
        </p:grpSpPr>
        <p:sp>
          <p:nvSpPr>
            <p:cNvPr id="3236876" name="AutoShape 12"/>
            <p:cNvSpPr>
              <a:spLocks noChangeArrowheads="1"/>
            </p:cNvSpPr>
            <p:nvPr/>
          </p:nvSpPr>
          <p:spPr bwMode="gray">
            <a:xfrm>
              <a:off x="1032" y="1115"/>
              <a:ext cx="615" cy="306"/>
            </a:xfrm>
            <a:prstGeom prst="chevron">
              <a:avLst>
                <a:gd name="adj" fmla="val 22266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6877" name="AutoShape 13"/>
            <p:cNvSpPr>
              <a:spLocks noChangeArrowheads="1"/>
            </p:cNvSpPr>
            <p:nvPr/>
          </p:nvSpPr>
          <p:spPr bwMode="gray">
            <a:xfrm>
              <a:off x="492" y="1115"/>
              <a:ext cx="608" cy="306"/>
            </a:xfrm>
            <a:prstGeom prst="homePlate">
              <a:avLst>
                <a:gd name="adj" fmla="val 22261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6878" name="AutoShape 14"/>
            <p:cNvSpPr>
              <a:spLocks noChangeArrowheads="1"/>
            </p:cNvSpPr>
            <p:nvPr/>
          </p:nvSpPr>
          <p:spPr bwMode="gray">
            <a:xfrm>
              <a:off x="1580" y="1115"/>
              <a:ext cx="616" cy="306"/>
            </a:xfrm>
            <a:prstGeom prst="chevron">
              <a:avLst>
                <a:gd name="adj" fmla="val 22265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6879" name="AutoShape 15"/>
            <p:cNvSpPr>
              <a:spLocks noChangeArrowheads="1"/>
            </p:cNvSpPr>
            <p:nvPr/>
          </p:nvSpPr>
          <p:spPr bwMode="gray">
            <a:xfrm>
              <a:off x="2128" y="1115"/>
              <a:ext cx="616" cy="306"/>
            </a:xfrm>
            <a:prstGeom prst="chevron">
              <a:avLst>
                <a:gd name="adj" fmla="val 22265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6880" name="AutoShape 16"/>
            <p:cNvSpPr>
              <a:spLocks noChangeArrowheads="1"/>
            </p:cNvSpPr>
            <p:nvPr/>
          </p:nvSpPr>
          <p:spPr bwMode="gray">
            <a:xfrm>
              <a:off x="2676" y="1115"/>
              <a:ext cx="615" cy="306"/>
            </a:xfrm>
            <a:prstGeom prst="chevron">
              <a:avLst>
                <a:gd name="adj" fmla="val 22266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6881" name="AutoShape 17"/>
            <p:cNvSpPr>
              <a:spLocks noChangeArrowheads="1"/>
            </p:cNvSpPr>
            <p:nvPr/>
          </p:nvSpPr>
          <p:spPr bwMode="gray">
            <a:xfrm>
              <a:off x="3224" y="1115"/>
              <a:ext cx="616" cy="306"/>
            </a:xfrm>
            <a:prstGeom prst="chevron">
              <a:avLst>
                <a:gd name="adj" fmla="val 22265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6882" name="AutoShape 18"/>
            <p:cNvSpPr>
              <a:spLocks noChangeArrowheads="1"/>
            </p:cNvSpPr>
            <p:nvPr/>
          </p:nvSpPr>
          <p:spPr bwMode="gray">
            <a:xfrm>
              <a:off x="3772" y="1115"/>
              <a:ext cx="616" cy="306"/>
            </a:xfrm>
            <a:prstGeom prst="chevron">
              <a:avLst>
                <a:gd name="adj" fmla="val 22265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6883" name="AutoShape 19"/>
            <p:cNvSpPr>
              <a:spLocks noChangeArrowheads="1"/>
            </p:cNvSpPr>
            <p:nvPr/>
          </p:nvSpPr>
          <p:spPr bwMode="gray">
            <a:xfrm>
              <a:off x="4321" y="1115"/>
              <a:ext cx="615" cy="306"/>
            </a:xfrm>
            <a:prstGeom prst="chevron">
              <a:avLst>
                <a:gd name="adj" fmla="val 22266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grpSp>
        <p:nvGrpSpPr>
          <p:cNvPr id="3236884" name="Group 20"/>
          <p:cNvGrpSpPr>
            <a:grpSpLocks/>
          </p:cNvGrpSpPr>
          <p:nvPr/>
        </p:nvGrpSpPr>
        <p:grpSpPr bwMode="auto">
          <a:xfrm>
            <a:off x="2305050" y="2939501"/>
            <a:ext cx="7169150" cy="485775"/>
            <a:chOff x="492" y="1527"/>
            <a:chExt cx="4516" cy="306"/>
          </a:xfrm>
          <a:solidFill>
            <a:schemeClr val="bg1"/>
          </a:solidFill>
        </p:grpSpPr>
        <p:sp>
          <p:nvSpPr>
            <p:cNvPr id="3236885" name="AutoShape 21"/>
            <p:cNvSpPr>
              <a:spLocks noChangeArrowheads="1"/>
            </p:cNvSpPr>
            <p:nvPr/>
          </p:nvSpPr>
          <p:spPr bwMode="gray">
            <a:xfrm>
              <a:off x="492" y="1527"/>
              <a:ext cx="959" cy="306"/>
            </a:xfrm>
            <a:prstGeom prst="homePlate">
              <a:avLst>
                <a:gd name="adj" fmla="val 22257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6886" name="AutoShape 22"/>
            <p:cNvSpPr>
              <a:spLocks noChangeArrowheads="1"/>
            </p:cNvSpPr>
            <p:nvPr/>
          </p:nvSpPr>
          <p:spPr bwMode="gray">
            <a:xfrm>
              <a:off x="3160" y="1527"/>
              <a:ext cx="958" cy="306"/>
            </a:xfrm>
            <a:prstGeom prst="chevron">
              <a:avLst>
                <a:gd name="adj" fmla="val 22263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6887" name="AutoShape 23"/>
            <p:cNvSpPr>
              <a:spLocks noChangeArrowheads="1"/>
            </p:cNvSpPr>
            <p:nvPr/>
          </p:nvSpPr>
          <p:spPr bwMode="gray">
            <a:xfrm>
              <a:off x="4050" y="1527"/>
              <a:ext cx="958" cy="306"/>
            </a:xfrm>
            <a:prstGeom prst="chevron">
              <a:avLst>
                <a:gd name="adj" fmla="val 22263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6888" name="AutoShape 24"/>
            <p:cNvSpPr>
              <a:spLocks noChangeArrowheads="1"/>
            </p:cNvSpPr>
            <p:nvPr/>
          </p:nvSpPr>
          <p:spPr bwMode="gray">
            <a:xfrm>
              <a:off x="1383" y="1527"/>
              <a:ext cx="958" cy="306"/>
            </a:xfrm>
            <a:prstGeom prst="chevron">
              <a:avLst>
                <a:gd name="adj" fmla="val 22263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6889" name="AutoShape 25"/>
            <p:cNvSpPr>
              <a:spLocks noChangeArrowheads="1"/>
            </p:cNvSpPr>
            <p:nvPr/>
          </p:nvSpPr>
          <p:spPr bwMode="gray">
            <a:xfrm>
              <a:off x="2269" y="1527"/>
              <a:ext cx="958" cy="306"/>
            </a:xfrm>
            <a:prstGeom prst="chevron">
              <a:avLst>
                <a:gd name="adj" fmla="val 22263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spcAft>
                  <a:spcPct val="0"/>
                </a:spcAft>
                <a:buSzTx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3236890" name="Rectangle 2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lock Arrow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636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89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4 Process</a:t>
            </a:r>
          </a:p>
        </p:txBody>
      </p:sp>
      <p:grpSp>
        <p:nvGrpSpPr>
          <p:cNvPr id="3238915" name="Group 3"/>
          <p:cNvGrpSpPr>
            <a:grpSpLocks/>
          </p:cNvGrpSpPr>
          <p:nvPr/>
        </p:nvGrpSpPr>
        <p:grpSpPr bwMode="auto">
          <a:xfrm>
            <a:off x="1912938" y="1489075"/>
            <a:ext cx="1173162" cy="4667250"/>
            <a:chOff x="245" y="938"/>
            <a:chExt cx="739" cy="2940"/>
          </a:xfrm>
        </p:grpSpPr>
        <p:sp>
          <p:nvSpPr>
            <p:cNvPr id="3238916" name="AutoShape 4"/>
            <p:cNvSpPr>
              <a:spLocks noChangeArrowheads="1"/>
            </p:cNvSpPr>
            <p:nvPr/>
          </p:nvSpPr>
          <p:spPr bwMode="gray">
            <a:xfrm rot="5400000">
              <a:off x="116" y="3010"/>
              <a:ext cx="997" cy="739"/>
            </a:xfrm>
            <a:prstGeom prst="homePlate">
              <a:avLst>
                <a:gd name="adj" fmla="val 22292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 4</a:t>
              </a:r>
            </a:p>
          </p:txBody>
        </p:sp>
        <p:sp>
          <p:nvSpPr>
            <p:cNvPr id="3238917" name="AutoShape 5"/>
            <p:cNvSpPr>
              <a:spLocks noChangeArrowheads="1"/>
            </p:cNvSpPr>
            <p:nvPr/>
          </p:nvSpPr>
          <p:spPr bwMode="gray">
            <a:xfrm rot="5400000">
              <a:off x="116" y="2322"/>
              <a:ext cx="997" cy="739"/>
            </a:xfrm>
            <a:prstGeom prst="homePlate">
              <a:avLst>
                <a:gd name="adj" fmla="val 22292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 3</a:t>
              </a:r>
            </a:p>
          </p:txBody>
        </p:sp>
        <p:sp>
          <p:nvSpPr>
            <p:cNvPr id="3238918" name="AutoShape 6"/>
            <p:cNvSpPr>
              <a:spLocks noChangeArrowheads="1"/>
            </p:cNvSpPr>
            <p:nvPr/>
          </p:nvSpPr>
          <p:spPr bwMode="gray">
            <a:xfrm rot="5400000">
              <a:off x="116" y="1634"/>
              <a:ext cx="997" cy="739"/>
            </a:xfrm>
            <a:prstGeom prst="homePlate">
              <a:avLst>
                <a:gd name="adj" fmla="val 22292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 2</a:t>
              </a:r>
            </a:p>
          </p:txBody>
        </p:sp>
        <p:sp>
          <p:nvSpPr>
            <p:cNvPr id="3238919" name="AutoShape 7"/>
            <p:cNvSpPr>
              <a:spLocks noChangeArrowheads="1"/>
            </p:cNvSpPr>
            <p:nvPr/>
          </p:nvSpPr>
          <p:spPr bwMode="gray">
            <a:xfrm rot="5400000">
              <a:off x="179" y="1004"/>
              <a:ext cx="871" cy="739"/>
            </a:xfrm>
            <a:prstGeom prst="homePlate">
              <a:avLst>
                <a:gd name="adj" fmla="val 22290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 1</a:t>
              </a:r>
            </a:p>
          </p:txBody>
        </p:sp>
      </p:grpSp>
      <p:grpSp>
        <p:nvGrpSpPr>
          <p:cNvPr id="3238920" name="Group 8"/>
          <p:cNvGrpSpPr>
            <a:grpSpLocks/>
          </p:cNvGrpSpPr>
          <p:nvPr/>
        </p:nvGrpSpPr>
        <p:grpSpPr bwMode="auto">
          <a:xfrm>
            <a:off x="3368676" y="1489076"/>
            <a:ext cx="6837363" cy="4410075"/>
            <a:chOff x="1162" y="944"/>
            <a:chExt cx="4307" cy="2755"/>
          </a:xfrm>
        </p:grpSpPr>
        <p:sp>
          <p:nvSpPr>
            <p:cNvPr id="3238921" name="Rectangle 9"/>
            <p:cNvSpPr>
              <a:spLocks noChangeArrowheads="1"/>
            </p:cNvSpPr>
            <p:nvPr/>
          </p:nvSpPr>
          <p:spPr bwMode="gray">
            <a:xfrm>
              <a:off x="1162" y="3007"/>
              <a:ext cx="1436" cy="69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8922" name="Rectangle 10"/>
            <p:cNvSpPr>
              <a:spLocks noChangeArrowheads="1"/>
            </p:cNvSpPr>
            <p:nvPr/>
          </p:nvSpPr>
          <p:spPr bwMode="gray">
            <a:xfrm>
              <a:off x="2597" y="3007"/>
              <a:ext cx="1437" cy="69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8923" name="Rectangle 11"/>
            <p:cNvSpPr>
              <a:spLocks noChangeArrowheads="1"/>
            </p:cNvSpPr>
            <p:nvPr/>
          </p:nvSpPr>
          <p:spPr bwMode="gray">
            <a:xfrm>
              <a:off x="4033" y="3007"/>
              <a:ext cx="1436" cy="69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8924" name="Rectangle 12"/>
            <p:cNvSpPr>
              <a:spLocks noChangeArrowheads="1"/>
            </p:cNvSpPr>
            <p:nvPr/>
          </p:nvSpPr>
          <p:spPr bwMode="gray">
            <a:xfrm>
              <a:off x="1162" y="1631"/>
              <a:ext cx="1436" cy="69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8925" name="Rectangle 13"/>
            <p:cNvSpPr>
              <a:spLocks noChangeArrowheads="1"/>
            </p:cNvSpPr>
            <p:nvPr/>
          </p:nvSpPr>
          <p:spPr bwMode="gray">
            <a:xfrm>
              <a:off x="2597" y="1631"/>
              <a:ext cx="1437" cy="69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8926" name="Rectangle 14"/>
            <p:cNvSpPr>
              <a:spLocks noChangeArrowheads="1"/>
            </p:cNvSpPr>
            <p:nvPr/>
          </p:nvSpPr>
          <p:spPr bwMode="gray">
            <a:xfrm>
              <a:off x="4033" y="1631"/>
              <a:ext cx="1436" cy="69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8927" name="Rectangle 15"/>
            <p:cNvSpPr>
              <a:spLocks noChangeArrowheads="1"/>
            </p:cNvSpPr>
            <p:nvPr/>
          </p:nvSpPr>
          <p:spPr bwMode="gray">
            <a:xfrm>
              <a:off x="1162" y="2319"/>
              <a:ext cx="1436" cy="69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8928" name="Rectangle 16"/>
            <p:cNvSpPr>
              <a:spLocks noChangeArrowheads="1"/>
            </p:cNvSpPr>
            <p:nvPr/>
          </p:nvSpPr>
          <p:spPr bwMode="gray">
            <a:xfrm>
              <a:off x="2597" y="2319"/>
              <a:ext cx="1437" cy="69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8929" name="Rectangle 17"/>
            <p:cNvSpPr>
              <a:spLocks noChangeArrowheads="1"/>
            </p:cNvSpPr>
            <p:nvPr/>
          </p:nvSpPr>
          <p:spPr bwMode="gray">
            <a:xfrm>
              <a:off x="4033" y="2319"/>
              <a:ext cx="1436" cy="69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8930" name="Rectangle 18"/>
            <p:cNvSpPr>
              <a:spLocks noChangeArrowheads="1"/>
            </p:cNvSpPr>
            <p:nvPr/>
          </p:nvSpPr>
          <p:spPr bwMode="gray">
            <a:xfrm>
              <a:off x="1162" y="944"/>
              <a:ext cx="1436" cy="69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8931" name="Rectangle 19"/>
            <p:cNvSpPr>
              <a:spLocks noChangeArrowheads="1"/>
            </p:cNvSpPr>
            <p:nvPr/>
          </p:nvSpPr>
          <p:spPr bwMode="gray">
            <a:xfrm>
              <a:off x="2597" y="944"/>
              <a:ext cx="1437" cy="69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38932" name="Rectangle 20"/>
            <p:cNvSpPr>
              <a:spLocks noChangeArrowheads="1"/>
            </p:cNvSpPr>
            <p:nvPr/>
          </p:nvSpPr>
          <p:spPr bwMode="gray">
            <a:xfrm>
              <a:off x="4033" y="944"/>
              <a:ext cx="1436" cy="69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9256595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09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trix</a:t>
            </a:r>
          </a:p>
        </p:txBody>
      </p:sp>
      <p:grpSp>
        <p:nvGrpSpPr>
          <p:cNvPr id="3240963" name="Group 3"/>
          <p:cNvGrpSpPr>
            <a:grpSpLocks/>
          </p:cNvGrpSpPr>
          <p:nvPr/>
        </p:nvGrpSpPr>
        <p:grpSpPr bwMode="auto">
          <a:xfrm>
            <a:off x="1912938" y="1487488"/>
            <a:ext cx="8316912" cy="4673600"/>
            <a:chOff x="245" y="937"/>
            <a:chExt cx="5239" cy="2944"/>
          </a:xfrm>
        </p:grpSpPr>
        <p:sp>
          <p:nvSpPr>
            <p:cNvPr id="3240964" name="AutoShape 4"/>
            <p:cNvSpPr>
              <a:spLocks noChangeArrowheads="1"/>
            </p:cNvSpPr>
            <p:nvPr/>
          </p:nvSpPr>
          <p:spPr bwMode="gray">
            <a:xfrm>
              <a:off x="245" y="1468"/>
              <a:ext cx="5239" cy="635"/>
            </a:xfrm>
            <a:prstGeom prst="homePlate">
              <a:avLst>
                <a:gd name="adj" fmla="val 15890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pPr>
                <a:spcAft>
                  <a:spcPct val="0"/>
                </a:spcAft>
                <a:buSzTx/>
              </a:pPr>
              <a:endParaRPr lang="en-GB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65" name="Text Box 5"/>
            <p:cNvSpPr txBox="1">
              <a:spLocks noChangeArrowheads="1"/>
            </p:cNvSpPr>
            <p:nvPr/>
          </p:nvSpPr>
          <p:spPr bwMode="gray">
            <a:xfrm>
              <a:off x="384" y="937"/>
              <a:ext cx="834" cy="329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1" lang="de-DE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kumimoji="1" lang="de-DE" sz="1600" b="1">
                <a:solidFill>
                  <a:schemeClr val="bg1"/>
                </a:solidFill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66" name="AutoShape 6"/>
            <p:cNvSpPr>
              <a:spLocks noChangeArrowheads="1"/>
            </p:cNvSpPr>
            <p:nvPr/>
          </p:nvSpPr>
          <p:spPr bwMode="gray">
            <a:xfrm rot="5400000">
              <a:off x="-464" y="2157"/>
              <a:ext cx="2534" cy="913"/>
            </a:xfrm>
            <a:prstGeom prst="homePlate">
              <a:avLst>
                <a:gd name="adj" fmla="val 22332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67" name="AutoShape 7"/>
            <p:cNvSpPr>
              <a:spLocks noChangeArrowheads="1"/>
            </p:cNvSpPr>
            <p:nvPr/>
          </p:nvSpPr>
          <p:spPr bwMode="gray">
            <a:xfrm rot="5400000">
              <a:off x="539" y="2157"/>
              <a:ext cx="2534" cy="914"/>
            </a:xfrm>
            <a:prstGeom prst="homePlate">
              <a:avLst>
                <a:gd name="adj" fmla="val 2230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68" name="AutoShape 8"/>
            <p:cNvSpPr>
              <a:spLocks noChangeArrowheads="1"/>
            </p:cNvSpPr>
            <p:nvPr/>
          </p:nvSpPr>
          <p:spPr bwMode="gray">
            <a:xfrm rot="5400000">
              <a:off x="1543" y="2157"/>
              <a:ext cx="2534" cy="914"/>
            </a:xfrm>
            <a:prstGeom prst="homePlate">
              <a:avLst>
                <a:gd name="adj" fmla="val 2230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69" name="AutoShape 9"/>
            <p:cNvSpPr>
              <a:spLocks noChangeArrowheads="1"/>
            </p:cNvSpPr>
            <p:nvPr/>
          </p:nvSpPr>
          <p:spPr bwMode="gray">
            <a:xfrm rot="5400000">
              <a:off x="2548" y="2157"/>
              <a:ext cx="2534" cy="913"/>
            </a:xfrm>
            <a:prstGeom prst="homePlate">
              <a:avLst>
                <a:gd name="adj" fmla="val 22332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70" name="AutoShape 10"/>
            <p:cNvSpPr>
              <a:spLocks noChangeArrowheads="1"/>
            </p:cNvSpPr>
            <p:nvPr/>
          </p:nvSpPr>
          <p:spPr bwMode="gray">
            <a:xfrm rot="5400000">
              <a:off x="3552" y="2158"/>
              <a:ext cx="2534" cy="912"/>
            </a:xfrm>
            <a:prstGeom prst="homePlate">
              <a:avLst>
                <a:gd name="adj" fmla="val 22357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71" name="AutoShape 11"/>
            <p:cNvSpPr>
              <a:spLocks noChangeArrowheads="1"/>
            </p:cNvSpPr>
            <p:nvPr/>
          </p:nvSpPr>
          <p:spPr bwMode="gray">
            <a:xfrm>
              <a:off x="245" y="1468"/>
              <a:ext cx="5239" cy="635"/>
            </a:xfrm>
            <a:prstGeom prst="homePlate">
              <a:avLst>
                <a:gd name="adj" fmla="val 1589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pPr>
                <a:spcAft>
                  <a:spcPct val="0"/>
                </a:spcAft>
                <a:buSzTx/>
              </a:pPr>
              <a:endParaRPr lang="en-GB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72" name="AutoShape 12"/>
            <p:cNvSpPr>
              <a:spLocks noChangeArrowheads="1"/>
            </p:cNvSpPr>
            <p:nvPr/>
          </p:nvSpPr>
          <p:spPr bwMode="gray">
            <a:xfrm>
              <a:off x="245" y="2209"/>
              <a:ext cx="5239" cy="634"/>
            </a:xfrm>
            <a:prstGeom prst="homePlate">
              <a:avLst>
                <a:gd name="adj" fmla="val 15915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73" name="AutoShape 13"/>
            <p:cNvSpPr>
              <a:spLocks noChangeArrowheads="1"/>
            </p:cNvSpPr>
            <p:nvPr/>
          </p:nvSpPr>
          <p:spPr bwMode="gray">
            <a:xfrm>
              <a:off x="245" y="2948"/>
              <a:ext cx="5239" cy="635"/>
            </a:xfrm>
            <a:prstGeom prst="homePlate">
              <a:avLst>
                <a:gd name="adj" fmla="val 1589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74" name="Rectangle 14"/>
            <p:cNvSpPr>
              <a:spLocks noChangeArrowheads="1"/>
            </p:cNvSpPr>
            <p:nvPr/>
          </p:nvSpPr>
          <p:spPr bwMode="gray">
            <a:xfrm>
              <a:off x="1345" y="937"/>
              <a:ext cx="909" cy="329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hlink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1" lang="de-DE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solidFill>
                  <a:schemeClr val="bg1"/>
                </a:solidFill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75" name="Rectangle 15"/>
            <p:cNvSpPr>
              <a:spLocks noChangeArrowheads="1"/>
            </p:cNvSpPr>
            <p:nvPr/>
          </p:nvSpPr>
          <p:spPr bwMode="gray">
            <a:xfrm>
              <a:off x="2351" y="937"/>
              <a:ext cx="907" cy="329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hlink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1" lang="de-DE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solidFill>
                  <a:schemeClr val="bg1"/>
                </a:solidFill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76" name="Rectangle 16"/>
            <p:cNvSpPr>
              <a:spLocks noChangeArrowheads="1"/>
            </p:cNvSpPr>
            <p:nvPr/>
          </p:nvSpPr>
          <p:spPr bwMode="gray">
            <a:xfrm>
              <a:off x="3356" y="937"/>
              <a:ext cx="906" cy="329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hlink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1" lang="de-DE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solidFill>
                  <a:schemeClr val="bg1"/>
                </a:solidFill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77" name="Rectangle 17"/>
            <p:cNvSpPr>
              <a:spLocks noChangeArrowheads="1"/>
            </p:cNvSpPr>
            <p:nvPr/>
          </p:nvSpPr>
          <p:spPr bwMode="gray">
            <a:xfrm>
              <a:off x="4362" y="937"/>
              <a:ext cx="907" cy="329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hlink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1" lang="de-DE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solidFill>
                  <a:schemeClr val="bg1"/>
                </a:solidFill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78" name="Rectangle 18"/>
            <p:cNvSpPr>
              <a:spLocks noChangeArrowheads="1"/>
            </p:cNvSpPr>
            <p:nvPr/>
          </p:nvSpPr>
          <p:spPr bwMode="gray">
            <a:xfrm>
              <a:off x="397" y="1519"/>
              <a:ext cx="82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79" name="Rectangle 19"/>
            <p:cNvSpPr>
              <a:spLocks noChangeArrowheads="1"/>
            </p:cNvSpPr>
            <p:nvPr/>
          </p:nvSpPr>
          <p:spPr bwMode="gray">
            <a:xfrm>
              <a:off x="1399" y="1519"/>
              <a:ext cx="82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80" name="Rectangle 20"/>
            <p:cNvSpPr>
              <a:spLocks noChangeArrowheads="1"/>
            </p:cNvSpPr>
            <p:nvPr/>
          </p:nvSpPr>
          <p:spPr bwMode="gray">
            <a:xfrm>
              <a:off x="2385" y="1519"/>
              <a:ext cx="82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81" name="Rectangle 21"/>
            <p:cNvSpPr>
              <a:spLocks noChangeArrowheads="1"/>
            </p:cNvSpPr>
            <p:nvPr/>
          </p:nvSpPr>
          <p:spPr bwMode="gray">
            <a:xfrm>
              <a:off x="3412" y="1519"/>
              <a:ext cx="82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82" name="Rectangle 22"/>
            <p:cNvSpPr>
              <a:spLocks noChangeArrowheads="1"/>
            </p:cNvSpPr>
            <p:nvPr/>
          </p:nvSpPr>
          <p:spPr bwMode="gray">
            <a:xfrm>
              <a:off x="4390" y="1519"/>
              <a:ext cx="82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83" name="Rectangle 23"/>
            <p:cNvSpPr>
              <a:spLocks noChangeArrowheads="1"/>
            </p:cNvSpPr>
            <p:nvPr/>
          </p:nvSpPr>
          <p:spPr bwMode="gray">
            <a:xfrm>
              <a:off x="397" y="2257"/>
              <a:ext cx="82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84" name="Rectangle 24"/>
            <p:cNvSpPr>
              <a:spLocks noChangeArrowheads="1"/>
            </p:cNvSpPr>
            <p:nvPr/>
          </p:nvSpPr>
          <p:spPr bwMode="gray">
            <a:xfrm>
              <a:off x="1399" y="2257"/>
              <a:ext cx="82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85" name="Rectangle 25"/>
            <p:cNvSpPr>
              <a:spLocks noChangeArrowheads="1"/>
            </p:cNvSpPr>
            <p:nvPr/>
          </p:nvSpPr>
          <p:spPr bwMode="gray">
            <a:xfrm>
              <a:off x="2385" y="2257"/>
              <a:ext cx="82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86" name="Rectangle 26"/>
            <p:cNvSpPr>
              <a:spLocks noChangeArrowheads="1"/>
            </p:cNvSpPr>
            <p:nvPr/>
          </p:nvSpPr>
          <p:spPr bwMode="gray">
            <a:xfrm>
              <a:off x="3412" y="2257"/>
              <a:ext cx="82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87" name="Rectangle 27"/>
            <p:cNvSpPr>
              <a:spLocks noChangeArrowheads="1"/>
            </p:cNvSpPr>
            <p:nvPr/>
          </p:nvSpPr>
          <p:spPr bwMode="gray">
            <a:xfrm>
              <a:off x="4390" y="2257"/>
              <a:ext cx="82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88" name="Rectangle 28"/>
            <p:cNvSpPr>
              <a:spLocks noChangeArrowheads="1"/>
            </p:cNvSpPr>
            <p:nvPr/>
          </p:nvSpPr>
          <p:spPr bwMode="gray">
            <a:xfrm>
              <a:off x="397" y="2995"/>
              <a:ext cx="82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89" name="Rectangle 29"/>
            <p:cNvSpPr>
              <a:spLocks noChangeArrowheads="1"/>
            </p:cNvSpPr>
            <p:nvPr/>
          </p:nvSpPr>
          <p:spPr bwMode="gray">
            <a:xfrm>
              <a:off x="1399" y="2995"/>
              <a:ext cx="82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90" name="Rectangle 30"/>
            <p:cNvSpPr>
              <a:spLocks noChangeArrowheads="1"/>
            </p:cNvSpPr>
            <p:nvPr/>
          </p:nvSpPr>
          <p:spPr bwMode="gray">
            <a:xfrm>
              <a:off x="2385" y="2995"/>
              <a:ext cx="82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91" name="Rectangle 31"/>
            <p:cNvSpPr>
              <a:spLocks noChangeArrowheads="1"/>
            </p:cNvSpPr>
            <p:nvPr/>
          </p:nvSpPr>
          <p:spPr bwMode="gray">
            <a:xfrm>
              <a:off x="3412" y="2995"/>
              <a:ext cx="82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40992" name="Rectangle 32"/>
            <p:cNvSpPr>
              <a:spLocks noChangeArrowheads="1"/>
            </p:cNvSpPr>
            <p:nvPr/>
          </p:nvSpPr>
          <p:spPr bwMode="gray">
            <a:xfrm>
              <a:off x="4390" y="2995"/>
              <a:ext cx="82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226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12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2</a:t>
            </a:r>
          </a:p>
        </p:txBody>
      </p:sp>
      <p:grpSp>
        <p:nvGrpSpPr>
          <p:cNvPr id="3251203" name="Group 3"/>
          <p:cNvGrpSpPr>
            <a:grpSpLocks/>
          </p:cNvGrpSpPr>
          <p:nvPr/>
        </p:nvGrpSpPr>
        <p:grpSpPr bwMode="auto">
          <a:xfrm>
            <a:off x="3564731" y="2211186"/>
            <a:ext cx="5062538" cy="2492375"/>
            <a:chOff x="1272" y="1152"/>
            <a:chExt cx="3189" cy="1570"/>
          </a:xfrm>
        </p:grpSpPr>
        <p:sp>
          <p:nvSpPr>
            <p:cNvPr id="3251204" name="AutoShape 4"/>
            <p:cNvSpPr>
              <a:spLocks noChangeArrowheads="1"/>
            </p:cNvSpPr>
            <p:nvPr/>
          </p:nvSpPr>
          <p:spPr bwMode="gray">
            <a:xfrm>
              <a:off x="1272" y="1152"/>
              <a:ext cx="1473" cy="1570"/>
            </a:xfrm>
            <a:prstGeom prst="chevron">
              <a:avLst>
                <a:gd name="adj" fmla="val 13986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3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1206" name="Line 6"/>
            <p:cNvSpPr>
              <a:spLocks noChangeShapeType="1"/>
            </p:cNvSpPr>
            <p:nvPr/>
          </p:nvSpPr>
          <p:spPr bwMode="gray">
            <a:xfrm>
              <a:off x="2736" y="1936"/>
              <a:ext cx="172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51207" name="Rectangle 7"/>
            <p:cNvSpPr>
              <a:spLocks noChangeArrowheads="1"/>
            </p:cNvSpPr>
            <p:nvPr/>
          </p:nvSpPr>
          <p:spPr bwMode="gray">
            <a:xfrm>
              <a:off x="2754" y="1194"/>
              <a:ext cx="1497" cy="7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36000" rIns="0" bIns="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1208" name="Rectangle 8"/>
            <p:cNvSpPr>
              <a:spLocks noChangeArrowheads="1"/>
            </p:cNvSpPr>
            <p:nvPr/>
          </p:nvSpPr>
          <p:spPr bwMode="gray">
            <a:xfrm>
              <a:off x="2754" y="1992"/>
              <a:ext cx="1497" cy="7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36000" rIns="0" bIns="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42389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32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3</a:t>
            </a:r>
          </a:p>
        </p:txBody>
      </p:sp>
      <p:grpSp>
        <p:nvGrpSpPr>
          <p:cNvPr id="3253251" name="Group 3"/>
          <p:cNvGrpSpPr>
            <a:grpSpLocks/>
          </p:cNvGrpSpPr>
          <p:nvPr/>
        </p:nvGrpSpPr>
        <p:grpSpPr bwMode="auto">
          <a:xfrm>
            <a:off x="3617912" y="2253126"/>
            <a:ext cx="4956175" cy="2492375"/>
            <a:chOff x="1274" y="1147"/>
            <a:chExt cx="3122" cy="1570"/>
          </a:xfrm>
        </p:grpSpPr>
        <p:sp>
          <p:nvSpPr>
            <p:cNvPr id="3253252" name="AutoShape 4"/>
            <p:cNvSpPr>
              <a:spLocks noChangeArrowheads="1"/>
            </p:cNvSpPr>
            <p:nvPr/>
          </p:nvSpPr>
          <p:spPr bwMode="gray">
            <a:xfrm>
              <a:off x="1274" y="1147"/>
              <a:ext cx="1473" cy="1570"/>
            </a:xfrm>
            <a:prstGeom prst="chevron">
              <a:avLst>
                <a:gd name="adj" fmla="val 13986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3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3254" name="Line 6"/>
            <p:cNvSpPr>
              <a:spLocks noChangeShapeType="1"/>
            </p:cNvSpPr>
            <p:nvPr/>
          </p:nvSpPr>
          <p:spPr bwMode="gray">
            <a:xfrm>
              <a:off x="2673" y="2193"/>
              <a:ext cx="172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53255" name="Line 7"/>
            <p:cNvSpPr>
              <a:spLocks noChangeShapeType="1"/>
            </p:cNvSpPr>
            <p:nvPr/>
          </p:nvSpPr>
          <p:spPr bwMode="gray">
            <a:xfrm>
              <a:off x="2673" y="1670"/>
              <a:ext cx="1723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53256" name="Rectangle 8"/>
            <p:cNvSpPr>
              <a:spLocks noChangeArrowheads="1"/>
            </p:cNvSpPr>
            <p:nvPr/>
          </p:nvSpPr>
          <p:spPr bwMode="gray">
            <a:xfrm>
              <a:off x="2756" y="1189"/>
              <a:ext cx="1497" cy="4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36000" rIns="0" bIns="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3257" name="Rectangle 9"/>
            <p:cNvSpPr>
              <a:spLocks noChangeArrowheads="1"/>
            </p:cNvSpPr>
            <p:nvPr/>
          </p:nvSpPr>
          <p:spPr bwMode="gray">
            <a:xfrm>
              <a:off x="2756" y="1699"/>
              <a:ext cx="1497" cy="4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36000" rIns="0" bIns="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3258" name="Rectangle 10"/>
            <p:cNvSpPr>
              <a:spLocks noChangeArrowheads="1"/>
            </p:cNvSpPr>
            <p:nvPr/>
          </p:nvSpPr>
          <p:spPr bwMode="gray">
            <a:xfrm>
              <a:off x="2756" y="2227"/>
              <a:ext cx="1497" cy="4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36000" rIns="0" bIns="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329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52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4</a:t>
            </a:r>
          </a:p>
        </p:txBody>
      </p:sp>
      <p:grpSp>
        <p:nvGrpSpPr>
          <p:cNvPr id="3255299" name="Group 3"/>
          <p:cNvGrpSpPr>
            <a:grpSpLocks/>
          </p:cNvGrpSpPr>
          <p:nvPr/>
        </p:nvGrpSpPr>
        <p:grpSpPr bwMode="auto">
          <a:xfrm>
            <a:off x="3556000" y="2203247"/>
            <a:ext cx="5062538" cy="2492375"/>
            <a:chOff x="1274" y="1147"/>
            <a:chExt cx="3189" cy="1570"/>
          </a:xfrm>
        </p:grpSpPr>
        <p:sp>
          <p:nvSpPr>
            <p:cNvPr id="3255300" name="AutoShape 4"/>
            <p:cNvSpPr>
              <a:spLocks noChangeArrowheads="1"/>
            </p:cNvSpPr>
            <p:nvPr/>
          </p:nvSpPr>
          <p:spPr bwMode="gray">
            <a:xfrm>
              <a:off x="1274" y="1147"/>
              <a:ext cx="1473" cy="1570"/>
            </a:xfrm>
            <a:prstGeom prst="chevron">
              <a:avLst>
                <a:gd name="adj" fmla="val 13986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3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5302" name="Line 6"/>
            <p:cNvSpPr>
              <a:spLocks noChangeShapeType="1"/>
            </p:cNvSpPr>
            <p:nvPr/>
          </p:nvSpPr>
          <p:spPr bwMode="gray">
            <a:xfrm>
              <a:off x="2738" y="1932"/>
              <a:ext cx="172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55303" name="Line 7"/>
            <p:cNvSpPr>
              <a:spLocks noChangeShapeType="1"/>
            </p:cNvSpPr>
            <p:nvPr/>
          </p:nvSpPr>
          <p:spPr bwMode="gray">
            <a:xfrm>
              <a:off x="2639" y="2324"/>
              <a:ext cx="172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55304" name="Line 8"/>
            <p:cNvSpPr>
              <a:spLocks noChangeShapeType="1"/>
            </p:cNvSpPr>
            <p:nvPr/>
          </p:nvSpPr>
          <p:spPr bwMode="gray">
            <a:xfrm>
              <a:off x="2640" y="1540"/>
              <a:ext cx="172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55305" name="Rectangle 9"/>
            <p:cNvSpPr>
              <a:spLocks noChangeArrowheads="1"/>
            </p:cNvSpPr>
            <p:nvPr/>
          </p:nvSpPr>
          <p:spPr bwMode="gray">
            <a:xfrm>
              <a:off x="2756" y="1189"/>
              <a:ext cx="1497" cy="3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36000" rIns="0" bIns="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5306" name="Rectangle 10"/>
            <p:cNvSpPr>
              <a:spLocks noChangeArrowheads="1"/>
            </p:cNvSpPr>
            <p:nvPr/>
          </p:nvSpPr>
          <p:spPr bwMode="gray">
            <a:xfrm>
              <a:off x="2756" y="1573"/>
              <a:ext cx="1497" cy="3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36000" rIns="0" bIns="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5307" name="Rectangle 11"/>
            <p:cNvSpPr>
              <a:spLocks noChangeArrowheads="1"/>
            </p:cNvSpPr>
            <p:nvPr/>
          </p:nvSpPr>
          <p:spPr bwMode="gray">
            <a:xfrm>
              <a:off x="2756" y="1963"/>
              <a:ext cx="1497" cy="3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36000" rIns="0" bIns="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5308" name="Rectangle 12"/>
            <p:cNvSpPr>
              <a:spLocks noChangeArrowheads="1"/>
            </p:cNvSpPr>
            <p:nvPr/>
          </p:nvSpPr>
          <p:spPr bwMode="gray">
            <a:xfrm>
              <a:off x="2756" y="2353"/>
              <a:ext cx="1497" cy="3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36000" rIns="0" bIns="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695960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73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4</a:t>
            </a:r>
          </a:p>
        </p:txBody>
      </p:sp>
      <p:grpSp>
        <p:nvGrpSpPr>
          <p:cNvPr id="3257347" name="Group 3"/>
          <p:cNvGrpSpPr>
            <a:grpSpLocks/>
          </p:cNvGrpSpPr>
          <p:nvPr/>
        </p:nvGrpSpPr>
        <p:grpSpPr bwMode="auto">
          <a:xfrm>
            <a:off x="3314701" y="1497013"/>
            <a:ext cx="5529263" cy="1060450"/>
            <a:chOff x="1128" y="943"/>
            <a:chExt cx="3483" cy="668"/>
          </a:xfrm>
        </p:grpSpPr>
        <p:sp>
          <p:nvSpPr>
            <p:cNvPr id="3257348" name="AutoShape 4"/>
            <p:cNvSpPr>
              <a:spLocks noChangeArrowheads="1"/>
            </p:cNvSpPr>
            <p:nvPr/>
          </p:nvSpPr>
          <p:spPr bwMode="gray">
            <a:xfrm>
              <a:off x="1128" y="943"/>
              <a:ext cx="981" cy="668"/>
            </a:xfrm>
            <a:prstGeom prst="homePlate">
              <a:avLst>
                <a:gd name="adj" fmla="val 22260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7349" name="AutoShape 5"/>
            <p:cNvSpPr>
              <a:spLocks noChangeArrowheads="1"/>
            </p:cNvSpPr>
            <p:nvPr/>
          </p:nvSpPr>
          <p:spPr bwMode="gray">
            <a:xfrm>
              <a:off x="1962" y="943"/>
              <a:ext cx="981" cy="668"/>
            </a:xfrm>
            <a:prstGeom prst="chevron">
              <a:avLst>
                <a:gd name="adj" fmla="val 22260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7350" name="AutoShape 6"/>
            <p:cNvSpPr>
              <a:spLocks noChangeArrowheads="1"/>
            </p:cNvSpPr>
            <p:nvPr/>
          </p:nvSpPr>
          <p:spPr bwMode="gray">
            <a:xfrm>
              <a:off x="3630" y="943"/>
              <a:ext cx="981" cy="668"/>
            </a:xfrm>
            <a:prstGeom prst="chevron">
              <a:avLst>
                <a:gd name="adj" fmla="val 22260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7351" name="AutoShape 7"/>
            <p:cNvSpPr>
              <a:spLocks noChangeArrowheads="1"/>
            </p:cNvSpPr>
            <p:nvPr/>
          </p:nvSpPr>
          <p:spPr bwMode="gray">
            <a:xfrm>
              <a:off x="2796" y="943"/>
              <a:ext cx="981" cy="668"/>
            </a:xfrm>
            <a:prstGeom prst="chevron">
              <a:avLst>
                <a:gd name="adj" fmla="val 22260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grpSp>
        <p:nvGrpSpPr>
          <p:cNvPr id="3257352" name="Group 8"/>
          <p:cNvGrpSpPr>
            <a:grpSpLocks/>
          </p:cNvGrpSpPr>
          <p:nvPr/>
        </p:nvGrpSpPr>
        <p:grpSpPr bwMode="auto">
          <a:xfrm>
            <a:off x="3314701" y="2876550"/>
            <a:ext cx="5529263" cy="1062038"/>
            <a:chOff x="1128" y="1812"/>
            <a:chExt cx="3483" cy="669"/>
          </a:xfrm>
        </p:grpSpPr>
        <p:sp>
          <p:nvSpPr>
            <p:cNvPr id="3257353" name="AutoShape 9"/>
            <p:cNvSpPr>
              <a:spLocks noChangeArrowheads="1"/>
            </p:cNvSpPr>
            <p:nvPr/>
          </p:nvSpPr>
          <p:spPr bwMode="gray">
            <a:xfrm>
              <a:off x="1128" y="1813"/>
              <a:ext cx="981" cy="668"/>
            </a:xfrm>
            <a:prstGeom prst="homePlate">
              <a:avLst>
                <a:gd name="adj" fmla="val 22260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7354" name="AutoShape 10"/>
            <p:cNvSpPr>
              <a:spLocks noChangeArrowheads="1"/>
            </p:cNvSpPr>
            <p:nvPr/>
          </p:nvSpPr>
          <p:spPr bwMode="gray">
            <a:xfrm>
              <a:off x="1962" y="1813"/>
              <a:ext cx="981" cy="668"/>
            </a:xfrm>
            <a:prstGeom prst="chevron">
              <a:avLst>
                <a:gd name="adj" fmla="val 22260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7355" name="AutoShape 11"/>
            <p:cNvSpPr>
              <a:spLocks noChangeArrowheads="1"/>
            </p:cNvSpPr>
            <p:nvPr/>
          </p:nvSpPr>
          <p:spPr bwMode="gray">
            <a:xfrm>
              <a:off x="3630" y="1813"/>
              <a:ext cx="981" cy="668"/>
            </a:xfrm>
            <a:prstGeom prst="chevron">
              <a:avLst>
                <a:gd name="adj" fmla="val 22260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7356" name="AutoShape 12"/>
            <p:cNvSpPr>
              <a:spLocks noChangeArrowheads="1"/>
            </p:cNvSpPr>
            <p:nvPr/>
          </p:nvSpPr>
          <p:spPr bwMode="gray">
            <a:xfrm>
              <a:off x="2785" y="1812"/>
              <a:ext cx="1006" cy="669"/>
            </a:xfrm>
            <a:prstGeom prst="chevron">
              <a:avLst>
                <a:gd name="adj" fmla="val 22876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grpSp>
        <p:nvGrpSpPr>
          <p:cNvPr id="3257357" name="Group 13"/>
          <p:cNvGrpSpPr>
            <a:grpSpLocks/>
          </p:cNvGrpSpPr>
          <p:nvPr/>
        </p:nvGrpSpPr>
        <p:grpSpPr bwMode="auto">
          <a:xfrm>
            <a:off x="3314701" y="4278313"/>
            <a:ext cx="5529263" cy="1270000"/>
            <a:chOff x="1128" y="2695"/>
            <a:chExt cx="3483" cy="800"/>
          </a:xfrm>
        </p:grpSpPr>
        <p:sp>
          <p:nvSpPr>
            <p:cNvPr id="3257358" name="AutoShape 14"/>
            <p:cNvSpPr>
              <a:spLocks noChangeArrowheads="1"/>
            </p:cNvSpPr>
            <p:nvPr/>
          </p:nvSpPr>
          <p:spPr bwMode="gray">
            <a:xfrm>
              <a:off x="1128" y="2761"/>
              <a:ext cx="981" cy="668"/>
            </a:xfrm>
            <a:prstGeom prst="homePlate">
              <a:avLst>
                <a:gd name="adj" fmla="val 22260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7359" name="AutoShape 15"/>
            <p:cNvSpPr>
              <a:spLocks noChangeArrowheads="1"/>
            </p:cNvSpPr>
            <p:nvPr/>
          </p:nvSpPr>
          <p:spPr bwMode="gray">
            <a:xfrm>
              <a:off x="1962" y="2761"/>
              <a:ext cx="981" cy="668"/>
            </a:xfrm>
            <a:prstGeom prst="chevron">
              <a:avLst>
                <a:gd name="adj" fmla="val 22260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7360" name="AutoShape 16"/>
            <p:cNvSpPr>
              <a:spLocks noChangeArrowheads="1"/>
            </p:cNvSpPr>
            <p:nvPr/>
          </p:nvSpPr>
          <p:spPr bwMode="gray">
            <a:xfrm>
              <a:off x="3630" y="2761"/>
              <a:ext cx="981" cy="668"/>
            </a:xfrm>
            <a:prstGeom prst="chevron">
              <a:avLst>
                <a:gd name="adj" fmla="val 22260"/>
              </a:avLst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7361" name="AutoShape 17"/>
            <p:cNvSpPr>
              <a:spLocks noChangeArrowheads="1"/>
            </p:cNvSpPr>
            <p:nvPr/>
          </p:nvSpPr>
          <p:spPr bwMode="gray">
            <a:xfrm>
              <a:off x="2729" y="2695"/>
              <a:ext cx="1066" cy="800"/>
            </a:xfrm>
            <a:prstGeom prst="chevron">
              <a:avLst>
                <a:gd name="adj" fmla="val 22264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027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9778" name="Rectangle 2"/>
          <p:cNvSpPr>
            <a:spLocks noGrp="1" noChangeArrowheads="1"/>
          </p:cNvSpPr>
          <p:nvPr>
            <p:ph type="title"/>
          </p:nvPr>
        </p:nvSpPr>
        <p:spPr>
          <a:xfrm>
            <a:off x="931982" y="816743"/>
            <a:ext cx="3234458" cy="376238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/>
              <a:t>Targets I</a:t>
            </a:r>
          </a:p>
        </p:txBody>
      </p:sp>
      <p:grpSp>
        <p:nvGrpSpPr>
          <p:cNvPr id="3019794" name="Group 18"/>
          <p:cNvGrpSpPr>
            <a:grpSpLocks/>
          </p:cNvGrpSpPr>
          <p:nvPr/>
        </p:nvGrpSpPr>
        <p:grpSpPr bwMode="auto">
          <a:xfrm>
            <a:off x="2116139" y="1493839"/>
            <a:ext cx="8085137" cy="4378325"/>
            <a:chOff x="373" y="941"/>
            <a:chExt cx="5093" cy="2758"/>
          </a:xfrm>
        </p:grpSpPr>
        <p:sp>
          <p:nvSpPr>
            <p:cNvPr id="3019781" name="AutoShape 5"/>
            <p:cNvSpPr>
              <a:spLocks noChangeArrowheads="1"/>
            </p:cNvSpPr>
            <p:nvPr/>
          </p:nvSpPr>
          <p:spPr bwMode="gray">
            <a:xfrm flipH="1">
              <a:off x="748" y="941"/>
              <a:ext cx="4718" cy="2758"/>
            </a:xfrm>
            <a:prstGeom prst="homePlate">
              <a:avLst>
                <a:gd name="adj" fmla="val 18413"/>
              </a:avLst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dirty="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19782" name="Rectangle 6"/>
            <p:cNvSpPr>
              <a:spLocks noChangeArrowheads="1"/>
            </p:cNvSpPr>
            <p:nvPr/>
          </p:nvSpPr>
          <p:spPr bwMode="gray">
            <a:xfrm>
              <a:off x="1970" y="1911"/>
              <a:ext cx="3318" cy="6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/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/>
                <a:t>Text</a:t>
              </a:r>
              <a:endParaRPr lang="en-US"/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/>
                <a:t>Text</a:t>
              </a:r>
              <a:endParaRPr lang="en-US"/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/>
                <a:t>Text</a:t>
              </a:r>
              <a:endParaRPr lang="en-US"/>
            </a:p>
          </p:txBody>
        </p:sp>
        <p:grpSp>
          <p:nvGrpSpPr>
            <p:cNvPr id="3019783" name="Group 7"/>
            <p:cNvGrpSpPr>
              <a:grpSpLocks/>
            </p:cNvGrpSpPr>
            <p:nvPr/>
          </p:nvGrpSpPr>
          <p:grpSpPr bwMode="auto">
            <a:xfrm>
              <a:off x="373" y="1557"/>
              <a:ext cx="1433" cy="1526"/>
              <a:chOff x="385" y="1557"/>
              <a:chExt cx="1433" cy="1526"/>
            </a:xfrm>
          </p:grpSpPr>
          <p:sp>
            <p:nvSpPr>
              <p:cNvPr id="3019784" name="Rectangle 8"/>
              <p:cNvSpPr>
                <a:spLocks noChangeArrowheads="1"/>
              </p:cNvSpPr>
              <p:nvPr/>
            </p:nvSpPr>
            <p:spPr bwMode="gray">
              <a:xfrm>
                <a:off x="826" y="1560"/>
                <a:ext cx="302" cy="151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sp>
            <p:nvSpPr>
              <p:cNvPr id="3019785" name="Arc 9"/>
              <p:cNvSpPr>
                <a:spLocks/>
              </p:cNvSpPr>
              <p:nvPr/>
            </p:nvSpPr>
            <p:spPr bwMode="gray">
              <a:xfrm rot="10800000">
                <a:off x="1037" y="1557"/>
                <a:ext cx="781" cy="1526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2096 w 22096"/>
                  <a:gd name="T1" fmla="*/ 43194 h 43200"/>
                  <a:gd name="T2" fmla="*/ 22042 w 22096"/>
                  <a:gd name="T3" fmla="*/ 5 h 43200"/>
                  <a:gd name="T4" fmla="*/ 21600 w 22096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096" h="43200" fill="none" extrusionOk="0">
                    <a:moveTo>
                      <a:pt x="22096" y="43194"/>
                    </a:moveTo>
                    <a:cubicBezTo>
                      <a:pt x="21930" y="43198"/>
                      <a:pt x="21765" y="43199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1747" y="-1"/>
                      <a:pt x="21894" y="1"/>
                      <a:pt x="22042" y="4"/>
                    </a:cubicBezTo>
                  </a:path>
                  <a:path w="22096" h="43200" stroke="0" extrusionOk="0">
                    <a:moveTo>
                      <a:pt x="22096" y="43194"/>
                    </a:moveTo>
                    <a:cubicBezTo>
                      <a:pt x="21930" y="43198"/>
                      <a:pt x="21765" y="43199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21747" y="-1"/>
                      <a:pt x="21894" y="1"/>
                      <a:pt x="22042" y="4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grpSp>
            <p:nvGrpSpPr>
              <p:cNvPr id="3019786" name="Group 10"/>
              <p:cNvGrpSpPr>
                <a:grpSpLocks/>
              </p:cNvGrpSpPr>
              <p:nvPr/>
            </p:nvGrpSpPr>
            <p:grpSpPr bwMode="auto">
              <a:xfrm>
                <a:off x="385" y="1660"/>
                <a:ext cx="1322" cy="1322"/>
                <a:chOff x="385" y="1660"/>
                <a:chExt cx="1322" cy="1322"/>
              </a:xfrm>
            </p:grpSpPr>
            <p:sp>
              <p:nvSpPr>
                <p:cNvPr id="3019787" name="Oval 11"/>
                <p:cNvSpPr>
                  <a:spLocks noChangeArrowheads="1"/>
                </p:cNvSpPr>
                <p:nvPr/>
              </p:nvSpPr>
              <p:spPr bwMode="gray">
                <a:xfrm>
                  <a:off x="924" y="2199"/>
                  <a:ext cx="244" cy="244"/>
                </a:xfrm>
                <a:prstGeom prst="ellipse">
                  <a:avLst/>
                </a:prstGeom>
                <a:solidFill>
                  <a:srgbClr val="C0C0C0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US"/>
                </a:p>
              </p:txBody>
            </p:sp>
            <p:sp>
              <p:nvSpPr>
                <p:cNvPr id="3019788" name="AutoShape 12"/>
                <p:cNvSpPr>
                  <a:spLocks noChangeArrowheads="1"/>
                </p:cNvSpPr>
                <p:nvPr/>
              </p:nvSpPr>
              <p:spPr bwMode="gray">
                <a:xfrm>
                  <a:off x="663" y="1938"/>
                  <a:ext cx="766" cy="766"/>
                </a:xfrm>
                <a:custGeom>
                  <a:avLst/>
                  <a:gdLst>
                    <a:gd name="G0" fmla="+- 3981 0 0"/>
                    <a:gd name="G1" fmla="+- 21600 0 3981"/>
                    <a:gd name="G2" fmla="+- 21600 0 3981"/>
                    <a:gd name="G3" fmla="*/ G0 2929 10000"/>
                    <a:gd name="G4" fmla="+- 21600 0 G3"/>
                    <a:gd name="G5" fmla="+- 21600 0 G3"/>
                    <a:gd name="T0" fmla="*/ 10800 w 21600"/>
                    <a:gd name="T1" fmla="*/ 0 h 21600"/>
                    <a:gd name="T2" fmla="*/ 3163 w 21600"/>
                    <a:gd name="T3" fmla="*/ 3163 h 21600"/>
                    <a:gd name="T4" fmla="*/ 0 w 21600"/>
                    <a:gd name="T5" fmla="*/ 10800 h 21600"/>
                    <a:gd name="T6" fmla="*/ 3163 w 21600"/>
                    <a:gd name="T7" fmla="*/ 18437 h 21600"/>
                    <a:gd name="T8" fmla="*/ 10800 w 21600"/>
                    <a:gd name="T9" fmla="*/ 21600 h 21600"/>
                    <a:gd name="T10" fmla="*/ 18437 w 21600"/>
                    <a:gd name="T11" fmla="*/ 18437 h 21600"/>
                    <a:gd name="T12" fmla="*/ 21600 w 21600"/>
                    <a:gd name="T13" fmla="*/ 10800 h 21600"/>
                    <a:gd name="T14" fmla="*/ 18437 w 21600"/>
                    <a:gd name="T15" fmla="*/ 3163 h 21600"/>
                    <a:gd name="T16" fmla="*/ 3163 w 21600"/>
                    <a:gd name="T17" fmla="*/ 3163 h 21600"/>
                    <a:gd name="T18" fmla="*/ 18437 w 21600"/>
                    <a:gd name="T19" fmla="*/ 18437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0" y="10800"/>
                      </a:moveTo>
                      <a:cubicBezTo>
                        <a:pt x="0" y="4835"/>
                        <a:pt x="4835" y="0"/>
                        <a:pt x="10800" y="0"/>
                      </a:cubicBezTo>
                      <a:cubicBezTo>
                        <a:pt x="16765" y="0"/>
                        <a:pt x="21600" y="4835"/>
                        <a:pt x="21600" y="10800"/>
                      </a:cubicBezTo>
                      <a:cubicBezTo>
                        <a:pt x="21600" y="16765"/>
                        <a:pt x="16765" y="21600"/>
                        <a:pt x="10800" y="21600"/>
                      </a:cubicBezTo>
                      <a:cubicBezTo>
                        <a:pt x="4835" y="21600"/>
                        <a:pt x="0" y="16765"/>
                        <a:pt x="0" y="10800"/>
                      </a:cubicBezTo>
                      <a:close/>
                      <a:moveTo>
                        <a:pt x="3981" y="10800"/>
                      </a:moveTo>
                      <a:cubicBezTo>
                        <a:pt x="3981" y="14566"/>
                        <a:pt x="7034" y="17619"/>
                        <a:pt x="10800" y="17619"/>
                      </a:cubicBezTo>
                      <a:cubicBezTo>
                        <a:pt x="14566" y="17619"/>
                        <a:pt x="17619" y="14566"/>
                        <a:pt x="17619" y="10800"/>
                      </a:cubicBezTo>
                      <a:cubicBezTo>
                        <a:pt x="17619" y="7034"/>
                        <a:pt x="14566" y="3981"/>
                        <a:pt x="10800" y="3981"/>
                      </a:cubicBezTo>
                      <a:cubicBezTo>
                        <a:pt x="7034" y="3981"/>
                        <a:pt x="3981" y="7034"/>
                        <a:pt x="3981" y="1080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/>
                <a:lstStyle/>
                <a:p>
                  <a:endParaRPr lang="en-US"/>
                </a:p>
              </p:txBody>
            </p:sp>
            <p:sp>
              <p:nvSpPr>
                <p:cNvPr id="3019789" name="AutoShape 13"/>
                <p:cNvSpPr>
                  <a:spLocks noChangeArrowheads="1"/>
                </p:cNvSpPr>
                <p:nvPr/>
              </p:nvSpPr>
              <p:spPr bwMode="gray">
                <a:xfrm>
                  <a:off x="385" y="1660"/>
                  <a:ext cx="1322" cy="1322"/>
                </a:xfrm>
                <a:custGeom>
                  <a:avLst/>
                  <a:gdLst>
                    <a:gd name="G0" fmla="+- 2426 0 0"/>
                    <a:gd name="G1" fmla="+- 21600 0 2426"/>
                    <a:gd name="G2" fmla="+- 21600 0 2426"/>
                    <a:gd name="G3" fmla="*/ G0 2929 10000"/>
                    <a:gd name="G4" fmla="+- 21600 0 G3"/>
                    <a:gd name="G5" fmla="+- 21600 0 G3"/>
                    <a:gd name="T0" fmla="*/ 10800 w 21600"/>
                    <a:gd name="T1" fmla="*/ 0 h 21600"/>
                    <a:gd name="T2" fmla="*/ 3163 w 21600"/>
                    <a:gd name="T3" fmla="*/ 3163 h 21600"/>
                    <a:gd name="T4" fmla="*/ 0 w 21600"/>
                    <a:gd name="T5" fmla="*/ 10800 h 21600"/>
                    <a:gd name="T6" fmla="*/ 3163 w 21600"/>
                    <a:gd name="T7" fmla="*/ 18437 h 21600"/>
                    <a:gd name="T8" fmla="*/ 10800 w 21600"/>
                    <a:gd name="T9" fmla="*/ 21600 h 21600"/>
                    <a:gd name="T10" fmla="*/ 18437 w 21600"/>
                    <a:gd name="T11" fmla="*/ 18437 h 21600"/>
                    <a:gd name="T12" fmla="*/ 21600 w 21600"/>
                    <a:gd name="T13" fmla="*/ 10800 h 21600"/>
                    <a:gd name="T14" fmla="*/ 18437 w 21600"/>
                    <a:gd name="T15" fmla="*/ 3163 h 21600"/>
                    <a:gd name="T16" fmla="*/ 3163 w 21600"/>
                    <a:gd name="T17" fmla="*/ 3163 h 21600"/>
                    <a:gd name="T18" fmla="*/ 18437 w 21600"/>
                    <a:gd name="T19" fmla="*/ 18437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0" y="10800"/>
                      </a:moveTo>
                      <a:cubicBezTo>
                        <a:pt x="0" y="4835"/>
                        <a:pt x="4835" y="0"/>
                        <a:pt x="10800" y="0"/>
                      </a:cubicBezTo>
                      <a:cubicBezTo>
                        <a:pt x="16765" y="0"/>
                        <a:pt x="21600" y="4835"/>
                        <a:pt x="21600" y="10800"/>
                      </a:cubicBezTo>
                      <a:cubicBezTo>
                        <a:pt x="21600" y="16765"/>
                        <a:pt x="16765" y="21600"/>
                        <a:pt x="10800" y="21600"/>
                      </a:cubicBezTo>
                      <a:cubicBezTo>
                        <a:pt x="4835" y="21600"/>
                        <a:pt x="0" y="16765"/>
                        <a:pt x="0" y="10800"/>
                      </a:cubicBezTo>
                      <a:close/>
                      <a:moveTo>
                        <a:pt x="2426" y="10800"/>
                      </a:moveTo>
                      <a:cubicBezTo>
                        <a:pt x="2426" y="15425"/>
                        <a:pt x="6175" y="19174"/>
                        <a:pt x="10800" y="19174"/>
                      </a:cubicBezTo>
                      <a:cubicBezTo>
                        <a:pt x="15425" y="19174"/>
                        <a:pt x="19174" y="15425"/>
                        <a:pt x="19174" y="10800"/>
                      </a:cubicBezTo>
                      <a:cubicBezTo>
                        <a:pt x="19174" y="6175"/>
                        <a:pt x="15425" y="2426"/>
                        <a:pt x="10800" y="2426"/>
                      </a:cubicBezTo>
                      <a:cubicBezTo>
                        <a:pt x="6175" y="2426"/>
                        <a:pt x="2426" y="6175"/>
                        <a:pt x="2426" y="1080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3019790" name="Group 14"/>
            <p:cNvGrpSpPr>
              <a:grpSpLocks/>
            </p:cNvGrpSpPr>
            <p:nvPr/>
          </p:nvGrpSpPr>
          <p:grpSpPr bwMode="auto">
            <a:xfrm>
              <a:off x="377" y="1565"/>
              <a:ext cx="662" cy="757"/>
              <a:chOff x="389" y="1565"/>
              <a:chExt cx="662" cy="757"/>
            </a:xfrm>
          </p:grpSpPr>
          <p:sp>
            <p:nvSpPr>
              <p:cNvPr id="3019791" name="Line 15"/>
              <p:cNvSpPr>
                <a:spLocks noChangeShapeType="1"/>
              </p:cNvSpPr>
              <p:nvPr/>
            </p:nvSpPr>
            <p:spPr bwMode="gray">
              <a:xfrm>
                <a:off x="433" y="1597"/>
                <a:ext cx="618" cy="725"/>
              </a:xfrm>
              <a:prstGeom prst="line">
                <a:avLst/>
              </a:prstGeom>
              <a:noFill/>
              <a:ln w="19050">
                <a:solidFill>
                  <a:schemeClr val="folHlink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3019792" name="Freeform 16"/>
              <p:cNvSpPr>
                <a:spLocks/>
              </p:cNvSpPr>
              <p:nvPr/>
            </p:nvSpPr>
            <p:spPr bwMode="gray">
              <a:xfrm rot="5400000" flipH="1">
                <a:off x="386" y="1568"/>
                <a:ext cx="117" cy="112"/>
              </a:xfrm>
              <a:custGeom>
                <a:avLst/>
                <a:gdLst>
                  <a:gd name="T0" fmla="*/ 0 w 117"/>
                  <a:gd name="T1" fmla="*/ 112 h 112"/>
                  <a:gd name="T2" fmla="*/ 0 w 117"/>
                  <a:gd name="T3" fmla="*/ 0 h 112"/>
                  <a:gd name="T4" fmla="*/ 117 w 117"/>
                  <a:gd name="T5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7" h="112">
                    <a:moveTo>
                      <a:pt x="0" y="112"/>
                    </a:moveTo>
                    <a:lnTo>
                      <a:pt x="0" y="0"/>
                    </a:lnTo>
                    <a:lnTo>
                      <a:pt x="117" y="0"/>
                    </a:lnTo>
                  </a:path>
                </a:pathLst>
              </a:custGeom>
              <a:noFill/>
              <a:ln w="19050" cap="flat" cmpd="sng">
                <a:solidFill>
                  <a:schemeClr val="folHlink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4051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3019793" name="Freeform 17"/>
              <p:cNvSpPr>
                <a:spLocks/>
              </p:cNvSpPr>
              <p:nvPr/>
            </p:nvSpPr>
            <p:spPr bwMode="gray">
              <a:xfrm rot="5400000" flipH="1">
                <a:off x="424" y="1604"/>
                <a:ext cx="117" cy="112"/>
              </a:xfrm>
              <a:custGeom>
                <a:avLst/>
                <a:gdLst>
                  <a:gd name="T0" fmla="*/ 0 w 117"/>
                  <a:gd name="T1" fmla="*/ 112 h 112"/>
                  <a:gd name="T2" fmla="*/ 0 w 117"/>
                  <a:gd name="T3" fmla="*/ 0 h 112"/>
                  <a:gd name="T4" fmla="*/ 117 w 117"/>
                  <a:gd name="T5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7" h="112">
                    <a:moveTo>
                      <a:pt x="0" y="112"/>
                    </a:moveTo>
                    <a:lnTo>
                      <a:pt x="0" y="0"/>
                    </a:lnTo>
                    <a:lnTo>
                      <a:pt x="117" y="0"/>
                    </a:lnTo>
                  </a:path>
                </a:pathLst>
              </a:custGeom>
              <a:noFill/>
              <a:ln w="19050" cap="flat" cmpd="sng">
                <a:solidFill>
                  <a:schemeClr val="folHlink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4051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</p:grp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6591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93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lock Arrows</a:t>
            </a:r>
          </a:p>
        </p:txBody>
      </p:sp>
      <p:grpSp>
        <p:nvGrpSpPr>
          <p:cNvPr id="3259395" name="Group 3"/>
          <p:cNvGrpSpPr>
            <a:grpSpLocks/>
          </p:cNvGrpSpPr>
          <p:nvPr/>
        </p:nvGrpSpPr>
        <p:grpSpPr bwMode="auto">
          <a:xfrm>
            <a:off x="2260600" y="2025650"/>
            <a:ext cx="7664450" cy="3125788"/>
            <a:chOff x="464" y="1276"/>
            <a:chExt cx="4828" cy="1969"/>
          </a:xfrm>
        </p:grpSpPr>
        <p:sp>
          <p:nvSpPr>
            <p:cNvPr id="3259396" name="AutoShape 4"/>
            <p:cNvSpPr>
              <a:spLocks noChangeArrowheads="1"/>
            </p:cNvSpPr>
            <p:nvPr/>
          </p:nvSpPr>
          <p:spPr bwMode="gray">
            <a:xfrm rot="5400000">
              <a:off x="852" y="2150"/>
              <a:ext cx="312" cy="1087"/>
            </a:xfrm>
            <a:prstGeom prst="homePlate">
              <a:avLst>
                <a:gd name="adj" fmla="val 30130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/>
            <a:lstStyle/>
            <a:p>
              <a:pPr>
                <a:spcAft>
                  <a:spcPct val="0"/>
                </a:spcAft>
                <a:buSzTx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59397" name="AutoShape 5"/>
            <p:cNvSpPr>
              <a:spLocks noChangeArrowheads="1"/>
            </p:cNvSpPr>
            <p:nvPr/>
          </p:nvSpPr>
          <p:spPr bwMode="gray">
            <a:xfrm rot="5400000">
              <a:off x="2099" y="2150"/>
              <a:ext cx="312" cy="1087"/>
            </a:xfrm>
            <a:prstGeom prst="homePlate">
              <a:avLst>
                <a:gd name="adj" fmla="val 30130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/>
            <a:lstStyle/>
            <a:p>
              <a:pPr>
                <a:spcAft>
                  <a:spcPct val="0"/>
                </a:spcAft>
                <a:buSzTx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9398" name="AutoShape 6"/>
            <p:cNvSpPr>
              <a:spLocks noChangeArrowheads="1"/>
            </p:cNvSpPr>
            <p:nvPr/>
          </p:nvSpPr>
          <p:spPr bwMode="gray">
            <a:xfrm rot="5400000">
              <a:off x="3346" y="2150"/>
              <a:ext cx="312" cy="1087"/>
            </a:xfrm>
            <a:prstGeom prst="homePlate">
              <a:avLst>
                <a:gd name="adj" fmla="val 30130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/>
            <a:lstStyle/>
            <a:p>
              <a:pPr>
                <a:spcAft>
                  <a:spcPct val="0"/>
                </a:spcAft>
                <a:buSzTx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9399" name="AutoShape 7"/>
            <p:cNvSpPr>
              <a:spLocks noChangeArrowheads="1"/>
            </p:cNvSpPr>
            <p:nvPr/>
          </p:nvSpPr>
          <p:spPr bwMode="gray">
            <a:xfrm rot="5400000">
              <a:off x="4593" y="2151"/>
              <a:ext cx="312" cy="1086"/>
            </a:xfrm>
            <a:prstGeom prst="homePlate">
              <a:avLst>
                <a:gd name="adj" fmla="val 30130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/>
            <a:lstStyle/>
            <a:p>
              <a:pPr>
                <a:spcAft>
                  <a:spcPct val="0"/>
                </a:spcAft>
                <a:buSzTx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9400" name="AutoShape 8"/>
            <p:cNvSpPr>
              <a:spLocks noChangeArrowheads="1"/>
            </p:cNvSpPr>
            <p:nvPr/>
          </p:nvSpPr>
          <p:spPr bwMode="gray">
            <a:xfrm rot="5400000">
              <a:off x="728" y="2669"/>
              <a:ext cx="312" cy="839"/>
            </a:xfrm>
            <a:prstGeom prst="homePlate">
              <a:avLst>
                <a:gd name="adj" fmla="val 30130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/>
            <a:lstStyle/>
            <a:p>
              <a:pPr>
                <a:spcAft>
                  <a:spcPct val="0"/>
                </a:spcAft>
                <a:buSzTx/>
              </a:pP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9401" name="AutoShape 9"/>
            <p:cNvSpPr>
              <a:spLocks noChangeArrowheads="1"/>
            </p:cNvSpPr>
            <p:nvPr/>
          </p:nvSpPr>
          <p:spPr bwMode="gray">
            <a:xfrm rot="5400000">
              <a:off x="1693" y="2669"/>
              <a:ext cx="312" cy="839"/>
            </a:xfrm>
            <a:prstGeom prst="homePlate">
              <a:avLst>
                <a:gd name="adj" fmla="val 30130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/>
            <a:lstStyle/>
            <a:p>
              <a:pPr>
                <a:spcAft>
                  <a:spcPct val="0"/>
                </a:spcAft>
                <a:buSzTx/>
              </a:pP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9402" name="AutoShape 10"/>
            <p:cNvSpPr>
              <a:spLocks noChangeArrowheads="1"/>
            </p:cNvSpPr>
            <p:nvPr/>
          </p:nvSpPr>
          <p:spPr bwMode="gray">
            <a:xfrm rot="5400000">
              <a:off x="2658" y="2669"/>
              <a:ext cx="312" cy="839"/>
            </a:xfrm>
            <a:prstGeom prst="homePlate">
              <a:avLst>
                <a:gd name="adj" fmla="val 30130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/>
            <a:lstStyle/>
            <a:p>
              <a:pPr>
                <a:spcAft>
                  <a:spcPct val="0"/>
                </a:spcAft>
                <a:buSzTx/>
              </a:pP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9403" name="AutoShape 11"/>
            <p:cNvSpPr>
              <a:spLocks noChangeArrowheads="1"/>
            </p:cNvSpPr>
            <p:nvPr/>
          </p:nvSpPr>
          <p:spPr bwMode="gray">
            <a:xfrm rot="5400000">
              <a:off x="3622" y="2669"/>
              <a:ext cx="312" cy="839"/>
            </a:xfrm>
            <a:prstGeom prst="homePlate">
              <a:avLst>
                <a:gd name="adj" fmla="val 30130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/>
            <a:lstStyle/>
            <a:p>
              <a:pPr>
                <a:spcAft>
                  <a:spcPct val="0"/>
                </a:spcAft>
                <a:buSzTx/>
              </a:pP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9404" name="AutoShape 12"/>
            <p:cNvSpPr>
              <a:spLocks noChangeArrowheads="1"/>
            </p:cNvSpPr>
            <p:nvPr/>
          </p:nvSpPr>
          <p:spPr bwMode="gray">
            <a:xfrm rot="5400000">
              <a:off x="4588" y="2669"/>
              <a:ext cx="312" cy="839"/>
            </a:xfrm>
            <a:prstGeom prst="homePlate">
              <a:avLst>
                <a:gd name="adj" fmla="val 30130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/>
            <a:lstStyle/>
            <a:p>
              <a:pPr>
                <a:spcAft>
                  <a:spcPct val="0"/>
                </a:spcAft>
                <a:buSzTx/>
              </a:pP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59405" name="AutoShape 13"/>
            <p:cNvSpPr>
              <a:spLocks noChangeArrowheads="1"/>
            </p:cNvSpPr>
            <p:nvPr/>
          </p:nvSpPr>
          <p:spPr bwMode="gray">
            <a:xfrm rot="5400000">
              <a:off x="1475" y="335"/>
              <a:ext cx="360" cy="2242"/>
            </a:xfrm>
            <a:prstGeom prst="homePlate">
              <a:avLst>
                <a:gd name="adj" fmla="val 30838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lIns="0" tIns="0" rIns="0" bIns="0" anchor="ctr"/>
            <a:lstStyle/>
            <a:p>
              <a:pPr marL="133350" lvl="1" indent="-131763">
                <a:spcAft>
                  <a:spcPct val="0"/>
                </a:spcAft>
              </a:pPr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59406" name="AutoShape 14"/>
            <p:cNvSpPr>
              <a:spLocks noChangeArrowheads="1"/>
            </p:cNvSpPr>
            <p:nvPr/>
          </p:nvSpPr>
          <p:spPr bwMode="gray">
            <a:xfrm rot="5400000">
              <a:off x="3922" y="335"/>
              <a:ext cx="360" cy="2242"/>
            </a:xfrm>
            <a:prstGeom prst="homePlate">
              <a:avLst>
                <a:gd name="adj" fmla="val 30838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lIns="0" tIns="0" rIns="0" bIns="0"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59407" name="AutoShape 15"/>
            <p:cNvSpPr>
              <a:spLocks noChangeArrowheads="1"/>
            </p:cNvSpPr>
            <p:nvPr/>
          </p:nvSpPr>
          <p:spPr bwMode="gray">
            <a:xfrm rot="5400000">
              <a:off x="1211" y="905"/>
              <a:ext cx="882" cy="2235"/>
            </a:xfrm>
            <a:prstGeom prst="chevron">
              <a:avLst>
                <a:gd name="adj" fmla="val 12532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lIns="216000" tIns="0" rIns="0" bIns="216000"/>
            <a:lstStyle/>
            <a:p>
              <a:pPr marL="180975" lvl="1" indent="-179388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59408" name="AutoShape 16"/>
            <p:cNvSpPr>
              <a:spLocks noChangeArrowheads="1"/>
            </p:cNvSpPr>
            <p:nvPr/>
          </p:nvSpPr>
          <p:spPr bwMode="gray">
            <a:xfrm rot="5400000">
              <a:off x="3666" y="905"/>
              <a:ext cx="882" cy="2235"/>
            </a:xfrm>
            <a:prstGeom prst="chevron">
              <a:avLst>
                <a:gd name="adj" fmla="val 12532"/>
              </a:avLst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lIns="216000" tIns="0" rIns="0" bIns="216000"/>
            <a:lstStyle/>
            <a:p>
              <a:pPr marL="180975" lvl="1" indent="-179388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07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14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3 Blocks</a:t>
            </a:r>
          </a:p>
        </p:txBody>
      </p:sp>
      <p:grpSp>
        <p:nvGrpSpPr>
          <p:cNvPr id="3261443" name="Group 3"/>
          <p:cNvGrpSpPr>
            <a:grpSpLocks/>
          </p:cNvGrpSpPr>
          <p:nvPr/>
        </p:nvGrpSpPr>
        <p:grpSpPr bwMode="auto">
          <a:xfrm>
            <a:off x="2741613" y="1500189"/>
            <a:ext cx="6697662" cy="4416425"/>
            <a:chOff x="761" y="945"/>
            <a:chExt cx="4219" cy="2782"/>
          </a:xfrm>
        </p:grpSpPr>
        <p:grpSp>
          <p:nvGrpSpPr>
            <p:cNvPr id="3261444" name="Group 4"/>
            <p:cNvGrpSpPr>
              <a:grpSpLocks/>
            </p:cNvGrpSpPr>
            <p:nvPr/>
          </p:nvGrpSpPr>
          <p:grpSpPr bwMode="auto">
            <a:xfrm>
              <a:off x="761" y="945"/>
              <a:ext cx="4219" cy="2782"/>
              <a:chOff x="761" y="905"/>
              <a:chExt cx="4219" cy="2782"/>
            </a:xfrm>
          </p:grpSpPr>
          <p:sp>
            <p:nvSpPr>
              <p:cNvPr id="3261445" name="AutoShape 5"/>
              <p:cNvSpPr>
                <a:spLocks noChangeArrowheads="1"/>
              </p:cNvSpPr>
              <p:nvPr/>
            </p:nvSpPr>
            <p:spPr bwMode="gray">
              <a:xfrm rot="-5400000">
                <a:off x="2299" y="-633"/>
                <a:ext cx="1143" cy="4219"/>
              </a:xfrm>
              <a:prstGeom prst="chevron">
                <a:avLst>
                  <a:gd name="adj" fmla="val 32606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lIns="0" tIns="0" rIns="0" bIns="0"/>
              <a:lstStyle/>
              <a:p>
                <a:pPr defTabSz="912813"/>
                <a:endParaRPr lang="en-US" b="1" dirty="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261446" name="AutoShape 6"/>
              <p:cNvSpPr>
                <a:spLocks noChangeArrowheads="1"/>
              </p:cNvSpPr>
              <p:nvPr/>
            </p:nvSpPr>
            <p:spPr bwMode="gray">
              <a:xfrm rot="-5400000">
                <a:off x="2291" y="232"/>
                <a:ext cx="1159" cy="4219"/>
              </a:xfrm>
              <a:prstGeom prst="chevron">
                <a:avLst>
                  <a:gd name="adj" fmla="val 31926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lIns="0" tIns="0" rIns="0" bIns="0"/>
              <a:lstStyle/>
              <a:p>
                <a:pPr defTabSz="912813"/>
                <a:endParaRPr lang="en-US" b="1" dirty="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261447" name="AutoShape 7"/>
              <p:cNvSpPr>
                <a:spLocks noChangeArrowheads="1"/>
              </p:cNvSpPr>
              <p:nvPr/>
            </p:nvSpPr>
            <p:spPr bwMode="gray">
              <a:xfrm rot="-5400000">
                <a:off x="2345" y="1051"/>
                <a:ext cx="1052" cy="4219"/>
              </a:xfrm>
              <a:prstGeom prst="homePlate">
                <a:avLst>
                  <a:gd name="adj" fmla="val 34301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lIns="0" tIns="0" rIns="0" bIns="0"/>
              <a:lstStyle/>
              <a:p>
                <a:pPr defTabSz="912813"/>
                <a:endParaRPr lang="en-US" b="1" dirty="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sp>
          <p:nvSpPr>
            <p:cNvPr id="3261448" name="Rectangle 8"/>
            <p:cNvSpPr>
              <a:spLocks noChangeArrowheads="1"/>
            </p:cNvSpPr>
            <p:nvPr/>
          </p:nvSpPr>
          <p:spPr bwMode="gray">
            <a:xfrm>
              <a:off x="1080" y="1357"/>
              <a:ext cx="358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61449" name="Rectangle 9"/>
            <p:cNvSpPr>
              <a:spLocks noChangeArrowheads="1"/>
            </p:cNvSpPr>
            <p:nvPr/>
          </p:nvSpPr>
          <p:spPr bwMode="gray">
            <a:xfrm>
              <a:off x="1080" y="2215"/>
              <a:ext cx="358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61450" name="Rectangle 10"/>
            <p:cNvSpPr>
              <a:spLocks noChangeArrowheads="1"/>
            </p:cNvSpPr>
            <p:nvPr/>
          </p:nvSpPr>
          <p:spPr bwMode="gray">
            <a:xfrm>
              <a:off x="1080" y="3085"/>
              <a:ext cx="358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dirty="0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07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3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</a:t>
            </a:r>
          </a:p>
        </p:txBody>
      </p:sp>
      <p:grpSp>
        <p:nvGrpSpPr>
          <p:cNvPr id="3263491" name="Group 3"/>
          <p:cNvGrpSpPr>
            <a:grpSpLocks/>
          </p:cNvGrpSpPr>
          <p:nvPr/>
        </p:nvGrpSpPr>
        <p:grpSpPr bwMode="auto">
          <a:xfrm>
            <a:off x="3124200" y="1822451"/>
            <a:ext cx="5983288" cy="3292475"/>
            <a:chOff x="1000" y="1148"/>
            <a:chExt cx="3769" cy="2074"/>
          </a:xfrm>
        </p:grpSpPr>
        <p:sp>
          <p:nvSpPr>
            <p:cNvPr id="3263492" name="Freeform 4"/>
            <p:cNvSpPr>
              <a:spLocks/>
            </p:cNvSpPr>
            <p:nvPr/>
          </p:nvSpPr>
          <p:spPr bwMode="gray">
            <a:xfrm>
              <a:off x="1000" y="1148"/>
              <a:ext cx="3769" cy="2074"/>
            </a:xfrm>
            <a:custGeom>
              <a:avLst/>
              <a:gdLst>
                <a:gd name="T0" fmla="*/ 0 w 3769"/>
                <a:gd name="T1" fmla="*/ 0 h 2074"/>
                <a:gd name="T2" fmla="*/ 2774 w 3769"/>
                <a:gd name="T3" fmla="*/ 0 h 2074"/>
                <a:gd name="T4" fmla="*/ 2774 w 3769"/>
                <a:gd name="T5" fmla="*/ 509 h 2074"/>
                <a:gd name="T6" fmla="*/ 3520 w 3769"/>
                <a:gd name="T7" fmla="*/ 509 h 2074"/>
                <a:gd name="T8" fmla="*/ 3520 w 3769"/>
                <a:gd name="T9" fmla="*/ 258 h 2074"/>
                <a:gd name="T10" fmla="*/ 3769 w 3769"/>
                <a:gd name="T11" fmla="*/ 1033 h 2074"/>
                <a:gd name="T12" fmla="*/ 3520 w 3769"/>
                <a:gd name="T13" fmla="*/ 1796 h 2074"/>
                <a:gd name="T14" fmla="*/ 3520 w 3769"/>
                <a:gd name="T15" fmla="*/ 1540 h 2074"/>
                <a:gd name="T16" fmla="*/ 2774 w 3769"/>
                <a:gd name="T17" fmla="*/ 1541 h 2074"/>
                <a:gd name="T18" fmla="*/ 2774 w 3769"/>
                <a:gd name="T19" fmla="*/ 2074 h 2074"/>
                <a:gd name="T20" fmla="*/ 0 w 3769"/>
                <a:gd name="T21" fmla="*/ 2074 h 2074"/>
                <a:gd name="T22" fmla="*/ 0 w 3769"/>
                <a:gd name="T23" fmla="*/ 1541 h 2074"/>
                <a:gd name="T24" fmla="*/ 747 w 3769"/>
                <a:gd name="T25" fmla="*/ 1541 h 2074"/>
                <a:gd name="T26" fmla="*/ 747 w 3769"/>
                <a:gd name="T27" fmla="*/ 1782 h 2074"/>
                <a:gd name="T28" fmla="*/ 995 w 3769"/>
                <a:gd name="T29" fmla="*/ 1033 h 2074"/>
                <a:gd name="T30" fmla="*/ 747 w 3769"/>
                <a:gd name="T31" fmla="*/ 267 h 2074"/>
                <a:gd name="T32" fmla="*/ 747 w 3769"/>
                <a:gd name="T33" fmla="*/ 509 h 2074"/>
                <a:gd name="T34" fmla="*/ 0 w 3769"/>
                <a:gd name="T35" fmla="*/ 509 h 2074"/>
                <a:gd name="T36" fmla="*/ 0 w 3769"/>
                <a:gd name="T37" fmla="*/ 0 h 2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69" h="2074">
                  <a:moveTo>
                    <a:pt x="0" y="0"/>
                  </a:moveTo>
                  <a:lnTo>
                    <a:pt x="2774" y="0"/>
                  </a:lnTo>
                  <a:lnTo>
                    <a:pt x="2774" y="509"/>
                  </a:lnTo>
                  <a:lnTo>
                    <a:pt x="3520" y="509"/>
                  </a:lnTo>
                  <a:lnTo>
                    <a:pt x="3520" y="258"/>
                  </a:lnTo>
                  <a:lnTo>
                    <a:pt x="3769" y="1033"/>
                  </a:lnTo>
                  <a:lnTo>
                    <a:pt x="3520" y="1796"/>
                  </a:lnTo>
                  <a:lnTo>
                    <a:pt x="3520" y="1540"/>
                  </a:lnTo>
                  <a:lnTo>
                    <a:pt x="2774" y="1541"/>
                  </a:lnTo>
                  <a:lnTo>
                    <a:pt x="2774" y="2074"/>
                  </a:lnTo>
                  <a:lnTo>
                    <a:pt x="0" y="2074"/>
                  </a:lnTo>
                  <a:lnTo>
                    <a:pt x="0" y="1541"/>
                  </a:lnTo>
                  <a:lnTo>
                    <a:pt x="747" y="1541"/>
                  </a:lnTo>
                  <a:lnTo>
                    <a:pt x="747" y="1782"/>
                  </a:lnTo>
                  <a:lnTo>
                    <a:pt x="995" y="1033"/>
                  </a:lnTo>
                  <a:lnTo>
                    <a:pt x="747" y="267"/>
                  </a:lnTo>
                  <a:lnTo>
                    <a:pt x="747" y="509"/>
                  </a:lnTo>
                  <a:lnTo>
                    <a:pt x="0" y="509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63493" name="Rectangle 5"/>
            <p:cNvSpPr>
              <a:spLocks noChangeArrowheads="1"/>
            </p:cNvSpPr>
            <p:nvPr/>
          </p:nvSpPr>
          <p:spPr bwMode="gray">
            <a:xfrm>
              <a:off x="2096" y="2109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63494" name="Rectangle 6"/>
            <p:cNvSpPr>
              <a:spLocks noChangeArrowheads="1"/>
            </p:cNvSpPr>
            <p:nvPr/>
          </p:nvSpPr>
          <p:spPr bwMode="gray">
            <a:xfrm>
              <a:off x="1139" y="1189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63495" name="Rectangle 7"/>
            <p:cNvSpPr>
              <a:spLocks noChangeArrowheads="1"/>
            </p:cNvSpPr>
            <p:nvPr/>
          </p:nvSpPr>
          <p:spPr bwMode="gray">
            <a:xfrm>
              <a:off x="1139" y="3046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9990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55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</a:t>
            </a:r>
          </a:p>
        </p:txBody>
      </p:sp>
      <p:grpSp>
        <p:nvGrpSpPr>
          <p:cNvPr id="3265539" name="Group 3"/>
          <p:cNvGrpSpPr>
            <a:grpSpLocks/>
          </p:cNvGrpSpPr>
          <p:nvPr/>
        </p:nvGrpSpPr>
        <p:grpSpPr bwMode="auto">
          <a:xfrm>
            <a:off x="2460626" y="2008503"/>
            <a:ext cx="7216775" cy="2921000"/>
            <a:chOff x="590" y="1150"/>
            <a:chExt cx="4546" cy="1840"/>
          </a:xfrm>
        </p:grpSpPr>
        <p:sp>
          <p:nvSpPr>
            <p:cNvPr id="3265540" name="AutoShape 4"/>
            <p:cNvSpPr>
              <a:spLocks noChangeArrowheads="1"/>
            </p:cNvSpPr>
            <p:nvPr/>
          </p:nvSpPr>
          <p:spPr bwMode="gray">
            <a:xfrm>
              <a:off x="1502" y="1150"/>
              <a:ext cx="3634" cy="1840"/>
            </a:xfrm>
            <a:prstGeom prst="rightArrowCallout">
              <a:avLst>
                <a:gd name="adj1" fmla="val 42389"/>
                <a:gd name="adj2" fmla="val 41523"/>
                <a:gd name="adj3" fmla="val 33319"/>
                <a:gd name="adj4" fmla="val 6666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65541" name="Rectangle 5"/>
            <p:cNvSpPr>
              <a:spLocks noChangeArrowheads="1"/>
            </p:cNvSpPr>
            <p:nvPr/>
          </p:nvSpPr>
          <p:spPr bwMode="gray">
            <a:xfrm>
              <a:off x="2540" y="1985"/>
              <a:ext cx="340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65542" name="Freeform 6"/>
            <p:cNvSpPr>
              <a:spLocks/>
            </p:cNvSpPr>
            <p:nvPr/>
          </p:nvSpPr>
          <p:spPr bwMode="gray">
            <a:xfrm>
              <a:off x="590" y="1332"/>
              <a:ext cx="1846" cy="688"/>
            </a:xfrm>
            <a:custGeom>
              <a:avLst/>
              <a:gdLst>
                <a:gd name="T0" fmla="*/ 1500 w 2000"/>
                <a:gd name="T1" fmla="*/ 0 h 688"/>
                <a:gd name="T2" fmla="*/ 1500 w 2000"/>
                <a:gd name="T3" fmla="*/ 344 h 688"/>
                <a:gd name="T4" fmla="*/ 0 w 2000"/>
                <a:gd name="T5" fmla="*/ 344 h 688"/>
                <a:gd name="T6" fmla="*/ 0 w 2000"/>
                <a:gd name="T7" fmla="*/ 688 h 688"/>
                <a:gd name="T8" fmla="*/ 2000 w 2000"/>
                <a:gd name="T9" fmla="*/ 688 h 688"/>
                <a:gd name="T10" fmla="*/ 1500 w 2000"/>
                <a:gd name="T11" fmla="*/ 0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00" h="688">
                  <a:moveTo>
                    <a:pt x="1500" y="0"/>
                  </a:moveTo>
                  <a:lnTo>
                    <a:pt x="1500" y="344"/>
                  </a:lnTo>
                  <a:lnTo>
                    <a:pt x="0" y="344"/>
                  </a:lnTo>
                  <a:lnTo>
                    <a:pt x="0" y="688"/>
                  </a:lnTo>
                  <a:lnTo>
                    <a:pt x="2000" y="688"/>
                  </a:lnTo>
                  <a:lnTo>
                    <a:pt x="15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65543" name="Rectangle 7"/>
            <p:cNvSpPr>
              <a:spLocks noChangeArrowheads="1"/>
            </p:cNvSpPr>
            <p:nvPr/>
          </p:nvSpPr>
          <p:spPr bwMode="gray">
            <a:xfrm>
              <a:off x="602" y="1751"/>
              <a:ext cx="340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65544" name="Line 8"/>
            <p:cNvSpPr>
              <a:spLocks noChangeShapeType="1"/>
            </p:cNvSpPr>
            <p:nvPr/>
          </p:nvSpPr>
          <p:spPr bwMode="gray">
            <a:xfrm>
              <a:off x="1502" y="2028"/>
              <a:ext cx="0" cy="9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65545" name="Freeform 9"/>
            <p:cNvSpPr>
              <a:spLocks/>
            </p:cNvSpPr>
            <p:nvPr/>
          </p:nvSpPr>
          <p:spPr bwMode="gray">
            <a:xfrm>
              <a:off x="590" y="2116"/>
              <a:ext cx="1846" cy="688"/>
            </a:xfrm>
            <a:custGeom>
              <a:avLst/>
              <a:gdLst>
                <a:gd name="T0" fmla="*/ 0 w 2000"/>
                <a:gd name="T1" fmla="*/ 0 h 688"/>
                <a:gd name="T2" fmla="*/ 0 w 2000"/>
                <a:gd name="T3" fmla="*/ 344 h 688"/>
                <a:gd name="T4" fmla="*/ 1500 w 2000"/>
                <a:gd name="T5" fmla="*/ 344 h 688"/>
                <a:gd name="T6" fmla="*/ 1500 w 2000"/>
                <a:gd name="T7" fmla="*/ 688 h 688"/>
                <a:gd name="T8" fmla="*/ 2000 w 2000"/>
                <a:gd name="T9" fmla="*/ 0 h 688"/>
                <a:gd name="T10" fmla="*/ 0 w 2000"/>
                <a:gd name="T11" fmla="*/ 0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00" h="688">
                  <a:moveTo>
                    <a:pt x="0" y="0"/>
                  </a:moveTo>
                  <a:lnTo>
                    <a:pt x="0" y="344"/>
                  </a:lnTo>
                  <a:lnTo>
                    <a:pt x="1500" y="344"/>
                  </a:lnTo>
                  <a:lnTo>
                    <a:pt x="1500" y="688"/>
                  </a:lnTo>
                  <a:lnTo>
                    <a:pt x="20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65546" name="Rectangle 10"/>
            <p:cNvSpPr>
              <a:spLocks noChangeArrowheads="1"/>
            </p:cNvSpPr>
            <p:nvPr/>
          </p:nvSpPr>
          <p:spPr bwMode="gray">
            <a:xfrm>
              <a:off x="602" y="2195"/>
              <a:ext cx="340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898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96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</a:t>
            </a:r>
          </a:p>
        </p:txBody>
      </p:sp>
      <p:grpSp>
        <p:nvGrpSpPr>
          <p:cNvPr id="3269635" name="Group 3"/>
          <p:cNvGrpSpPr>
            <a:grpSpLocks/>
          </p:cNvGrpSpPr>
          <p:nvPr/>
        </p:nvGrpSpPr>
        <p:grpSpPr bwMode="auto">
          <a:xfrm>
            <a:off x="2565401" y="1492250"/>
            <a:ext cx="6918325" cy="4318000"/>
            <a:chOff x="680" y="1102"/>
            <a:chExt cx="4358" cy="2720"/>
          </a:xfrm>
        </p:grpSpPr>
        <p:sp>
          <p:nvSpPr>
            <p:cNvPr id="3269636" name="AutoShape 4"/>
            <p:cNvSpPr>
              <a:spLocks noChangeArrowheads="1"/>
            </p:cNvSpPr>
            <p:nvPr/>
          </p:nvSpPr>
          <p:spPr bwMode="gray">
            <a:xfrm>
              <a:off x="3062" y="1102"/>
              <a:ext cx="1976" cy="2720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rgbClr val="80808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9200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69637" name="AutoShape 5"/>
            <p:cNvSpPr>
              <a:spLocks noChangeArrowheads="1"/>
            </p:cNvSpPr>
            <p:nvPr/>
          </p:nvSpPr>
          <p:spPr bwMode="gray">
            <a:xfrm>
              <a:off x="1580" y="1780"/>
              <a:ext cx="1976" cy="1820"/>
            </a:xfrm>
            <a:prstGeom prst="rightArrow">
              <a:avLst>
                <a:gd name="adj1" fmla="val 50000"/>
                <a:gd name="adj2" fmla="val 27143"/>
              </a:avLst>
            </a:prstGeom>
            <a:solidFill>
              <a:srgbClr val="B2B2B2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3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69638" name="AutoShape 6"/>
            <p:cNvSpPr>
              <a:spLocks noChangeArrowheads="1"/>
            </p:cNvSpPr>
            <p:nvPr/>
          </p:nvSpPr>
          <p:spPr bwMode="gray">
            <a:xfrm>
              <a:off x="680" y="2230"/>
              <a:ext cx="1196" cy="1214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0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57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velopment/Direction</a:t>
            </a:r>
          </a:p>
        </p:txBody>
      </p:sp>
      <p:grpSp>
        <p:nvGrpSpPr>
          <p:cNvPr id="3275779" name="Group 3"/>
          <p:cNvGrpSpPr>
            <a:grpSpLocks/>
          </p:cNvGrpSpPr>
          <p:nvPr/>
        </p:nvGrpSpPr>
        <p:grpSpPr bwMode="auto">
          <a:xfrm>
            <a:off x="2070101" y="1560339"/>
            <a:ext cx="8143875" cy="4649787"/>
            <a:chOff x="344" y="941"/>
            <a:chExt cx="5130" cy="2929"/>
          </a:xfrm>
        </p:grpSpPr>
        <p:sp>
          <p:nvSpPr>
            <p:cNvPr id="3275780" name="Freeform 4"/>
            <p:cNvSpPr>
              <a:spLocks/>
            </p:cNvSpPr>
            <p:nvPr/>
          </p:nvSpPr>
          <p:spPr bwMode="gray">
            <a:xfrm>
              <a:off x="1924" y="941"/>
              <a:ext cx="1086" cy="330"/>
            </a:xfrm>
            <a:custGeom>
              <a:avLst/>
              <a:gdLst>
                <a:gd name="T0" fmla="*/ 0 w 1420"/>
                <a:gd name="T1" fmla="*/ 0 h 250"/>
                <a:gd name="T2" fmla="*/ 1289 w 1420"/>
                <a:gd name="T3" fmla="*/ 0 h 250"/>
                <a:gd name="T4" fmla="*/ 1420 w 1420"/>
                <a:gd name="T5" fmla="*/ 137 h 250"/>
                <a:gd name="T6" fmla="*/ 1312 w 1420"/>
                <a:gd name="T7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20" h="250">
                  <a:moveTo>
                    <a:pt x="0" y="0"/>
                  </a:moveTo>
                  <a:lnTo>
                    <a:pt x="1289" y="0"/>
                  </a:lnTo>
                  <a:lnTo>
                    <a:pt x="1420" y="137"/>
                  </a:lnTo>
                  <a:lnTo>
                    <a:pt x="1312" y="250"/>
                  </a:lnTo>
                </a:path>
              </a:pathLst>
            </a:custGeom>
            <a:noFill/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75781" name="Freeform 5"/>
            <p:cNvSpPr>
              <a:spLocks/>
            </p:cNvSpPr>
            <p:nvPr/>
          </p:nvSpPr>
          <p:spPr bwMode="gray">
            <a:xfrm>
              <a:off x="2179" y="1314"/>
              <a:ext cx="1085" cy="331"/>
            </a:xfrm>
            <a:custGeom>
              <a:avLst/>
              <a:gdLst>
                <a:gd name="T0" fmla="*/ 0 w 1420"/>
                <a:gd name="T1" fmla="*/ 0 h 250"/>
                <a:gd name="T2" fmla="*/ 1289 w 1420"/>
                <a:gd name="T3" fmla="*/ 0 h 250"/>
                <a:gd name="T4" fmla="*/ 1420 w 1420"/>
                <a:gd name="T5" fmla="*/ 137 h 250"/>
                <a:gd name="T6" fmla="*/ 1312 w 1420"/>
                <a:gd name="T7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20" h="250">
                  <a:moveTo>
                    <a:pt x="0" y="0"/>
                  </a:moveTo>
                  <a:lnTo>
                    <a:pt x="1289" y="0"/>
                  </a:lnTo>
                  <a:lnTo>
                    <a:pt x="1420" y="137"/>
                  </a:lnTo>
                  <a:lnTo>
                    <a:pt x="1312" y="25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75782" name="Freeform 6"/>
            <p:cNvSpPr>
              <a:spLocks/>
            </p:cNvSpPr>
            <p:nvPr/>
          </p:nvSpPr>
          <p:spPr bwMode="gray">
            <a:xfrm>
              <a:off x="2290" y="1655"/>
              <a:ext cx="1086" cy="330"/>
            </a:xfrm>
            <a:custGeom>
              <a:avLst/>
              <a:gdLst>
                <a:gd name="T0" fmla="*/ 0 w 1420"/>
                <a:gd name="T1" fmla="*/ 0 h 250"/>
                <a:gd name="T2" fmla="*/ 1289 w 1420"/>
                <a:gd name="T3" fmla="*/ 0 h 250"/>
                <a:gd name="T4" fmla="*/ 1420 w 1420"/>
                <a:gd name="T5" fmla="*/ 137 h 250"/>
                <a:gd name="T6" fmla="*/ 1312 w 1420"/>
                <a:gd name="T7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20" h="250">
                  <a:moveTo>
                    <a:pt x="0" y="0"/>
                  </a:moveTo>
                  <a:lnTo>
                    <a:pt x="1289" y="0"/>
                  </a:lnTo>
                  <a:lnTo>
                    <a:pt x="1420" y="137"/>
                  </a:lnTo>
                  <a:lnTo>
                    <a:pt x="1312" y="25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75783" name="Freeform 7"/>
            <p:cNvSpPr>
              <a:spLocks/>
            </p:cNvSpPr>
            <p:nvPr/>
          </p:nvSpPr>
          <p:spPr bwMode="gray">
            <a:xfrm>
              <a:off x="2131" y="2039"/>
              <a:ext cx="1085" cy="329"/>
            </a:xfrm>
            <a:custGeom>
              <a:avLst/>
              <a:gdLst>
                <a:gd name="T0" fmla="*/ 0 w 1420"/>
                <a:gd name="T1" fmla="*/ 0 h 250"/>
                <a:gd name="T2" fmla="*/ 1289 w 1420"/>
                <a:gd name="T3" fmla="*/ 0 h 250"/>
                <a:gd name="T4" fmla="*/ 1420 w 1420"/>
                <a:gd name="T5" fmla="*/ 137 h 250"/>
                <a:gd name="T6" fmla="*/ 1312 w 1420"/>
                <a:gd name="T7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20" h="250">
                  <a:moveTo>
                    <a:pt x="0" y="0"/>
                  </a:moveTo>
                  <a:lnTo>
                    <a:pt x="1289" y="0"/>
                  </a:lnTo>
                  <a:lnTo>
                    <a:pt x="1420" y="137"/>
                  </a:lnTo>
                  <a:lnTo>
                    <a:pt x="1312" y="25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75784" name="Freeform 8"/>
            <p:cNvSpPr>
              <a:spLocks/>
            </p:cNvSpPr>
            <p:nvPr/>
          </p:nvSpPr>
          <p:spPr bwMode="gray">
            <a:xfrm>
              <a:off x="2716" y="2412"/>
              <a:ext cx="1086" cy="330"/>
            </a:xfrm>
            <a:custGeom>
              <a:avLst/>
              <a:gdLst>
                <a:gd name="T0" fmla="*/ 0 w 1420"/>
                <a:gd name="T1" fmla="*/ 0 h 250"/>
                <a:gd name="T2" fmla="*/ 1289 w 1420"/>
                <a:gd name="T3" fmla="*/ 0 h 250"/>
                <a:gd name="T4" fmla="*/ 1420 w 1420"/>
                <a:gd name="T5" fmla="*/ 137 h 250"/>
                <a:gd name="T6" fmla="*/ 1312 w 1420"/>
                <a:gd name="T7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20" h="250">
                  <a:moveTo>
                    <a:pt x="0" y="0"/>
                  </a:moveTo>
                  <a:lnTo>
                    <a:pt x="1289" y="0"/>
                  </a:lnTo>
                  <a:lnTo>
                    <a:pt x="1420" y="137"/>
                  </a:lnTo>
                  <a:lnTo>
                    <a:pt x="1312" y="25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75785" name="Freeform 9"/>
            <p:cNvSpPr>
              <a:spLocks/>
            </p:cNvSpPr>
            <p:nvPr/>
          </p:nvSpPr>
          <p:spPr bwMode="gray">
            <a:xfrm>
              <a:off x="2993" y="2783"/>
              <a:ext cx="1086" cy="330"/>
            </a:xfrm>
            <a:custGeom>
              <a:avLst/>
              <a:gdLst>
                <a:gd name="T0" fmla="*/ 0 w 1420"/>
                <a:gd name="T1" fmla="*/ 0 h 250"/>
                <a:gd name="T2" fmla="*/ 1289 w 1420"/>
                <a:gd name="T3" fmla="*/ 0 h 250"/>
                <a:gd name="T4" fmla="*/ 1420 w 1420"/>
                <a:gd name="T5" fmla="*/ 137 h 250"/>
                <a:gd name="T6" fmla="*/ 1312 w 1420"/>
                <a:gd name="T7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20" h="250">
                  <a:moveTo>
                    <a:pt x="0" y="0"/>
                  </a:moveTo>
                  <a:lnTo>
                    <a:pt x="1289" y="0"/>
                  </a:lnTo>
                  <a:lnTo>
                    <a:pt x="1420" y="137"/>
                  </a:lnTo>
                  <a:lnTo>
                    <a:pt x="1312" y="25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75786" name="Freeform 10"/>
            <p:cNvSpPr>
              <a:spLocks/>
            </p:cNvSpPr>
            <p:nvPr/>
          </p:nvSpPr>
          <p:spPr bwMode="gray">
            <a:xfrm>
              <a:off x="2667" y="3113"/>
              <a:ext cx="1087" cy="331"/>
            </a:xfrm>
            <a:custGeom>
              <a:avLst/>
              <a:gdLst>
                <a:gd name="T0" fmla="*/ 0 w 1420"/>
                <a:gd name="T1" fmla="*/ 0 h 250"/>
                <a:gd name="T2" fmla="*/ 1288 w 1420"/>
                <a:gd name="T3" fmla="*/ 0 h 250"/>
                <a:gd name="T4" fmla="*/ 1420 w 1420"/>
                <a:gd name="T5" fmla="*/ 137 h 250"/>
                <a:gd name="T6" fmla="*/ 1312 w 1420"/>
                <a:gd name="T7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20" h="250">
                  <a:moveTo>
                    <a:pt x="0" y="0"/>
                  </a:moveTo>
                  <a:lnTo>
                    <a:pt x="1288" y="0"/>
                  </a:lnTo>
                  <a:lnTo>
                    <a:pt x="1420" y="137"/>
                  </a:lnTo>
                  <a:lnTo>
                    <a:pt x="1312" y="25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75787" name="Freeform 11"/>
            <p:cNvSpPr>
              <a:spLocks/>
            </p:cNvSpPr>
            <p:nvPr/>
          </p:nvSpPr>
          <p:spPr bwMode="gray">
            <a:xfrm>
              <a:off x="2822" y="3519"/>
              <a:ext cx="1086" cy="330"/>
            </a:xfrm>
            <a:custGeom>
              <a:avLst/>
              <a:gdLst>
                <a:gd name="T0" fmla="*/ 0 w 1420"/>
                <a:gd name="T1" fmla="*/ 0 h 250"/>
                <a:gd name="T2" fmla="*/ 1289 w 1420"/>
                <a:gd name="T3" fmla="*/ 0 h 250"/>
                <a:gd name="T4" fmla="*/ 1420 w 1420"/>
                <a:gd name="T5" fmla="*/ 137 h 250"/>
                <a:gd name="T6" fmla="*/ 1312 w 1420"/>
                <a:gd name="T7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20" h="250">
                  <a:moveTo>
                    <a:pt x="0" y="0"/>
                  </a:moveTo>
                  <a:lnTo>
                    <a:pt x="1289" y="0"/>
                  </a:lnTo>
                  <a:lnTo>
                    <a:pt x="1420" y="137"/>
                  </a:lnTo>
                  <a:lnTo>
                    <a:pt x="1312" y="25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75788" name="Rectangle 12"/>
            <p:cNvSpPr>
              <a:spLocks noChangeArrowheads="1"/>
            </p:cNvSpPr>
            <p:nvPr/>
          </p:nvSpPr>
          <p:spPr bwMode="gray">
            <a:xfrm>
              <a:off x="344" y="991"/>
              <a:ext cx="1710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75790" name="Freeform 14"/>
            <p:cNvSpPr>
              <a:spLocks/>
            </p:cNvSpPr>
            <p:nvPr/>
          </p:nvSpPr>
          <p:spPr bwMode="gray">
            <a:xfrm>
              <a:off x="2945" y="941"/>
              <a:ext cx="2529" cy="2929"/>
            </a:xfrm>
            <a:custGeom>
              <a:avLst/>
              <a:gdLst>
                <a:gd name="T0" fmla="*/ 0 w 2532"/>
                <a:gd name="T1" fmla="*/ 0 h 2946"/>
                <a:gd name="T2" fmla="*/ 113 w 2532"/>
                <a:gd name="T3" fmla="*/ 203 h 2946"/>
                <a:gd name="T4" fmla="*/ 47 w 2532"/>
                <a:gd name="T5" fmla="*/ 332 h 2946"/>
                <a:gd name="T6" fmla="*/ 254 w 2532"/>
                <a:gd name="T7" fmla="*/ 332 h 2946"/>
                <a:gd name="T8" fmla="*/ 378 w 2532"/>
                <a:gd name="T9" fmla="*/ 558 h 2946"/>
                <a:gd name="T10" fmla="*/ 308 w 2532"/>
                <a:gd name="T11" fmla="*/ 685 h 2946"/>
                <a:gd name="T12" fmla="*/ 355 w 2532"/>
                <a:gd name="T13" fmla="*/ 685 h 2946"/>
                <a:gd name="T14" fmla="*/ 485 w 2532"/>
                <a:gd name="T15" fmla="*/ 921 h 2946"/>
                <a:gd name="T16" fmla="*/ 302 w 2532"/>
                <a:gd name="T17" fmla="*/ 1253 h 2946"/>
                <a:gd name="T18" fmla="*/ 332 w 2532"/>
                <a:gd name="T19" fmla="*/ 1306 h 2946"/>
                <a:gd name="T20" fmla="*/ 260 w 2532"/>
                <a:gd name="T21" fmla="*/ 1435 h 2946"/>
                <a:gd name="T22" fmla="*/ 798 w 2532"/>
                <a:gd name="T23" fmla="*/ 1435 h 2946"/>
                <a:gd name="T24" fmla="*/ 922 w 2532"/>
                <a:gd name="T25" fmla="*/ 1661 h 2946"/>
                <a:gd name="T26" fmla="*/ 839 w 2532"/>
                <a:gd name="T27" fmla="*/ 1811 h 2946"/>
                <a:gd name="T28" fmla="*/ 1082 w 2532"/>
                <a:gd name="T29" fmla="*/ 1811 h 2946"/>
                <a:gd name="T30" fmla="*/ 1200 w 2532"/>
                <a:gd name="T31" fmla="*/ 2025 h 2946"/>
                <a:gd name="T32" fmla="*/ 1070 w 2532"/>
                <a:gd name="T33" fmla="*/ 2261 h 2946"/>
                <a:gd name="T34" fmla="*/ 810 w 2532"/>
                <a:gd name="T35" fmla="*/ 2261 h 2946"/>
                <a:gd name="T36" fmla="*/ 869 w 2532"/>
                <a:gd name="T37" fmla="*/ 2367 h 2946"/>
                <a:gd name="T38" fmla="*/ 780 w 2532"/>
                <a:gd name="T39" fmla="*/ 2528 h 2946"/>
                <a:gd name="T40" fmla="*/ 905 w 2532"/>
                <a:gd name="T41" fmla="*/ 2528 h 2946"/>
                <a:gd name="T42" fmla="*/ 1046 w 2532"/>
                <a:gd name="T43" fmla="*/ 2785 h 2946"/>
                <a:gd name="T44" fmla="*/ 958 w 2532"/>
                <a:gd name="T45" fmla="*/ 2946 h 2946"/>
                <a:gd name="T46" fmla="*/ 1987 w 2532"/>
                <a:gd name="T47" fmla="*/ 2946 h 2946"/>
                <a:gd name="T48" fmla="*/ 2532 w 2532"/>
                <a:gd name="T49" fmla="*/ 1530 h 2946"/>
                <a:gd name="T50" fmla="*/ 1922 w 2532"/>
                <a:gd name="T51" fmla="*/ 0 h 2946"/>
                <a:gd name="T52" fmla="*/ 12 w 2532"/>
                <a:gd name="T53" fmla="*/ 0 h 2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532" h="2946">
                  <a:moveTo>
                    <a:pt x="0" y="0"/>
                  </a:moveTo>
                  <a:lnTo>
                    <a:pt x="113" y="203"/>
                  </a:lnTo>
                  <a:lnTo>
                    <a:pt x="47" y="332"/>
                  </a:lnTo>
                  <a:lnTo>
                    <a:pt x="254" y="332"/>
                  </a:lnTo>
                  <a:lnTo>
                    <a:pt x="378" y="558"/>
                  </a:lnTo>
                  <a:lnTo>
                    <a:pt x="308" y="685"/>
                  </a:lnTo>
                  <a:lnTo>
                    <a:pt x="355" y="685"/>
                  </a:lnTo>
                  <a:lnTo>
                    <a:pt x="485" y="921"/>
                  </a:lnTo>
                  <a:lnTo>
                    <a:pt x="302" y="1253"/>
                  </a:lnTo>
                  <a:lnTo>
                    <a:pt x="332" y="1306"/>
                  </a:lnTo>
                  <a:lnTo>
                    <a:pt x="260" y="1435"/>
                  </a:lnTo>
                  <a:lnTo>
                    <a:pt x="798" y="1435"/>
                  </a:lnTo>
                  <a:lnTo>
                    <a:pt x="922" y="1661"/>
                  </a:lnTo>
                  <a:lnTo>
                    <a:pt x="839" y="1811"/>
                  </a:lnTo>
                  <a:lnTo>
                    <a:pt x="1082" y="1811"/>
                  </a:lnTo>
                  <a:lnTo>
                    <a:pt x="1200" y="2025"/>
                  </a:lnTo>
                  <a:lnTo>
                    <a:pt x="1070" y="2261"/>
                  </a:lnTo>
                  <a:lnTo>
                    <a:pt x="810" y="2261"/>
                  </a:lnTo>
                  <a:lnTo>
                    <a:pt x="869" y="2367"/>
                  </a:lnTo>
                  <a:lnTo>
                    <a:pt x="780" y="2528"/>
                  </a:lnTo>
                  <a:lnTo>
                    <a:pt x="905" y="2528"/>
                  </a:lnTo>
                  <a:lnTo>
                    <a:pt x="1046" y="2785"/>
                  </a:lnTo>
                  <a:lnTo>
                    <a:pt x="958" y="2946"/>
                  </a:lnTo>
                  <a:lnTo>
                    <a:pt x="1987" y="2946"/>
                  </a:lnTo>
                  <a:lnTo>
                    <a:pt x="2532" y="1530"/>
                  </a:lnTo>
                  <a:lnTo>
                    <a:pt x="1922" y="0"/>
                  </a:lnTo>
                  <a:lnTo>
                    <a:pt x="12" y="0"/>
                  </a:ln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75791" name="Rectangle 15"/>
            <p:cNvSpPr>
              <a:spLocks noChangeArrowheads="1"/>
            </p:cNvSpPr>
            <p:nvPr/>
          </p:nvSpPr>
          <p:spPr bwMode="gray">
            <a:xfrm>
              <a:off x="3916" y="2047"/>
              <a:ext cx="88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434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8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3</a:t>
            </a:r>
          </a:p>
        </p:txBody>
      </p:sp>
      <p:grpSp>
        <p:nvGrpSpPr>
          <p:cNvPr id="3279875" name="Group 3"/>
          <p:cNvGrpSpPr>
            <a:grpSpLocks/>
          </p:cNvGrpSpPr>
          <p:nvPr/>
        </p:nvGrpSpPr>
        <p:grpSpPr bwMode="auto">
          <a:xfrm>
            <a:off x="2733676" y="2644398"/>
            <a:ext cx="6683375" cy="774700"/>
            <a:chOff x="762" y="1383"/>
            <a:chExt cx="4210" cy="488"/>
          </a:xfrm>
        </p:grpSpPr>
        <p:sp>
          <p:nvSpPr>
            <p:cNvPr id="3279876" name="AutoShape 4"/>
            <p:cNvSpPr>
              <a:spLocks noChangeArrowheads="1"/>
            </p:cNvSpPr>
            <p:nvPr/>
          </p:nvSpPr>
          <p:spPr bwMode="gray">
            <a:xfrm>
              <a:off x="2603" y="1384"/>
              <a:ext cx="2369" cy="487"/>
            </a:xfrm>
            <a:prstGeom prst="homePlate">
              <a:avLst>
                <a:gd name="adj" fmla="val 22250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3296" tIns="46648" rIns="93296" bIns="46648" anchor="ctr"/>
            <a:lstStyle/>
            <a:p>
              <a:pPr defTabSz="933450"/>
              <a:endParaRPr lang="en-GB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79877" name="Rectangle 5"/>
            <p:cNvSpPr>
              <a:spLocks noChangeArrowheads="1"/>
            </p:cNvSpPr>
            <p:nvPr/>
          </p:nvSpPr>
          <p:spPr bwMode="gray">
            <a:xfrm>
              <a:off x="3653" y="1478"/>
              <a:ext cx="340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79878" name="Freeform 6"/>
            <p:cNvSpPr>
              <a:spLocks/>
            </p:cNvSpPr>
            <p:nvPr/>
          </p:nvSpPr>
          <p:spPr bwMode="gray">
            <a:xfrm>
              <a:off x="1360" y="1383"/>
              <a:ext cx="2245" cy="488"/>
            </a:xfrm>
            <a:custGeom>
              <a:avLst/>
              <a:gdLst>
                <a:gd name="T0" fmla="*/ 876 w 2432"/>
                <a:gd name="T1" fmla="*/ 0 h 488"/>
                <a:gd name="T2" fmla="*/ 2336 w 2432"/>
                <a:gd name="T3" fmla="*/ 0 h 488"/>
                <a:gd name="T4" fmla="*/ 2432 w 2432"/>
                <a:gd name="T5" fmla="*/ 250 h 488"/>
                <a:gd name="T6" fmla="*/ 2371 w 2432"/>
                <a:gd name="T7" fmla="*/ 384 h 488"/>
                <a:gd name="T8" fmla="*/ 1452 w 2432"/>
                <a:gd name="T9" fmla="*/ 384 h 488"/>
                <a:gd name="T10" fmla="*/ 1452 w 2432"/>
                <a:gd name="T11" fmla="*/ 488 h 488"/>
                <a:gd name="T12" fmla="*/ 0 w 2432"/>
                <a:gd name="T13" fmla="*/ 487 h 488"/>
                <a:gd name="T14" fmla="*/ 0 w 2432"/>
                <a:gd name="T15" fmla="*/ 0 h 488"/>
                <a:gd name="T16" fmla="*/ 2348 w 2432"/>
                <a:gd name="T17" fmla="*/ 0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32" h="488">
                  <a:moveTo>
                    <a:pt x="876" y="0"/>
                  </a:moveTo>
                  <a:lnTo>
                    <a:pt x="2336" y="0"/>
                  </a:lnTo>
                  <a:lnTo>
                    <a:pt x="2432" y="250"/>
                  </a:lnTo>
                  <a:lnTo>
                    <a:pt x="2371" y="384"/>
                  </a:lnTo>
                  <a:lnTo>
                    <a:pt x="1452" y="384"/>
                  </a:lnTo>
                  <a:lnTo>
                    <a:pt x="1452" y="488"/>
                  </a:lnTo>
                  <a:lnTo>
                    <a:pt x="0" y="487"/>
                  </a:lnTo>
                  <a:lnTo>
                    <a:pt x="0" y="0"/>
                  </a:lnTo>
                  <a:lnTo>
                    <a:pt x="2348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79879" name="Rectangle 7"/>
            <p:cNvSpPr>
              <a:spLocks noChangeArrowheads="1"/>
            </p:cNvSpPr>
            <p:nvPr/>
          </p:nvSpPr>
          <p:spPr bwMode="gray">
            <a:xfrm>
              <a:off x="2288" y="1478"/>
              <a:ext cx="340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79880" name="Freeform 8"/>
            <p:cNvSpPr>
              <a:spLocks/>
            </p:cNvSpPr>
            <p:nvPr/>
          </p:nvSpPr>
          <p:spPr bwMode="gray">
            <a:xfrm>
              <a:off x="762" y="1383"/>
              <a:ext cx="1507" cy="487"/>
            </a:xfrm>
            <a:custGeom>
              <a:avLst/>
              <a:gdLst>
                <a:gd name="T0" fmla="*/ 0 w 1632"/>
                <a:gd name="T1" fmla="*/ 0 h 487"/>
                <a:gd name="T2" fmla="*/ 1523 w 1632"/>
                <a:gd name="T3" fmla="*/ 0 h 487"/>
                <a:gd name="T4" fmla="*/ 1632 w 1632"/>
                <a:gd name="T5" fmla="*/ 244 h 487"/>
                <a:gd name="T6" fmla="*/ 1581 w 1632"/>
                <a:gd name="T7" fmla="*/ 384 h 487"/>
                <a:gd name="T8" fmla="*/ 647 w 1632"/>
                <a:gd name="T9" fmla="*/ 384 h 487"/>
                <a:gd name="T10" fmla="*/ 647 w 1632"/>
                <a:gd name="T11" fmla="*/ 487 h 487"/>
                <a:gd name="T12" fmla="*/ 0 w 1632"/>
                <a:gd name="T13" fmla="*/ 487 h 487"/>
                <a:gd name="T14" fmla="*/ 0 w 1632"/>
                <a:gd name="T15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32" h="487">
                  <a:moveTo>
                    <a:pt x="0" y="0"/>
                  </a:moveTo>
                  <a:lnTo>
                    <a:pt x="1523" y="0"/>
                  </a:lnTo>
                  <a:lnTo>
                    <a:pt x="1632" y="244"/>
                  </a:lnTo>
                  <a:lnTo>
                    <a:pt x="1581" y="384"/>
                  </a:lnTo>
                  <a:lnTo>
                    <a:pt x="647" y="384"/>
                  </a:lnTo>
                  <a:lnTo>
                    <a:pt x="647" y="487"/>
                  </a:lnTo>
                  <a:lnTo>
                    <a:pt x="0" y="4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79881" name="Rectangle 9"/>
            <p:cNvSpPr>
              <a:spLocks noChangeArrowheads="1"/>
            </p:cNvSpPr>
            <p:nvPr/>
          </p:nvSpPr>
          <p:spPr bwMode="gray">
            <a:xfrm>
              <a:off x="782" y="1478"/>
              <a:ext cx="340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545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39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</a:t>
            </a:r>
          </a:p>
        </p:txBody>
      </p:sp>
      <p:grpSp>
        <p:nvGrpSpPr>
          <p:cNvPr id="3283971" name="Group 3"/>
          <p:cNvGrpSpPr>
            <a:grpSpLocks/>
          </p:cNvGrpSpPr>
          <p:nvPr/>
        </p:nvGrpSpPr>
        <p:grpSpPr bwMode="auto">
          <a:xfrm>
            <a:off x="1903413" y="1806544"/>
            <a:ext cx="8310562" cy="3471862"/>
            <a:chOff x="239" y="939"/>
            <a:chExt cx="5235" cy="2187"/>
          </a:xfrm>
        </p:grpSpPr>
        <p:sp>
          <p:nvSpPr>
            <p:cNvPr id="3283972" name="AutoShape 4"/>
            <p:cNvSpPr>
              <a:spLocks noChangeArrowheads="1"/>
            </p:cNvSpPr>
            <p:nvPr/>
          </p:nvSpPr>
          <p:spPr bwMode="gray">
            <a:xfrm>
              <a:off x="1278" y="1399"/>
              <a:ext cx="1015" cy="353"/>
            </a:xfrm>
            <a:prstGeom prst="chevron">
              <a:avLst>
                <a:gd name="adj" fmla="val 22231"/>
              </a:avLst>
            </a:prstGeom>
            <a:solidFill>
              <a:srgbClr val="B2B2B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83973" name="Oval 5"/>
            <p:cNvSpPr>
              <a:spLocks noChangeArrowheads="1"/>
            </p:cNvSpPr>
            <p:nvPr/>
          </p:nvSpPr>
          <p:spPr bwMode="gray">
            <a:xfrm>
              <a:off x="1386" y="1308"/>
              <a:ext cx="169" cy="169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r>
                <a:rPr lang="en-GB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2</a:t>
              </a:r>
            </a:p>
          </p:txBody>
        </p:sp>
        <p:sp>
          <p:nvSpPr>
            <p:cNvPr id="3283974" name="AutoShape 6"/>
            <p:cNvSpPr>
              <a:spLocks noChangeArrowheads="1"/>
            </p:cNvSpPr>
            <p:nvPr/>
          </p:nvSpPr>
          <p:spPr bwMode="gray">
            <a:xfrm>
              <a:off x="2336" y="1775"/>
              <a:ext cx="1016" cy="352"/>
            </a:xfrm>
            <a:prstGeom prst="chevron">
              <a:avLst>
                <a:gd name="adj" fmla="val 22316"/>
              </a:avLst>
            </a:prstGeom>
            <a:solidFill>
              <a:srgbClr val="B2B2B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83975" name="Oval 7"/>
            <p:cNvSpPr>
              <a:spLocks noChangeArrowheads="1"/>
            </p:cNvSpPr>
            <p:nvPr/>
          </p:nvSpPr>
          <p:spPr bwMode="gray">
            <a:xfrm>
              <a:off x="2444" y="1676"/>
              <a:ext cx="169" cy="169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r>
                <a:rPr lang="en-GB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3</a:t>
              </a:r>
            </a:p>
          </p:txBody>
        </p:sp>
        <p:sp>
          <p:nvSpPr>
            <p:cNvPr id="3283976" name="Rectangle 8"/>
            <p:cNvSpPr>
              <a:spLocks noChangeArrowheads="1"/>
            </p:cNvSpPr>
            <p:nvPr/>
          </p:nvSpPr>
          <p:spPr bwMode="gray">
            <a:xfrm>
              <a:off x="2336" y="2168"/>
              <a:ext cx="93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83977" name="AutoShape 9"/>
            <p:cNvSpPr>
              <a:spLocks noChangeArrowheads="1"/>
            </p:cNvSpPr>
            <p:nvPr/>
          </p:nvSpPr>
          <p:spPr bwMode="gray">
            <a:xfrm>
              <a:off x="3400" y="2145"/>
              <a:ext cx="1016" cy="352"/>
            </a:xfrm>
            <a:prstGeom prst="chevron">
              <a:avLst>
                <a:gd name="adj" fmla="val 22316"/>
              </a:avLst>
            </a:prstGeom>
            <a:solidFill>
              <a:srgbClr val="B2B2B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83978" name="Oval 10"/>
            <p:cNvSpPr>
              <a:spLocks noChangeArrowheads="1"/>
            </p:cNvSpPr>
            <p:nvPr/>
          </p:nvSpPr>
          <p:spPr bwMode="gray">
            <a:xfrm>
              <a:off x="3499" y="2050"/>
              <a:ext cx="169" cy="169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r>
                <a:rPr lang="en-GB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4</a:t>
              </a:r>
            </a:p>
          </p:txBody>
        </p:sp>
        <p:sp>
          <p:nvSpPr>
            <p:cNvPr id="3283979" name="Rectangle 11"/>
            <p:cNvSpPr>
              <a:spLocks noChangeArrowheads="1"/>
            </p:cNvSpPr>
            <p:nvPr/>
          </p:nvSpPr>
          <p:spPr bwMode="gray">
            <a:xfrm>
              <a:off x="3400" y="2538"/>
              <a:ext cx="93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83980" name="AutoShape 12"/>
            <p:cNvSpPr>
              <a:spLocks noChangeArrowheads="1"/>
            </p:cNvSpPr>
            <p:nvPr/>
          </p:nvSpPr>
          <p:spPr bwMode="gray">
            <a:xfrm>
              <a:off x="4458" y="2559"/>
              <a:ext cx="1016" cy="352"/>
            </a:xfrm>
            <a:prstGeom prst="chevron">
              <a:avLst>
                <a:gd name="adj" fmla="val 22316"/>
              </a:avLst>
            </a:prstGeom>
            <a:solidFill>
              <a:srgbClr val="B2B2B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83981" name="Oval 13"/>
            <p:cNvSpPr>
              <a:spLocks noChangeArrowheads="1"/>
            </p:cNvSpPr>
            <p:nvPr/>
          </p:nvSpPr>
          <p:spPr bwMode="gray">
            <a:xfrm>
              <a:off x="4572" y="2425"/>
              <a:ext cx="169" cy="169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r>
                <a:rPr lang="en-GB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5</a:t>
              </a:r>
            </a:p>
          </p:txBody>
        </p:sp>
        <p:sp>
          <p:nvSpPr>
            <p:cNvPr id="3283982" name="Rectangle 14"/>
            <p:cNvSpPr>
              <a:spLocks noChangeArrowheads="1"/>
            </p:cNvSpPr>
            <p:nvPr/>
          </p:nvSpPr>
          <p:spPr bwMode="gray">
            <a:xfrm>
              <a:off x="4458" y="2952"/>
              <a:ext cx="93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83983" name="AutoShape 15"/>
            <p:cNvSpPr>
              <a:spLocks noChangeArrowheads="1"/>
            </p:cNvSpPr>
            <p:nvPr/>
          </p:nvSpPr>
          <p:spPr bwMode="gray">
            <a:xfrm>
              <a:off x="239" y="1036"/>
              <a:ext cx="1016" cy="352"/>
            </a:xfrm>
            <a:prstGeom prst="homePlate">
              <a:avLst>
                <a:gd name="adj" fmla="val 22316"/>
              </a:avLst>
            </a:prstGeom>
            <a:solidFill>
              <a:srgbClr val="B2B2B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83984" name="Oval 16"/>
            <p:cNvSpPr>
              <a:spLocks noChangeArrowheads="1"/>
            </p:cNvSpPr>
            <p:nvPr/>
          </p:nvSpPr>
          <p:spPr bwMode="gray">
            <a:xfrm>
              <a:off x="311" y="939"/>
              <a:ext cx="169" cy="169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r>
                <a:rPr lang="en-GB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1</a:t>
              </a:r>
            </a:p>
          </p:txBody>
        </p:sp>
        <p:sp>
          <p:nvSpPr>
            <p:cNvPr id="3283985" name="Rectangle 17"/>
            <p:cNvSpPr>
              <a:spLocks noChangeArrowheads="1"/>
            </p:cNvSpPr>
            <p:nvPr/>
          </p:nvSpPr>
          <p:spPr bwMode="gray">
            <a:xfrm>
              <a:off x="239" y="1429"/>
              <a:ext cx="93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83986" name="Rectangle 18"/>
            <p:cNvSpPr>
              <a:spLocks noChangeArrowheads="1"/>
            </p:cNvSpPr>
            <p:nvPr/>
          </p:nvSpPr>
          <p:spPr bwMode="gray">
            <a:xfrm>
              <a:off x="1292" y="1794"/>
              <a:ext cx="93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46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60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near Process</a:t>
            </a:r>
          </a:p>
        </p:txBody>
      </p:sp>
      <p:grpSp>
        <p:nvGrpSpPr>
          <p:cNvPr id="3286019" name="Group 3"/>
          <p:cNvGrpSpPr>
            <a:grpSpLocks/>
          </p:cNvGrpSpPr>
          <p:nvPr/>
        </p:nvGrpSpPr>
        <p:grpSpPr bwMode="auto">
          <a:xfrm>
            <a:off x="3006726" y="1945899"/>
            <a:ext cx="6151563" cy="3336925"/>
            <a:chOff x="670" y="1147"/>
            <a:chExt cx="3875" cy="2102"/>
          </a:xfrm>
        </p:grpSpPr>
        <p:sp>
          <p:nvSpPr>
            <p:cNvPr id="3286020" name="Freeform 4"/>
            <p:cNvSpPr>
              <a:spLocks/>
            </p:cNvSpPr>
            <p:nvPr/>
          </p:nvSpPr>
          <p:spPr bwMode="gray">
            <a:xfrm>
              <a:off x="670" y="1147"/>
              <a:ext cx="3236" cy="790"/>
            </a:xfrm>
            <a:custGeom>
              <a:avLst/>
              <a:gdLst>
                <a:gd name="T0" fmla="*/ 0 w 3559"/>
                <a:gd name="T1" fmla="*/ 496 h 896"/>
                <a:gd name="T2" fmla="*/ 2943 w 3559"/>
                <a:gd name="T3" fmla="*/ 496 h 896"/>
                <a:gd name="T4" fmla="*/ 2663 w 3559"/>
                <a:gd name="T5" fmla="*/ 0 h 896"/>
                <a:gd name="T6" fmla="*/ 3063 w 3559"/>
                <a:gd name="T7" fmla="*/ 0 h 896"/>
                <a:gd name="T8" fmla="*/ 3558 w 3559"/>
                <a:gd name="T9" fmla="*/ 895 h 896"/>
                <a:gd name="T10" fmla="*/ 0 w 3559"/>
                <a:gd name="T11" fmla="*/ 895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59" h="896">
                  <a:moveTo>
                    <a:pt x="0" y="496"/>
                  </a:moveTo>
                  <a:lnTo>
                    <a:pt x="2943" y="496"/>
                  </a:lnTo>
                  <a:lnTo>
                    <a:pt x="2663" y="0"/>
                  </a:lnTo>
                  <a:lnTo>
                    <a:pt x="3063" y="0"/>
                  </a:lnTo>
                  <a:lnTo>
                    <a:pt x="3558" y="895"/>
                  </a:lnTo>
                  <a:lnTo>
                    <a:pt x="0" y="895"/>
                  </a:lnTo>
                </a:path>
              </a:pathLst>
            </a:custGeom>
            <a:solidFill>
              <a:srgbClr val="EAEAEA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86021" name="Freeform 5"/>
            <p:cNvSpPr>
              <a:spLocks/>
            </p:cNvSpPr>
            <p:nvPr/>
          </p:nvSpPr>
          <p:spPr bwMode="gray">
            <a:xfrm>
              <a:off x="670" y="2459"/>
              <a:ext cx="3236" cy="790"/>
            </a:xfrm>
            <a:custGeom>
              <a:avLst/>
              <a:gdLst>
                <a:gd name="T0" fmla="*/ 0 w 3559"/>
                <a:gd name="T1" fmla="*/ 399 h 896"/>
                <a:gd name="T2" fmla="*/ 2943 w 3559"/>
                <a:gd name="T3" fmla="*/ 399 h 896"/>
                <a:gd name="T4" fmla="*/ 2687 w 3559"/>
                <a:gd name="T5" fmla="*/ 895 h 896"/>
                <a:gd name="T6" fmla="*/ 3087 w 3559"/>
                <a:gd name="T7" fmla="*/ 895 h 896"/>
                <a:gd name="T8" fmla="*/ 3558 w 3559"/>
                <a:gd name="T9" fmla="*/ 0 h 896"/>
                <a:gd name="T10" fmla="*/ 0 w 3559"/>
                <a:gd name="T11" fmla="*/ 0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59" h="896">
                  <a:moveTo>
                    <a:pt x="0" y="399"/>
                  </a:moveTo>
                  <a:lnTo>
                    <a:pt x="2943" y="399"/>
                  </a:lnTo>
                  <a:lnTo>
                    <a:pt x="2687" y="895"/>
                  </a:lnTo>
                  <a:lnTo>
                    <a:pt x="3087" y="895"/>
                  </a:lnTo>
                  <a:lnTo>
                    <a:pt x="3558" y="0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86022" name="Freeform 6"/>
            <p:cNvSpPr>
              <a:spLocks/>
            </p:cNvSpPr>
            <p:nvPr/>
          </p:nvSpPr>
          <p:spPr bwMode="gray">
            <a:xfrm>
              <a:off x="670" y="1147"/>
              <a:ext cx="3875" cy="2102"/>
            </a:xfrm>
            <a:custGeom>
              <a:avLst/>
              <a:gdLst>
                <a:gd name="T0" fmla="*/ 0 w 4263"/>
                <a:gd name="T1" fmla="*/ 991 h 2383"/>
                <a:gd name="T2" fmla="*/ 3750 w 4263"/>
                <a:gd name="T3" fmla="*/ 991 h 2383"/>
                <a:gd name="T4" fmla="*/ 3207 w 4263"/>
                <a:gd name="T5" fmla="*/ 0 h 2383"/>
                <a:gd name="T6" fmla="*/ 3630 w 4263"/>
                <a:gd name="T7" fmla="*/ 0 h 2383"/>
                <a:gd name="T8" fmla="*/ 4262 w 4263"/>
                <a:gd name="T9" fmla="*/ 1207 h 2383"/>
                <a:gd name="T10" fmla="*/ 3630 w 4263"/>
                <a:gd name="T11" fmla="*/ 2382 h 2383"/>
                <a:gd name="T12" fmla="*/ 3254 w 4263"/>
                <a:gd name="T13" fmla="*/ 2382 h 2383"/>
                <a:gd name="T14" fmla="*/ 3774 w 4263"/>
                <a:gd name="T15" fmla="*/ 1391 h 2383"/>
                <a:gd name="T16" fmla="*/ 0 w 4263"/>
                <a:gd name="T17" fmla="*/ 1391 h 2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63" h="2383">
                  <a:moveTo>
                    <a:pt x="0" y="991"/>
                  </a:moveTo>
                  <a:lnTo>
                    <a:pt x="3750" y="991"/>
                  </a:lnTo>
                  <a:lnTo>
                    <a:pt x="3207" y="0"/>
                  </a:lnTo>
                  <a:lnTo>
                    <a:pt x="3630" y="0"/>
                  </a:lnTo>
                  <a:lnTo>
                    <a:pt x="4262" y="1207"/>
                  </a:lnTo>
                  <a:lnTo>
                    <a:pt x="3630" y="2382"/>
                  </a:lnTo>
                  <a:lnTo>
                    <a:pt x="3254" y="2382"/>
                  </a:lnTo>
                  <a:lnTo>
                    <a:pt x="3774" y="1391"/>
                  </a:lnTo>
                  <a:lnTo>
                    <a:pt x="0" y="1391"/>
                  </a:ln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86023" name="Rectangle 7"/>
            <p:cNvSpPr>
              <a:spLocks noChangeArrowheads="1"/>
            </p:cNvSpPr>
            <p:nvPr/>
          </p:nvSpPr>
          <p:spPr bwMode="gray">
            <a:xfrm>
              <a:off x="776" y="2128"/>
              <a:ext cx="2900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86024" name="Rectangle 8"/>
            <p:cNvSpPr>
              <a:spLocks noChangeArrowheads="1"/>
            </p:cNvSpPr>
            <p:nvPr/>
          </p:nvSpPr>
          <p:spPr bwMode="gray">
            <a:xfrm>
              <a:off x="776" y="2566"/>
              <a:ext cx="2900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86025" name="Rectangle 9"/>
            <p:cNvSpPr>
              <a:spLocks noChangeArrowheads="1"/>
            </p:cNvSpPr>
            <p:nvPr/>
          </p:nvSpPr>
          <p:spPr bwMode="gray">
            <a:xfrm>
              <a:off x="776" y="1690"/>
              <a:ext cx="2900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0529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80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vergent Processes</a:t>
            </a:r>
          </a:p>
        </p:txBody>
      </p:sp>
      <p:grpSp>
        <p:nvGrpSpPr>
          <p:cNvPr id="3288067" name="Group 3"/>
          <p:cNvGrpSpPr>
            <a:grpSpLocks/>
          </p:cNvGrpSpPr>
          <p:nvPr/>
        </p:nvGrpSpPr>
        <p:grpSpPr bwMode="auto">
          <a:xfrm>
            <a:off x="4248150" y="1820863"/>
            <a:ext cx="3657600" cy="2990850"/>
            <a:chOff x="1716" y="1147"/>
            <a:chExt cx="2304" cy="1884"/>
          </a:xfrm>
        </p:grpSpPr>
        <p:sp>
          <p:nvSpPr>
            <p:cNvPr id="3288068" name="Freeform 4"/>
            <p:cNvSpPr>
              <a:spLocks/>
            </p:cNvSpPr>
            <p:nvPr/>
          </p:nvSpPr>
          <p:spPr bwMode="gray">
            <a:xfrm>
              <a:off x="1716" y="1147"/>
              <a:ext cx="2304" cy="941"/>
            </a:xfrm>
            <a:custGeom>
              <a:avLst/>
              <a:gdLst>
                <a:gd name="T0" fmla="*/ 0 w 2535"/>
                <a:gd name="T1" fmla="*/ 873 h 1067"/>
                <a:gd name="T2" fmla="*/ 1469 w 2535"/>
                <a:gd name="T3" fmla="*/ 873 h 1067"/>
                <a:gd name="T4" fmla="*/ 1469 w 2535"/>
                <a:gd name="T5" fmla="*/ 669 h 1067"/>
                <a:gd name="T6" fmla="*/ 1522 w 2535"/>
                <a:gd name="T7" fmla="*/ 802 h 1067"/>
                <a:gd name="T8" fmla="*/ 1578 w 2535"/>
                <a:gd name="T9" fmla="*/ 935 h 1067"/>
                <a:gd name="T10" fmla="*/ 1636 w 2535"/>
                <a:gd name="T11" fmla="*/ 1066 h 1067"/>
                <a:gd name="T12" fmla="*/ 1683 w 2535"/>
                <a:gd name="T13" fmla="*/ 1058 h 1067"/>
                <a:gd name="T14" fmla="*/ 1730 w 2535"/>
                <a:gd name="T15" fmla="*/ 1047 h 1067"/>
                <a:gd name="T16" fmla="*/ 1776 w 2535"/>
                <a:gd name="T17" fmla="*/ 1034 h 1067"/>
                <a:gd name="T18" fmla="*/ 1822 w 2535"/>
                <a:gd name="T19" fmla="*/ 1018 h 1067"/>
                <a:gd name="T20" fmla="*/ 1866 w 2535"/>
                <a:gd name="T21" fmla="*/ 998 h 1067"/>
                <a:gd name="T22" fmla="*/ 1908 w 2535"/>
                <a:gd name="T23" fmla="*/ 976 h 1067"/>
                <a:gd name="T24" fmla="*/ 1950 w 2535"/>
                <a:gd name="T25" fmla="*/ 952 h 1067"/>
                <a:gd name="T26" fmla="*/ 1989 w 2535"/>
                <a:gd name="T27" fmla="*/ 926 h 1067"/>
                <a:gd name="T28" fmla="*/ 2026 w 2535"/>
                <a:gd name="T29" fmla="*/ 897 h 1067"/>
                <a:gd name="T30" fmla="*/ 2062 w 2535"/>
                <a:gd name="T31" fmla="*/ 866 h 1067"/>
                <a:gd name="T32" fmla="*/ 2094 w 2535"/>
                <a:gd name="T33" fmla="*/ 833 h 1067"/>
                <a:gd name="T34" fmla="*/ 2125 w 2535"/>
                <a:gd name="T35" fmla="*/ 797 h 1067"/>
                <a:gd name="T36" fmla="*/ 2165 w 2535"/>
                <a:gd name="T37" fmla="*/ 747 h 1067"/>
                <a:gd name="T38" fmla="*/ 2203 w 2535"/>
                <a:gd name="T39" fmla="*/ 696 h 1067"/>
                <a:gd name="T40" fmla="*/ 2238 w 2535"/>
                <a:gd name="T41" fmla="*/ 642 h 1067"/>
                <a:gd name="T42" fmla="*/ 2271 w 2535"/>
                <a:gd name="T43" fmla="*/ 588 h 1067"/>
                <a:gd name="T44" fmla="*/ 2302 w 2535"/>
                <a:gd name="T45" fmla="*/ 534 h 1067"/>
                <a:gd name="T46" fmla="*/ 2330 w 2535"/>
                <a:gd name="T47" fmla="*/ 477 h 1067"/>
                <a:gd name="T48" fmla="*/ 2357 w 2535"/>
                <a:gd name="T49" fmla="*/ 419 h 1067"/>
                <a:gd name="T50" fmla="*/ 2534 w 2535"/>
                <a:gd name="T51" fmla="*/ 512 h 1067"/>
                <a:gd name="T52" fmla="*/ 2361 w 2535"/>
                <a:gd name="T53" fmla="*/ 0 h 1067"/>
                <a:gd name="T54" fmla="*/ 1774 w 2535"/>
                <a:gd name="T55" fmla="*/ 137 h 1067"/>
                <a:gd name="T56" fmla="*/ 1968 w 2535"/>
                <a:gd name="T57" fmla="*/ 232 h 1067"/>
                <a:gd name="T58" fmla="*/ 1952 w 2535"/>
                <a:gd name="T59" fmla="*/ 279 h 1067"/>
                <a:gd name="T60" fmla="*/ 1933 w 2535"/>
                <a:gd name="T61" fmla="*/ 325 h 1067"/>
                <a:gd name="T62" fmla="*/ 1911 w 2535"/>
                <a:gd name="T63" fmla="*/ 369 h 1067"/>
                <a:gd name="T64" fmla="*/ 1886 w 2535"/>
                <a:gd name="T65" fmla="*/ 413 h 1067"/>
                <a:gd name="T66" fmla="*/ 1859 w 2535"/>
                <a:gd name="T67" fmla="*/ 455 h 1067"/>
                <a:gd name="T68" fmla="*/ 1838 w 2535"/>
                <a:gd name="T69" fmla="*/ 480 h 1067"/>
                <a:gd name="T70" fmla="*/ 1813 w 2535"/>
                <a:gd name="T71" fmla="*/ 504 h 1067"/>
                <a:gd name="T72" fmla="*/ 1787 w 2535"/>
                <a:gd name="T73" fmla="*/ 525 h 1067"/>
                <a:gd name="T74" fmla="*/ 1759 w 2535"/>
                <a:gd name="T75" fmla="*/ 544 h 1067"/>
                <a:gd name="T76" fmla="*/ 1729 w 2535"/>
                <a:gd name="T77" fmla="*/ 561 h 1067"/>
                <a:gd name="T78" fmla="*/ 1697 w 2535"/>
                <a:gd name="T79" fmla="*/ 575 h 1067"/>
                <a:gd name="T80" fmla="*/ 1665 w 2535"/>
                <a:gd name="T81" fmla="*/ 587 h 1067"/>
                <a:gd name="T82" fmla="*/ 1631 w 2535"/>
                <a:gd name="T83" fmla="*/ 596 h 1067"/>
                <a:gd name="T84" fmla="*/ 1596 w 2535"/>
                <a:gd name="T85" fmla="*/ 602 h 1067"/>
                <a:gd name="T86" fmla="*/ 1561 w 2535"/>
                <a:gd name="T87" fmla="*/ 605 h 1067"/>
                <a:gd name="T88" fmla="*/ 1526 w 2535"/>
                <a:gd name="T89" fmla="*/ 605 h 1067"/>
                <a:gd name="T90" fmla="*/ 0 w 2535"/>
                <a:gd name="T91" fmla="*/ 605 h 10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535" h="1067">
                  <a:moveTo>
                    <a:pt x="0" y="873"/>
                  </a:moveTo>
                  <a:lnTo>
                    <a:pt x="1469" y="873"/>
                  </a:lnTo>
                  <a:lnTo>
                    <a:pt x="1469" y="669"/>
                  </a:lnTo>
                  <a:lnTo>
                    <a:pt x="1522" y="802"/>
                  </a:lnTo>
                  <a:lnTo>
                    <a:pt x="1578" y="935"/>
                  </a:lnTo>
                  <a:lnTo>
                    <a:pt x="1636" y="1066"/>
                  </a:lnTo>
                  <a:lnTo>
                    <a:pt x="1683" y="1058"/>
                  </a:lnTo>
                  <a:lnTo>
                    <a:pt x="1730" y="1047"/>
                  </a:lnTo>
                  <a:lnTo>
                    <a:pt x="1776" y="1034"/>
                  </a:lnTo>
                  <a:lnTo>
                    <a:pt x="1822" y="1018"/>
                  </a:lnTo>
                  <a:lnTo>
                    <a:pt x="1866" y="998"/>
                  </a:lnTo>
                  <a:lnTo>
                    <a:pt x="1908" y="976"/>
                  </a:lnTo>
                  <a:lnTo>
                    <a:pt x="1950" y="952"/>
                  </a:lnTo>
                  <a:lnTo>
                    <a:pt x="1989" y="926"/>
                  </a:lnTo>
                  <a:lnTo>
                    <a:pt x="2026" y="897"/>
                  </a:lnTo>
                  <a:lnTo>
                    <a:pt x="2062" y="866"/>
                  </a:lnTo>
                  <a:lnTo>
                    <a:pt x="2094" y="833"/>
                  </a:lnTo>
                  <a:lnTo>
                    <a:pt x="2125" y="797"/>
                  </a:lnTo>
                  <a:lnTo>
                    <a:pt x="2165" y="747"/>
                  </a:lnTo>
                  <a:lnTo>
                    <a:pt x="2203" y="696"/>
                  </a:lnTo>
                  <a:lnTo>
                    <a:pt x="2238" y="642"/>
                  </a:lnTo>
                  <a:lnTo>
                    <a:pt x="2271" y="588"/>
                  </a:lnTo>
                  <a:lnTo>
                    <a:pt x="2302" y="534"/>
                  </a:lnTo>
                  <a:lnTo>
                    <a:pt x="2330" y="477"/>
                  </a:lnTo>
                  <a:lnTo>
                    <a:pt x="2357" y="419"/>
                  </a:lnTo>
                  <a:lnTo>
                    <a:pt x="2534" y="512"/>
                  </a:lnTo>
                  <a:lnTo>
                    <a:pt x="2361" y="0"/>
                  </a:lnTo>
                  <a:lnTo>
                    <a:pt x="1774" y="137"/>
                  </a:lnTo>
                  <a:lnTo>
                    <a:pt x="1968" y="232"/>
                  </a:lnTo>
                  <a:lnTo>
                    <a:pt x="1952" y="279"/>
                  </a:lnTo>
                  <a:lnTo>
                    <a:pt x="1933" y="325"/>
                  </a:lnTo>
                  <a:lnTo>
                    <a:pt x="1911" y="369"/>
                  </a:lnTo>
                  <a:lnTo>
                    <a:pt x="1886" y="413"/>
                  </a:lnTo>
                  <a:lnTo>
                    <a:pt x="1859" y="455"/>
                  </a:lnTo>
                  <a:lnTo>
                    <a:pt x="1838" y="480"/>
                  </a:lnTo>
                  <a:lnTo>
                    <a:pt x="1813" y="504"/>
                  </a:lnTo>
                  <a:lnTo>
                    <a:pt x="1787" y="525"/>
                  </a:lnTo>
                  <a:lnTo>
                    <a:pt x="1759" y="544"/>
                  </a:lnTo>
                  <a:lnTo>
                    <a:pt x="1729" y="561"/>
                  </a:lnTo>
                  <a:lnTo>
                    <a:pt x="1697" y="575"/>
                  </a:lnTo>
                  <a:lnTo>
                    <a:pt x="1665" y="587"/>
                  </a:lnTo>
                  <a:lnTo>
                    <a:pt x="1631" y="596"/>
                  </a:lnTo>
                  <a:lnTo>
                    <a:pt x="1596" y="602"/>
                  </a:lnTo>
                  <a:lnTo>
                    <a:pt x="1561" y="605"/>
                  </a:lnTo>
                  <a:lnTo>
                    <a:pt x="1526" y="605"/>
                  </a:lnTo>
                  <a:lnTo>
                    <a:pt x="0" y="605"/>
                  </a:lnTo>
                </a:path>
              </a:pathLst>
            </a:custGeom>
            <a:solidFill>
              <a:srgbClr val="EAEAEA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88069" name="Freeform 5"/>
            <p:cNvSpPr>
              <a:spLocks/>
            </p:cNvSpPr>
            <p:nvPr/>
          </p:nvSpPr>
          <p:spPr bwMode="gray">
            <a:xfrm>
              <a:off x="1716" y="2090"/>
              <a:ext cx="2304" cy="941"/>
            </a:xfrm>
            <a:custGeom>
              <a:avLst/>
              <a:gdLst>
                <a:gd name="T0" fmla="*/ 0 w 2535"/>
                <a:gd name="T1" fmla="*/ 193 h 1067"/>
                <a:gd name="T2" fmla="*/ 1469 w 2535"/>
                <a:gd name="T3" fmla="*/ 193 h 1067"/>
                <a:gd name="T4" fmla="*/ 1469 w 2535"/>
                <a:gd name="T5" fmla="*/ 397 h 1067"/>
                <a:gd name="T6" fmla="*/ 1522 w 2535"/>
                <a:gd name="T7" fmla="*/ 263 h 1067"/>
                <a:gd name="T8" fmla="*/ 1578 w 2535"/>
                <a:gd name="T9" fmla="*/ 131 h 1067"/>
                <a:gd name="T10" fmla="*/ 1636 w 2535"/>
                <a:gd name="T11" fmla="*/ 0 h 1067"/>
                <a:gd name="T12" fmla="*/ 1683 w 2535"/>
                <a:gd name="T13" fmla="*/ 8 h 1067"/>
                <a:gd name="T14" fmla="*/ 1730 w 2535"/>
                <a:gd name="T15" fmla="*/ 19 h 1067"/>
                <a:gd name="T16" fmla="*/ 1776 w 2535"/>
                <a:gd name="T17" fmla="*/ 33 h 1067"/>
                <a:gd name="T18" fmla="*/ 1822 w 2535"/>
                <a:gd name="T19" fmla="*/ 49 h 1067"/>
                <a:gd name="T20" fmla="*/ 1866 w 2535"/>
                <a:gd name="T21" fmla="*/ 68 h 1067"/>
                <a:gd name="T22" fmla="*/ 1908 w 2535"/>
                <a:gd name="T23" fmla="*/ 90 h 1067"/>
                <a:gd name="T24" fmla="*/ 1950 w 2535"/>
                <a:gd name="T25" fmla="*/ 114 h 1067"/>
                <a:gd name="T26" fmla="*/ 1989 w 2535"/>
                <a:gd name="T27" fmla="*/ 141 h 1067"/>
                <a:gd name="T28" fmla="*/ 2026 w 2535"/>
                <a:gd name="T29" fmla="*/ 170 h 1067"/>
                <a:gd name="T30" fmla="*/ 2062 w 2535"/>
                <a:gd name="T31" fmla="*/ 200 h 1067"/>
                <a:gd name="T32" fmla="*/ 2094 w 2535"/>
                <a:gd name="T33" fmla="*/ 233 h 1067"/>
                <a:gd name="T34" fmla="*/ 2125 w 2535"/>
                <a:gd name="T35" fmla="*/ 269 h 1067"/>
                <a:gd name="T36" fmla="*/ 2165 w 2535"/>
                <a:gd name="T37" fmla="*/ 319 h 1067"/>
                <a:gd name="T38" fmla="*/ 2203 w 2535"/>
                <a:gd name="T39" fmla="*/ 370 h 1067"/>
                <a:gd name="T40" fmla="*/ 2238 w 2535"/>
                <a:gd name="T41" fmla="*/ 423 h 1067"/>
                <a:gd name="T42" fmla="*/ 2271 w 2535"/>
                <a:gd name="T43" fmla="*/ 478 h 1067"/>
                <a:gd name="T44" fmla="*/ 2302 w 2535"/>
                <a:gd name="T45" fmla="*/ 533 h 1067"/>
                <a:gd name="T46" fmla="*/ 2330 w 2535"/>
                <a:gd name="T47" fmla="*/ 589 h 1067"/>
                <a:gd name="T48" fmla="*/ 2357 w 2535"/>
                <a:gd name="T49" fmla="*/ 646 h 1067"/>
                <a:gd name="T50" fmla="*/ 2534 w 2535"/>
                <a:gd name="T51" fmla="*/ 554 h 1067"/>
                <a:gd name="T52" fmla="*/ 2361 w 2535"/>
                <a:gd name="T53" fmla="*/ 1066 h 1067"/>
                <a:gd name="T54" fmla="*/ 1774 w 2535"/>
                <a:gd name="T55" fmla="*/ 929 h 1067"/>
                <a:gd name="T56" fmla="*/ 1968 w 2535"/>
                <a:gd name="T57" fmla="*/ 834 h 1067"/>
                <a:gd name="T58" fmla="*/ 1952 w 2535"/>
                <a:gd name="T59" fmla="*/ 787 h 1067"/>
                <a:gd name="T60" fmla="*/ 1933 w 2535"/>
                <a:gd name="T61" fmla="*/ 742 h 1067"/>
                <a:gd name="T62" fmla="*/ 1911 w 2535"/>
                <a:gd name="T63" fmla="*/ 697 h 1067"/>
                <a:gd name="T64" fmla="*/ 1886 w 2535"/>
                <a:gd name="T65" fmla="*/ 654 h 1067"/>
                <a:gd name="T66" fmla="*/ 1859 w 2535"/>
                <a:gd name="T67" fmla="*/ 612 h 1067"/>
                <a:gd name="T68" fmla="*/ 1838 w 2535"/>
                <a:gd name="T69" fmla="*/ 586 h 1067"/>
                <a:gd name="T70" fmla="*/ 1813 w 2535"/>
                <a:gd name="T71" fmla="*/ 562 h 1067"/>
                <a:gd name="T72" fmla="*/ 1787 w 2535"/>
                <a:gd name="T73" fmla="*/ 541 h 1067"/>
                <a:gd name="T74" fmla="*/ 1759 w 2535"/>
                <a:gd name="T75" fmla="*/ 521 h 1067"/>
                <a:gd name="T76" fmla="*/ 1729 w 2535"/>
                <a:gd name="T77" fmla="*/ 504 h 1067"/>
                <a:gd name="T78" fmla="*/ 1697 w 2535"/>
                <a:gd name="T79" fmla="*/ 491 h 1067"/>
                <a:gd name="T80" fmla="*/ 1665 w 2535"/>
                <a:gd name="T81" fmla="*/ 479 h 1067"/>
                <a:gd name="T82" fmla="*/ 1631 w 2535"/>
                <a:gd name="T83" fmla="*/ 470 h 1067"/>
                <a:gd name="T84" fmla="*/ 1596 w 2535"/>
                <a:gd name="T85" fmla="*/ 464 h 1067"/>
                <a:gd name="T86" fmla="*/ 1561 w 2535"/>
                <a:gd name="T87" fmla="*/ 462 h 1067"/>
                <a:gd name="T88" fmla="*/ 1526 w 2535"/>
                <a:gd name="T89" fmla="*/ 461 h 1067"/>
                <a:gd name="T90" fmla="*/ 0 w 2535"/>
                <a:gd name="T91" fmla="*/ 461 h 10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535" h="1067">
                  <a:moveTo>
                    <a:pt x="0" y="193"/>
                  </a:moveTo>
                  <a:lnTo>
                    <a:pt x="1469" y="193"/>
                  </a:lnTo>
                  <a:lnTo>
                    <a:pt x="1469" y="397"/>
                  </a:lnTo>
                  <a:lnTo>
                    <a:pt x="1522" y="263"/>
                  </a:lnTo>
                  <a:lnTo>
                    <a:pt x="1578" y="131"/>
                  </a:lnTo>
                  <a:lnTo>
                    <a:pt x="1636" y="0"/>
                  </a:lnTo>
                  <a:lnTo>
                    <a:pt x="1683" y="8"/>
                  </a:lnTo>
                  <a:lnTo>
                    <a:pt x="1730" y="19"/>
                  </a:lnTo>
                  <a:lnTo>
                    <a:pt x="1776" y="33"/>
                  </a:lnTo>
                  <a:lnTo>
                    <a:pt x="1822" y="49"/>
                  </a:lnTo>
                  <a:lnTo>
                    <a:pt x="1866" y="68"/>
                  </a:lnTo>
                  <a:lnTo>
                    <a:pt x="1908" y="90"/>
                  </a:lnTo>
                  <a:lnTo>
                    <a:pt x="1950" y="114"/>
                  </a:lnTo>
                  <a:lnTo>
                    <a:pt x="1989" y="141"/>
                  </a:lnTo>
                  <a:lnTo>
                    <a:pt x="2026" y="170"/>
                  </a:lnTo>
                  <a:lnTo>
                    <a:pt x="2062" y="200"/>
                  </a:lnTo>
                  <a:lnTo>
                    <a:pt x="2094" y="233"/>
                  </a:lnTo>
                  <a:lnTo>
                    <a:pt x="2125" y="269"/>
                  </a:lnTo>
                  <a:lnTo>
                    <a:pt x="2165" y="319"/>
                  </a:lnTo>
                  <a:lnTo>
                    <a:pt x="2203" y="370"/>
                  </a:lnTo>
                  <a:lnTo>
                    <a:pt x="2238" y="423"/>
                  </a:lnTo>
                  <a:lnTo>
                    <a:pt x="2271" y="478"/>
                  </a:lnTo>
                  <a:lnTo>
                    <a:pt x="2302" y="533"/>
                  </a:lnTo>
                  <a:lnTo>
                    <a:pt x="2330" y="589"/>
                  </a:lnTo>
                  <a:lnTo>
                    <a:pt x="2357" y="646"/>
                  </a:lnTo>
                  <a:lnTo>
                    <a:pt x="2534" y="554"/>
                  </a:lnTo>
                  <a:lnTo>
                    <a:pt x="2361" y="1066"/>
                  </a:lnTo>
                  <a:lnTo>
                    <a:pt x="1774" y="929"/>
                  </a:lnTo>
                  <a:lnTo>
                    <a:pt x="1968" y="834"/>
                  </a:lnTo>
                  <a:lnTo>
                    <a:pt x="1952" y="787"/>
                  </a:lnTo>
                  <a:lnTo>
                    <a:pt x="1933" y="742"/>
                  </a:lnTo>
                  <a:lnTo>
                    <a:pt x="1911" y="697"/>
                  </a:lnTo>
                  <a:lnTo>
                    <a:pt x="1886" y="654"/>
                  </a:lnTo>
                  <a:lnTo>
                    <a:pt x="1859" y="612"/>
                  </a:lnTo>
                  <a:lnTo>
                    <a:pt x="1838" y="586"/>
                  </a:lnTo>
                  <a:lnTo>
                    <a:pt x="1813" y="562"/>
                  </a:lnTo>
                  <a:lnTo>
                    <a:pt x="1787" y="541"/>
                  </a:lnTo>
                  <a:lnTo>
                    <a:pt x="1759" y="521"/>
                  </a:lnTo>
                  <a:lnTo>
                    <a:pt x="1729" y="504"/>
                  </a:lnTo>
                  <a:lnTo>
                    <a:pt x="1697" y="491"/>
                  </a:lnTo>
                  <a:lnTo>
                    <a:pt x="1665" y="479"/>
                  </a:lnTo>
                  <a:lnTo>
                    <a:pt x="1631" y="470"/>
                  </a:lnTo>
                  <a:lnTo>
                    <a:pt x="1596" y="464"/>
                  </a:lnTo>
                  <a:lnTo>
                    <a:pt x="1561" y="462"/>
                  </a:lnTo>
                  <a:lnTo>
                    <a:pt x="1526" y="461"/>
                  </a:lnTo>
                  <a:lnTo>
                    <a:pt x="0" y="461"/>
                  </a:lnTo>
                </a:path>
              </a:pathLst>
            </a:custGeom>
            <a:solidFill>
              <a:srgbClr val="EAEAEA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88070" name="Rectangle 6"/>
            <p:cNvSpPr>
              <a:spLocks noChangeArrowheads="1"/>
            </p:cNvSpPr>
            <p:nvPr/>
          </p:nvSpPr>
          <p:spPr bwMode="gray">
            <a:xfrm>
              <a:off x="1796" y="1726"/>
              <a:ext cx="1190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88071" name="Rectangle 7"/>
            <p:cNvSpPr>
              <a:spLocks noChangeArrowheads="1"/>
            </p:cNvSpPr>
            <p:nvPr/>
          </p:nvSpPr>
          <p:spPr bwMode="gray">
            <a:xfrm>
              <a:off x="1796" y="2026"/>
              <a:ext cx="1190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88072" name="Rectangle 8"/>
            <p:cNvSpPr>
              <a:spLocks noChangeArrowheads="1"/>
            </p:cNvSpPr>
            <p:nvPr/>
          </p:nvSpPr>
          <p:spPr bwMode="gray">
            <a:xfrm>
              <a:off x="1796" y="2308"/>
              <a:ext cx="1190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3232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18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arget III</a:t>
            </a:r>
          </a:p>
        </p:txBody>
      </p:sp>
      <p:grpSp>
        <p:nvGrpSpPr>
          <p:cNvPr id="3021840" name="Group 16"/>
          <p:cNvGrpSpPr>
            <a:grpSpLocks/>
          </p:cNvGrpSpPr>
          <p:nvPr/>
        </p:nvGrpSpPr>
        <p:grpSpPr bwMode="auto">
          <a:xfrm>
            <a:off x="2020888" y="1500189"/>
            <a:ext cx="8121650" cy="4124325"/>
            <a:chOff x="313" y="939"/>
            <a:chExt cx="5116" cy="2598"/>
          </a:xfrm>
        </p:grpSpPr>
        <p:grpSp>
          <p:nvGrpSpPr>
            <p:cNvPr id="3021829" name="Group 5"/>
            <p:cNvGrpSpPr>
              <a:grpSpLocks/>
            </p:cNvGrpSpPr>
            <p:nvPr/>
          </p:nvGrpSpPr>
          <p:grpSpPr bwMode="auto">
            <a:xfrm>
              <a:off x="313" y="1325"/>
              <a:ext cx="1826" cy="1826"/>
              <a:chOff x="313" y="1325"/>
              <a:chExt cx="1826" cy="1826"/>
            </a:xfrm>
          </p:grpSpPr>
          <p:sp>
            <p:nvSpPr>
              <p:cNvPr id="3021830" name="Oval 6"/>
              <p:cNvSpPr>
                <a:spLocks noChangeArrowheads="1"/>
              </p:cNvSpPr>
              <p:nvPr/>
            </p:nvSpPr>
            <p:spPr bwMode="gray">
              <a:xfrm>
                <a:off x="1058" y="2070"/>
                <a:ext cx="336" cy="336"/>
              </a:xfrm>
              <a:prstGeom prst="ellipse">
                <a:avLst/>
              </a:prstGeom>
              <a:solidFill>
                <a:srgbClr val="969696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21831" name="AutoShape 7"/>
              <p:cNvSpPr>
                <a:spLocks noChangeArrowheads="1"/>
              </p:cNvSpPr>
              <p:nvPr/>
            </p:nvSpPr>
            <p:spPr bwMode="gray">
              <a:xfrm>
                <a:off x="697" y="1709"/>
                <a:ext cx="1058" cy="1058"/>
              </a:xfrm>
              <a:custGeom>
                <a:avLst/>
                <a:gdLst>
                  <a:gd name="G0" fmla="+- 3981 0 0"/>
                  <a:gd name="G1" fmla="+- 21600 0 3981"/>
                  <a:gd name="G2" fmla="+- 21600 0 3981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3981" y="10800"/>
                    </a:moveTo>
                    <a:cubicBezTo>
                      <a:pt x="3981" y="14566"/>
                      <a:pt x="7034" y="17619"/>
                      <a:pt x="10800" y="17619"/>
                    </a:cubicBezTo>
                    <a:cubicBezTo>
                      <a:pt x="14566" y="17619"/>
                      <a:pt x="17619" y="14566"/>
                      <a:pt x="17619" y="10800"/>
                    </a:cubicBezTo>
                    <a:cubicBezTo>
                      <a:pt x="17619" y="7034"/>
                      <a:pt x="14566" y="3981"/>
                      <a:pt x="10800" y="3981"/>
                    </a:cubicBezTo>
                    <a:cubicBezTo>
                      <a:pt x="7034" y="3981"/>
                      <a:pt x="3981" y="7034"/>
                      <a:pt x="3981" y="10800"/>
                    </a:cubicBezTo>
                    <a:close/>
                  </a:path>
                </a:pathLst>
              </a:custGeom>
              <a:solidFill>
                <a:srgbClr val="969696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21832" name="AutoShape 8"/>
              <p:cNvSpPr>
                <a:spLocks noChangeArrowheads="1"/>
              </p:cNvSpPr>
              <p:nvPr/>
            </p:nvSpPr>
            <p:spPr bwMode="gray">
              <a:xfrm>
                <a:off x="313" y="1325"/>
                <a:ext cx="1826" cy="1826"/>
              </a:xfrm>
              <a:custGeom>
                <a:avLst/>
                <a:gdLst>
                  <a:gd name="G0" fmla="+- 2426 0 0"/>
                  <a:gd name="G1" fmla="+- 21600 0 2426"/>
                  <a:gd name="G2" fmla="+- 21600 0 2426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2426" y="10800"/>
                    </a:moveTo>
                    <a:cubicBezTo>
                      <a:pt x="2426" y="15425"/>
                      <a:pt x="6175" y="19174"/>
                      <a:pt x="10800" y="19174"/>
                    </a:cubicBezTo>
                    <a:cubicBezTo>
                      <a:pt x="15425" y="19174"/>
                      <a:pt x="19174" y="15425"/>
                      <a:pt x="19174" y="10800"/>
                    </a:cubicBezTo>
                    <a:cubicBezTo>
                      <a:pt x="19174" y="6175"/>
                      <a:pt x="15425" y="2426"/>
                      <a:pt x="10800" y="2426"/>
                    </a:cubicBezTo>
                    <a:cubicBezTo>
                      <a:pt x="6175" y="2426"/>
                      <a:pt x="2426" y="6175"/>
                      <a:pt x="2426" y="10800"/>
                    </a:cubicBezTo>
                    <a:close/>
                  </a:path>
                </a:pathLst>
              </a:custGeom>
              <a:solidFill>
                <a:srgbClr val="969696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grpSp>
            <p:nvGrpSpPr>
              <p:cNvPr id="3021833" name="Group 9"/>
              <p:cNvGrpSpPr>
                <a:grpSpLocks/>
              </p:cNvGrpSpPr>
              <p:nvPr/>
            </p:nvGrpSpPr>
            <p:grpSpPr bwMode="auto">
              <a:xfrm>
                <a:off x="339" y="1328"/>
                <a:ext cx="1799" cy="1818"/>
                <a:chOff x="339" y="1328"/>
                <a:chExt cx="1799" cy="1818"/>
              </a:xfrm>
            </p:grpSpPr>
            <p:sp>
              <p:nvSpPr>
                <p:cNvPr id="3021834" name="AutoShape 10"/>
                <p:cNvSpPr>
                  <a:spLocks noChangeArrowheads="1"/>
                </p:cNvSpPr>
                <p:nvPr/>
              </p:nvSpPr>
              <p:spPr bwMode="gray">
                <a:xfrm rot="5400000">
                  <a:off x="696" y="1709"/>
                  <a:ext cx="1057" cy="1057"/>
                </a:xfrm>
                <a:custGeom>
                  <a:avLst/>
                  <a:gdLst>
                    <a:gd name="G0" fmla="+- 6768 0 0"/>
                    <a:gd name="G1" fmla="+- -10062956 0 0"/>
                    <a:gd name="G2" fmla="+- 0 0 -10062956"/>
                    <a:gd name="T0" fmla="*/ 0 256 1"/>
                    <a:gd name="T1" fmla="*/ 180 256 1"/>
                    <a:gd name="G3" fmla="+- -10062956 T0 T1"/>
                    <a:gd name="T2" fmla="*/ 0 256 1"/>
                    <a:gd name="T3" fmla="*/ 90 256 1"/>
                    <a:gd name="G4" fmla="+- -10062956 T2 T3"/>
                    <a:gd name="G5" fmla="*/ G4 2 1"/>
                    <a:gd name="T4" fmla="*/ 90 256 1"/>
                    <a:gd name="T5" fmla="*/ 0 256 1"/>
                    <a:gd name="G6" fmla="+- -10062956 T4 T5"/>
                    <a:gd name="G7" fmla="*/ G6 2 1"/>
                    <a:gd name="G8" fmla="abs -10062956"/>
                    <a:gd name="T6" fmla="*/ 0 256 1"/>
                    <a:gd name="T7" fmla="*/ 90 256 1"/>
                    <a:gd name="G9" fmla="+- G8 T6 T7"/>
                    <a:gd name="G10" fmla="?: G9 G7 G5"/>
                    <a:gd name="T8" fmla="*/ 0 256 1"/>
                    <a:gd name="T9" fmla="*/ 360 256 1"/>
                    <a:gd name="G11" fmla="+- G10 T8 T9"/>
                    <a:gd name="G12" fmla="?: G10 G11 G10"/>
                    <a:gd name="T10" fmla="*/ 0 256 1"/>
                    <a:gd name="T11" fmla="*/ 360 256 1"/>
                    <a:gd name="G13" fmla="+- G12 T10 T11"/>
                    <a:gd name="G14" fmla="?: G12 G13 G12"/>
                    <a:gd name="G15" fmla="+- 0 0 G14"/>
                    <a:gd name="G16" fmla="+- 10800 0 0"/>
                    <a:gd name="G17" fmla="+- 10800 0 6768"/>
                    <a:gd name="G18" fmla="*/ 6768 1 2"/>
                    <a:gd name="G19" fmla="+- G18 5400 0"/>
                    <a:gd name="G20" fmla="cos G19 -10062956"/>
                    <a:gd name="G21" fmla="sin G19 -10062956"/>
                    <a:gd name="G22" fmla="+- G20 10800 0"/>
                    <a:gd name="G23" fmla="+- G21 10800 0"/>
                    <a:gd name="G24" fmla="+- 10800 0 G20"/>
                    <a:gd name="G25" fmla="+- 6768 10800 0"/>
                    <a:gd name="G26" fmla="?: G9 G17 G25"/>
                    <a:gd name="G27" fmla="?: G9 0 21600"/>
                    <a:gd name="G28" fmla="cos 10800 -10062956"/>
                    <a:gd name="G29" fmla="sin 10800 -10062956"/>
                    <a:gd name="G30" fmla="sin 6768 -10062956"/>
                    <a:gd name="G31" fmla="+- G28 10800 0"/>
                    <a:gd name="G32" fmla="+- G29 10800 0"/>
                    <a:gd name="G33" fmla="+- G30 10800 0"/>
                    <a:gd name="G34" fmla="?: G4 0 G31"/>
                    <a:gd name="G35" fmla="?: -10062956 G34 0"/>
                    <a:gd name="G36" fmla="?: G6 G35 G31"/>
                    <a:gd name="G37" fmla="+- 21600 0 G36"/>
                    <a:gd name="G38" fmla="?: G4 0 G33"/>
                    <a:gd name="G39" fmla="?: -10062956 G38 G32"/>
                    <a:gd name="G40" fmla="?: G6 G39 0"/>
                    <a:gd name="G41" fmla="?: G4 G32 21600"/>
                    <a:gd name="G42" fmla="?: G6 G41 G33"/>
                    <a:gd name="T12" fmla="*/ 10800 w 21600"/>
                    <a:gd name="T13" fmla="*/ 0 h 21600"/>
                    <a:gd name="T14" fmla="*/ 2935 w 21600"/>
                    <a:gd name="T15" fmla="*/ 6887 h 21600"/>
                    <a:gd name="T16" fmla="*/ 10800 w 21600"/>
                    <a:gd name="T17" fmla="*/ 4032 h 21600"/>
                    <a:gd name="T18" fmla="*/ 18665 w 21600"/>
                    <a:gd name="T19" fmla="*/ 6887 h 21600"/>
                    <a:gd name="T20" fmla="*/ G36 w 21600"/>
                    <a:gd name="T21" fmla="*/ G40 h 21600"/>
                    <a:gd name="T22" fmla="*/ G37 w 21600"/>
                    <a:gd name="T23" fmla="*/ G42 h 21600"/>
                  </a:gdLst>
                  <a:ahLst/>
                  <a:cxnLst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T20" t="T21" r="T22" b="T23"/>
                  <a:pathLst>
                    <a:path w="21600" h="21600">
                      <a:moveTo>
                        <a:pt x="4740" y="7785"/>
                      </a:moveTo>
                      <a:cubicBezTo>
                        <a:pt x="5884" y="5485"/>
                        <a:pt x="8231" y="4031"/>
                        <a:pt x="10800" y="4032"/>
                      </a:cubicBezTo>
                      <a:cubicBezTo>
                        <a:pt x="13368" y="4032"/>
                        <a:pt x="15715" y="5485"/>
                        <a:pt x="16859" y="7785"/>
                      </a:cubicBezTo>
                      <a:lnTo>
                        <a:pt x="20469" y="5989"/>
                      </a:lnTo>
                      <a:cubicBezTo>
                        <a:pt x="18643" y="2319"/>
                        <a:pt x="14898" y="-1"/>
                        <a:pt x="10799" y="0"/>
                      </a:cubicBezTo>
                      <a:cubicBezTo>
                        <a:pt x="6701" y="0"/>
                        <a:pt x="2956" y="2319"/>
                        <a:pt x="1130" y="5989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/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sp>
              <p:nvSpPr>
                <p:cNvPr id="3021835" name="Freeform 11"/>
                <p:cNvSpPr>
                  <a:spLocks/>
                </p:cNvSpPr>
                <p:nvPr/>
              </p:nvSpPr>
              <p:spPr bwMode="gray">
                <a:xfrm>
                  <a:off x="1221" y="2152"/>
                  <a:ext cx="0" cy="174"/>
                </a:xfrm>
                <a:custGeom>
                  <a:avLst/>
                  <a:gdLst>
                    <a:gd name="T0" fmla="*/ 0 w 208"/>
                    <a:gd name="T1" fmla="*/ 150 h 303"/>
                    <a:gd name="T2" fmla="*/ 76 w 208"/>
                    <a:gd name="T3" fmla="*/ 0 h 303"/>
                    <a:gd name="T4" fmla="*/ 78 w 208"/>
                    <a:gd name="T5" fmla="*/ 303 h 303"/>
                    <a:gd name="T6" fmla="*/ 0 w 208"/>
                    <a:gd name="T7" fmla="*/ 150 h 3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08" h="303">
                      <a:moveTo>
                        <a:pt x="0" y="150"/>
                      </a:moveTo>
                      <a:cubicBezTo>
                        <a:pt x="12" y="122"/>
                        <a:pt x="58" y="37"/>
                        <a:pt x="76" y="0"/>
                      </a:cubicBezTo>
                      <a:cubicBezTo>
                        <a:pt x="205" y="54"/>
                        <a:pt x="208" y="245"/>
                        <a:pt x="78" y="303"/>
                      </a:cubicBezTo>
                      <a:cubicBezTo>
                        <a:pt x="32" y="221"/>
                        <a:pt x="16" y="181"/>
                        <a:pt x="0" y="150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 cmpd="sng">
                      <a:solidFill>
                        <a:schemeClr val="tx1"/>
                      </a:solidFill>
                      <a:prstDash val="solid"/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sp>
              <p:nvSpPr>
                <p:cNvPr id="3021836" name="AutoShape 12"/>
                <p:cNvSpPr>
                  <a:spLocks noChangeArrowheads="1"/>
                </p:cNvSpPr>
                <p:nvPr/>
              </p:nvSpPr>
              <p:spPr bwMode="gray">
                <a:xfrm rot="5400000">
                  <a:off x="330" y="1337"/>
                  <a:ext cx="1818" cy="1799"/>
                </a:xfrm>
                <a:custGeom>
                  <a:avLst/>
                  <a:gdLst>
                    <a:gd name="G0" fmla="+- 8299 0 0"/>
                    <a:gd name="G1" fmla="+- -10070892 0 0"/>
                    <a:gd name="G2" fmla="+- 0 0 -10070892"/>
                    <a:gd name="T0" fmla="*/ 0 256 1"/>
                    <a:gd name="T1" fmla="*/ 180 256 1"/>
                    <a:gd name="G3" fmla="+- -10070892 T0 T1"/>
                    <a:gd name="T2" fmla="*/ 0 256 1"/>
                    <a:gd name="T3" fmla="*/ 90 256 1"/>
                    <a:gd name="G4" fmla="+- -10070892 T2 T3"/>
                    <a:gd name="G5" fmla="*/ G4 2 1"/>
                    <a:gd name="T4" fmla="*/ 90 256 1"/>
                    <a:gd name="T5" fmla="*/ 0 256 1"/>
                    <a:gd name="G6" fmla="+- -10070892 T4 T5"/>
                    <a:gd name="G7" fmla="*/ G6 2 1"/>
                    <a:gd name="G8" fmla="abs -10070892"/>
                    <a:gd name="T6" fmla="*/ 0 256 1"/>
                    <a:gd name="T7" fmla="*/ 90 256 1"/>
                    <a:gd name="G9" fmla="+- G8 T6 T7"/>
                    <a:gd name="G10" fmla="?: G9 G7 G5"/>
                    <a:gd name="T8" fmla="*/ 0 256 1"/>
                    <a:gd name="T9" fmla="*/ 360 256 1"/>
                    <a:gd name="G11" fmla="+- G10 T8 T9"/>
                    <a:gd name="G12" fmla="?: G10 G11 G10"/>
                    <a:gd name="T10" fmla="*/ 0 256 1"/>
                    <a:gd name="T11" fmla="*/ 360 256 1"/>
                    <a:gd name="G13" fmla="+- G12 T10 T11"/>
                    <a:gd name="G14" fmla="?: G12 G13 G12"/>
                    <a:gd name="G15" fmla="+- 0 0 G14"/>
                    <a:gd name="G16" fmla="+- 10800 0 0"/>
                    <a:gd name="G17" fmla="+- 10800 0 8299"/>
                    <a:gd name="G18" fmla="*/ 8299 1 2"/>
                    <a:gd name="G19" fmla="+- G18 5400 0"/>
                    <a:gd name="G20" fmla="cos G19 -10070892"/>
                    <a:gd name="G21" fmla="sin G19 -10070892"/>
                    <a:gd name="G22" fmla="+- G20 10800 0"/>
                    <a:gd name="G23" fmla="+- G21 10800 0"/>
                    <a:gd name="G24" fmla="+- 10800 0 G20"/>
                    <a:gd name="G25" fmla="+- 8299 10800 0"/>
                    <a:gd name="G26" fmla="?: G9 G17 G25"/>
                    <a:gd name="G27" fmla="?: G9 0 21600"/>
                    <a:gd name="G28" fmla="cos 10800 -10070892"/>
                    <a:gd name="G29" fmla="sin 10800 -10070892"/>
                    <a:gd name="G30" fmla="sin 8299 -10070892"/>
                    <a:gd name="G31" fmla="+- G28 10800 0"/>
                    <a:gd name="G32" fmla="+- G29 10800 0"/>
                    <a:gd name="G33" fmla="+- G30 10800 0"/>
                    <a:gd name="G34" fmla="?: G4 0 G31"/>
                    <a:gd name="G35" fmla="?: -10070892 G34 0"/>
                    <a:gd name="G36" fmla="?: G6 G35 G31"/>
                    <a:gd name="G37" fmla="+- 21600 0 G36"/>
                    <a:gd name="G38" fmla="?: G4 0 G33"/>
                    <a:gd name="G39" fmla="?: -10070892 G38 G32"/>
                    <a:gd name="G40" fmla="?: G6 G39 0"/>
                    <a:gd name="G41" fmla="?: G4 G32 21600"/>
                    <a:gd name="G42" fmla="?: G6 G41 G33"/>
                    <a:gd name="T12" fmla="*/ 10800 w 21600"/>
                    <a:gd name="T13" fmla="*/ 0 h 21600"/>
                    <a:gd name="T14" fmla="*/ 2240 w 21600"/>
                    <a:gd name="T15" fmla="*/ 6564 h 21600"/>
                    <a:gd name="T16" fmla="*/ 10800 w 21600"/>
                    <a:gd name="T17" fmla="*/ 2501 h 21600"/>
                    <a:gd name="T18" fmla="*/ 19360 w 21600"/>
                    <a:gd name="T19" fmla="*/ 6564 h 21600"/>
                    <a:gd name="T20" fmla="*/ G36 w 21600"/>
                    <a:gd name="T21" fmla="*/ G40 h 21600"/>
                    <a:gd name="T22" fmla="*/ G37 w 21600"/>
                    <a:gd name="T23" fmla="*/ G42 h 21600"/>
                  </a:gdLst>
                  <a:ahLst/>
                  <a:cxnLst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T20" t="T21" r="T22" b="T23"/>
                  <a:pathLst>
                    <a:path w="21600" h="21600">
                      <a:moveTo>
                        <a:pt x="3362" y="7119"/>
                      </a:moveTo>
                      <a:cubicBezTo>
                        <a:pt x="4761" y="4290"/>
                        <a:pt x="7644" y="2500"/>
                        <a:pt x="10800" y="2501"/>
                      </a:cubicBezTo>
                      <a:cubicBezTo>
                        <a:pt x="13955" y="2501"/>
                        <a:pt x="16838" y="4290"/>
                        <a:pt x="18237" y="7119"/>
                      </a:cubicBezTo>
                      <a:lnTo>
                        <a:pt x="20479" y="6009"/>
                      </a:lnTo>
                      <a:cubicBezTo>
                        <a:pt x="18658" y="2329"/>
                        <a:pt x="14906" y="-1"/>
                        <a:pt x="10799" y="0"/>
                      </a:cubicBezTo>
                      <a:cubicBezTo>
                        <a:pt x="6693" y="0"/>
                        <a:pt x="2941" y="2329"/>
                        <a:pt x="1120" y="6009"/>
                      </a:cubicBezTo>
                      <a:close/>
                    </a:path>
                  </a:pathLst>
                </a:custGeom>
                <a:solidFill>
                  <a:srgbClr val="969696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/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</p:grpSp>
        </p:grpSp>
        <p:sp>
          <p:nvSpPr>
            <p:cNvPr id="3021837" name="AutoShape 13"/>
            <p:cNvSpPr>
              <a:spLocks noChangeArrowheads="1"/>
            </p:cNvSpPr>
            <p:nvPr/>
          </p:nvSpPr>
          <p:spPr bwMode="gray">
            <a:xfrm flipH="1">
              <a:off x="1218" y="939"/>
              <a:ext cx="4211" cy="2598"/>
            </a:xfrm>
            <a:prstGeom prst="homePlate">
              <a:avLst>
                <a:gd name="adj" fmla="val 25911"/>
              </a:avLst>
            </a:prstGeom>
            <a:solidFill>
              <a:srgbClr val="FFFFFF">
                <a:alpha val="67999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0" tIns="0" rIns="72000" bIns="0" anchor="ctr"/>
            <a:lstStyle/>
            <a:p>
              <a:pPr marL="1438275" lvl="1" indent="-180975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949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01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cision Tree III</a:t>
            </a:r>
          </a:p>
        </p:txBody>
      </p:sp>
      <p:grpSp>
        <p:nvGrpSpPr>
          <p:cNvPr id="3290115" name="Group 3"/>
          <p:cNvGrpSpPr>
            <a:grpSpLocks/>
          </p:cNvGrpSpPr>
          <p:nvPr/>
        </p:nvGrpSpPr>
        <p:grpSpPr bwMode="auto">
          <a:xfrm>
            <a:off x="1908175" y="2125664"/>
            <a:ext cx="8299450" cy="3360737"/>
            <a:chOff x="242" y="1339"/>
            <a:chExt cx="5228" cy="2117"/>
          </a:xfrm>
        </p:grpSpPr>
        <p:sp>
          <p:nvSpPr>
            <p:cNvPr id="3290116" name="Rectangle 4"/>
            <p:cNvSpPr>
              <a:spLocks noChangeArrowheads="1"/>
            </p:cNvSpPr>
            <p:nvPr/>
          </p:nvSpPr>
          <p:spPr bwMode="gray">
            <a:xfrm>
              <a:off x="1868" y="1339"/>
              <a:ext cx="792" cy="26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90117" name="Rectangle 5"/>
            <p:cNvSpPr>
              <a:spLocks noChangeArrowheads="1"/>
            </p:cNvSpPr>
            <p:nvPr/>
          </p:nvSpPr>
          <p:spPr bwMode="gray">
            <a:xfrm>
              <a:off x="1868" y="2265"/>
              <a:ext cx="792" cy="26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90118" name="Rectangle 6"/>
            <p:cNvSpPr>
              <a:spLocks noChangeArrowheads="1"/>
            </p:cNvSpPr>
            <p:nvPr/>
          </p:nvSpPr>
          <p:spPr bwMode="gray">
            <a:xfrm>
              <a:off x="1868" y="3189"/>
              <a:ext cx="792" cy="26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90119" name="Rectangle 7"/>
            <p:cNvSpPr>
              <a:spLocks noChangeArrowheads="1"/>
            </p:cNvSpPr>
            <p:nvPr/>
          </p:nvSpPr>
          <p:spPr bwMode="gray">
            <a:xfrm>
              <a:off x="3360" y="2265"/>
              <a:ext cx="792" cy="26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90120" name="Rectangle 8"/>
            <p:cNvSpPr>
              <a:spLocks noChangeArrowheads="1"/>
            </p:cNvSpPr>
            <p:nvPr/>
          </p:nvSpPr>
          <p:spPr bwMode="gray">
            <a:xfrm>
              <a:off x="4678" y="2265"/>
              <a:ext cx="792" cy="26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90121" name="Rectangle 9"/>
            <p:cNvSpPr>
              <a:spLocks noChangeArrowheads="1"/>
            </p:cNvSpPr>
            <p:nvPr/>
          </p:nvSpPr>
          <p:spPr bwMode="gray">
            <a:xfrm>
              <a:off x="458" y="2265"/>
              <a:ext cx="792" cy="26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cxnSp>
          <p:nvCxnSpPr>
            <p:cNvPr id="3290122" name="AutoShape 10"/>
            <p:cNvCxnSpPr>
              <a:cxnSpLocks noChangeShapeType="1"/>
              <a:stCxn id="3290121" idx="3"/>
              <a:endCxn id="3290130" idx="1"/>
            </p:cNvCxnSpPr>
            <p:nvPr/>
          </p:nvCxnSpPr>
          <p:spPr bwMode="gray">
            <a:xfrm>
              <a:off x="1250" y="2399"/>
              <a:ext cx="39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90123" name="AutoShape 11"/>
            <p:cNvCxnSpPr>
              <a:cxnSpLocks noChangeShapeType="1"/>
              <a:stCxn id="3290117" idx="0"/>
              <a:endCxn id="3290116" idx="2"/>
            </p:cNvCxnSpPr>
            <p:nvPr/>
          </p:nvCxnSpPr>
          <p:spPr bwMode="gray">
            <a:xfrm flipV="1">
              <a:off x="2264" y="1606"/>
              <a:ext cx="0" cy="659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90124" name="AutoShape 12"/>
            <p:cNvCxnSpPr>
              <a:cxnSpLocks noChangeShapeType="1"/>
            </p:cNvCxnSpPr>
            <p:nvPr/>
          </p:nvCxnSpPr>
          <p:spPr bwMode="gray">
            <a:xfrm>
              <a:off x="2264" y="2532"/>
              <a:ext cx="0" cy="657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90125" name="AutoShape 13"/>
            <p:cNvCxnSpPr>
              <a:cxnSpLocks noChangeShapeType="1"/>
              <a:stCxn id="3290117" idx="3"/>
              <a:endCxn id="3290131" idx="1"/>
            </p:cNvCxnSpPr>
            <p:nvPr/>
          </p:nvCxnSpPr>
          <p:spPr bwMode="gray">
            <a:xfrm>
              <a:off x="2660" y="2399"/>
              <a:ext cx="473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90126" name="AutoShape 14"/>
            <p:cNvCxnSpPr>
              <a:cxnSpLocks noChangeShapeType="1"/>
              <a:stCxn id="3290119" idx="3"/>
              <a:endCxn id="3290132" idx="1"/>
            </p:cNvCxnSpPr>
            <p:nvPr/>
          </p:nvCxnSpPr>
          <p:spPr bwMode="gray">
            <a:xfrm>
              <a:off x="4152" y="2399"/>
              <a:ext cx="314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90127" name="AutoShape 15"/>
            <p:cNvCxnSpPr>
              <a:cxnSpLocks noChangeShapeType="1"/>
              <a:stCxn id="3290116" idx="3"/>
              <a:endCxn id="3290119" idx="0"/>
            </p:cNvCxnSpPr>
            <p:nvPr/>
          </p:nvCxnSpPr>
          <p:spPr bwMode="gray">
            <a:xfrm>
              <a:off x="2660" y="1473"/>
              <a:ext cx="1096" cy="792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90128" name="AutoShape 16"/>
            <p:cNvCxnSpPr>
              <a:cxnSpLocks noChangeShapeType="1"/>
              <a:stCxn id="3290118" idx="3"/>
              <a:endCxn id="3290119" idx="2"/>
            </p:cNvCxnSpPr>
            <p:nvPr/>
          </p:nvCxnSpPr>
          <p:spPr bwMode="gray">
            <a:xfrm flipV="1">
              <a:off x="2660" y="2532"/>
              <a:ext cx="1096" cy="791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290129" name="Rectangle 17"/>
            <p:cNvSpPr>
              <a:spLocks noChangeArrowheads="1"/>
            </p:cNvSpPr>
            <p:nvPr/>
          </p:nvSpPr>
          <p:spPr bwMode="gray">
            <a:xfrm>
              <a:off x="242" y="2265"/>
              <a:ext cx="228" cy="26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buSzTx/>
              </a:pP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No.</a:t>
              </a:r>
            </a:p>
          </p:txBody>
        </p:sp>
        <p:sp>
          <p:nvSpPr>
            <p:cNvPr id="3290130" name="Rectangle 18"/>
            <p:cNvSpPr>
              <a:spLocks noChangeArrowheads="1"/>
            </p:cNvSpPr>
            <p:nvPr/>
          </p:nvSpPr>
          <p:spPr bwMode="gray">
            <a:xfrm>
              <a:off x="1647" y="2265"/>
              <a:ext cx="225" cy="26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buSzTx/>
              </a:pP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No.</a:t>
              </a:r>
            </a:p>
          </p:txBody>
        </p:sp>
        <p:sp>
          <p:nvSpPr>
            <p:cNvPr id="3290131" name="Rectangle 19"/>
            <p:cNvSpPr>
              <a:spLocks noChangeArrowheads="1"/>
            </p:cNvSpPr>
            <p:nvPr/>
          </p:nvSpPr>
          <p:spPr bwMode="gray">
            <a:xfrm>
              <a:off x="3133" y="2265"/>
              <a:ext cx="227" cy="26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buSzTx/>
              </a:pP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No.</a:t>
              </a:r>
            </a:p>
          </p:txBody>
        </p:sp>
        <p:sp>
          <p:nvSpPr>
            <p:cNvPr id="3290132" name="Rectangle 20"/>
            <p:cNvSpPr>
              <a:spLocks noChangeArrowheads="1"/>
            </p:cNvSpPr>
            <p:nvPr/>
          </p:nvSpPr>
          <p:spPr bwMode="gray">
            <a:xfrm>
              <a:off x="4466" y="2265"/>
              <a:ext cx="226" cy="26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buSzTx/>
              </a:pPr>
              <a:r>
                <a:rPr lang="en-US" sz="1200" dirty="0">
                  <a:latin typeface="Baskerville" charset="0"/>
                  <a:ea typeface="Baskerville" charset="0"/>
                  <a:cs typeface="Baskerville" charset="0"/>
                </a:rPr>
                <a:t>No.</a:t>
              </a:r>
            </a:p>
          </p:txBody>
        </p:sp>
        <p:sp>
          <p:nvSpPr>
            <p:cNvPr id="3290133" name="Rectangle 21"/>
            <p:cNvSpPr>
              <a:spLocks noChangeArrowheads="1"/>
            </p:cNvSpPr>
            <p:nvPr/>
          </p:nvSpPr>
          <p:spPr bwMode="gray">
            <a:xfrm>
              <a:off x="1647" y="3189"/>
              <a:ext cx="225" cy="26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buSzTx/>
              </a:pP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No.</a:t>
              </a:r>
            </a:p>
          </p:txBody>
        </p:sp>
        <p:sp>
          <p:nvSpPr>
            <p:cNvPr id="3290134" name="Rectangle 22"/>
            <p:cNvSpPr>
              <a:spLocks noChangeArrowheads="1"/>
            </p:cNvSpPr>
            <p:nvPr/>
          </p:nvSpPr>
          <p:spPr bwMode="gray">
            <a:xfrm>
              <a:off x="1647" y="1339"/>
              <a:ext cx="225" cy="26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buSzTx/>
              </a:pP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No.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65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964" name="Oval 4"/>
          <p:cNvSpPr>
            <a:spLocks noChangeArrowheads="1"/>
          </p:cNvSpPr>
          <p:nvPr/>
        </p:nvSpPr>
        <p:spPr bwMode="gray">
          <a:xfrm>
            <a:off x="807173" y="601522"/>
            <a:ext cx="2205347" cy="86558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4000" b="1" dirty="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  <a:t>Cyc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191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7632" name="Freeform 32"/>
          <p:cNvSpPr>
            <a:spLocks/>
          </p:cNvSpPr>
          <p:nvPr/>
        </p:nvSpPr>
        <p:spPr bwMode="auto">
          <a:xfrm>
            <a:off x="4303713" y="1735139"/>
            <a:ext cx="1943100" cy="3654425"/>
          </a:xfrm>
          <a:custGeom>
            <a:avLst/>
            <a:gdLst>
              <a:gd name="T0" fmla="*/ 967 w 1204"/>
              <a:gd name="T1" fmla="*/ 776 h 2325"/>
              <a:gd name="T2" fmla="*/ 907 w 1204"/>
              <a:gd name="T3" fmla="*/ 797 h 2325"/>
              <a:gd name="T4" fmla="*/ 834 w 1204"/>
              <a:gd name="T5" fmla="*/ 837 h 2325"/>
              <a:gd name="T6" fmla="*/ 769 w 1204"/>
              <a:gd name="T7" fmla="*/ 888 h 2325"/>
              <a:gd name="T8" fmla="*/ 715 w 1204"/>
              <a:gd name="T9" fmla="*/ 950 h 2325"/>
              <a:gd name="T10" fmla="*/ 672 w 1204"/>
              <a:gd name="T11" fmla="*/ 1021 h 2325"/>
              <a:gd name="T12" fmla="*/ 641 w 1204"/>
              <a:gd name="T13" fmla="*/ 1100 h 2325"/>
              <a:gd name="T14" fmla="*/ 628 w 1204"/>
              <a:gd name="T15" fmla="*/ 1163 h 2325"/>
              <a:gd name="T16" fmla="*/ 624 w 1204"/>
              <a:gd name="T17" fmla="*/ 1228 h 2325"/>
              <a:gd name="T18" fmla="*/ 630 w 1204"/>
              <a:gd name="T19" fmla="*/ 1304 h 2325"/>
              <a:gd name="T20" fmla="*/ 647 w 1204"/>
              <a:gd name="T21" fmla="*/ 1375 h 2325"/>
              <a:gd name="T22" fmla="*/ 680 w 1204"/>
              <a:gd name="T23" fmla="*/ 1451 h 2325"/>
              <a:gd name="T24" fmla="*/ 725 w 1204"/>
              <a:gd name="T25" fmla="*/ 1520 h 2325"/>
              <a:gd name="T26" fmla="*/ 773 w 1204"/>
              <a:gd name="T27" fmla="*/ 1572 h 2325"/>
              <a:gd name="T28" fmla="*/ 829 w 1204"/>
              <a:gd name="T29" fmla="*/ 1617 h 2325"/>
              <a:gd name="T30" fmla="*/ 901 w 1204"/>
              <a:gd name="T31" fmla="*/ 1657 h 2325"/>
              <a:gd name="T32" fmla="*/ 979 w 1204"/>
              <a:gd name="T33" fmla="*/ 1684 h 2325"/>
              <a:gd name="T34" fmla="*/ 886 w 1204"/>
              <a:gd name="T35" fmla="*/ 2008 h 2325"/>
              <a:gd name="T36" fmla="*/ 1011 w 1204"/>
              <a:gd name="T37" fmla="*/ 2323 h 2325"/>
              <a:gd name="T38" fmla="*/ 905 w 1204"/>
              <a:gd name="T39" fmla="*/ 2310 h 2325"/>
              <a:gd name="T40" fmla="*/ 802 w 1204"/>
              <a:gd name="T41" fmla="*/ 2287 h 2325"/>
              <a:gd name="T42" fmla="*/ 703 w 1204"/>
              <a:gd name="T43" fmla="*/ 2255 h 2325"/>
              <a:gd name="T44" fmla="*/ 609 w 1204"/>
              <a:gd name="T45" fmla="*/ 2213 h 2325"/>
              <a:gd name="T46" fmla="*/ 519 w 1204"/>
              <a:gd name="T47" fmla="*/ 2164 h 2325"/>
              <a:gd name="T48" fmla="*/ 435 w 1204"/>
              <a:gd name="T49" fmla="*/ 2106 h 2325"/>
              <a:gd name="T50" fmla="*/ 356 w 1204"/>
              <a:gd name="T51" fmla="*/ 2041 h 2325"/>
              <a:gd name="T52" fmla="*/ 285 w 1204"/>
              <a:gd name="T53" fmla="*/ 1969 h 2325"/>
              <a:gd name="T54" fmla="*/ 220 w 1204"/>
              <a:gd name="T55" fmla="*/ 1891 h 2325"/>
              <a:gd name="T56" fmla="*/ 162 w 1204"/>
              <a:gd name="T57" fmla="*/ 1807 h 2325"/>
              <a:gd name="T58" fmla="*/ 113 w 1204"/>
              <a:gd name="T59" fmla="*/ 1717 h 2325"/>
              <a:gd name="T60" fmla="*/ 71 w 1204"/>
              <a:gd name="T61" fmla="*/ 1622 h 2325"/>
              <a:gd name="T62" fmla="*/ 39 w 1204"/>
              <a:gd name="T63" fmla="*/ 1523 h 2325"/>
              <a:gd name="T64" fmla="*/ 16 w 1204"/>
              <a:gd name="T65" fmla="*/ 1421 h 2325"/>
              <a:gd name="T66" fmla="*/ 3 w 1204"/>
              <a:gd name="T67" fmla="*/ 1315 h 2325"/>
              <a:gd name="T68" fmla="*/ 1 w 1204"/>
              <a:gd name="T69" fmla="*/ 1206 h 2325"/>
              <a:gd name="T70" fmla="*/ 8 w 1204"/>
              <a:gd name="T71" fmla="*/ 1099 h 2325"/>
              <a:gd name="T72" fmla="*/ 26 w 1204"/>
              <a:gd name="T73" fmla="*/ 996 h 2325"/>
              <a:gd name="T74" fmla="*/ 53 w 1204"/>
              <a:gd name="T75" fmla="*/ 895 h 2325"/>
              <a:gd name="T76" fmla="*/ 90 w 1204"/>
              <a:gd name="T77" fmla="*/ 799 h 2325"/>
              <a:gd name="T78" fmla="*/ 135 w 1204"/>
              <a:gd name="T79" fmla="*/ 708 h 2325"/>
              <a:gd name="T80" fmla="*/ 188 w 1204"/>
              <a:gd name="T81" fmla="*/ 621 h 2325"/>
              <a:gd name="T82" fmla="*/ 248 w 1204"/>
              <a:gd name="T83" fmla="*/ 539 h 2325"/>
              <a:gd name="T84" fmla="*/ 316 w 1204"/>
              <a:gd name="T85" fmla="*/ 464 h 2325"/>
              <a:gd name="T86" fmla="*/ 390 w 1204"/>
              <a:gd name="T87" fmla="*/ 396 h 2325"/>
              <a:gd name="T88" fmla="*/ 470 w 1204"/>
              <a:gd name="T89" fmla="*/ 335 h 2325"/>
              <a:gd name="T90" fmla="*/ 556 w 1204"/>
              <a:gd name="T91" fmla="*/ 281 h 2325"/>
              <a:gd name="T92" fmla="*/ 648 w 1204"/>
              <a:gd name="T93" fmla="*/ 235 h 2325"/>
              <a:gd name="T94" fmla="*/ 743 w 1204"/>
              <a:gd name="T95" fmla="*/ 197 h 2325"/>
              <a:gd name="T96" fmla="*/ 843 w 1204"/>
              <a:gd name="T97" fmla="*/ 169 h 2325"/>
              <a:gd name="T98" fmla="*/ 946 w 1204"/>
              <a:gd name="T99" fmla="*/ 150 h 2325"/>
              <a:gd name="T100" fmla="*/ 1026 w 1204"/>
              <a:gd name="T101" fmla="*/ 120 h 2325"/>
              <a:gd name="T102" fmla="*/ 1204 w 1204"/>
              <a:gd name="T103" fmla="*/ 452 h 2325"/>
              <a:gd name="T104" fmla="*/ 1151 w 1204"/>
              <a:gd name="T105" fmla="*/ 589 h 2325"/>
              <a:gd name="T106" fmla="*/ 1030 w 1204"/>
              <a:gd name="T107" fmla="*/ 861 h 2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204" h="2325">
                <a:moveTo>
                  <a:pt x="1030" y="763"/>
                </a:moveTo>
                <a:lnTo>
                  <a:pt x="1009" y="766"/>
                </a:lnTo>
                <a:lnTo>
                  <a:pt x="988" y="771"/>
                </a:lnTo>
                <a:lnTo>
                  <a:pt x="967" y="776"/>
                </a:lnTo>
                <a:lnTo>
                  <a:pt x="947" y="782"/>
                </a:lnTo>
                <a:lnTo>
                  <a:pt x="927" y="789"/>
                </a:lnTo>
                <a:lnTo>
                  <a:pt x="917" y="793"/>
                </a:lnTo>
                <a:lnTo>
                  <a:pt x="907" y="797"/>
                </a:lnTo>
                <a:lnTo>
                  <a:pt x="888" y="806"/>
                </a:lnTo>
                <a:lnTo>
                  <a:pt x="870" y="815"/>
                </a:lnTo>
                <a:lnTo>
                  <a:pt x="852" y="826"/>
                </a:lnTo>
                <a:lnTo>
                  <a:pt x="834" y="837"/>
                </a:lnTo>
                <a:lnTo>
                  <a:pt x="817" y="848"/>
                </a:lnTo>
                <a:lnTo>
                  <a:pt x="801" y="861"/>
                </a:lnTo>
                <a:lnTo>
                  <a:pt x="785" y="874"/>
                </a:lnTo>
                <a:lnTo>
                  <a:pt x="769" y="888"/>
                </a:lnTo>
                <a:lnTo>
                  <a:pt x="755" y="903"/>
                </a:lnTo>
                <a:lnTo>
                  <a:pt x="741" y="918"/>
                </a:lnTo>
                <a:lnTo>
                  <a:pt x="727" y="934"/>
                </a:lnTo>
                <a:lnTo>
                  <a:pt x="715" y="950"/>
                </a:lnTo>
                <a:lnTo>
                  <a:pt x="703" y="967"/>
                </a:lnTo>
                <a:lnTo>
                  <a:pt x="692" y="985"/>
                </a:lnTo>
                <a:lnTo>
                  <a:pt x="681" y="1003"/>
                </a:lnTo>
                <a:lnTo>
                  <a:pt x="672" y="1021"/>
                </a:lnTo>
                <a:lnTo>
                  <a:pt x="663" y="1040"/>
                </a:lnTo>
                <a:lnTo>
                  <a:pt x="655" y="1060"/>
                </a:lnTo>
                <a:lnTo>
                  <a:pt x="648" y="1079"/>
                </a:lnTo>
                <a:lnTo>
                  <a:pt x="641" y="1100"/>
                </a:lnTo>
                <a:lnTo>
                  <a:pt x="639" y="1110"/>
                </a:lnTo>
                <a:lnTo>
                  <a:pt x="636" y="1120"/>
                </a:lnTo>
                <a:lnTo>
                  <a:pt x="632" y="1141"/>
                </a:lnTo>
                <a:lnTo>
                  <a:pt x="628" y="1163"/>
                </a:lnTo>
                <a:lnTo>
                  <a:pt x="626" y="1184"/>
                </a:lnTo>
                <a:lnTo>
                  <a:pt x="625" y="1195"/>
                </a:lnTo>
                <a:lnTo>
                  <a:pt x="624" y="1206"/>
                </a:lnTo>
                <a:lnTo>
                  <a:pt x="624" y="1228"/>
                </a:lnTo>
                <a:lnTo>
                  <a:pt x="624" y="1250"/>
                </a:lnTo>
                <a:lnTo>
                  <a:pt x="626" y="1272"/>
                </a:lnTo>
                <a:lnTo>
                  <a:pt x="628" y="1293"/>
                </a:lnTo>
                <a:lnTo>
                  <a:pt x="630" y="1304"/>
                </a:lnTo>
                <a:lnTo>
                  <a:pt x="631" y="1314"/>
                </a:lnTo>
                <a:lnTo>
                  <a:pt x="636" y="1335"/>
                </a:lnTo>
                <a:lnTo>
                  <a:pt x="641" y="1355"/>
                </a:lnTo>
                <a:lnTo>
                  <a:pt x="647" y="1375"/>
                </a:lnTo>
                <a:lnTo>
                  <a:pt x="654" y="1395"/>
                </a:lnTo>
                <a:lnTo>
                  <a:pt x="662" y="1414"/>
                </a:lnTo>
                <a:lnTo>
                  <a:pt x="670" y="1433"/>
                </a:lnTo>
                <a:lnTo>
                  <a:pt x="680" y="1451"/>
                </a:lnTo>
                <a:lnTo>
                  <a:pt x="690" y="1469"/>
                </a:lnTo>
                <a:lnTo>
                  <a:pt x="701" y="1487"/>
                </a:lnTo>
                <a:lnTo>
                  <a:pt x="712" y="1503"/>
                </a:lnTo>
                <a:lnTo>
                  <a:pt x="725" y="1520"/>
                </a:lnTo>
                <a:lnTo>
                  <a:pt x="738" y="1536"/>
                </a:lnTo>
                <a:lnTo>
                  <a:pt x="752" y="1551"/>
                </a:lnTo>
                <a:lnTo>
                  <a:pt x="766" y="1565"/>
                </a:lnTo>
                <a:lnTo>
                  <a:pt x="773" y="1572"/>
                </a:lnTo>
                <a:lnTo>
                  <a:pt x="781" y="1579"/>
                </a:lnTo>
                <a:lnTo>
                  <a:pt x="796" y="1592"/>
                </a:lnTo>
                <a:lnTo>
                  <a:pt x="812" y="1605"/>
                </a:lnTo>
                <a:lnTo>
                  <a:pt x="829" y="1617"/>
                </a:lnTo>
                <a:lnTo>
                  <a:pt x="846" y="1628"/>
                </a:lnTo>
                <a:lnTo>
                  <a:pt x="864" y="1638"/>
                </a:lnTo>
                <a:lnTo>
                  <a:pt x="882" y="1648"/>
                </a:lnTo>
                <a:lnTo>
                  <a:pt x="901" y="1657"/>
                </a:lnTo>
                <a:lnTo>
                  <a:pt x="920" y="1665"/>
                </a:lnTo>
                <a:lnTo>
                  <a:pt x="939" y="1672"/>
                </a:lnTo>
                <a:lnTo>
                  <a:pt x="959" y="1679"/>
                </a:lnTo>
                <a:lnTo>
                  <a:pt x="979" y="1684"/>
                </a:lnTo>
                <a:lnTo>
                  <a:pt x="1000" y="1689"/>
                </a:lnTo>
                <a:lnTo>
                  <a:pt x="1019" y="1692"/>
                </a:lnTo>
                <a:lnTo>
                  <a:pt x="1017" y="1692"/>
                </a:lnTo>
                <a:lnTo>
                  <a:pt x="886" y="2008"/>
                </a:lnTo>
                <a:lnTo>
                  <a:pt x="1016" y="2324"/>
                </a:lnTo>
                <a:lnTo>
                  <a:pt x="1017" y="2325"/>
                </a:lnTo>
                <a:lnTo>
                  <a:pt x="1014" y="2325"/>
                </a:lnTo>
                <a:lnTo>
                  <a:pt x="1011" y="2323"/>
                </a:lnTo>
                <a:lnTo>
                  <a:pt x="984" y="2321"/>
                </a:lnTo>
                <a:lnTo>
                  <a:pt x="957" y="2318"/>
                </a:lnTo>
                <a:lnTo>
                  <a:pt x="931" y="2314"/>
                </a:lnTo>
                <a:lnTo>
                  <a:pt x="905" y="2310"/>
                </a:lnTo>
                <a:lnTo>
                  <a:pt x="879" y="2305"/>
                </a:lnTo>
                <a:lnTo>
                  <a:pt x="853" y="2300"/>
                </a:lnTo>
                <a:lnTo>
                  <a:pt x="827" y="2294"/>
                </a:lnTo>
                <a:lnTo>
                  <a:pt x="802" y="2287"/>
                </a:lnTo>
                <a:lnTo>
                  <a:pt x="777" y="2280"/>
                </a:lnTo>
                <a:lnTo>
                  <a:pt x="752" y="2272"/>
                </a:lnTo>
                <a:lnTo>
                  <a:pt x="728" y="2264"/>
                </a:lnTo>
                <a:lnTo>
                  <a:pt x="703" y="2255"/>
                </a:lnTo>
                <a:lnTo>
                  <a:pt x="679" y="2245"/>
                </a:lnTo>
                <a:lnTo>
                  <a:pt x="656" y="2235"/>
                </a:lnTo>
                <a:lnTo>
                  <a:pt x="632" y="2225"/>
                </a:lnTo>
                <a:lnTo>
                  <a:pt x="609" y="2213"/>
                </a:lnTo>
                <a:lnTo>
                  <a:pt x="585" y="2202"/>
                </a:lnTo>
                <a:lnTo>
                  <a:pt x="563" y="2190"/>
                </a:lnTo>
                <a:lnTo>
                  <a:pt x="541" y="2177"/>
                </a:lnTo>
                <a:lnTo>
                  <a:pt x="519" y="2164"/>
                </a:lnTo>
                <a:lnTo>
                  <a:pt x="497" y="2150"/>
                </a:lnTo>
                <a:lnTo>
                  <a:pt x="476" y="2136"/>
                </a:lnTo>
                <a:lnTo>
                  <a:pt x="455" y="2121"/>
                </a:lnTo>
                <a:lnTo>
                  <a:pt x="435" y="2106"/>
                </a:lnTo>
                <a:lnTo>
                  <a:pt x="414" y="2091"/>
                </a:lnTo>
                <a:lnTo>
                  <a:pt x="395" y="2075"/>
                </a:lnTo>
                <a:lnTo>
                  <a:pt x="375" y="2058"/>
                </a:lnTo>
                <a:lnTo>
                  <a:pt x="356" y="2041"/>
                </a:lnTo>
                <a:lnTo>
                  <a:pt x="338" y="2024"/>
                </a:lnTo>
                <a:lnTo>
                  <a:pt x="320" y="2006"/>
                </a:lnTo>
                <a:lnTo>
                  <a:pt x="302" y="1988"/>
                </a:lnTo>
                <a:lnTo>
                  <a:pt x="285" y="1969"/>
                </a:lnTo>
                <a:lnTo>
                  <a:pt x="268" y="1950"/>
                </a:lnTo>
                <a:lnTo>
                  <a:pt x="251" y="1931"/>
                </a:lnTo>
                <a:lnTo>
                  <a:pt x="235" y="1911"/>
                </a:lnTo>
                <a:lnTo>
                  <a:pt x="220" y="1891"/>
                </a:lnTo>
                <a:lnTo>
                  <a:pt x="205" y="1871"/>
                </a:lnTo>
                <a:lnTo>
                  <a:pt x="190" y="1850"/>
                </a:lnTo>
                <a:lnTo>
                  <a:pt x="176" y="1829"/>
                </a:lnTo>
                <a:lnTo>
                  <a:pt x="162" y="1807"/>
                </a:lnTo>
                <a:lnTo>
                  <a:pt x="149" y="1785"/>
                </a:lnTo>
                <a:lnTo>
                  <a:pt x="136" y="1763"/>
                </a:lnTo>
                <a:lnTo>
                  <a:pt x="124" y="1739"/>
                </a:lnTo>
                <a:lnTo>
                  <a:pt x="113" y="1717"/>
                </a:lnTo>
                <a:lnTo>
                  <a:pt x="102" y="1693"/>
                </a:lnTo>
                <a:lnTo>
                  <a:pt x="91" y="1670"/>
                </a:lnTo>
                <a:lnTo>
                  <a:pt x="81" y="1646"/>
                </a:lnTo>
                <a:lnTo>
                  <a:pt x="71" y="1622"/>
                </a:lnTo>
                <a:lnTo>
                  <a:pt x="63" y="1598"/>
                </a:lnTo>
                <a:lnTo>
                  <a:pt x="54" y="1573"/>
                </a:lnTo>
                <a:lnTo>
                  <a:pt x="46" y="1549"/>
                </a:lnTo>
                <a:lnTo>
                  <a:pt x="39" y="1523"/>
                </a:lnTo>
                <a:lnTo>
                  <a:pt x="33" y="1498"/>
                </a:lnTo>
                <a:lnTo>
                  <a:pt x="27" y="1473"/>
                </a:lnTo>
                <a:lnTo>
                  <a:pt x="21" y="1447"/>
                </a:lnTo>
                <a:lnTo>
                  <a:pt x="16" y="1421"/>
                </a:lnTo>
                <a:lnTo>
                  <a:pt x="12" y="1395"/>
                </a:lnTo>
                <a:lnTo>
                  <a:pt x="8" y="1368"/>
                </a:lnTo>
                <a:lnTo>
                  <a:pt x="6" y="1342"/>
                </a:lnTo>
                <a:lnTo>
                  <a:pt x="3" y="1315"/>
                </a:lnTo>
                <a:lnTo>
                  <a:pt x="2" y="1288"/>
                </a:lnTo>
                <a:lnTo>
                  <a:pt x="1" y="1261"/>
                </a:lnTo>
                <a:lnTo>
                  <a:pt x="0" y="1233"/>
                </a:lnTo>
                <a:lnTo>
                  <a:pt x="1" y="1206"/>
                </a:lnTo>
                <a:lnTo>
                  <a:pt x="2" y="1179"/>
                </a:lnTo>
                <a:lnTo>
                  <a:pt x="3" y="1152"/>
                </a:lnTo>
                <a:lnTo>
                  <a:pt x="5" y="1126"/>
                </a:lnTo>
                <a:lnTo>
                  <a:pt x="8" y="1099"/>
                </a:lnTo>
                <a:lnTo>
                  <a:pt x="12" y="1073"/>
                </a:lnTo>
                <a:lnTo>
                  <a:pt x="16" y="1047"/>
                </a:lnTo>
                <a:lnTo>
                  <a:pt x="21" y="1021"/>
                </a:lnTo>
                <a:lnTo>
                  <a:pt x="26" y="996"/>
                </a:lnTo>
                <a:lnTo>
                  <a:pt x="32" y="970"/>
                </a:lnTo>
                <a:lnTo>
                  <a:pt x="39" y="945"/>
                </a:lnTo>
                <a:lnTo>
                  <a:pt x="46" y="920"/>
                </a:lnTo>
                <a:lnTo>
                  <a:pt x="53" y="895"/>
                </a:lnTo>
                <a:lnTo>
                  <a:pt x="62" y="871"/>
                </a:lnTo>
                <a:lnTo>
                  <a:pt x="71" y="847"/>
                </a:lnTo>
                <a:lnTo>
                  <a:pt x="80" y="823"/>
                </a:lnTo>
                <a:lnTo>
                  <a:pt x="90" y="799"/>
                </a:lnTo>
                <a:lnTo>
                  <a:pt x="100" y="776"/>
                </a:lnTo>
                <a:lnTo>
                  <a:pt x="111" y="753"/>
                </a:lnTo>
                <a:lnTo>
                  <a:pt x="123" y="730"/>
                </a:lnTo>
                <a:lnTo>
                  <a:pt x="135" y="708"/>
                </a:lnTo>
                <a:lnTo>
                  <a:pt x="147" y="686"/>
                </a:lnTo>
                <a:lnTo>
                  <a:pt x="160" y="664"/>
                </a:lnTo>
                <a:lnTo>
                  <a:pt x="174" y="642"/>
                </a:lnTo>
                <a:lnTo>
                  <a:pt x="188" y="621"/>
                </a:lnTo>
                <a:lnTo>
                  <a:pt x="202" y="601"/>
                </a:lnTo>
                <a:lnTo>
                  <a:pt x="217" y="580"/>
                </a:lnTo>
                <a:lnTo>
                  <a:pt x="232" y="559"/>
                </a:lnTo>
                <a:lnTo>
                  <a:pt x="248" y="539"/>
                </a:lnTo>
                <a:lnTo>
                  <a:pt x="264" y="520"/>
                </a:lnTo>
                <a:lnTo>
                  <a:pt x="281" y="501"/>
                </a:lnTo>
                <a:lnTo>
                  <a:pt x="298" y="483"/>
                </a:lnTo>
                <a:lnTo>
                  <a:pt x="316" y="464"/>
                </a:lnTo>
                <a:lnTo>
                  <a:pt x="334" y="447"/>
                </a:lnTo>
                <a:lnTo>
                  <a:pt x="352" y="429"/>
                </a:lnTo>
                <a:lnTo>
                  <a:pt x="371" y="413"/>
                </a:lnTo>
                <a:lnTo>
                  <a:pt x="390" y="396"/>
                </a:lnTo>
                <a:lnTo>
                  <a:pt x="409" y="380"/>
                </a:lnTo>
                <a:lnTo>
                  <a:pt x="429" y="364"/>
                </a:lnTo>
                <a:lnTo>
                  <a:pt x="449" y="349"/>
                </a:lnTo>
                <a:lnTo>
                  <a:pt x="470" y="335"/>
                </a:lnTo>
                <a:lnTo>
                  <a:pt x="491" y="320"/>
                </a:lnTo>
                <a:lnTo>
                  <a:pt x="512" y="307"/>
                </a:lnTo>
                <a:lnTo>
                  <a:pt x="534" y="294"/>
                </a:lnTo>
                <a:lnTo>
                  <a:pt x="556" y="281"/>
                </a:lnTo>
                <a:lnTo>
                  <a:pt x="578" y="269"/>
                </a:lnTo>
                <a:lnTo>
                  <a:pt x="602" y="257"/>
                </a:lnTo>
                <a:lnTo>
                  <a:pt x="625" y="246"/>
                </a:lnTo>
                <a:lnTo>
                  <a:pt x="648" y="235"/>
                </a:lnTo>
                <a:lnTo>
                  <a:pt x="671" y="225"/>
                </a:lnTo>
                <a:lnTo>
                  <a:pt x="695" y="215"/>
                </a:lnTo>
                <a:lnTo>
                  <a:pt x="719" y="206"/>
                </a:lnTo>
                <a:lnTo>
                  <a:pt x="743" y="197"/>
                </a:lnTo>
                <a:lnTo>
                  <a:pt x="768" y="189"/>
                </a:lnTo>
                <a:lnTo>
                  <a:pt x="793" y="182"/>
                </a:lnTo>
                <a:lnTo>
                  <a:pt x="818" y="175"/>
                </a:lnTo>
                <a:lnTo>
                  <a:pt x="843" y="169"/>
                </a:lnTo>
                <a:lnTo>
                  <a:pt x="868" y="163"/>
                </a:lnTo>
                <a:lnTo>
                  <a:pt x="894" y="158"/>
                </a:lnTo>
                <a:lnTo>
                  <a:pt x="920" y="154"/>
                </a:lnTo>
                <a:lnTo>
                  <a:pt x="946" y="150"/>
                </a:lnTo>
                <a:lnTo>
                  <a:pt x="973" y="147"/>
                </a:lnTo>
                <a:lnTo>
                  <a:pt x="999" y="144"/>
                </a:lnTo>
                <a:lnTo>
                  <a:pt x="1026" y="142"/>
                </a:lnTo>
                <a:lnTo>
                  <a:pt x="1026" y="120"/>
                </a:lnTo>
                <a:lnTo>
                  <a:pt x="1026" y="71"/>
                </a:lnTo>
                <a:lnTo>
                  <a:pt x="1027" y="22"/>
                </a:lnTo>
                <a:lnTo>
                  <a:pt x="1027" y="0"/>
                </a:lnTo>
                <a:lnTo>
                  <a:pt x="1204" y="452"/>
                </a:lnTo>
                <a:lnTo>
                  <a:pt x="1203" y="457"/>
                </a:lnTo>
                <a:lnTo>
                  <a:pt x="1198" y="471"/>
                </a:lnTo>
                <a:lnTo>
                  <a:pt x="1179" y="520"/>
                </a:lnTo>
                <a:lnTo>
                  <a:pt x="1151" y="589"/>
                </a:lnTo>
                <a:lnTo>
                  <a:pt x="1118" y="668"/>
                </a:lnTo>
                <a:lnTo>
                  <a:pt x="1030" y="881"/>
                </a:lnTo>
                <a:lnTo>
                  <a:pt x="1030" y="874"/>
                </a:lnTo>
                <a:lnTo>
                  <a:pt x="1030" y="861"/>
                </a:lnTo>
                <a:lnTo>
                  <a:pt x="1030" y="821"/>
                </a:lnTo>
                <a:lnTo>
                  <a:pt x="1030" y="763"/>
                </a:lnTo>
                <a:close/>
              </a:path>
            </a:pathLst>
          </a:cu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280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097633" name="Freeform 33"/>
          <p:cNvSpPr>
            <a:spLocks/>
          </p:cNvSpPr>
          <p:nvPr/>
        </p:nvSpPr>
        <p:spPr bwMode="auto">
          <a:xfrm rot="10800000">
            <a:off x="5821363" y="1939926"/>
            <a:ext cx="1943100" cy="3654425"/>
          </a:xfrm>
          <a:custGeom>
            <a:avLst/>
            <a:gdLst>
              <a:gd name="T0" fmla="*/ 967 w 1204"/>
              <a:gd name="T1" fmla="*/ 776 h 2325"/>
              <a:gd name="T2" fmla="*/ 907 w 1204"/>
              <a:gd name="T3" fmla="*/ 797 h 2325"/>
              <a:gd name="T4" fmla="*/ 834 w 1204"/>
              <a:gd name="T5" fmla="*/ 837 h 2325"/>
              <a:gd name="T6" fmla="*/ 769 w 1204"/>
              <a:gd name="T7" fmla="*/ 888 h 2325"/>
              <a:gd name="T8" fmla="*/ 715 w 1204"/>
              <a:gd name="T9" fmla="*/ 950 h 2325"/>
              <a:gd name="T10" fmla="*/ 672 w 1204"/>
              <a:gd name="T11" fmla="*/ 1021 h 2325"/>
              <a:gd name="T12" fmla="*/ 641 w 1204"/>
              <a:gd name="T13" fmla="*/ 1100 h 2325"/>
              <a:gd name="T14" fmla="*/ 628 w 1204"/>
              <a:gd name="T15" fmla="*/ 1163 h 2325"/>
              <a:gd name="T16" fmla="*/ 624 w 1204"/>
              <a:gd name="T17" fmla="*/ 1228 h 2325"/>
              <a:gd name="T18" fmla="*/ 630 w 1204"/>
              <a:gd name="T19" fmla="*/ 1304 h 2325"/>
              <a:gd name="T20" fmla="*/ 647 w 1204"/>
              <a:gd name="T21" fmla="*/ 1375 h 2325"/>
              <a:gd name="T22" fmla="*/ 680 w 1204"/>
              <a:gd name="T23" fmla="*/ 1451 h 2325"/>
              <a:gd name="T24" fmla="*/ 725 w 1204"/>
              <a:gd name="T25" fmla="*/ 1520 h 2325"/>
              <a:gd name="T26" fmla="*/ 773 w 1204"/>
              <a:gd name="T27" fmla="*/ 1572 h 2325"/>
              <a:gd name="T28" fmla="*/ 829 w 1204"/>
              <a:gd name="T29" fmla="*/ 1617 h 2325"/>
              <a:gd name="T30" fmla="*/ 901 w 1204"/>
              <a:gd name="T31" fmla="*/ 1657 h 2325"/>
              <a:gd name="T32" fmla="*/ 979 w 1204"/>
              <a:gd name="T33" fmla="*/ 1684 h 2325"/>
              <a:gd name="T34" fmla="*/ 886 w 1204"/>
              <a:gd name="T35" fmla="*/ 2008 h 2325"/>
              <a:gd name="T36" fmla="*/ 1011 w 1204"/>
              <a:gd name="T37" fmla="*/ 2323 h 2325"/>
              <a:gd name="T38" fmla="*/ 905 w 1204"/>
              <a:gd name="T39" fmla="*/ 2310 h 2325"/>
              <a:gd name="T40" fmla="*/ 802 w 1204"/>
              <a:gd name="T41" fmla="*/ 2287 h 2325"/>
              <a:gd name="T42" fmla="*/ 703 w 1204"/>
              <a:gd name="T43" fmla="*/ 2255 h 2325"/>
              <a:gd name="T44" fmla="*/ 609 w 1204"/>
              <a:gd name="T45" fmla="*/ 2213 h 2325"/>
              <a:gd name="T46" fmla="*/ 519 w 1204"/>
              <a:gd name="T47" fmla="*/ 2164 h 2325"/>
              <a:gd name="T48" fmla="*/ 435 w 1204"/>
              <a:gd name="T49" fmla="*/ 2106 h 2325"/>
              <a:gd name="T50" fmla="*/ 356 w 1204"/>
              <a:gd name="T51" fmla="*/ 2041 h 2325"/>
              <a:gd name="T52" fmla="*/ 285 w 1204"/>
              <a:gd name="T53" fmla="*/ 1969 h 2325"/>
              <a:gd name="T54" fmla="*/ 220 w 1204"/>
              <a:gd name="T55" fmla="*/ 1891 h 2325"/>
              <a:gd name="T56" fmla="*/ 162 w 1204"/>
              <a:gd name="T57" fmla="*/ 1807 h 2325"/>
              <a:gd name="T58" fmla="*/ 113 w 1204"/>
              <a:gd name="T59" fmla="*/ 1717 h 2325"/>
              <a:gd name="T60" fmla="*/ 71 w 1204"/>
              <a:gd name="T61" fmla="*/ 1622 h 2325"/>
              <a:gd name="T62" fmla="*/ 39 w 1204"/>
              <a:gd name="T63" fmla="*/ 1523 h 2325"/>
              <a:gd name="T64" fmla="*/ 16 w 1204"/>
              <a:gd name="T65" fmla="*/ 1421 h 2325"/>
              <a:gd name="T66" fmla="*/ 3 w 1204"/>
              <a:gd name="T67" fmla="*/ 1315 h 2325"/>
              <a:gd name="T68" fmla="*/ 1 w 1204"/>
              <a:gd name="T69" fmla="*/ 1206 h 2325"/>
              <a:gd name="T70" fmla="*/ 8 w 1204"/>
              <a:gd name="T71" fmla="*/ 1099 h 2325"/>
              <a:gd name="T72" fmla="*/ 26 w 1204"/>
              <a:gd name="T73" fmla="*/ 996 h 2325"/>
              <a:gd name="T74" fmla="*/ 53 w 1204"/>
              <a:gd name="T75" fmla="*/ 895 h 2325"/>
              <a:gd name="T76" fmla="*/ 90 w 1204"/>
              <a:gd name="T77" fmla="*/ 799 h 2325"/>
              <a:gd name="T78" fmla="*/ 135 w 1204"/>
              <a:gd name="T79" fmla="*/ 708 h 2325"/>
              <a:gd name="T80" fmla="*/ 188 w 1204"/>
              <a:gd name="T81" fmla="*/ 621 h 2325"/>
              <a:gd name="T82" fmla="*/ 248 w 1204"/>
              <a:gd name="T83" fmla="*/ 539 h 2325"/>
              <a:gd name="T84" fmla="*/ 316 w 1204"/>
              <a:gd name="T85" fmla="*/ 464 h 2325"/>
              <a:gd name="T86" fmla="*/ 390 w 1204"/>
              <a:gd name="T87" fmla="*/ 396 h 2325"/>
              <a:gd name="T88" fmla="*/ 470 w 1204"/>
              <a:gd name="T89" fmla="*/ 335 h 2325"/>
              <a:gd name="T90" fmla="*/ 556 w 1204"/>
              <a:gd name="T91" fmla="*/ 281 h 2325"/>
              <a:gd name="T92" fmla="*/ 648 w 1204"/>
              <a:gd name="T93" fmla="*/ 235 h 2325"/>
              <a:gd name="T94" fmla="*/ 743 w 1204"/>
              <a:gd name="T95" fmla="*/ 197 h 2325"/>
              <a:gd name="T96" fmla="*/ 843 w 1204"/>
              <a:gd name="T97" fmla="*/ 169 h 2325"/>
              <a:gd name="T98" fmla="*/ 946 w 1204"/>
              <a:gd name="T99" fmla="*/ 150 h 2325"/>
              <a:gd name="T100" fmla="*/ 1026 w 1204"/>
              <a:gd name="T101" fmla="*/ 120 h 2325"/>
              <a:gd name="T102" fmla="*/ 1204 w 1204"/>
              <a:gd name="T103" fmla="*/ 452 h 2325"/>
              <a:gd name="T104" fmla="*/ 1151 w 1204"/>
              <a:gd name="T105" fmla="*/ 589 h 2325"/>
              <a:gd name="T106" fmla="*/ 1030 w 1204"/>
              <a:gd name="T107" fmla="*/ 861 h 2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204" h="2325">
                <a:moveTo>
                  <a:pt x="1030" y="763"/>
                </a:moveTo>
                <a:lnTo>
                  <a:pt x="1009" y="766"/>
                </a:lnTo>
                <a:lnTo>
                  <a:pt x="988" y="771"/>
                </a:lnTo>
                <a:lnTo>
                  <a:pt x="967" y="776"/>
                </a:lnTo>
                <a:lnTo>
                  <a:pt x="947" y="782"/>
                </a:lnTo>
                <a:lnTo>
                  <a:pt x="927" y="789"/>
                </a:lnTo>
                <a:lnTo>
                  <a:pt x="917" y="793"/>
                </a:lnTo>
                <a:lnTo>
                  <a:pt x="907" y="797"/>
                </a:lnTo>
                <a:lnTo>
                  <a:pt x="888" y="806"/>
                </a:lnTo>
                <a:lnTo>
                  <a:pt x="870" y="815"/>
                </a:lnTo>
                <a:lnTo>
                  <a:pt x="852" y="826"/>
                </a:lnTo>
                <a:lnTo>
                  <a:pt x="834" y="837"/>
                </a:lnTo>
                <a:lnTo>
                  <a:pt x="817" y="848"/>
                </a:lnTo>
                <a:lnTo>
                  <a:pt x="801" y="861"/>
                </a:lnTo>
                <a:lnTo>
                  <a:pt x="785" y="874"/>
                </a:lnTo>
                <a:lnTo>
                  <a:pt x="769" y="888"/>
                </a:lnTo>
                <a:lnTo>
                  <a:pt x="755" y="903"/>
                </a:lnTo>
                <a:lnTo>
                  <a:pt x="741" y="918"/>
                </a:lnTo>
                <a:lnTo>
                  <a:pt x="727" y="934"/>
                </a:lnTo>
                <a:lnTo>
                  <a:pt x="715" y="950"/>
                </a:lnTo>
                <a:lnTo>
                  <a:pt x="703" y="967"/>
                </a:lnTo>
                <a:lnTo>
                  <a:pt x="692" y="985"/>
                </a:lnTo>
                <a:lnTo>
                  <a:pt x="681" y="1003"/>
                </a:lnTo>
                <a:lnTo>
                  <a:pt x="672" y="1021"/>
                </a:lnTo>
                <a:lnTo>
                  <a:pt x="663" y="1040"/>
                </a:lnTo>
                <a:lnTo>
                  <a:pt x="655" y="1060"/>
                </a:lnTo>
                <a:lnTo>
                  <a:pt x="648" y="1079"/>
                </a:lnTo>
                <a:lnTo>
                  <a:pt x="641" y="1100"/>
                </a:lnTo>
                <a:lnTo>
                  <a:pt x="639" y="1110"/>
                </a:lnTo>
                <a:lnTo>
                  <a:pt x="636" y="1120"/>
                </a:lnTo>
                <a:lnTo>
                  <a:pt x="632" y="1141"/>
                </a:lnTo>
                <a:lnTo>
                  <a:pt x="628" y="1163"/>
                </a:lnTo>
                <a:lnTo>
                  <a:pt x="626" y="1184"/>
                </a:lnTo>
                <a:lnTo>
                  <a:pt x="625" y="1195"/>
                </a:lnTo>
                <a:lnTo>
                  <a:pt x="624" y="1206"/>
                </a:lnTo>
                <a:lnTo>
                  <a:pt x="624" y="1228"/>
                </a:lnTo>
                <a:lnTo>
                  <a:pt x="624" y="1250"/>
                </a:lnTo>
                <a:lnTo>
                  <a:pt x="626" y="1272"/>
                </a:lnTo>
                <a:lnTo>
                  <a:pt x="628" y="1293"/>
                </a:lnTo>
                <a:lnTo>
                  <a:pt x="630" y="1304"/>
                </a:lnTo>
                <a:lnTo>
                  <a:pt x="631" y="1314"/>
                </a:lnTo>
                <a:lnTo>
                  <a:pt x="636" y="1335"/>
                </a:lnTo>
                <a:lnTo>
                  <a:pt x="641" y="1355"/>
                </a:lnTo>
                <a:lnTo>
                  <a:pt x="647" y="1375"/>
                </a:lnTo>
                <a:lnTo>
                  <a:pt x="654" y="1395"/>
                </a:lnTo>
                <a:lnTo>
                  <a:pt x="662" y="1414"/>
                </a:lnTo>
                <a:lnTo>
                  <a:pt x="670" y="1433"/>
                </a:lnTo>
                <a:lnTo>
                  <a:pt x="680" y="1451"/>
                </a:lnTo>
                <a:lnTo>
                  <a:pt x="690" y="1469"/>
                </a:lnTo>
                <a:lnTo>
                  <a:pt x="701" y="1487"/>
                </a:lnTo>
                <a:lnTo>
                  <a:pt x="712" y="1503"/>
                </a:lnTo>
                <a:lnTo>
                  <a:pt x="725" y="1520"/>
                </a:lnTo>
                <a:lnTo>
                  <a:pt x="738" y="1536"/>
                </a:lnTo>
                <a:lnTo>
                  <a:pt x="752" y="1551"/>
                </a:lnTo>
                <a:lnTo>
                  <a:pt x="766" y="1565"/>
                </a:lnTo>
                <a:lnTo>
                  <a:pt x="773" y="1572"/>
                </a:lnTo>
                <a:lnTo>
                  <a:pt x="781" y="1579"/>
                </a:lnTo>
                <a:lnTo>
                  <a:pt x="796" y="1592"/>
                </a:lnTo>
                <a:lnTo>
                  <a:pt x="812" y="1605"/>
                </a:lnTo>
                <a:lnTo>
                  <a:pt x="829" y="1617"/>
                </a:lnTo>
                <a:lnTo>
                  <a:pt x="846" y="1628"/>
                </a:lnTo>
                <a:lnTo>
                  <a:pt x="864" y="1638"/>
                </a:lnTo>
                <a:lnTo>
                  <a:pt x="882" y="1648"/>
                </a:lnTo>
                <a:lnTo>
                  <a:pt x="901" y="1657"/>
                </a:lnTo>
                <a:lnTo>
                  <a:pt x="920" y="1665"/>
                </a:lnTo>
                <a:lnTo>
                  <a:pt x="939" y="1672"/>
                </a:lnTo>
                <a:lnTo>
                  <a:pt x="959" y="1679"/>
                </a:lnTo>
                <a:lnTo>
                  <a:pt x="979" y="1684"/>
                </a:lnTo>
                <a:lnTo>
                  <a:pt x="1000" y="1689"/>
                </a:lnTo>
                <a:lnTo>
                  <a:pt x="1019" y="1692"/>
                </a:lnTo>
                <a:lnTo>
                  <a:pt x="1017" y="1692"/>
                </a:lnTo>
                <a:lnTo>
                  <a:pt x="886" y="2008"/>
                </a:lnTo>
                <a:lnTo>
                  <a:pt x="1016" y="2324"/>
                </a:lnTo>
                <a:lnTo>
                  <a:pt x="1017" y="2325"/>
                </a:lnTo>
                <a:lnTo>
                  <a:pt x="1014" y="2325"/>
                </a:lnTo>
                <a:lnTo>
                  <a:pt x="1011" y="2323"/>
                </a:lnTo>
                <a:lnTo>
                  <a:pt x="984" y="2321"/>
                </a:lnTo>
                <a:lnTo>
                  <a:pt x="957" y="2318"/>
                </a:lnTo>
                <a:lnTo>
                  <a:pt x="931" y="2314"/>
                </a:lnTo>
                <a:lnTo>
                  <a:pt x="905" y="2310"/>
                </a:lnTo>
                <a:lnTo>
                  <a:pt x="879" y="2305"/>
                </a:lnTo>
                <a:lnTo>
                  <a:pt x="853" y="2300"/>
                </a:lnTo>
                <a:lnTo>
                  <a:pt x="827" y="2294"/>
                </a:lnTo>
                <a:lnTo>
                  <a:pt x="802" y="2287"/>
                </a:lnTo>
                <a:lnTo>
                  <a:pt x="777" y="2280"/>
                </a:lnTo>
                <a:lnTo>
                  <a:pt x="752" y="2272"/>
                </a:lnTo>
                <a:lnTo>
                  <a:pt x="728" y="2264"/>
                </a:lnTo>
                <a:lnTo>
                  <a:pt x="703" y="2255"/>
                </a:lnTo>
                <a:lnTo>
                  <a:pt x="679" y="2245"/>
                </a:lnTo>
                <a:lnTo>
                  <a:pt x="656" y="2235"/>
                </a:lnTo>
                <a:lnTo>
                  <a:pt x="632" y="2225"/>
                </a:lnTo>
                <a:lnTo>
                  <a:pt x="609" y="2213"/>
                </a:lnTo>
                <a:lnTo>
                  <a:pt x="585" y="2202"/>
                </a:lnTo>
                <a:lnTo>
                  <a:pt x="563" y="2190"/>
                </a:lnTo>
                <a:lnTo>
                  <a:pt x="541" y="2177"/>
                </a:lnTo>
                <a:lnTo>
                  <a:pt x="519" y="2164"/>
                </a:lnTo>
                <a:lnTo>
                  <a:pt x="497" y="2150"/>
                </a:lnTo>
                <a:lnTo>
                  <a:pt x="476" y="2136"/>
                </a:lnTo>
                <a:lnTo>
                  <a:pt x="455" y="2121"/>
                </a:lnTo>
                <a:lnTo>
                  <a:pt x="435" y="2106"/>
                </a:lnTo>
                <a:lnTo>
                  <a:pt x="414" y="2091"/>
                </a:lnTo>
                <a:lnTo>
                  <a:pt x="395" y="2075"/>
                </a:lnTo>
                <a:lnTo>
                  <a:pt x="375" y="2058"/>
                </a:lnTo>
                <a:lnTo>
                  <a:pt x="356" y="2041"/>
                </a:lnTo>
                <a:lnTo>
                  <a:pt x="338" y="2024"/>
                </a:lnTo>
                <a:lnTo>
                  <a:pt x="320" y="2006"/>
                </a:lnTo>
                <a:lnTo>
                  <a:pt x="302" y="1988"/>
                </a:lnTo>
                <a:lnTo>
                  <a:pt x="285" y="1969"/>
                </a:lnTo>
                <a:lnTo>
                  <a:pt x="268" y="1950"/>
                </a:lnTo>
                <a:lnTo>
                  <a:pt x="251" y="1931"/>
                </a:lnTo>
                <a:lnTo>
                  <a:pt x="235" y="1911"/>
                </a:lnTo>
                <a:lnTo>
                  <a:pt x="220" y="1891"/>
                </a:lnTo>
                <a:lnTo>
                  <a:pt x="205" y="1871"/>
                </a:lnTo>
                <a:lnTo>
                  <a:pt x="190" y="1850"/>
                </a:lnTo>
                <a:lnTo>
                  <a:pt x="176" y="1829"/>
                </a:lnTo>
                <a:lnTo>
                  <a:pt x="162" y="1807"/>
                </a:lnTo>
                <a:lnTo>
                  <a:pt x="149" y="1785"/>
                </a:lnTo>
                <a:lnTo>
                  <a:pt x="136" y="1763"/>
                </a:lnTo>
                <a:lnTo>
                  <a:pt x="124" y="1739"/>
                </a:lnTo>
                <a:lnTo>
                  <a:pt x="113" y="1717"/>
                </a:lnTo>
                <a:lnTo>
                  <a:pt x="102" y="1693"/>
                </a:lnTo>
                <a:lnTo>
                  <a:pt x="91" y="1670"/>
                </a:lnTo>
                <a:lnTo>
                  <a:pt x="81" y="1646"/>
                </a:lnTo>
                <a:lnTo>
                  <a:pt x="71" y="1622"/>
                </a:lnTo>
                <a:lnTo>
                  <a:pt x="63" y="1598"/>
                </a:lnTo>
                <a:lnTo>
                  <a:pt x="54" y="1573"/>
                </a:lnTo>
                <a:lnTo>
                  <a:pt x="46" y="1549"/>
                </a:lnTo>
                <a:lnTo>
                  <a:pt x="39" y="1523"/>
                </a:lnTo>
                <a:lnTo>
                  <a:pt x="33" y="1498"/>
                </a:lnTo>
                <a:lnTo>
                  <a:pt x="27" y="1473"/>
                </a:lnTo>
                <a:lnTo>
                  <a:pt x="21" y="1447"/>
                </a:lnTo>
                <a:lnTo>
                  <a:pt x="16" y="1421"/>
                </a:lnTo>
                <a:lnTo>
                  <a:pt x="12" y="1395"/>
                </a:lnTo>
                <a:lnTo>
                  <a:pt x="8" y="1368"/>
                </a:lnTo>
                <a:lnTo>
                  <a:pt x="6" y="1342"/>
                </a:lnTo>
                <a:lnTo>
                  <a:pt x="3" y="1315"/>
                </a:lnTo>
                <a:lnTo>
                  <a:pt x="2" y="1288"/>
                </a:lnTo>
                <a:lnTo>
                  <a:pt x="1" y="1261"/>
                </a:lnTo>
                <a:lnTo>
                  <a:pt x="0" y="1233"/>
                </a:lnTo>
                <a:lnTo>
                  <a:pt x="1" y="1206"/>
                </a:lnTo>
                <a:lnTo>
                  <a:pt x="2" y="1179"/>
                </a:lnTo>
                <a:lnTo>
                  <a:pt x="3" y="1152"/>
                </a:lnTo>
                <a:lnTo>
                  <a:pt x="5" y="1126"/>
                </a:lnTo>
                <a:lnTo>
                  <a:pt x="8" y="1099"/>
                </a:lnTo>
                <a:lnTo>
                  <a:pt x="12" y="1073"/>
                </a:lnTo>
                <a:lnTo>
                  <a:pt x="16" y="1047"/>
                </a:lnTo>
                <a:lnTo>
                  <a:pt x="21" y="1021"/>
                </a:lnTo>
                <a:lnTo>
                  <a:pt x="26" y="996"/>
                </a:lnTo>
                <a:lnTo>
                  <a:pt x="32" y="970"/>
                </a:lnTo>
                <a:lnTo>
                  <a:pt x="39" y="945"/>
                </a:lnTo>
                <a:lnTo>
                  <a:pt x="46" y="920"/>
                </a:lnTo>
                <a:lnTo>
                  <a:pt x="53" y="895"/>
                </a:lnTo>
                <a:lnTo>
                  <a:pt x="62" y="871"/>
                </a:lnTo>
                <a:lnTo>
                  <a:pt x="71" y="847"/>
                </a:lnTo>
                <a:lnTo>
                  <a:pt x="80" y="823"/>
                </a:lnTo>
                <a:lnTo>
                  <a:pt x="90" y="799"/>
                </a:lnTo>
                <a:lnTo>
                  <a:pt x="100" y="776"/>
                </a:lnTo>
                <a:lnTo>
                  <a:pt x="111" y="753"/>
                </a:lnTo>
                <a:lnTo>
                  <a:pt x="123" y="730"/>
                </a:lnTo>
                <a:lnTo>
                  <a:pt x="135" y="708"/>
                </a:lnTo>
                <a:lnTo>
                  <a:pt x="147" y="686"/>
                </a:lnTo>
                <a:lnTo>
                  <a:pt x="160" y="664"/>
                </a:lnTo>
                <a:lnTo>
                  <a:pt x="174" y="642"/>
                </a:lnTo>
                <a:lnTo>
                  <a:pt x="188" y="621"/>
                </a:lnTo>
                <a:lnTo>
                  <a:pt x="202" y="601"/>
                </a:lnTo>
                <a:lnTo>
                  <a:pt x="217" y="580"/>
                </a:lnTo>
                <a:lnTo>
                  <a:pt x="232" y="559"/>
                </a:lnTo>
                <a:lnTo>
                  <a:pt x="248" y="539"/>
                </a:lnTo>
                <a:lnTo>
                  <a:pt x="264" y="520"/>
                </a:lnTo>
                <a:lnTo>
                  <a:pt x="281" y="501"/>
                </a:lnTo>
                <a:lnTo>
                  <a:pt x="298" y="483"/>
                </a:lnTo>
                <a:lnTo>
                  <a:pt x="316" y="464"/>
                </a:lnTo>
                <a:lnTo>
                  <a:pt x="334" y="447"/>
                </a:lnTo>
                <a:lnTo>
                  <a:pt x="352" y="429"/>
                </a:lnTo>
                <a:lnTo>
                  <a:pt x="371" y="413"/>
                </a:lnTo>
                <a:lnTo>
                  <a:pt x="390" y="396"/>
                </a:lnTo>
                <a:lnTo>
                  <a:pt x="409" y="380"/>
                </a:lnTo>
                <a:lnTo>
                  <a:pt x="429" y="364"/>
                </a:lnTo>
                <a:lnTo>
                  <a:pt x="449" y="349"/>
                </a:lnTo>
                <a:lnTo>
                  <a:pt x="470" y="335"/>
                </a:lnTo>
                <a:lnTo>
                  <a:pt x="491" y="320"/>
                </a:lnTo>
                <a:lnTo>
                  <a:pt x="512" y="307"/>
                </a:lnTo>
                <a:lnTo>
                  <a:pt x="534" y="294"/>
                </a:lnTo>
                <a:lnTo>
                  <a:pt x="556" y="281"/>
                </a:lnTo>
                <a:lnTo>
                  <a:pt x="578" y="269"/>
                </a:lnTo>
                <a:lnTo>
                  <a:pt x="602" y="257"/>
                </a:lnTo>
                <a:lnTo>
                  <a:pt x="625" y="246"/>
                </a:lnTo>
                <a:lnTo>
                  <a:pt x="648" y="235"/>
                </a:lnTo>
                <a:lnTo>
                  <a:pt x="671" y="225"/>
                </a:lnTo>
                <a:lnTo>
                  <a:pt x="695" y="215"/>
                </a:lnTo>
                <a:lnTo>
                  <a:pt x="719" y="206"/>
                </a:lnTo>
                <a:lnTo>
                  <a:pt x="743" y="197"/>
                </a:lnTo>
                <a:lnTo>
                  <a:pt x="768" y="189"/>
                </a:lnTo>
                <a:lnTo>
                  <a:pt x="793" y="182"/>
                </a:lnTo>
                <a:lnTo>
                  <a:pt x="818" y="175"/>
                </a:lnTo>
                <a:lnTo>
                  <a:pt x="843" y="169"/>
                </a:lnTo>
                <a:lnTo>
                  <a:pt x="868" y="163"/>
                </a:lnTo>
                <a:lnTo>
                  <a:pt x="894" y="158"/>
                </a:lnTo>
                <a:lnTo>
                  <a:pt x="920" y="154"/>
                </a:lnTo>
                <a:lnTo>
                  <a:pt x="946" y="150"/>
                </a:lnTo>
                <a:lnTo>
                  <a:pt x="973" y="147"/>
                </a:lnTo>
                <a:lnTo>
                  <a:pt x="999" y="144"/>
                </a:lnTo>
                <a:lnTo>
                  <a:pt x="1026" y="142"/>
                </a:lnTo>
                <a:lnTo>
                  <a:pt x="1026" y="120"/>
                </a:lnTo>
                <a:lnTo>
                  <a:pt x="1026" y="71"/>
                </a:lnTo>
                <a:lnTo>
                  <a:pt x="1027" y="22"/>
                </a:lnTo>
                <a:lnTo>
                  <a:pt x="1027" y="0"/>
                </a:lnTo>
                <a:lnTo>
                  <a:pt x="1204" y="452"/>
                </a:lnTo>
                <a:lnTo>
                  <a:pt x="1203" y="457"/>
                </a:lnTo>
                <a:lnTo>
                  <a:pt x="1198" y="471"/>
                </a:lnTo>
                <a:lnTo>
                  <a:pt x="1179" y="520"/>
                </a:lnTo>
                <a:lnTo>
                  <a:pt x="1151" y="589"/>
                </a:lnTo>
                <a:lnTo>
                  <a:pt x="1118" y="668"/>
                </a:lnTo>
                <a:lnTo>
                  <a:pt x="1030" y="881"/>
                </a:lnTo>
                <a:lnTo>
                  <a:pt x="1030" y="874"/>
                </a:lnTo>
                <a:lnTo>
                  <a:pt x="1030" y="861"/>
                </a:lnTo>
                <a:lnTo>
                  <a:pt x="1030" y="821"/>
                </a:lnTo>
                <a:lnTo>
                  <a:pt x="1030" y="763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280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097602" name="Text Box 2"/>
          <p:cNvSpPr txBox="1">
            <a:spLocks noChangeArrowheads="1"/>
          </p:cNvSpPr>
          <p:nvPr/>
        </p:nvSpPr>
        <p:spPr bwMode="gray">
          <a:xfrm>
            <a:off x="6064251" y="6448426"/>
            <a:ext cx="539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l" defTabSz="330200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420688" algn="l" defTabSz="330200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839788" algn="l" defTabSz="330200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260475" algn="l" defTabSz="330200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679575" algn="l" defTabSz="330200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136775" defTabSz="330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593975" defTabSz="330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051175" defTabSz="330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508375" defTabSz="330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buClrTx/>
              <a:buSzTx/>
              <a:buFontTx/>
              <a:buNone/>
            </a:pPr>
            <a:endParaRPr lang="en-GB" sz="1100">
              <a:latin typeface="Arial" pitchFamily="34" charset="0"/>
            </a:endParaRPr>
          </a:p>
        </p:txBody>
      </p:sp>
      <p:sp>
        <p:nvSpPr>
          <p:cNvPr id="309760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ycle </a:t>
            </a:r>
            <a:r>
              <a:rPr lang="en-US">
                <a:cs typeface="Arial" pitchFamily="34" charset="0"/>
              </a:rPr>
              <a:t>–</a:t>
            </a:r>
            <a:r>
              <a:rPr lang="en-US"/>
              <a:t> 2 Factor</a:t>
            </a:r>
          </a:p>
        </p:txBody>
      </p:sp>
      <p:sp>
        <p:nvSpPr>
          <p:cNvPr id="3097624" name="Rectangle 24"/>
          <p:cNvSpPr>
            <a:spLocks noGrp="1" noChangeArrowheads="1"/>
          </p:cNvSpPr>
          <p:nvPr>
            <p:ph type="body" idx="4294967295"/>
          </p:nvPr>
        </p:nvSpPr>
        <p:spPr>
          <a:xfrm>
            <a:off x="5389563" y="3597276"/>
            <a:ext cx="1327150" cy="2127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/>
          <a:p>
            <a:pPr algn="ctr"/>
            <a:r>
              <a:rPr lang="en-US" sz="1400" b="1"/>
              <a:t>Text</a:t>
            </a:r>
          </a:p>
        </p:txBody>
      </p:sp>
      <p:sp>
        <p:nvSpPr>
          <p:cNvPr id="3097622" name="Rectangle 22"/>
          <p:cNvSpPr>
            <a:spLocks noGrp="1" noChangeArrowheads="1"/>
          </p:cNvSpPr>
          <p:nvPr>
            <p:ph type="body" idx="4294967295"/>
          </p:nvPr>
        </p:nvSpPr>
        <p:spPr>
          <a:xfrm>
            <a:off x="4443414" y="3597276"/>
            <a:ext cx="946148" cy="2127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/>
          <a:p>
            <a:pPr algn="ctr"/>
            <a:r>
              <a:rPr lang="en-US" sz="1400"/>
              <a:t>Text</a:t>
            </a:r>
          </a:p>
        </p:txBody>
      </p:sp>
      <p:sp>
        <p:nvSpPr>
          <p:cNvPr id="3097630" name="Rectangle 30"/>
          <p:cNvSpPr>
            <a:spLocks noGrp="1" noChangeArrowheads="1"/>
          </p:cNvSpPr>
          <p:nvPr>
            <p:ph type="body" idx="4294967295"/>
          </p:nvPr>
        </p:nvSpPr>
        <p:spPr>
          <a:xfrm>
            <a:off x="6881814" y="3597276"/>
            <a:ext cx="882648" cy="2127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</a:bodyPr>
          <a:lstStyle/>
          <a:p>
            <a:pPr algn="ctr"/>
            <a:r>
              <a:rPr lang="en-US" sz="1400"/>
              <a:t>Tex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574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16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ycle </a:t>
            </a:r>
            <a:r>
              <a:rPr lang="en-US">
                <a:cs typeface="Arial" pitchFamily="34" charset="0"/>
              </a:rPr>
              <a:t>–</a:t>
            </a:r>
            <a:r>
              <a:rPr lang="en-US"/>
              <a:t> 6 Factors</a:t>
            </a:r>
          </a:p>
        </p:txBody>
      </p:sp>
      <p:grpSp>
        <p:nvGrpSpPr>
          <p:cNvPr id="2396177" name="Group 17"/>
          <p:cNvGrpSpPr>
            <a:grpSpLocks/>
          </p:cNvGrpSpPr>
          <p:nvPr/>
        </p:nvGrpSpPr>
        <p:grpSpPr bwMode="auto">
          <a:xfrm>
            <a:off x="3378201" y="1941135"/>
            <a:ext cx="4633913" cy="3779838"/>
            <a:chOff x="1168" y="940"/>
            <a:chExt cx="2919" cy="2381"/>
          </a:xfrm>
        </p:grpSpPr>
        <p:sp>
          <p:nvSpPr>
            <p:cNvPr id="2396164" name="Freeform 4"/>
            <p:cNvSpPr>
              <a:spLocks/>
            </p:cNvSpPr>
            <p:nvPr/>
          </p:nvSpPr>
          <p:spPr bwMode="gray">
            <a:xfrm>
              <a:off x="1168" y="940"/>
              <a:ext cx="2004" cy="935"/>
            </a:xfrm>
            <a:custGeom>
              <a:avLst/>
              <a:gdLst>
                <a:gd name="T0" fmla="*/ 0 w 1725"/>
                <a:gd name="T1" fmla="*/ 638 h 811"/>
                <a:gd name="T2" fmla="*/ 1047 w 1725"/>
                <a:gd name="T3" fmla="*/ 638 h 811"/>
                <a:gd name="T4" fmla="*/ 1214 w 1725"/>
                <a:gd name="T5" fmla="*/ 810 h 811"/>
                <a:gd name="T6" fmla="*/ 1241 w 1725"/>
                <a:gd name="T7" fmla="*/ 771 h 811"/>
                <a:gd name="T8" fmla="*/ 1271 w 1725"/>
                <a:gd name="T9" fmla="*/ 735 h 811"/>
                <a:gd name="T10" fmla="*/ 1303 w 1725"/>
                <a:gd name="T11" fmla="*/ 700 h 811"/>
                <a:gd name="T12" fmla="*/ 1338 w 1725"/>
                <a:gd name="T13" fmla="*/ 669 h 811"/>
                <a:gd name="T14" fmla="*/ 1372 w 1725"/>
                <a:gd name="T15" fmla="*/ 644 h 811"/>
                <a:gd name="T16" fmla="*/ 1408 w 1725"/>
                <a:gd name="T17" fmla="*/ 624 h 811"/>
                <a:gd name="T18" fmla="*/ 1447 w 1725"/>
                <a:gd name="T19" fmla="*/ 607 h 811"/>
                <a:gd name="T20" fmla="*/ 1486 w 1725"/>
                <a:gd name="T21" fmla="*/ 593 h 811"/>
                <a:gd name="T22" fmla="*/ 1527 w 1725"/>
                <a:gd name="T23" fmla="*/ 583 h 811"/>
                <a:gd name="T24" fmla="*/ 1551 w 1725"/>
                <a:gd name="T25" fmla="*/ 748 h 811"/>
                <a:gd name="T26" fmla="*/ 1724 w 1725"/>
                <a:gd name="T27" fmla="*/ 348 h 811"/>
                <a:gd name="T28" fmla="*/ 1464 w 1725"/>
                <a:gd name="T29" fmla="*/ 0 h 811"/>
                <a:gd name="T30" fmla="*/ 1465 w 1725"/>
                <a:gd name="T31" fmla="*/ 145 h 811"/>
                <a:gd name="T32" fmla="*/ 0 w 1725"/>
                <a:gd name="T33" fmla="*/ 145 h 811"/>
                <a:gd name="T34" fmla="*/ 0 w 1725"/>
                <a:gd name="T35" fmla="*/ 638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25" h="811">
                  <a:moveTo>
                    <a:pt x="0" y="638"/>
                  </a:moveTo>
                  <a:lnTo>
                    <a:pt x="1047" y="638"/>
                  </a:lnTo>
                  <a:lnTo>
                    <a:pt x="1214" y="810"/>
                  </a:lnTo>
                  <a:lnTo>
                    <a:pt x="1241" y="771"/>
                  </a:lnTo>
                  <a:lnTo>
                    <a:pt x="1271" y="735"/>
                  </a:lnTo>
                  <a:lnTo>
                    <a:pt x="1303" y="700"/>
                  </a:lnTo>
                  <a:lnTo>
                    <a:pt x="1338" y="669"/>
                  </a:lnTo>
                  <a:lnTo>
                    <a:pt x="1372" y="644"/>
                  </a:lnTo>
                  <a:lnTo>
                    <a:pt x="1408" y="624"/>
                  </a:lnTo>
                  <a:lnTo>
                    <a:pt x="1447" y="607"/>
                  </a:lnTo>
                  <a:lnTo>
                    <a:pt x="1486" y="593"/>
                  </a:lnTo>
                  <a:lnTo>
                    <a:pt x="1527" y="583"/>
                  </a:lnTo>
                  <a:lnTo>
                    <a:pt x="1551" y="748"/>
                  </a:lnTo>
                  <a:lnTo>
                    <a:pt x="1724" y="348"/>
                  </a:lnTo>
                  <a:lnTo>
                    <a:pt x="1464" y="0"/>
                  </a:lnTo>
                  <a:lnTo>
                    <a:pt x="1465" y="145"/>
                  </a:lnTo>
                  <a:lnTo>
                    <a:pt x="0" y="145"/>
                  </a:lnTo>
                  <a:lnTo>
                    <a:pt x="0" y="638"/>
                  </a:lnTo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6165" name="Freeform 5"/>
            <p:cNvSpPr>
              <a:spLocks/>
            </p:cNvSpPr>
            <p:nvPr/>
          </p:nvSpPr>
          <p:spPr bwMode="gray">
            <a:xfrm>
              <a:off x="3027" y="1096"/>
              <a:ext cx="1008" cy="819"/>
            </a:xfrm>
            <a:custGeom>
              <a:avLst/>
              <a:gdLst>
                <a:gd name="T0" fmla="*/ 193 w 868"/>
                <a:gd name="T1" fmla="*/ 708 h 710"/>
                <a:gd name="T2" fmla="*/ 657 w 868"/>
                <a:gd name="T3" fmla="*/ 709 h 710"/>
                <a:gd name="T4" fmla="*/ 731 w 868"/>
                <a:gd name="T5" fmla="*/ 580 h 710"/>
                <a:gd name="T6" fmla="*/ 801 w 868"/>
                <a:gd name="T7" fmla="*/ 451 h 710"/>
                <a:gd name="T8" fmla="*/ 867 w 868"/>
                <a:gd name="T9" fmla="*/ 317 h 710"/>
                <a:gd name="T10" fmla="*/ 728 w 868"/>
                <a:gd name="T11" fmla="*/ 398 h 710"/>
                <a:gd name="T12" fmla="*/ 693 w 868"/>
                <a:gd name="T13" fmla="*/ 348 h 710"/>
                <a:gd name="T14" fmla="*/ 655 w 868"/>
                <a:gd name="T15" fmla="*/ 300 h 710"/>
                <a:gd name="T16" fmla="*/ 613 w 868"/>
                <a:gd name="T17" fmla="*/ 254 h 710"/>
                <a:gd name="T18" fmla="*/ 567 w 868"/>
                <a:gd name="T19" fmla="*/ 212 h 710"/>
                <a:gd name="T20" fmla="*/ 519 w 868"/>
                <a:gd name="T21" fmla="*/ 174 h 710"/>
                <a:gd name="T22" fmla="*/ 468 w 868"/>
                <a:gd name="T23" fmla="*/ 139 h 710"/>
                <a:gd name="T24" fmla="*/ 415 w 868"/>
                <a:gd name="T25" fmla="*/ 107 h 710"/>
                <a:gd name="T26" fmla="*/ 360 w 868"/>
                <a:gd name="T27" fmla="*/ 79 h 710"/>
                <a:gd name="T28" fmla="*/ 303 w 868"/>
                <a:gd name="T29" fmla="*/ 56 h 710"/>
                <a:gd name="T30" fmla="*/ 244 w 868"/>
                <a:gd name="T31" fmla="*/ 36 h 710"/>
                <a:gd name="T32" fmla="*/ 185 w 868"/>
                <a:gd name="T33" fmla="*/ 20 h 710"/>
                <a:gd name="T34" fmla="*/ 124 w 868"/>
                <a:gd name="T35" fmla="*/ 9 h 710"/>
                <a:gd name="T36" fmla="*/ 62 w 868"/>
                <a:gd name="T37" fmla="*/ 2 h 710"/>
                <a:gd name="T38" fmla="*/ 0 w 868"/>
                <a:gd name="T39" fmla="*/ 0 h 710"/>
                <a:gd name="T40" fmla="*/ 165 w 868"/>
                <a:gd name="T41" fmla="*/ 205 h 710"/>
                <a:gd name="T42" fmla="*/ 63 w 868"/>
                <a:gd name="T43" fmla="*/ 444 h 710"/>
                <a:gd name="T44" fmla="*/ 105 w 868"/>
                <a:gd name="T45" fmla="*/ 453 h 710"/>
                <a:gd name="T46" fmla="*/ 146 w 868"/>
                <a:gd name="T47" fmla="*/ 466 h 710"/>
                <a:gd name="T48" fmla="*/ 185 w 868"/>
                <a:gd name="T49" fmla="*/ 483 h 710"/>
                <a:gd name="T50" fmla="*/ 222 w 868"/>
                <a:gd name="T51" fmla="*/ 503 h 710"/>
                <a:gd name="T52" fmla="*/ 257 w 868"/>
                <a:gd name="T53" fmla="*/ 528 h 710"/>
                <a:gd name="T54" fmla="*/ 290 w 868"/>
                <a:gd name="T55" fmla="*/ 555 h 710"/>
                <a:gd name="T56" fmla="*/ 320 w 868"/>
                <a:gd name="T57" fmla="*/ 585 h 710"/>
                <a:gd name="T58" fmla="*/ 349 w 868"/>
                <a:gd name="T59" fmla="*/ 618 h 710"/>
                <a:gd name="T60" fmla="*/ 193 w 868"/>
                <a:gd name="T61" fmla="*/ 708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68" h="710">
                  <a:moveTo>
                    <a:pt x="193" y="708"/>
                  </a:moveTo>
                  <a:lnTo>
                    <a:pt x="657" y="709"/>
                  </a:lnTo>
                  <a:lnTo>
                    <a:pt x="731" y="580"/>
                  </a:lnTo>
                  <a:lnTo>
                    <a:pt x="801" y="451"/>
                  </a:lnTo>
                  <a:lnTo>
                    <a:pt x="867" y="317"/>
                  </a:lnTo>
                  <a:lnTo>
                    <a:pt x="728" y="398"/>
                  </a:lnTo>
                  <a:lnTo>
                    <a:pt x="693" y="348"/>
                  </a:lnTo>
                  <a:lnTo>
                    <a:pt x="655" y="300"/>
                  </a:lnTo>
                  <a:lnTo>
                    <a:pt x="613" y="254"/>
                  </a:lnTo>
                  <a:lnTo>
                    <a:pt x="567" y="212"/>
                  </a:lnTo>
                  <a:lnTo>
                    <a:pt x="519" y="174"/>
                  </a:lnTo>
                  <a:lnTo>
                    <a:pt x="468" y="139"/>
                  </a:lnTo>
                  <a:lnTo>
                    <a:pt x="415" y="107"/>
                  </a:lnTo>
                  <a:lnTo>
                    <a:pt x="360" y="79"/>
                  </a:lnTo>
                  <a:lnTo>
                    <a:pt x="303" y="56"/>
                  </a:lnTo>
                  <a:lnTo>
                    <a:pt x="244" y="36"/>
                  </a:lnTo>
                  <a:lnTo>
                    <a:pt x="185" y="20"/>
                  </a:lnTo>
                  <a:lnTo>
                    <a:pt x="124" y="9"/>
                  </a:lnTo>
                  <a:lnTo>
                    <a:pt x="62" y="2"/>
                  </a:lnTo>
                  <a:lnTo>
                    <a:pt x="0" y="0"/>
                  </a:lnTo>
                  <a:lnTo>
                    <a:pt x="165" y="205"/>
                  </a:lnTo>
                  <a:lnTo>
                    <a:pt x="63" y="444"/>
                  </a:lnTo>
                  <a:lnTo>
                    <a:pt x="105" y="453"/>
                  </a:lnTo>
                  <a:lnTo>
                    <a:pt x="146" y="466"/>
                  </a:lnTo>
                  <a:lnTo>
                    <a:pt x="185" y="483"/>
                  </a:lnTo>
                  <a:lnTo>
                    <a:pt x="222" y="503"/>
                  </a:lnTo>
                  <a:lnTo>
                    <a:pt x="257" y="528"/>
                  </a:lnTo>
                  <a:lnTo>
                    <a:pt x="290" y="555"/>
                  </a:lnTo>
                  <a:lnTo>
                    <a:pt x="320" y="585"/>
                  </a:lnTo>
                  <a:lnTo>
                    <a:pt x="349" y="618"/>
                  </a:lnTo>
                  <a:lnTo>
                    <a:pt x="193" y="708"/>
                  </a:lnTo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6166" name="Freeform 6"/>
            <p:cNvSpPr>
              <a:spLocks/>
            </p:cNvSpPr>
            <p:nvPr/>
          </p:nvSpPr>
          <p:spPr bwMode="gray">
            <a:xfrm>
              <a:off x="3313" y="1698"/>
              <a:ext cx="774" cy="985"/>
            </a:xfrm>
            <a:custGeom>
              <a:avLst/>
              <a:gdLst>
                <a:gd name="T0" fmla="*/ 206 w 666"/>
                <a:gd name="T1" fmla="*/ 853 h 854"/>
                <a:gd name="T2" fmla="*/ 665 w 666"/>
                <a:gd name="T3" fmla="*/ 844 h 854"/>
                <a:gd name="T4" fmla="*/ 522 w 666"/>
                <a:gd name="T5" fmla="*/ 762 h 854"/>
                <a:gd name="T6" fmla="*/ 550 w 666"/>
                <a:gd name="T7" fmla="*/ 707 h 854"/>
                <a:gd name="T8" fmla="*/ 573 w 666"/>
                <a:gd name="T9" fmla="*/ 651 h 854"/>
                <a:gd name="T10" fmla="*/ 593 w 666"/>
                <a:gd name="T11" fmla="*/ 594 h 854"/>
                <a:gd name="T12" fmla="*/ 606 w 666"/>
                <a:gd name="T13" fmla="*/ 534 h 854"/>
                <a:gd name="T14" fmla="*/ 618 w 666"/>
                <a:gd name="T15" fmla="*/ 474 h 854"/>
                <a:gd name="T16" fmla="*/ 624 w 666"/>
                <a:gd name="T17" fmla="*/ 414 h 854"/>
                <a:gd name="T18" fmla="*/ 626 w 666"/>
                <a:gd name="T19" fmla="*/ 353 h 854"/>
                <a:gd name="T20" fmla="*/ 624 w 666"/>
                <a:gd name="T21" fmla="*/ 292 h 854"/>
                <a:gd name="T22" fmla="*/ 617 w 666"/>
                <a:gd name="T23" fmla="*/ 232 h 854"/>
                <a:gd name="T24" fmla="*/ 606 w 666"/>
                <a:gd name="T25" fmla="*/ 172 h 854"/>
                <a:gd name="T26" fmla="*/ 591 w 666"/>
                <a:gd name="T27" fmla="*/ 113 h 854"/>
                <a:gd name="T28" fmla="*/ 571 w 666"/>
                <a:gd name="T29" fmla="*/ 56 h 854"/>
                <a:gd name="T30" fmla="*/ 548 w 666"/>
                <a:gd name="T31" fmla="*/ 0 h 854"/>
                <a:gd name="T32" fmla="*/ 426 w 666"/>
                <a:gd name="T33" fmla="*/ 219 h 854"/>
                <a:gd name="T34" fmla="*/ 163 w 666"/>
                <a:gd name="T35" fmla="*/ 215 h 854"/>
                <a:gd name="T36" fmla="*/ 174 w 666"/>
                <a:gd name="T37" fmla="*/ 255 h 854"/>
                <a:gd name="T38" fmla="*/ 181 w 666"/>
                <a:gd name="T39" fmla="*/ 297 h 854"/>
                <a:gd name="T40" fmla="*/ 184 w 666"/>
                <a:gd name="T41" fmla="*/ 339 h 854"/>
                <a:gd name="T42" fmla="*/ 183 w 666"/>
                <a:gd name="T43" fmla="*/ 380 h 854"/>
                <a:gd name="T44" fmla="*/ 179 w 666"/>
                <a:gd name="T45" fmla="*/ 422 h 854"/>
                <a:gd name="T46" fmla="*/ 170 w 666"/>
                <a:gd name="T47" fmla="*/ 463 h 854"/>
                <a:gd name="T48" fmla="*/ 159 w 666"/>
                <a:gd name="T49" fmla="*/ 504 h 854"/>
                <a:gd name="T50" fmla="*/ 142 w 666"/>
                <a:gd name="T51" fmla="*/ 542 h 854"/>
                <a:gd name="T52" fmla="*/ 0 w 666"/>
                <a:gd name="T53" fmla="*/ 464 h 854"/>
                <a:gd name="T54" fmla="*/ 206 w 666"/>
                <a:gd name="T55" fmla="*/ 853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6" h="854">
                  <a:moveTo>
                    <a:pt x="206" y="853"/>
                  </a:moveTo>
                  <a:lnTo>
                    <a:pt x="665" y="844"/>
                  </a:lnTo>
                  <a:lnTo>
                    <a:pt x="522" y="762"/>
                  </a:lnTo>
                  <a:lnTo>
                    <a:pt x="550" y="707"/>
                  </a:lnTo>
                  <a:lnTo>
                    <a:pt x="573" y="651"/>
                  </a:lnTo>
                  <a:lnTo>
                    <a:pt x="593" y="594"/>
                  </a:lnTo>
                  <a:lnTo>
                    <a:pt x="606" y="534"/>
                  </a:lnTo>
                  <a:lnTo>
                    <a:pt x="618" y="474"/>
                  </a:lnTo>
                  <a:lnTo>
                    <a:pt x="624" y="414"/>
                  </a:lnTo>
                  <a:lnTo>
                    <a:pt x="626" y="353"/>
                  </a:lnTo>
                  <a:lnTo>
                    <a:pt x="624" y="292"/>
                  </a:lnTo>
                  <a:lnTo>
                    <a:pt x="617" y="232"/>
                  </a:lnTo>
                  <a:lnTo>
                    <a:pt x="606" y="172"/>
                  </a:lnTo>
                  <a:lnTo>
                    <a:pt x="591" y="113"/>
                  </a:lnTo>
                  <a:lnTo>
                    <a:pt x="571" y="56"/>
                  </a:lnTo>
                  <a:lnTo>
                    <a:pt x="548" y="0"/>
                  </a:lnTo>
                  <a:lnTo>
                    <a:pt x="426" y="219"/>
                  </a:lnTo>
                  <a:lnTo>
                    <a:pt x="163" y="215"/>
                  </a:lnTo>
                  <a:lnTo>
                    <a:pt x="174" y="255"/>
                  </a:lnTo>
                  <a:lnTo>
                    <a:pt x="181" y="297"/>
                  </a:lnTo>
                  <a:lnTo>
                    <a:pt x="184" y="339"/>
                  </a:lnTo>
                  <a:lnTo>
                    <a:pt x="183" y="380"/>
                  </a:lnTo>
                  <a:lnTo>
                    <a:pt x="179" y="422"/>
                  </a:lnTo>
                  <a:lnTo>
                    <a:pt x="170" y="463"/>
                  </a:lnTo>
                  <a:lnTo>
                    <a:pt x="159" y="504"/>
                  </a:lnTo>
                  <a:lnTo>
                    <a:pt x="142" y="542"/>
                  </a:lnTo>
                  <a:lnTo>
                    <a:pt x="0" y="464"/>
                  </a:lnTo>
                  <a:lnTo>
                    <a:pt x="206" y="853"/>
                  </a:lnTo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6167" name="Freeform 7"/>
            <p:cNvSpPr>
              <a:spLocks/>
            </p:cNvSpPr>
            <p:nvPr/>
          </p:nvSpPr>
          <p:spPr bwMode="gray">
            <a:xfrm>
              <a:off x="2826" y="2420"/>
              <a:ext cx="1015" cy="901"/>
            </a:xfrm>
            <a:custGeom>
              <a:avLst/>
              <a:gdLst>
                <a:gd name="T0" fmla="*/ 0 w 873"/>
                <a:gd name="T1" fmla="*/ 391 h 782"/>
                <a:gd name="T2" fmla="*/ 219 w 873"/>
                <a:gd name="T3" fmla="*/ 781 h 782"/>
                <a:gd name="T4" fmla="*/ 219 w 873"/>
                <a:gd name="T5" fmla="*/ 602 h 782"/>
                <a:gd name="T6" fmla="*/ 277 w 873"/>
                <a:gd name="T7" fmla="*/ 597 h 782"/>
                <a:gd name="T8" fmla="*/ 336 w 873"/>
                <a:gd name="T9" fmla="*/ 587 h 782"/>
                <a:gd name="T10" fmla="*/ 393 w 873"/>
                <a:gd name="T11" fmla="*/ 574 h 782"/>
                <a:gd name="T12" fmla="*/ 449 w 873"/>
                <a:gd name="T13" fmla="*/ 557 h 782"/>
                <a:gd name="T14" fmla="*/ 504 w 873"/>
                <a:gd name="T15" fmla="*/ 536 h 782"/>
                <a:gd name="T16" fmla="*/ 558 w 873"/>
                <a:gd name="T17" fmla="*/ 512 h 782"/>
                <a:gd name="T18" fmla="*/ 609 w 873"/>
                <a:gd name="T19" fmla="*/ 484 h 782"/>
                <a:gd name="T20" fmla="*/ 660 w 873"/>
                <a:gd name="T21" fmla="*/ 453 h 782"/>
                <a:gd name="T22" fmla="*/ 706 w 873"/>
                <a:gd name="T23" fmla="*/ 417 h 782"/>
                <a:gd name="T24" fmla="*/ 753 w 873"/>
                <a:gd name="T25" fmla="*/ 379 h 782"/>
                <a:gd name="T26" fmla="*/ 795 w 873"/>
                <a:gd name="T27" fmla="*/ 337 h 782"/>
                <a:gd name="T28" fmla="*/ 836 w 873"/>
                <a:gd name="T29" fmla="*/ 292 h 782"/>
                <a:gd name="T30" fmla="*/ 872 w 873"/>
                <a:gd name="T31" fmla="*/ 246 h 782"/>
                <a:gd name="T32" fmla="*/ 608 w 873"/>
                <a:gd name="T33" fmla="*/ 260 h 782"/>
                <a:gd name="T34" fmla="*/ 488 w 873"/>
                <a:gd name="T35" fmla="*/ 27 h 782"/>
                <a:gd name="T36" fmla="*/ 463 w 873"/>
                <a:gd name="T37" fmla="*/ 51 h 782"/>
                <a:gd name="T38" fmla="*/ 436 w 873"/>
                <a:gd name="T39" fmla="*/ 73 h 782"/>
                <a:gd name="T40" fmla="*/ 404 w 873"/>
                <a:gd name="T41" fmla="*/ 95 h 782"/>
                <a:gd name="T42" fmla="*/ 370 w 873"/>
                <a:gd name="T43" fmla="*/ 116 h 782"/>
                <a:gd name="T44" fmla="*/ 333 w 873"/>
                <a:gd name="T45" fmla="*/ 132 h 782"/>
                <a:gd name="T46" fmla="*/ 297 w 873"/>
                <a:gd name="T47" fmla="*/ 146 h 782"/>
                <a:gd name="T48" fmla="*/ 259 w 873"/>
                <a:gd name="T49" fmla="*/ 156 h 782"/>
                <a:gd name="T50" fmla="*/ 219 w 873"/>
                <a:gd name="T51" fmla="*/ 163 h 782"/>
                <a:gd name="T52" fmla="*/ 219 w 873"/>
                <a:gd name="T53" fmla="*/ 0 h 782"/>
                <a:gd name="T54" fmla="*/ 0 w 873"/>
                <a:gd name="T55" fmla="*/ 391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3" h="782">
                  <a:moveTo>
                    <a:pt x="0" y="391"/>
                  </a:moveTo>
                  <a:lnTo>
                    <a:pt x="219" y="781"/>
                  </a:lnTo>
                  <a:lnTo>
                    <a:pt x="219" y="602"/>
                  </a:lnTo>
                  <a:lnTo>
                    <a:pt x="277" y="597"/>
                  </a:lnTo>
                  <a:lnTo>
                    <a:pt x="336" y="587"/>
                  </a:lnTo>
                  <a:lnTo>
                    <a:pt x="393" y="574"/>
                  </a:lnTo>
                  <a:lnTo>
                    <a:pt x="449" y="557"/>
                  </a:lnTo>
                  <a:lnTo>
                    <a:pt x="504" y="536"/>
                  </a:lnTo>
                  <a:lnTo>
                    <a:pt x="558" y="512"/>
                  </a:lnTo>
                  <a:lnTo>
                    <a:pt x="609" y="484"/>
                  </a:lnTo>
                  <a:lnTo>
                    <a:pt x="660" y="453"/>
                  </a:lnTo>
                  <a:lnTo>
                    <a:pt x="706" y="417"/>
                  </a:lnTo>
                  <a:lnTo>
                    <a:pt x="753" y="379"/>
                  </a:lnTo>
                  <a:lnTo>
                    <a:pt x="795" y="337"/>
                  </a:lnTo>
                  <a:lnTo>
                    <a:pt x="836" y="292"/>
                  </a:lnTo>
                  <a:lnTo>
                    <a:pt x="872" y="246"/>
                  </a:lnTo>
                  <a:lnTo>
                    <a:pt x="608" y="260"/>
                  </a:lnTo>
                  <a:lnTo>
                    <a:pt x="488" y="27"/>
                  </a:lnTo>
                  <a:lnTo>
                    <a:pt x="463" y="51"/>
                  </a:lnTo>
                  <a:lnTo>
                    <a:pt x="436" y="73"/>
                  </a:lnTo>
                  <a:lnTo>
                    <a:pt x="404" y="95"/>
                  </a:lnTo>
                  <a:lnTo>
                    <a:pt x="370" y="116"/>
                  </a:lnTo>
                  <a:lnTo>
                    <a:pt x="333" y="132"/>
                  </a:lnTo>
                  <a:lnTo>
                    <a:pt x="297" y="146"/>
                  </a:lnTo>
                  <a:lnTo>
                    <a:pt x="259" y="156"/>
                  </a:lnTo>
                  <a:lnTo>
                    <a:pt x="219" y="163"/>
                  </a:lnTo>
                  <a:lnTo>
                    <a:pt x="219" y="0"/>
                  </a:lnTo>
                  <a:lnTo>
                    <a:pt x="0" y="391"/>
                  </a:lnTo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6168" name="Freeform 8"/>
            <p:cNvSpPr>
              <a:spLocks/>
            </p:cNvSpPr>
            <p:nvPr/>
          </p:nvSpPr>
          <p:spPr bwMode="gray">
            <a:xfrm>
              <a:off x="1969" y="2307"/>
              <a:ext cx="964" cy="806"/>
            </a:xfrm>
            <a:custGeom>
              <a:avLst/>
              <a:gdLst>
                <a:gd name="T0" fmla="*/ 291 w 829"/>
                <a:gd name="T1" fmla="*/ 0 h 698"/>
                <a:gd name="T2" fmla="*/ 0 w 829"/>
                <a:gd name="T3" fmla="*/ 352 h 698"/>
                <a:gd name="T4" fmla="*/ 162 w 829"/>
                <a:gd name="T5" fmla="*/ 292 h 698"/>
                <a:gd name="T6" fmla="*/ 197 w 829"/>
                <a:gd name="T7" fmla="*/ 344 h 698"/>
                <a:gd name="T8" fmla="*/ 236 w 829"/>
                <a:gd name="T9" fmla="*/ 392 h 698"/>
                <a:gd name="T10" fmla="*/ 277 w 829"/>
                <a:gd name="T11" fmla="*/ 437 h 698"/>
                <a:gd name="T12" fmla="*/ 321 w 829"/>
                <a:gd name="T13" fmla="*/ 479 h 698"/>
                <a:gd name="T14" fmla="*/ 368 w 829"/>
                <a:gd name="T15" fmla="*/ 519 h 698"/>
                <a:gd name="T16" fmla="*/ 418 w 829"/>
                <a:gd name="T17" fmla="*/ 554 h 698"/>
                <a:gd name="T18" fmla="*/ 471 w 829"/>
                <a:gd name="T19" fmla="*/ 587 h 698"/>
                <a:gd name="T20" fmla="*/ 524 w 829"/>
                <a:gd name="T21" fmla="*/ 615 h 698"/>
                <a:gd name="T22" fmla="*/ 582 w 829"/>
                <a:gd name="T23" fmla="*/ 640 h 698"/>
                <a:gd name="T24" fmla="*/ 639 w 829"/>
                <a:gd name="T25" fmla="*/ 660 h 698"/>
                <a:gd name="T26" fmla="*/ 699 w 829"/>
                <a:gd name="T27" fmla="*/ 677 h 698"/>
                <a:gd name="T28" fmla="*/ 758 w 829"/>
                <a:gd name="T29" fmla="*/ 689 h 698"/>
                <a:gd name="T30" fmla="*/ 819 w 829"/>
                <a:gd name="T31" fmla="*/ 697 h 698"/>
                <a:gd name="T32" fmla="*/ 700 w 829"/>
                <a:gd name="T33" fmla="*/ 494 h 698"/>
                <a:gd name="T34" fmla="*/ 828 w 829"/>
                <a:gd name="T35" fmla="*/ 256 h 698"/>
                <a:gd name="T36" fmla="*/ 785 w 829"/>
                <a:gd name="T37" fmla="*/ 247 h 698"/>
                <a:gd name="T38" fmla="*/ 743 w 829"/>
                <a:gd name="T39" fmla="*/ 233 h 698"/>
                <a:gd name="T40" fmla="*/ 702 w 829"/>
                <a:gd name="T41" fmla="*/ 214 h 698"/>
                <a:gd name="T42" fmla="*/ 664 w 829"/>
                <a:gd name="T43" fmla="*/ 192 h 698"/>
                <a:gd name="T44" fmla="*/ 627 w 829"/>
                <a:gd name="T45" fmla="*/ 165 h 698"/>
                <a:gd name="T46" fmla="*/ 595 w 829"/>
                <a:gd name="T47" fmla="*/ 136 h 698"/>
                <a:gd name="T48" fmla="*/ 733 w 829"/>
                <a:gd name="T49" fmla="*/ 84 h 698"/>
                <a:gd name="T50" fmla="*/ 291 w 829"/>
                <a:gd name="T51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29" h="698">
                  <a:moveTo>
                    <a:pt x="291" y="0"/>
                  </a:moveTo>
                  <a:lnTo>
                    <a:pt x="0" y="352"/>
                  </a:lnTo>
                  <a:lnTo>
                    <a:pt x="162" y="292"/>
                  </a:lnTo>
                  <a:lnTo>
                    <a:pt x="197" y="344"/>
                  </a:lnTo>
                  <a:lnTo>
                    <a:pt x="236" y="392"/>
                  </a:lnTo>
                  <a:lnTo>
                    <a:pt x="277" y="437"/>
                  </a:lnTo>
                  <a:lnTo>
                    <a:pt x="321" y="479"/>
                  </a:lnTo>
                  <a:lnTo>
                    <a:pt x="368" y="519"/>
                  </a:lnTo>
                  <a:lnTo>
                    <a:pt x="418" y="554"/>
                  </a:lnTo>
                  <a:lnTo>
                    <a:pt x="471" y="587"/>
                  </a:lnTo>
                  <a:lnTo>
                    <a:pt x="524" y="615"/>
                  </a:lnTo>
                  <a:lnTo>
                    <a:pt x="582" y="640"/>
                  </a:lnTo>
                  <a:lnTo>
                    <a:pt x="639" y="660"/>
                  </a:lnTo>
                  <a:lnTo>
                    <a:pt x="699" y="677"/>
                  </a:lnTo>
                  <a:lnTo>
                    <a:pt x="758" y="689"/>
                  </a:lnTo>
                  <a:lnTo>
                    <a:pt x="819" y="697"/>
                  </a:lnTo>
                  <a:lnTo>
                    <a:pt x="700" y="494"/>
                  </a:lnTo>
                  <a:lnTo>
                    <a:pt x="828" y="256"/>
                  </a:lnTo>
                  <a:lnTo>
                    <a:pt x="785" y="247"/>
                  </a:lnTo>
                  <a:lnTo>
                    <a:pt x="743" y="233"/>
                  </a:lnTo>
                  <a:lnTo>
                    <a:pt x="702" y="214"/>
                  </a:lnTo>
                  <a:lnTo>
                    <a:pt x="664" y="192"/>
                  </a:lnTo>
                  <a:lnTo>
                    <a:pt x="627" y="165"/>
                  </a:lnTo>
                  <a:lnTo>
                    <a:pt x="595" y="136"/>
                  </a:lnTo>
                  <a:lnTo>
                    <a:pt x="733" y="84"/>
                  </a:lnTo>
                  <a:lnTo>
                    <a:pt x="291" y="0"/>
                  </a:lnTo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6169" name="Freeform 9"/>
            <p:cNvSpPr>
              <a:spLocks/>
            </p:cNvSpPr>
            <p:nvPr/>
          </p:nvSpPr>
          <p:spPr bwMode="gray">
            <a:xfrm>
              <a:off x="1917" y="1619"/>
              <a:ext cx="788" cy="896"/>
            </a:xfrm>
            <a:custGeom>
              <a:avLst/>
              <a:gdLst>
                <a:gd name="T0" fmla="*/ 447 w 678"/>
                <a:gd name="T1" fmla="*/ 0 h 778"/>
                <a:gd name="T2" fmla="*/ 0 w 678"/>
                <a:gd name="T3" fmla="*/ 1 h 778"/>
                <a:gd name="T4" fmla="*/ 140 w 678"/>
                <a:gd name="T5" fmla="*/ 82 h 778"/>
                <a:gd name="T6" fmla="*/ 120 w 678"/>
                <a:gd name="T7" fmla="*/ 138 h 778"/>
                <a:gd name="T8" fmla="*/ 102 w 678"/>
                <a:gd name="T9" fmla="*/ 195 h 778"/>
                <a:gd name="T10" fmla="*/ 89 w 678"/>
                <a:gd name="T11" fmla="*/ 253 h 778"/>
                <a:gd name="T12" fmla="*/ 79 w 678"/>
                <a:gd name="T13" fmla="*/ 312 h 778"/>
                <a:gd name="T14" fmla="*/ 74 w 678"/>
                <a:gd name="T15" fmla="*/ 372 h 778"/>
                <a:gd name="T16" fmla="*/ 73 w 678"/>
                <a:gd name="T17" fmla="*/ 430 h 778"/>
                <a:gd name="T18" fmla="*/ 75 w 678"/>
                <a:gd name="T19" fmla="*/ 490 h 778"/>
                <a:gd name="T20" fmla="*/ 82 w 678"/>
                <a:gd name="T21" fmla="*/ 549 h 778"/>
                <a:gd name="T22" fmla="*/ 93 w 678"/>
                <a:gd name="T23" fmla="*/ 608 h 778"/>
                <a:gd name="T24" fmla="*/ 107 w 678"/>
                <a:gd name="T25" fmla="*/ 666 h 778"/>
                <a:gd name="T26" fmla="*/ 125 w 678"/>
                <a:gd name="T27" fmla="*/ 722 h 778"/>
                <a:gd name="T28" fmla="*/ 148 w 678"/>
                <a:gd name="T29" fmla="*/ 777 h 778"/>
                <a:gd name="T30" fmla="*/ 323 w 678"/>
                <a:gd name="T31" fmla="*/ 565 h 778"/>
                <a:gd name="T32" fmla="*/ 550 w 678"/>
                <a:gd name="T33" fmla="*/ 602 h 778"/>
                <a:gd name="T34" fmla="*/ 533 w 678"/>
                <a:gd name="T35" fmla="*/ 561 h 778"/>
                <a:gd name="T36" fmla="*/ 522 w 678"/>
                <a:gd name="T37" fmla="*/ 520 h 778"/>
                <a:gd name="T38" fmla="*/ 515 w 678"/>
                <a:gd name="T39" fmla="*/ 477 h 778"/>
                <a:gd name="T40" fmla="*/ 511 w 678"/>
                <a:gd name="T41" fmla="*/ 434 h 778"/>
                <a:gd name="T42" fmla="*/ 511 w 678"/>
                <a:gd name="T43" fmla="*/ 390 h 778"/>
                <a:gd name="T44" fmla="*/ 517 w 678"/>
                <a:gd name="T45" fmla="*/ 347 h 778"/>
                <a:gd name="T46" fmla="*/ 526 w 678"/>
                <a:gd name="T47" fmla="*/ 305 h 778"/>
                <a:gd name="T48" fmla="*/ 677 w 678"/>
                <a:gd name="T49" fmla="*/ 392 h 778"/>
                <a:gd name="T50" fmla="*/ 447 w 678"/>
                <a:gd name="T51" fmla="*/ 0 h 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8" h="778">
                  <a:moveTo>
                    <a:pt x="447" y="0"/>
                  </a:moveTo>
                  <a:lnTo>
                    <a:pt x="0" y="1"/>
                  </a:lnTo>
                  <a:lnTo>
                    <a:pt x="140" y="82"/>
                  </a:lnTo>
                  <a:lnTo>
                    <a:pt x="120" y="138"/>
                  </a:lnTo>
                  <a:lnTo>
                    <a:pt x="102" y="195"/>
                  </a:lnTo>
                  <a:lnTo>
                    <a:pt x="89" y="253"/>
                  </a:lnTo>
                  <a:lnTo>
                    <a:pt x="79" y="312"/>
                  </a:lnTo>
                  <a:lnTo>
                    <a:pt x="74" y="372"/>
                  </a:lnTo>
                  <a:lnTo>
                    <a:pt x="73" y="430"/>
                  </a:lnTo>
                  <a:lnTo>
                    <a:pt x="75" y="490"/>
                  </a:lnTo>
                  <a:lnTo>
                    <a:pt x="82" y="549"/>
                  </a:lnTo>
                  <a:lnTo>
                    <a:pt x="93" y="608"/>
                  </a:lnTo>
                  <a:lnTo>
                    <a:pt x="107" y="666"/>
                  </a:lnTo>
                  <a:lnTo>
                    <a:pt x="125" y="722"/>
                  </a:lnTo>
                  <a:lnTo>
                    <a:pt x="148" y="777"/>
                  </a:lnTo>
                  <a:lnTo>
                    <a:pt x="323" y="565"/>
                  </a:lnTo>
                  <a:lnTo>
                    <a:pt x="550" y="602"/>
                  </a:lnTo>
                  <a:lnTo>
                    <a:pt x="533" y="561"/>
                  </a:lnTo>
                  <a:lnTo>
                    <a:pt x="522" y="520"/>
                  </a:lnTo>
                  <a:lnTo>
                    <a:pt x="515" y="477"/>
                  </a:lnTo>
                  <a:lnTo>
                    <a:pt x="511" y="434"/>
                  </a:lnTo>
                  <a:lnTo>
                    <a:pt x="511" y="390"/>
                  </a:lnTo>
                  <a:lnTo>
                    <a:pt x="517" y="347"/>
                  </a:lnTo>
                  <a:lnTo>
                    <a:pt x="526" y="305"/>
                  </a:lnTo>
                  <a:lnTo>
                    <a:pt x="677" y="392"/>
                  </a:lnTo>
                  <a:lnTo>
                    <a:pt x="447" y="0"/>
                  </a:lnTo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6170" name="Rectangle 10"/>
            <p:cNvSpPr>
              <a:spLocks noChangeArrowheads="1"/>
            </p:cNvSpPr>
            <p:nvPr/>
          </p:nvSpPr>
          <p:spPr bwMode="gray">
            <a:xfrm>
              <a:off x="1206" y="1311"/>
              <a:ext cx="1675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96171" name="Rectangle 11"/>
            <p:cNvSpPr>
              <a:spLocks noChangeArrowheads="1"/>
            </p:cNvSpPr>
            <p:nvPr/>
          </p:nvSpPr>
          <p:spPr bwMode="gray">
            <a:xfrm>
              <a:off x="3522" y="2169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96172" name="Rectangle 12"/>
            <p:cNvSpPr>
              <a:spLocks noChangeArrowheads="1"/>
            </p:cNvSpPr>
            <p:nvPr/>
          </p:nvSpPr>
          <p:spPr bwMode="gray">
            <a:xfrm>
              <a:off x="3258" y="1455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96173" name="Rectangle 13"/>
            <p:cNvSpPr>
              <a:spLocks noChangeArrowheads="1"/>
            </p:cNvSpPr>
            <p:nvPr/>
          </p:nvSpPr>
          <p:spPr bwMode="gray">
            <a:xfrm>
              <a:off x="3042" y="2757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96174" name="Rectangle 14"/>
            <p:cNvSpPr>
              <a:spLocks noChangeArrowheads="1"/>
            </p:cNvSpPr>
            <p:nvPr/>
          </p:nvSpPr>
          <p:spPr bwMode="gray">
            <a:xfrm>
              <a:off x="2280" y="2583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96175" name="Rectangle 15"/>
            <p:cNvSpPr>
              <a:spLocks noChangeArrowheads="1"/>
            </p:cNvSpPr>
            <p:nvPr/>
          </p:nvSpPr>
          <p:spPr bwMode="gray">
            <a:xfrm>
              <a:off x="2040" y="1893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4291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67500" name="Group 12"/>
          <p:cNvGrpSpPr>
            <a:grpSpLocks/>
          </p:cNvGrpSpPr>
          <p:nvPr/>
        </p:nvGrpSpPr>
        <p:grpSpPr bwMode="auto">
          <a:xfrm>
            <a:off x="3990975" y="1861185"/>
            <a:ext cx="4210050" cy="3924300"/>
            <a:chOff x="1434" y="990"/>
            <a:chExt cx="2652" cy="2472"/>
          </a:xfrm>
        </p:grpSpPr>
        <p:grpSp>
          <p:nvGrpSpPr>
            <p:cNvPr id="2367492" name="Group 4"/>
            <p:cNvGrpSpPr>
              <a:grpSpLocks/>
            </p:cNvGrpSpPr>
            <p:nvPr/>
          </p:nvGrpSpPr>
          <p:grpSpPr bwMode="auto">
            <a:xfrm>
              <a:off x="1434" y="990"/>
              <a:ext cx="2652" cy="2472"/>
              <a:chOff x="1434" y="990"/>
              <a:chExt cx="2652" cy="2472"/>
            </a:xfrm>
          </p:grpSpPr>
          <p:sp>
            <p:nvSpPr>
              <p:cNvPr id="2367493" name="Oval 5"/>
              <p:cNvSpPr>
                <a:spLocks noChangeArrowheads="1"/>
              </p:cNvSpPr>
              <p:nvPr/>
            </p:nvSpPr>
            <p:spPr bwMode="gray">
              <a:xfrm>
                <a:off x="1606" y="990"/>
                <a:ext cx="2480" cy="247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367494" name="Oval 6"/>
              <p:cNvSpPr>
                <a:spLocks noChangeArrowheads="1"/>
              </p:cNvSpPr>
              <p:nvPr/>
            </p:nvSpPr>
            <p:spPr bwMode="gray">
              <a:xfrm>
                <a:off x="2095" y="1493"/>
                <a:ext cx="1501" cy="1496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367495" name="Freeform 7"/>
              <p:cNvSpPr>
                <a:spLocks/>
              </p:cNvSpPr>
              <p:nvPr/>
            </p:nvSpPr>
            <p:spPr bwMode="gray">
              <a:xfrm>
                <a:off x="1434" y="2062"/>
                <a:ext cx="0" cy="174"/>
              </a:xfrm>
              <a:custGeom>
                <a:avLst/>
                <a:gdLst>
                  <a:gd name="T0" fmla="*/ 162 w 828"/>
                  <a:gd name="T1" fmla="*/ 240 h 240"/>
                  <a:gd name="T2" fmla="*/ 0 w 828"/>
                  <a:gd name="T3" fmla="*/ 240 h 240"/>
                  <a:gd name="T4" fmla="*/ 412 w 828"/>
                  <a:gd name="T5" fmla="*/ 0 h 240"/>
                  <a:gd name="T6" fmla="*/ 828 w 828"/>
                  <a:gd name="T7" fmla="*/ 240 h 240"/>
                  <a:gd name="T8" fmla="*/ 618 w 828"/>
                  <a:gd name="T9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8" h="240">
                    <a:moveTo>
                      <a:pt x="162" y="240"/>
                    </a:moveTo>
                    <a:lnTo>
                      <a:pt x="0" y="240"/>
                    </a:lnTo>
                    <a:lnTo>
                      <a:pt x="412" y="0"/>
                    </a:lnTo>
                    <a:lnTo>
                      <a:pt x="828" y="240"/>
                    </a:lnTo>
                    <a:lnTo>
                      <a:pt x="618" y="240"/>
                    </a:lnTo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>
                <a:spAutoFit/>
              </a:bodyPr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367496" name="Freeform 8"/>
              <p:cNvSpPr>
                <a:spLocks/>
              </p:cNvSpPr>
              <p:nvPr/>
            </p:nvSpPr>
            <p:spPr bwMode="gray">
              <a:xfrm>
                <a:off x="3417" y="2310"/>
                <a:ext cx="0" cy="174"/>
              </a:xfrm>
              <a:custGeom>
                <a:avLst/>
                <a:gdLst>
                  <a:gd name="T0" fmla="*/ 162 w 828"/>
                  <a:gd name="T1" fmla="*/ 0 h 240"/>
                  <a:gd name="T2" fmla="*/ 0 w 828"/>
                  <a:gd name="T3" fmla="*/ 0 h 240"/>
                  <a:gd name="T4" fmla="*/ 412 w 828"/>
                  <a:gd name="T5" fmla="*/ 240 h 240"/>
                  <a:gd name="T6" fmla="*/ 828 w 828"/>
                  <a:gd name="T7" fmla="*/ 0 h 240"/>
                  <a:gd name="T8" fmla="*/ 626 w 828"/>
                  <a:gd name="T9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8" h="240">
                    <a:moveTo>
                      <a:pt x="162" y="0"/>
                    </a:moveTo>
                    <a:lnTo>
                      <a:pt x="0" y="0"/>
                    </a:lnTo>
                    <a:lnTo>
                      <a:pt x="412" y="240"/>
                    </a:lnTo>
                    <a:lnTo>
                      <a:pt x="828" y="0"/>
                    </a:lnTo>
                    <a:lnTo>
                      <a:pt x="626" y="0"/>
                    </a:lnTo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>
                <a:spAutoFit/>
              </a:bodyPr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sp>
          <p:nvSpPr>
            <p:cNvPr id="2367497" name="Rectangle 9"/>
            <p:cNvSpPr>
              <a:spLocks noChangeArrowheads="1"/>
            </p:cNvSpPr>
            <p:nvPr/>
          </p:nvSpPr>
          <p:spPr bwMode="gray">
            <a:xfrm>
              <a:off x="2641" y="1186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67498" name="Rectangle 10"/>
            <p:cNvSpPr>
              <a:spLocks noChangeArrowheads="1"/>
            </p:cNvSpPr>
            <p:nvPr/>
          </p:nvSpPr>
          <p:spPr bwMode="gray">
            <a:xfrm>
              <a:off x="2641" y="3154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67499" name="Rectangle 11"/>
            <p:cNvSpPr>
              <a:spLocks noChangeArrowheads="1"/>
            </p:cNvSpPr>
            <p:nvPr/>
          </p:nvSpPr>
          <p:spPr bwMode="gray">
            <a:xfrm>
              <a:off x="2451" y="2199"/>
              <a:ext cx="836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367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ycle </a:t>
            </a:r>
            <a:r>
              <a:rPr lang="en-US">
                <a:cs typeface="Arial" pitchFamily="34" charset="0"/>
              </a:rPr>
              <a:t>–</a:t>
            </a:r>
            <a:r>
              <a:rPr lang="en-US"/>
              <a:t> 2 Factor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450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95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ycle </a:t>
            </a:r>
            <a:r>
              <a:rPr lang="en-US">
                <a:cs typeface="Arial" pitchFamily="34" charset="0"/>
              </a:rPr>
              <a:t>–</a:t>
            </a:r>
            <a:r>
              <a:rPr lang="en-US"/>
              <a:t> 2 Factors</a:t>
            </a:r>
          </a:p>
        </p:txBody>
      </p:sp>
      <p:grpSp>
        <p:nvGrpSpPr>
          <p:cNvPr id="2369548" name="Group 12"/>
          <p:cNvGrpSpPr>
            <a:grpSpLocks/>
          </p:cNvGrpSpPr>
          <p:nvPr/>
        </p:nvGrpSpPr>
        <p:grpSpPr bwMode="auto">
          <a:xfrm>
            <a:off x="4335464" y="1597026"/>
            <a:ext cx="3495675" cy="3871913"/>
            <a:chOff x="1771" y="1006"/>
            <a:chExt cx="2202" cy="2439"/>
          </a:xfrm>
        </p:grpSpPr>
        <p:sp>
          <p:nvSpPr>
            <p:cNvPr id="2369540" name="Arc 4"/>
            <p:cNvSpPr>
              <a:spLocks/>
            </p:cNvSpPr>
            <p:nvPr/>
          </p:nvSpPr>
          <p:spPr bwMode="gray">
            <a:xfrm>
              <a:off x="2855" y="1135"/>
              <a:ext cx="1118" cy="2186"/>
            </a:xfrm>
            <a:custGeom>
              <a:avLst/>
              <a:gdLst>
                <a:gd name="G0" fmla="+- 331 0 0"/>
                <a:gd name="G1" fmla="+- 21600 0 0"/>
                <a:gd name="G2" fmla="+- 21600 0 0"/>
                <a:gd name="T0" fmla="*/ 331 w 21931"/>
                <a:gd name="T1" fmla="*/ 0 h 43200"/>
                <a:gd name="T2" fmla="*/ 0 w 21931"/>
                <a:gd name="T3" fmla="*/ 43197 h 43200"/>
                <a:gd name="T4" fmla="*/ 331 w 21931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931" h="43200" fill="none" extrusionOk="0">
                  <a:moveTo>
                    <a:pt x="330" y="0"/>
                  </a:moveTo>
                  <a:cubicBezTo>
                    <a:pt x="12260" y="0"/>
                    <a:pt x="21931" y="9670"/>
                    <a:pt x="21931" y="21600"/>
                  </a:cubicBezTo>
                  <a:cubicBezTo>
                    <a:pt x="21931" y="33529"/>
                    <a:pt x="12260" y="43200"/>
                    <a:pt x="331" y="43200"/>
                  </a:cubicBezTo>
                  <a:cubicBezTo>
                    <a:pt x="220" y="43200"/>
                    <a:pt x="110" y="43199"/>
                    <a:pt x="-1" y="43197"/>
                  </a:cubicBezTo>
                </a:path>
                <a:path w="21931" h="43200" stroke="0" extrusionOk="0">
                  <a:moveTo>
                    <a:pt x="330" y="0"/>
                  </a:moveTo>
                  <a:cubicBezTo>
                    <a:pt x="12260" y="0"/>
                    <a:pt x="21931" y="9670"/>
                    <a:pt x="21931" y="21600"/>
                  </a:cubicBezTo>
                  <a:cubicBezTo>
                    <a:pt x="21931" y="33529"/>
                    <a:pt x="12260" y="43200"/>
                    <a:pt x="331" y="43200"/>
                  </a:cubicBezTo>
                  <a:cubicBezTo>
                    <a:pt x="220" y="43200"/>
                    <a:pt x="110" y="43199"/>
                    <a:pt x="-1" y="43197"/>
                  </a:cubicBezTo>
                  <a:lnTo>
                    <a:pt x="331" y="216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69541" name="Arc 5"/>
            <p:cNvSpPr>
              <a:spLocks/>
            </p:cNvSpPr>
            <p:nvPr/>
          </p:nvSpPr>
          <p:spPr bwMode="gray">
            <a:xfrm>
              <a:off x="1771" y="1134"/>
              <a:ext cx="1102" cy="2187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474 w 21600"/>
                <a:gd name="T1" fmla="*/ 43200 h 43200"/>
                <a:gd name="T2" fmla="*/ 21600 w 21600"/>
                <a:gd name="T3" fmla="*/ 0 h 43200"/>
                <a:gd name="T4" fmla="*/ 2160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21474" y="43199"/>
                  </a:moveTo>
                  <a:cubicBezTo>
                    <a:pt x="9594" y="43130"/>
                    <a:pt x="0" y="33480"/>
                    <a:pt x="0" y="21600"/>
                  </a:cubicBezTo>
                  <a:cubicBezTo>
                    <a:pt x="-1" y="9670"/>
                    <a:pt x="9670" y="0"/>
                    <a:pt x="21599" y="0"/>
                  </a:cubicBezTo>
                </a:path>
                <a:path w="21600" h="43200" stroke="0" extrusionOk="0">
                  <a:moveTo>
                    <a:pt x="21474" y="43199"/>
                  </a:moveTo>
                  <a:cubicBezTo>
                    <a:pt x="9594" y="43130"/>
                    <a:pt x="0" y="33480"/>
                    <a:pt x="0" y="21600"/>
                  </a:cubicBezTo>
                  <a:cubicBezTo>
                    <a:pt x="-1" y="9670"/>
                    <a:pt x="9670" y="0"/>
                    <a:pt x="21599" y="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69542" name="Rectangle 6"/>
            <p:cNvSpPr>
              <a:spLocks noChangeArrowheads="1"/>
            </p:cNvSpPr>
            <p:nvPr/>
          </p:nvSpPr>
          <p:spPr bwMode="gray">
            <a:xfrm>
              <a:off x="3408" y="2158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69543" name="Rectangle 7"/>
            <p:cNvSpPr>
              <a:spLocks noChangeArrowheads="1"/>
            </p:cNvSpPr>
            <p:nvPr/>
          </p:nvSpPr>
          <p:spPr bwMode="gray">
            <a:xfrm>
              <a:off x="1872" y="2158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69544" name="Oval 8"/>
            <p:cNvSpPr>
              <a:spLocks noChangeArrowheads="1"/>
            </p:cNvSpPr>
            <p:nvPr/>
          </p:nvSpPr>
          <p:spPr bwMode="gray">
            <a:xfrm>
              <a:off x="2399" y="1774"/>
              <a:ext cx="932" cy="919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endParaRPr lang="de-DE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69545" name="Freeform 9"/>
            <p:cNvSpPr>
              <a:spLocks/>
            </p:cNvSpPr>
            <p:nvPr/>
          </p:nvSpPr>
          <p:spPr bwMode="gray">
            <a:xfrm rot="-10800000">
              <a:off x="2867" y="1006"/>
              <a:ext cx="181" cy="884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69546" name="Freeform 10"/>
            <p:cNvSpPr>
              <a:spLocks/>
            </p:cNvSpPr>
            <p:nvPr/>
          </p:nvSpPr>
          <p:spPr bwMode="gray">
            <a:xfrm>
              <a:off x="2695" y="2581"/>
              <a:ext cx="181" cy="864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69547" name="Rectangle 11"/>
            <p:cNvSpPr>
              <a:spLocks noChangeArrowheads="1"/>
            </p:cNvSpPr>
            <p:nvPr/>
          </p:nvSpPr>
          <p:spPr bwMode="gray">
            <a:xfrm>
              <a:off x="2636" y="2158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554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56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ycle – 3 Factors</a:t>
            </a:r>
          </a:p>
        </p:txBody>
      </p:sp>
      <p:grpSp>
        <p:nvGrpSpPr>
          <p:cNvPr id="2375695" name="Group 15"/>
          <p:cNvGrpSpPr>
            <a:grpSpLocks/>
          </p:cNvGrpSpPr>
          <p:nvPr/>
        </p:nvGrpSpPr>
        <p:grpSpPr bwMode="auto">
          <a:xfrm>
            <a:off x="4262438" y="1482726"/>
            <a:ext cx="3586162" cy="3673475"/>
            <a:chOff x="1725" y="910"/>
            <a:chExt cx="2259" cy="2314"/>
          </a:xfrm>
        </p:grpSpPr>
        <p:sp>
          <p:nvSpPr>
            <p:cNvPr id="2375684" name="Arc 4"/>
            <p:cNvSpPr>
              <a:spLocks/>
            </p:cNvSpPr>
            <p:nvPr/>
          </p:nvSpPr>
          <p:spPr bwMode="gray">
            <a:xfrm>
              <a:off x="1931" y="2130"/>
              <a:ext cx="1905" cy="1094"/>
            </a:xfrm>
            <a:custGeom>
              <a:avLst/>
              <a:gdLst>
                <a:gd name="G0" fmla="+- 18698 0 0"/>
                <a:gd name="G1" fmla="+- 0 0 0"/>
                <a:gd name="G2" fmla="+- 21600 0 0"/>
                <a:gd name="T0" fmla="*/ 37392 w 37392"/>
                <a:gd name="T1" fmla="*/ 10821 h 21600"/>
                <a:gd name="T2" fmla="*/ 0 w 37392"/>
                <a:gd name="T3" fmla="*/ 10813 h 21600"/>
                <a:gd name="T4" fmla="*/ 18698 w 37392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392" h="21600" fill="none" extrusionOk="0">
                  <a:moveTo>
                    <a:pt x="37392" y="10821"/>
                  </a:moveTo>
                  <a:cubicBezTo>
                    <a:pt x="33530" y="17492"/>
                    <a:pt x="26406" y="21599"/>
                    <a:pt x="18698" y="21600"/>
                  </a:cubicBezTo>
                  <a:cubicBezTo>
                    <a:pt x="10986" y="21600"/>
                    <a:pt x="3859" y="17488"/>
                    <a:pt x="-1" y="10813"/>
                  </a:cubicBezTo>
                </a:path>
                <a:path w="37392" h="21600" stroke="0" extrusionOk="0">
                  <a:moveTo>
                    <a:pt x="37392" y="10821"/>
                  </a:moveTo>
                  <a:cubicBezTo>
                    <a:pt x="33530" y="17492"/>
                    <a:pt x="26406" y="21599"/>
                    <a:pt x="18698" y="21600"/>
                  </a:cubicBezTo>
                  <a:cubicBezTo>
                    <a:pt x="10986" y="21600"/>
                    <a:pt x="3859" y="17488"/>
                    <a:pt x="-1" y="10813"/>
                  </a:cubicBezTo>
                  <a:lnTo>
                    <a:pt x="18698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75685" name="Arc 5"/>
            <p:cNvSpPr>
              <a:spLocks/>
            </p:cNvSpPr>
            <p:nvPr/>
          </p:nvSpPr>
          <p:spPr bwMode="gray">
            <a:xfrm>
              <a:off x="2883" y="1036"/>
              <a:ext cx="1101" cy="1642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32421"/>
                <a:gd name="T2" fmla="*/ 18694 w 21600"/>
                <a:gd name="T3" fmla="*/ 32421 h 32421"/>
                <a:gd name="T4" fmla="*/ 0 w 21600"/>
                <a:gd name="T5" fmla="*/ 21600 h 32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32421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5399"/>
                    <a:pt x="20597" y="29132"/>
                    <a:pt x="18694" y="32421"/>
                  </a:cubicBezTo>
                </a:path>
                <a:path w="21600" h="32421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5399"/>
                    <a:pt x="20597" y="29132"/>
                    <a:pt x="18694" y="32421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75686" name="Arc 6"/>
            <p:cNvSpPr>
              <a:spLocks/>
            </p:cNvSpPr>
            <p:nvPr/>
          </p:nvSpPr>
          <p:spPr bwMode="gray">
            <a:xfrm>
              <a:off x="1782" y="1036"/>
              <a:ext cx="1101" cy="1642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902 w 21600"/>
                <a:gd name="T1" fmla="*/ 32413 h 32413"/>
                <a:gd name="T2" fmla="*/ 21600 w 21600"/>
                <a:gd name="T3" fmla="*/ 0 h 32413"/>
                <a:gd name="T4" fmla="*/ 21600 w 21600"/>
                <a:gd name="T5" fmla="*/ 21600 h 32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32413" fill="none" extrusionOk="0">
                  <a:moveTo>
                    <a:pt x="2901" y="32413"/>
                  </a:moveTo>
                  <a:cubicBezTo>
                    <a:pt x="1000" y="29126"/>
                    <a:pt x="0" y="25396"/>
                    <a:pt x="0" y="21600"/>
                  </a:cubicBezTo>
                  <a:cubicBezTo>
                    <a:pt x="-1" y="9670"/>
                    <a:pt x="9670" y="0"/>
                    <a:pt x="21599" y="0"/>
                  </a:cubicBezTo>
                </a:path>
                <a:path w="21600" h="32413" stroke="0" extrusionOk="0">
                  <a:moveTo>
                    <a:pt x="2901" y="32413"/>
                  </a:moveTo>
                  <a:cubicBezTo>
                    <a:pt x="1000" y="29126"/>
                    <a:pt x="0" y="25396"/>
                    <a:pt x="0" y="21600"/>
                  </a:cubicBezTo>
                  <a:cubicBezTo>
                    <a:pt x="-1" y="9670"/>
                    <a:pt x="9670" y="0"/>
                    <a:pt x="21599" y="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75687" name="Rectangle 7"/>
            <p:cNvSpPr>
              <a:spLocks noChangeArrowheads="1"/>
            </p:cNvSpPr>
            <p:nvPr/>
          </p:nvSpPr>
          <p:spPr bwMode="gray">
            <a:xfrm>
              <a:off x="3354" y="1738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75688" name="Rectangle 8"/>
            <p:cNvSpPr>
              <a:spLocks noChangeArrowheads="1"/>
            </p:cNvSpPr>
            <p:nvPr/>
          </p:nvSpPr>
          <p:spPr bwMode="gray">
            <a:xfrm>
              <a:off x="2568" y="2824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75689" name="Rectangle 9"/>
            <p:cNvSpPr>
              <a:spLocks noChangeArrowheads="1"/>
            </p:cNvSpPr>
            <p:nvPr/>
          </p:nvSpPr>
          <p:spPr bwMode="gray">
            <a:xfrm>
              <a:off x="2076" y="1552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75690" name="Oval 10"/>
            <p:cNvSpPr>
              <a:spLocks noChangeArrowheads="1"/>
            </p:cNvSpPr>
            <p:nvPr/>
          </p:nvSpPr>
          <p:spPr bwMode="gray">
            <a:xfrm>
              <a:off x="2405" y="1687"/>
              <a:ext cx="932" cy="901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endParaRPr lang="de-DE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75691" name="Freeform 11"/>
            <p:cNvSpPr>
              <a:spLocks/>
            </p:cNvSpPr>
            <p:nvPr/>
          </p:nvSpPr>
          <p:spPr bwMode="gray">
            <a:xfrm rot="-10800000">
              <a:off x="2877" y="910"/>
              <a:ext cx="180" cy="894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75692" name="Freeform 12"/>
            <p:cNvSpPr>
              <a:spLocks/>
            </p:cNvSpPr>
            <p:nvPr/>
          </p:nvSpPr>
          <p:spPr bwMode="gray">
            <a:xfrm rot="-39548445">
              <a:off x="2065" y="2024"/>
              <a:ext cx="179" cy="860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75693" name="Freeform 13"/>
            <p:cNvSpPr>
              <a:spLocks/>
            </p:cNvSpPr>
            <p:nvPr/>
          </p:nvSpPr>
          <p:spPr bwMode="gray">
            <a:xfrm rot="-25210920">
              <a:off x="3431" y="2147"/>
              <a:ext cx="179" cy="888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75694" name="Rectangle 14"/>
            <p:cNvSpPr>
              <a:spLocks noChangeArrowheads="1"/>
            </p:cNvSpPr>
            <p:nvPr/>
          </p:nvSpPr>
          <p:spPr bwMode="gray">
            <a:xfrm>
              <a:off x="2642" y="2071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979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97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ycle – 4 Factors</a:t>
            </a:r>
          </a:p>
        </p:txBody>
      </p:sp>
      <p:grpSp>
        <p:nvGrpSpPr>
          <p:cNvPr id="2379795" name="Group 19"/>
          <p:cNvGrpSpPr>
            <a:grpSpLocks/>
          </p:cNvGrpSpPr>
          <p:nvPr/>
        </p:nvGrpSpPr>
        <p:grpSpPr bwMode="auto">
          <a:xfrm>
            <a:off x="4116389" y="1449389"/>
            <a:ext cx="3944937" cy="3862387"/>
            <a:chOff x="1633" y="913"/>
            <a:chExt cx="2485" cy="2433"/>
          </a:xfrm>
        </p:grpSpPr>
        <p:sp>
          <p:nvSpPr>
            <p:cNvPr id="2379781" name="Arc 5"/>
            <p:cNvSpPr>
              <a:spLocks/>
            </p:cNvSpPr>
            <p:nvPr/>
          </p:nvSpPr>
          <p:spPr bwMode="gray">
            <a:xfrm>
              <a:off x="2874" y="1027"/>
              <a:ext cx="1115" cy="1103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79782" name="Arc 6"/>
            <p:cNvSpPr>
              <a:spLocks/>
            </p:cNvSpPr>
            <p:nvPr/>
          </p:nvSpPr>
          <p:spPr bwMode="gray">
            <a:xfrm>
              <a:off x="2874" y="2130"/>
              <a:ext cx="1115" cy="1102"/>
            </a:xfrm>
            <a:custGeom>
              <a:avLst/>
              <a:gdLst>
                <a:gd name="G0" fmla="+- 0 0 0"/>
                <a:gd name="G1" fmla="+- 0 0 0"/>
                <a:gd name="G2" fmla="+- 21600 0 0"/>
                <a:gd name="T0" fmla="*/ 21600 w 21600"/>
                <a:gd name="T1" fmla="*/ 0 h 21600"/>
                <a:gd name="T2" fmla="*/ 0 w 21600"/>
                <a:gd name="T3" fmla="*/ 21600 h 21600"/>
                <a:gd name="T4" fmla="*/ 0 w 21600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600"/>
                  </a:cubicBezTo>
                </a:path>
                <a:path w="21600" h="21600" stroke="0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60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79783" name="Arc 7"/>
            <p:cNvSpPr>
              <a:spLocks/>
            </p:cNvSpPr>
            <p:nvPr/>
          </p:nvSpPr>
          <p:spPr bwMode="gray">
            <a:xfrm>
              <a:off x="1759" y="2130"/>
              <a:ext cx="1115" cy="1102"/>
            </a:xfrm>
            <a:custGeom>
              <a:avLst/>
              <a:gdLst>
                <a:gd name="G0" fmla="+- 21600 0 0"/>
                <a:gd name="G1" fmla="+- 0 0 0"/>
                <a:gd name="G2" fmla="+- 21600 0 0"/>
                <a:gd name="T0" fmla="*/ 21600 w 21600"/>
                <a:gd name="T1" fmla="*/ 21600 h 21600"/>
                <a:gd name="T2" fmla="*/ 0 w 21600"/>
                <a:gd name="T3" fmla="*/ 0 h 21600"/>
                <a:gd name="T4" fmla="*/ 21600 w 21600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</a:path>
                <a:path w="21600" h="21600" stroke="0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  <a:lnTo>
                    <a:pt x="216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79784" name="Arc 8"/>
            <p:cNvSpPr>
              <a:spLocks/>
            </p:cNvSpPr>
            <p:nvPr/>
          </p:nvSpPr>
          <p:spPr bwMode="gray">
            <a:xfrm>
              <a:off x="1759" y="1027"/>
              <a:ext cx="1115" cy="110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0 w 21600"/>
                <a:gd name="T1" fmla="*/ 21600 h 21600"/>
                <a:gd name="T2" fmla="*/ 21600 w 21600"/>
                <a:gd name="T3" fmla="*/ 0 h 21600"/>
                <a:gd name="T4" fmla="*/ 2160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0" y="21600"/>
                  </a:moveTo>
                  <a:cubicBezTo>
                    <a:pt x="0" y="9670"/>
                    <a:pt x="9670" y="0"/>
                    <a:pt x="21599" y="0"/>
                  </a:cubicBezTo>
                </a:path>
                <a:path w="21600" h="21600" stroke="0" extrusionOk="0">
                  <a:moveTo>
                    <a:pt x="0" y="21600"/>
                  </a:moveTo>
                  <a:cubicBezTo>
                    <a:pt x="0" y="9670"/>
                    <a:pt x="9670" y="0"/>
                    <a:pt x="21599" y="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79785" name="Rectangle 9"/>
            <p:cNvSpPr>
              <a:spLocks noChangeArrowheads="1"/>
            </p:cNvSpPr>
            <p:nvPr/>
          </p:nvSpPr>
          <p:spPr bwMode="gray">
            <a:xfrm>
              <a:off x="3252" y="1544"/>
              <a:ext cx="457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79786" name="Rectangle 10"/>
            <p:cNvSpPr>
              <a:spLocks noChangeArrowheads="1"/>
            </p:cNvSpPr>
            <p:nvPr/>
          </p:nvSpPr>
          <p:spPr bwMode="gray">
            <a:xfrm>
              <a:off x="3138" y="2661"/>
              <a:ext cx="457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79787" name="Rectangle 11"/>
            <p:cNvSpPr>
              <a:spLocks noChangeArrowheads="1"/>
            </p:cNvSpPr>
            <p:nvPr/>
          </p:nvSpPr>
          <p:spPr bwMode="gray">
            <a:xfrm>
              <a:off x="2070" y="2593"/>
              <a:ext cx="457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79788" name="Oval 12"/>
            <p:cNvSpPr>
              <a:spLocks noChangeArrowheads="1"/>
            </p:cNvSpPr>
            <p:nvPr/>
          </p:nvSpPr>
          <p:spPr bwMode="gray">
            <a:xfrm>
              <a:off x="2399" y="1668"/>
              <a:ext cx="932" cy="932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>
                <a:lnSpc>
                  <a:spcPct val="85000"/>
                </a:lnSpc>
              </a:pPr>
              <a:endParaRPr lang="de-DE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79789" name="Freeform 13"/>
            <p:cNvSpPr>
              <a:spLocks/>
            </p:cNvSpPr>
            <p:nvPr/>
          </p:nvSpPr>
          <p:spPr bwMode="gray">
            <a:xfrm rot="-26991292">
              <a:off x="3573" y="1762"/>
              <a:ext cx="181" cy="908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79790" name="Freeform 14"/>
            <p:cNvSpPr>
              <a:spLocks/>
            </p:cNvSpPr>
            <p:nvPr/>
          </p:nvSpPr>
          <p:spPr bwMode="gray">
            <a:xfrm rot="-37791292">
              <a:off x="1984" y="1603"/>
              <a:ext cx="180" cy="881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79791" name="Freeform 15"/>
            <p:cNvSpPr>
              <a:spLocks/>
            </p:cNvSpPr>
            <p:nvPr/>
          </p:nvSpPr>
          <p:spPr bwMode="gray">
            <a:xfrm rot="10791292" flipH="1">
              <a:off x="2696" y="2477"/>
              <a:ext cx="182" cy="869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79792" name="Rectangle 16"/>
            <p:cNvSpPr>
              <a:spLocks noChangeArrowheads="1"/>
            </p:cNvSpPr>
            <p:nvPr/>
          </p:nvSpPr>
          <p:spPr bwMode="gray">
            <a:xfrm>
              <a:off x="2148" y="1451"/>
              <a:ext cx="457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79793" name="Rectangle 17"/>
            <p:cNvSpPr>
              <a:spLocks noChangeArrowheads="1"/>
            </p:cNvSpPr>
            <p:nvPr/>
          </p:nvSpPr>
          <p:spPr bwMode="gray">
            <a:xfrm>
              <a:off x="2637" y="2067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79779" name="Freeform 3"/>
            <p:cNvSpPr>
              <a:spLocks/>
            </p:cNvSpPr>
            <p:nvPr/>
          </p:nvSpPr>
          <p:spPr bwMode="gray">
            <a:xfrm rot="21591292" flipH="1">
              <a:off x="2868" y="913"/>
              <a:ext cx="183" cy="884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181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59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ycle – 5 Factors</a:t>
            </a:r>
          </a:p>
        </p:txBody>
      </p:sp>
      <p:grpSp>
        <p:nvGrpSpPr>
          <p:cNvPr id="2385941" name="Group 21"/>
          <p:cNvGrpSpPr>
            <a:grpSpLocks/>
          </p:cNvGrpSpPr>
          <p:nvPr/>
        </p:nvGrpSpPr>
        <p:grpSpPr bwMode="auto">
          <a:xfrm>
            <a:off x="4225925" y="1574801"/>
            <a:ext cx="3816350" cy="3744913"/>
            <a:chOff x="1702" y="992"/>
            <a:chExt cx="2404" cy="2359"/>
          </a:xfrm>
        </p:grpSpPr>
        <p:sp>
          <p:nvSpPr>
            <p:cNvPr id="2385924" name="Arc 4"/>
            <p:cNvSpPr>
              <a:spLocks/>
            </p:cNvSpPr>
            <p:nvPr/>
          </p:nvSpPr>
          <p:spPr bwMode="gray">
            <a:xfrm>
              <a:off x="2875" y="1111"/>
              <a:ext cx="1060" cy="110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0536"/>
                <a:gd name="T1" fmla="*/ 0 h 21600"/>
                <a:gd name="T2" fmla="*/ 20536 w 20536"/>
                <a:gd name="T3" fmla="*/ 14906 h 21600"/>
                <a:gd name="T4" fmla="*/ 0 w 20536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536" h="21600" fill="none" extrusionOk="0">
                  <a:moveTo>
                    <a:pt x="-1" y="0"/>
                  </a:moveTo>
                  <a:cubicBezTo>
                    <a:pt x="9350" y="0"/>
                    <a:pt x="17638" y="6016"/>
                    <a:pt x="20536" y="14905"/>
                  </a:cubicBezTo>
                </a:path>
                <a:path w="20536" h="21600" stroke="0" extrusionOk="0">
                  <a:moveTo>
                    <a:pt x="-1" y="0"/>
                  </a:moveTo>
                  <a:cubicBezTo>
                    <a:pt x="9350" y="0"/>
                    <a:pt x="17638" y="6016"/>
                    <a:pt x="20536" y="14905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85925" name="Arc 5"/>
            <p:cNvSpPr>
              <a:spLocks/>
            </p:cNvSpPr>
            <p:nvPr/>
          </p:nvSpPr>
          <p:spPr bwMode="gray">
            <a:xfrm>
              <a:off x="2875" y="1876"/>
              <a:ext cx="1115" cy="1240"/>
            </a:xfrm>
            <a:custGeom>
              <a:avLst/>
              <a:gdLst>
                <a:gd name="G0" fmla="+- 0 0 0"/>
                <a:gd name="G1" fmla="+- 6694 0 0"/>
                <a:gd name="G2" fmla="+- 21600 0 0"/>
                <a:gd name="T0" fmla="*/ 20536 w 21600"/>
                <a:gd name="T1" fmla="*/ 0 h 24190"/>
                <a:gd name="T2" fmla="*/ 12666 w 21600"/>
                <a:gd name="T3" fmla="*/ 24190 h 24190"/>
                <a:gd name="T4" fmla="*/ 0 w 21600"/>
                <a:gd name="T5" fmla="*/ 6694 h 24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4190" fill="none" extrusionOk="0">
                  <a:moveTo>
                    <a:pt x="20536" y="-1"/>
                  </a:moveTo>
                  <a:cubicBezTo>
                    <a:pt x="21241" y="2161"/>
                    <a:pt x="21600" y="4420"/>
                    <a:pt x="21600" y="6694"/>
                  </a:cubicBezTo>
                  <a:cubicBezTo>
                    <a:pt x="21600" y="13621"/>
                    <a:pt x="18277" y="20128"/>
                    <a:pt x="12666" y="24190"/>
                  </a:cubicBezTo>
                </a:path>
                <a:path w="21600" h="24190" stroke="0" extrusionOk="0">
                  <a:moveTo>
                    <a:pt x="20536" y="-1"/>
                  </a:moveTo>
                  <a:cubicBezTo>
                    <a:pt x="21241" y="2161"/>
                    <a:pt x="21600" y="4420"/>
                    <a:pt x="21600" y="6694"/>
                  </a:cubicBezTo>
                  <a:cubicBezTo>
                    <a:pt x="21600" y="13621"/>
                    <a:pt x="18277" y="20128"/>
                    <a:pt x="12666" y="24190"/>
                  </a:cubicBezTo>
                  <a:lnTo>
                    <a:pt x="0" y="6694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85926" name="Arc 6"/>
            <p:cNvSpPr>
              <a:spLocks/>
            </p:cNvSpPr>
            <p:nvPr/>
          </p:nvSpPr>
          <p:spPr bwMode="gray">
            <a:xfrm>
              <a:off x="2221" y="2219"/>
              <a:ext cx="1308" cy="1108"/>
            </a:xfrm>
            <a:custGeom>
              <a:avLst/>
              <a:gdLst>
                <a:gd name="G0" fmla="+- 12678 0 0"/>
                <a:gd name="G1" fmla="+- 0 0 0"/>
                <a:gd name="G2" fmla="+- 21600 0 0"/>
                <a:gd name="T0" fmla="*/ 25344 w 25344"/>
                <a:gd name="T1" fmla="*/ 17496 h 21600"/>
                <a:gd name="T2" fmla="*/ 0 w 25344"/>
                <a:gd name="T3" fmla="*/ 17488 h 21600"/>
                <a:gd name="T4" fmla="*/ 12678 w 25344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344" h="21600" fill="none" extrusionOk="0">
                  <a:moveTo>
                    <a:pt x="25344" y="17496"/>
                  </a:moveTo>
                  <a:cubicBezTo>
                    <a:pt x="21659" y="20163"/>
                    <a:pt x="17226" y="21599"/>
                    <a:pt x="12678" y="21600"/>
                  </a:cubicBezTo>
                  <a:cubicBezTo>
                    <a:pt x="8124" y="21600"/>
                    <a:pt x="3686" y="20160"/>
                    <a:pt x="0" y="17487"/>
                  </a:cubicBezTo>
                </a:path>
                <a:path w="25344" h="21600" stroke="0" extrusionOk="0">
                  <a:moveTo>
                    <a:pt x="25344" y="17496"/>
                  </a:moveTo>
                  <a:cubicBezTo>
                    <a:pt x="21659" y="20163"/>
                    <a:pt x="17226" y="21599"/>
                    <a:pt x="12678" y="21600"/>
                  </a:cubicBezTo>
                  <a:cubicBezTo>
                    <a:pt x="8124" y="21600"/>
                    <a:pt x="3686" y="20160"/>
                    <a:pt x="0" y="17487"/>
                  </a:cubicBezTo>
                  <a:lnTo>
                    <a:pt x="1267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85927" name="Arc 7"/>
            <p:cNvSpPr>
              <a:spLocks/>
            </p:cNvSpPr>
            <p:nvPr/>
          </p:nvSpPr>
          <p:spPr bwMode="gray">
            <a:xfrm>
              <a:off x="1760" y="1876"/>
              <a:ext cx="1115" cy="1239"/>
            </a:xfrm>
            <a:custGeom>
              <a:avLst/>
              <a:gdLst>
                <a:gd name="G0" fmla="+- 21600 0 0"/>
                <a:gd name="G1" fmla="+- 6689 0 0"/>
                <a:gd name="G2" fmla="+- 21600 0 0"/>
                <a:gd name="T0" fmla="*/ 8922 w 21600"/>
                <a:gd name="T1" fmla="*/ 24177 h 24177"/>
                <a:gd name="T2" fmla="*/ 1062 w 21600"/>
                <a:gd name="T3" fmla="*/ 0 h 24177"/>
                <a:gd name="T4" fmla="*/ 21600 w 21600"/>
                <a:gd name="T5" fmla="*/ 6689 h 24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4177" fill="none" extrusionOk="0">
                  <a:moveTo>
                    <a:pt x="8922" y="24176"/>
                  </a:moveTo>
                  <a:cubicBezTo>
                    <a:pt x="3317" y="20114"/>
                    <a:pt x="0" y="13611"/>
                    <a:pt x="0" y="6689"/>
                  </a:cubicBezTo>
                  <a:cubicBezTo>
                    <a:pt x="-1" y="4417"/>
                    <a:pt x="358" y="2159"/>
                    <a:pt x="1061" y="-1"/>
                  </a:cubicBezTo>
                </a:path>
                <a:path w="21600" h="24177" stroke="0" extrusionOk="0">
                  <a:moveTo>
                    <a:pt x="8922" y="24176"/>
                  </a:moveTo>
                  <a:cubicBezTo>
                    <a:pt x="3317" y="20114"/>
                    <a:pt x="0" y="13611"/>
                    <a:pt x="0" y="6689"/>
                  </a:cubicBezTo>
                  <a:cubicBezTo>
                    <a:pt x="-1" y="4417"/>
                    <a:pt x="358" y="2159"/>
                    <a:pt x="1061" y="-1"/>
                  </a:cubicBezTo>
                  <a:lnTo>
                    <a:pt x="21600" y="6689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85928" name="Arc 8"/>
            <p:cNvSpPr>
              <a:spLocks/>
            </p:cNvSpPr>
            <p:nvPr/>
          </p:nvSpPr>
          <p:spPr bwMode="gray">
            <a:xfrm>
              <a:off x="1816" y="1111"/>
              <a:ext cx="1059" cy="1108"/>
            </a:xfrm>
            <a:custGeom>
              <a:avLst/>
              <a:gdLst>
                <a:gd name="G0" fmla="+- 20538 0 0"/>
                <a:gd name="G1" fmla="+- 21600 0 0"/>
                <a:gd name="G2" fmla="+- 21600 0 0"/>
                <a:gd name="T0" fmla="*/ 0 w 20538"/>
                <a:gd name="T1" fmla="*/ 14911 h 21600"/>
                <a:gd name="T2" fmla="*/ 20538 w 20538"/>
                <a:gd name="T3" fmla="*/ 0 h 21600"/>
                <a:gd name="T4" fmla="*/ 20538 w 20538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538" h="21600" fill="none" extrusionOk="0">
                  <a:moveTo>
                    <a:pt x="-1" y="14910"/>
                  </a:moveTo>
                  <a:cubicBezTo>
                    <a:pt x="2895" y="6018"/>
                    <a:pt x="11185" y="0"/>
                    <a:pt x="20537" y="0"/>
                  </a:cubicBezTo>
                </a:path>
                <a:path w="20538" h="21600" stroke="0" extrusionOk="0">
                  <a:moveTo>
                    <a:pt x="-1" y="14910"/>
                  </a:moveTo>
                  <a:cubicBezTo>
                    <a:pt x="2895" y="6018"/>
                    <a:pt x="11185" y="0"/>
                    <a:pt x="20537" y="0"/>
                  </a:cubicBezTo>
                  <a:lnTo>
                    <a:pt x="20538" y="2160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85929" name="Rectangle 9"/>
            <p:cNvSpPr>
              <a:spLocks noChangeArrowheads="1"/>
            </p:cNvSpPr>
            <p:nvPr/>
          </p:nvSpPr>
          <p:spPr bwMode="gray">
            <a:xfrm>
              <a:off x="3174" y="1546"/>
              <a:ext cx="457" cy="1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85930" name="Rectangle 10"/>
            <p:cNvSpPr>
              <a:spLocks noChangeArrowheads="1"/>
            </p:cNvSpPr>
            <p:nvPr/>
          </p:nvSpPr>
          <p:spPr bwMode="gray">
            <a:xfrm>
              <a:off x="3354" y="2481"/>
              <a:ext cx="457" cy="1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85931" name="Rectangle 11"/>
            <p:cNvSpPr>
              <a:spLocks noChangeArrowheads="1"/>
            </p:cNvSpPr>
            <p:nvPr/>
          </p:nvSpPr>
          <p:spPr bwMode="gray">
            <a:xfrm>
              <a:off x="2580" y="2921"/>
              <a:ext cx="457" cy="1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85932" name="Rectangle 12"/>
            <p:cNvSpPr>
              <a:spLocks noChangeArrowheads="1"/>
            </p:cNvSpPr>
            <p:nvPr/>
          </p:nvSpPr>
          <p:spPr bwMode="gray">
            <a:xfrm>
              <a:off x="1836" y="2322"/>
              <a:ext cx="457" cy="1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85933" name="Rectangle 13"/>
            <p:cNvSpPr>
              <a:spLocks noChangeArrowheads="1"/>
            </p:cNvSpPr>
            <p:nvPr/>
          </p:nvSpPr>
          <p:spPr bwMode="gray">
            <a:xfrm>
              <a:off x="2256" y="1466"/>
              <a:ext cx="457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85934" name="Oval 14"/>
            <p:cNvSpPr>
              <a:spLocks noChangeArrowheads="1"/>
            </p:cNvSpPr>
            <p:nvPr/>
          </p:nvSpPr>
          <p:spPr bwMode="gray">
            <a:xfrm>
              <a:off x="2411" y="1773"/>
              <a:ext cx="932" cy="917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>
                <a:lnSpc>
                  <a:spcPct val="85000"/>
                </a:lnSpc>
              </a:pPr>
              <a:endParaRPr lang="de-DE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85935" name="Freeform 15"/>
            <p:cNvSpPr>
              <a:spLocks/>
            </p:cNvSpPr>
            <p:nvPr/>
          </p:nvSpPr>
          <p:spPr bwMode="gray">
            <a:xfrm rot="-28091558">
              <a:off x="3566" y="1607"/>
              <a:ext cx="182" cy="899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85936" name="Freeform 16"/>
            <p:cNvSpPr>
              <a:spLocks/>
            </p:cNvSpPr>
            <p:nvPr/>
          </p:nvSpPr>
          <p:spPr bwMode="gray">
            <a:xfrm rot="-23823560">
              <a:off x="3189" y="2473"/>
              <a:ext cx="182" cy="878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85937" name="Freeform 17"/>
            <p:cNvSpPr>
              <a:spLocks/>
            </p:cNvSpPr>
            <p:nvPr/>
          </p:nvSpPr>
          <p:spPr bwMode="gray">
            <a:xfrm rot="-19362863">
              <a:off x="2240" y="2366"/>
              <a:ext cx="183" cy="879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85938" name="Freeform 18"/>
            <p:cNvSpPr>
              <a:spLocks/>
            </p:cNvSpPr>
            <p:nvPr/>
          </p:nvSpPr>
          <p:spPr bwMode="gray">
            <a:xfrm rot="17291558" flipH="1">
              <a:off x="2062" y="1458"/>
              <a:ext cx="181" cy="902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85939" name="Freeform 19"/>
            <p:cNvSpPr>
              <a:spLocks/>
            </p:cNvSpPr>
            <p:nvPr/>
          </p:nvSpPr>
          <p:spPr bwMode="gray">
            <a:xfrm rot="26517" flipH="1">
              <a:off x="2870" y="992"/>
              <a:ext cx="182" cy="913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85940" name="Rectangle 20"/>
            <p:cNvSpPr>
              <a:spLocks noChangeArrowheads="1"/>
            </p:cNvSpPr>
            <p:nvPr/>
          </p:nvSpPr>
          <p:spPr bwMode="gray">
            <a:xfrm>
              <a:off x="2648" y="2164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4059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20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ycle – 6 Factors</a:t>
            </a:r>
          </a:p>
        </p:txBody>
      </p:sp>
      <p:grpSp>
        <p:nvGrpSpPr>
          <p:cNvPr id="2392088" name="Group 24"/>
          <p:cNvGrpSpPr>
            <a:grpSpLocks/>
          </p:cNvGrpSpPr>
          <p:nvPr/>
        </p:nvGrpSpPr>
        <p:grpSpPr bwMode="auto">
          <a:xfrm>
            <a:off x="4249738" y="1573214"/>
            <a:ext cx="3714750" cy="3914775"/>
            <a:chOff x="1717" y="991"/>
            <a:chExt cx="2340" cy="2466"/>
          </a:xfrm>
        </p:grpSpPr>
        <p:sp>
          <p:nvSpPr>
            <p:cNvPr id="2392068" name="Arc 4"/>
            <p:cNvSpPr>
              <a:spLocks/>
            </p:cNvSpPr>
            <p:nvPr/>
          </p:nvSpPr>
          <p:spPr bwMode="gray">
            <a:xfrm>
              <a:off x="2881" y="1121"/>
              <a:ext cx="965" cy="1105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18694"/>
                <a:gd name="T1" fmla="*/ 0 h 21600"/>
                <a:gd name="T2" fmla="*/ 18694 w 18694"/>
                <a:gd name="T3" fmla="*/ 10779 h 21600"/>
                <a:gd name="T4" fmla="*/ 0 w 18694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694" h="21600" fill="none" extrusionOk="0">
                  <a:moveTo>
                    <a:pt x="-1" y="0"/>
                  </a:moveTo>
                  <a:cubicBezTo>
                    <a:pt x="7708" y="0"/>
                    <a:pt x="14832" y="4107"/>
                    <a:pt x="18694" y="10778"/>
                  </a:cubicBezTo>
                </a:path>
                <a:path w="18694" h="21600" stroke="0" extrusionOk="0">
                  <a:moveTo>
                    <a:pt x="-1" y="0"/>
                  </a:moveTo>
                  <a:cubicBezTo>
                    <a:pt x="7708" y="0"/>
                    <a:pt x="14832" y="4107"/>
                    <a:pt x="18694" y="10778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2069" name="Arc 5"/>
            <p:cNvSpPr>
              <a:spLocks/>
            </p:cNvSpPr>
            <p:nvPr/>
          </p:nvSpPr>
          <p:spPr bwMode="gray">
            <a:xfrm>
              <a:off x="2881" y="1673"/>
              <a:ext cx="1115" cy="1107"/>
            </a:xfrm>
            <a:custGeom>
              <a:avLst/>
              <a:gdLst>
                <a:gd name="G0" fmla="+- 0 0 0"/>
                <a:gd name="G1" fmla="+- 10821 0 0"/>
                <a:gd name="G2" fmla="+- 21600 0 0"/>
                <a:gd name="T0" fmla="*/ 18694 w 21600"/>
                <a:gd name="T1" fmla="*/ 0 h 21642"/>
                <a:gd name="T2" fmla="*/ 18694 w 21600"/>
                <a:gd name="T3" fmla="*/ 21642 h 21642"/>
                <a:gd name="T4" fmla="*/ 0 w 21600"/>
                <a:gd name="T5" fmla="*/ 10821 h 21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42" fill="none" extrusionOk="0">
                  <a:moveTo>
                    <a:pt x="18694" y="-1"/>
                  </a:moveTo>
                  <a:cubicBezTo>
                    <a:pt x="20597" y="3288"/>
                    <a:pt x="21600" y="7021"/>
                    <a:pt x="21600" y="10821"/>
                  </a:cubicBezTo>
                  <a:cubicBezTo>
                    <a:pt x="21600" y="14620"/>
                    <a:pt x="20597" y="18353"/>
                    <a:pt x="18694" y="21642"/>
                  </a:cubicBezTo>
                </a:path>
                <a:path w="21600" h="21642" stroke="0" extrusionOk="0">
                  <a:moveTo>
                    <a:pt x="18694" y="-1"/>
                  </a:moveTo>
                  <a:cubicBezTo>
                    <a:pt x="20597" y="3288"/>
                    <a:pt x="21600" y="7021"/>
                    <a:pt x="21600" y="10821"/>
                  </a:cubicBezTo>
                  <a:cubicBezTo>
                    <a:pt x="21600" y="14620"/>
                    <a:pt x="20597" y="18353"/>
                    <a:pt x="18694" y="21642"/>
                  </a:cubicBezTo>
                  <a:lnTo>
                    <a:pt x="0" y="10821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2070" name="Arc 6"/>
            <p:cNvSpPr>
              <a:spLocks/>
            </p:cNvSpPr>
            <p:nvPr/>
          </p:nvSpPr>
          <p:spPr bwMode="gray">
            <a:xfrm>
              <a:off x="2881" y="2226"/>
              <a:ext cx="965" cy="1105"/>
            </a:xfrm>
            <a:custGeom>
              <a:avLst/>
              <a:gdLst>
                <a:gd name="G0" fmla="+- 0 0 0"/>
                <a:gd name="G1" fmla="+- 0 0 0"/>
                <a:gd name="G2" fmla="+- 21600 0 0"/>
                <a:gd name="T0" fmla="*/ 18694 w 18694"/>
                <a:gd name="T1" fmla="*/ 10821 h 21600"/>
                <a:gd name="T2" fmla="*/ 0 w 18694"/>
                <a:gd name="T3" fmla="*/ 21600 h 21600"/>
                <a:gd name="T4" fmla="*/ 0 w 18694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694" h="21600" fill="none" extrusionOk="0">
                  <a:moveTo>
                    <a:pt x="18694" y="10821"/>
                  </a:moveTo>
                  <a:cubicBezTo>
                    <a:pt x="14832" y="17492"/>
                    <a:pt x="7708" y="21599"/>
                    <a:pt x="0" y="21600"/>
                  </a:cubicBezTo>
                </a:path>
                <a:path w="18694" h="21600" stroke="0" extrusionOk="0">
                  <a:moveTo>
                    <a:pt x="18694" y="10821"/>
                  </a:moveTo>
                  <a:cubicBezTo>
                    <a:pt x="14832" y="17492"/>
                    <a:pt x="7708" y="21599"/>
                    <a:pt x="0" y="2160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2071" name="Arc 7"/>
            <p:cNvSpPr>
              <a:spLocks/>
            </p:cNvSpPr>
            <p:nvPr/>
          </p:nvSpPr>
          <p:spPr bwMode="gray">
            <a:xfrm>
              <a:off x="1917" y="2226"/>
              <a:ext cx="964" cy="1105"/>
            </a:xfrm>
            <a:custGeom>
              <a:avLst/>
              <a:gdLst>
                <a:gd name="G0" fmla="+- 18698 0 0"/>
                <a:gd name="G1" fmla="+- 0 0 0"/>
                <a:gd name="G2" fmla="+- 21600 0 0"/>
                <a:gd name="T0" fmla="*/ 18698 w 18698"/>
                <a:gd name="T1" fmla="*/ 21600 h 21600"/>
                <a:gd name="T2" fmla="*/ 0 w 18698"/>
                <a:gd name="T3" fmla="*/ 10813 h 21600"/>
                <a:gd name="T4" fmla="*/ 18698 w 18698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698" h="21600" fill="none" extrusionOk="0">
                  <a:moveTo>
                    <a:pt x="18698" y="21600"/>
                  </a:moveTo>
                  <a:cubicBezTo>
                    <a:pt x="10986" y="21600"/>
                    <a:pt x="3859" y="17488"/>
                    <a:pt x="-1" y="10813"/>
                  </a:cubicBezTo>
                </a:path>
                <a:path w="18698" h="21600" stroke="0" extrusionOk="0">
                  <a:moveTo>
                    <a:pt x="18698" y="21600"/>
                  </a:moveTo>
                  <a:cubicBezTo>
                    <a:pt x="10986" y="21600"/>
                    <a:pt x="3859" y="17488"/>
                    <a:pt x="-1" y="10813"/>
                  </a:cubicBezTo>
                  <a:lnTo>
                    <a:pt x="1869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2072" name="Arc 8"/>
            <p:cNvSpPr>
              <a:spLocks/>
            </p:cNvSpPr>
            <p:nvPr/>
          </p:nvSpPr>
          <p:spPr bwMode="gray">
            <a:xfrm>
              <a:off x="1766" y="1673"/>
              <a:ext cx="1115" cy="1106"/>
            </a:xfrm>
            <a:custGeom>
              <a:avLst/>
              <a:gdLst>
                <a:gd name="G0" fmla="+- 21600 0 0"/>
                <a:gd name="G1" fmla="+- 10813 0 0"/>
                <a:gd name="G2" fmla="+- 21600 0 0"/>
                <a:gd name="T0" fmla="*/ 2902 w 21600"/>
                <a:gd name="T1" fmla="*/ 21626 h 21626"/>
                <a:gd name="T2" fmla="*/ 2902 w 21600"/>
                <a:gd name="T3" fmla="*/ 0 h 21626"/>
                <a:gd name="T4" fmla="*/ 21600 w 21600"/>
                <a:gd name="T5" fmla="*/ 10813 h 21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26" fill="none" extrusionOk="0">
                  <a:moveTo>
                    <a:pt x="2901" y="21626"/>
                  </a:moveTo>
                  <a:cubicBezTo>
                    <a:pt x="1000" y="18339"/>
                    <a:pt x="0" y="14609"/>
                    <a:pt x="0" y="10813"/>
                  </a:cubicBezTo>
                  <a:cubicBezTo>
                    <a:pt x="-1" y="7016"/>
                    <a:pt x="1000" y="3286"/>
                    <a:pt x="2901" y="-1"/>
                  </a:cubicBezTo>
                </a:path>
                <a:path w="21600" h="21626" stroke="0" extrusionOk="0">
                  <a:moveTo>
                    <a:pt x="2901" y="21626"/>
                  </a:moveTo>
                  <a:cubicBezTo>
                    <a:pt x="1000" y="18339"/>
                    <a:pt x="0" y="14609"/>
                    <a:pt x="0" y="10813"/>
                  </a:cubicBezTo>
                  <a:cubicBezTo>
                    <a:pt x="-1" y="7016"/>
                    <a:pt x="1000" y="3286"/>
                    <a:pt x="2901" y="-1"/>
                  </a:cubicBezTo>
                  <a:lnTo>
                    <a:pt x="21600" y="108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2073" name="Arc 9"/>
            <p:cNvSpPr>
              <a:spLocks/>
            </p:cNvSpPr>
            <p:nvPr/>
          </p:nvSpPr>
          <p:spPr bwMode="gray">
            <a:xfrm>
              <a:off x="1917" y="1121"/>
              <a:ext cx="964" cy="1105"/>
            </a:xfrm>
            <a:custGeom>
              <a:avLst/>
              <a:gdLst>
                <a:gd name="G0" fmla="+- 18698 0 0"/>
                <a:gd name="G1" fmla="+- 21600 0 0"/>
                <a:gd name="G2" fmla="+- 21600 0 0"/>
                <a:gd name="T0" fmla="*/ 0 w 18698"/>
                <a:gd name="T1" fmla="*/ 10787 h 21600"/>
                <a:gd name="T2" fmla="*/ 18698 w 18698"/>
                <a:gd name="T3" fmla="*/ 0 h 21600"/>
                <a:gd name="T4" fmla="*/ 18698 w 18698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698" h="21600" fill="none" extrusionOk="0">
                  <a:moveTo>
                    <a:pt x="-1" y="10786"/>
                  </a:moveTo>
                  <a:cubicBezTo>
                    <a:pt x="3859" y="4111"/>
                    <a:pt x="10986" y="0"/>
                    <a:pt x="18697" y="0"/>
                  </a:cubicBezTo>
                </a:path>
                <a:path w="18698" h="21600" stroke="0" extrusionOk="0">
                  <a:moveTo>
                    <a:pt x="-1" y="10786"/>
                  </a:moveTo>
                  <a:cubicBezTo>
                    <a:pt x="3859" y="4111"/>
                    <a:pt x="10986" y="0"/>
                    <a:pt x="18697" y="0"/>
                  </a:cubicBezTo>
                  <a:lnTo>
                    <a:pt x="18698" y="2160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2074" name="Oval 10"/>
            <p:cNvSpPr>
              <a:spLocks noChangeArrowheads="1"/>
            </p:cNvSpPr>
            <p:nvPr/>
          </p:nvSpPr>
          <p:spPr bwMode="gray">
            <a:xfrm>
              <a:off x="2417" y="1766"/>
              <a:ext cx="932" cy="924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>
                <a:lnSpc>
                  <a:spcPct val="85000"/>
                </a:lnSpc>
              </a:pPr>
              <a:endParaRPr lang="de-DE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2075" name="Freeform 11"/>
            <p:cNvSpPr>
              <a:spLocks/>
            </p:cNvSpPr>
            <p:nvPr/>
          </p:nvSpPr>
          <p:spPr bwMode="gray">
            <a:xfrm rot="-28766061">
              <a:off x="3521" y="1454"/>
              <a:ext cx="180" cy="893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2076" name="Freeform 12"/>
            <p:cNvSpPr>
              <a:spLocks/>
            </p:cNvSpPr>
            <p:nvPr/>
          </p:nvSpPr>
          <p:spPr bwMode="gray">
            <a:xfrm rot="-25264457">
              <a:off x="3444" y="2245"/>
              <a:ext cx="181" cy="886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2077" name="Freeform 13"/>
            <p:cNvSpPr>
              <a:spLocks/>
            </p:cNvSpPr>
            <p:nvPr/>
          </p:nvSpPr>
          <p:spPr bwMode="gray">
            <a:xfrm rot="-21737335">
              <a:off x="2720" y="2579"/>
              <a:ext cx="182" cy="878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2078" name="Freeform 14"/>
            <p:cNvSpPr>
              <a:spLocks/>
            </p:cNvSpPr>
            <p:nvPr/>
          </p:nvSpPr>
          <p:spPr bwMode="gray">
            <a:xfrm rot="14464457" flipH="1">
              <a:off x="2072" y="2097"/>
              <a:ext cx="180" cy="889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2079" name="Freeform 15"/>
            <p:cNvSpPr>
              <a:spLocks/>
            </p:cNvSpPr>
            <p:nvPr/>
          </p:nvSpPr>
          <p:spPr bwMode="gray">
            <a:xfrm rot="-32446388">
              <a:off x="2874" y="991"/>
              <a:ext cx="183" cy="890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2080" name="Freeform 16"/>
            <p:cNvSpPr>
              <a:spLocks/>
            </p:cNvSpPr>
            <p:nvPr/>
          </p:nvSpPr>
          <p:spPr bwMode="gray">
            <a:xfrm rot="17966061" flipH="1">
              <a:off x="2150" y="1319"/>
              <a:ext cx="181" cy="898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2081" name="Rectangle 17"/>
            <p:cNvSpPr>
              <a:spLocks noChangeArrowheads="1"/>
            </p:cNvSpPr>
            <p:nvPr/>
          </p:nvSpPr>
          <p:spPr bwMode="gray">
            <a:xfrm>
              <a:off x="3126" y="1524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92082" name="Rectangle 18"/>
            <p:cNvSpPr>
              <a:spLocks noChangeArrowheads="1"/>
            </p:cNvSpPr>
            <p:nvPr/>
          </p:nvSpPr>
          <p:spPr bwMode="gray">
            <a:xfrm>
              <a:off x="3444" y="2268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92083" name="Rectangle 19"/>
            <p:cNvSpPr>
              <a:spLocks noChangeArrowheads="1"/>
            </p:cNvSpPr>
            <p:nvPr/>
          </p:nvSpPr>
          <p:spPr bwMode="gray">
            <a:xfrm>
              <a:off x="2196" y="2834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92084" name="Rectangle 20"/>
            <p:cNvSpPr>
              <a:spLocks noChangeArrowheads="1"/>
            </p:cNvSpPr>
            <p:nvPr/>
          </p:nvSpPr>
          <p:spPr bwMode="gray">
            <a:xfrm>
              <a:off x="1860" y="2078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92085" name="Rectangle 21"/>
            <p:cNvSpPr>
              <a:spLocks noChangeArrowheads="1"/>
            </p:cNvSpPr>
            <p:nvPr/>
          </p:nvSpPr>
          <p:spPr bwMode="gray">
            <a:xfrm>
              <a:off x="2358" y="1438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92086" name="Rectangle 22"/>
            <p:cNvSpPr>
              <a:spLocks noChangeArrowheads="1"/>
            </p:cNvSpPr>
            <p:nvPr/>
          </p:nvSpPr>
          <p:spPr bwMode="gray">
            <a:xfrm>
              <a:off x="3006" y="2853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92087" name="Rectangle 23"/>
            <p:cNvSpPr>
              <a:spLocks noChangeArrowheads="1"/>
            </p:cNvSpPr>
            <p:nvPr/>
          </p:nvSpPr>
          <p:spPr bwMode="gray">
            <a:xfrm>
              <a:off x="2654" y="2161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30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56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formation Flows</a:t>
            </a:r>
          </a:p>
        </p:txBody>
      </p:sp>
      <p:grpSp>
        <p:nvGrpSpPr>
          <p:cNvPr id="3015698" name="Group 18"/>
          <p:cNvGrpSpPr>
            <a:grpSpLocks/>
          </p:cNvGrpSpPr>
          <p:nvPr/>
        </p:nvGrpSpPr>
        <p:grpSpPr bwMode="auto">
          <a:xfrm>
            <a:off x="2219960" y="1464513"/>
            <a:ext cx="8356600" cy="4672012"/>
            <a:chOff x="208" y="933"/>
            <a:chExt cx="5264" cy="2943"/>
          </a:xfrm>
        </p:grpSpPr>
        <p:sp>
          <p:nvSpPr>
            <p:cNvPr id="3015685" name="Rectangle 5"/>
            <p:cNvSpPr>
              <a:spLocks noChangeArrowheads="1"/>
            </p:cNvSpPr>
            <p:nvPr/>
          </p:nvSpPr>
          <p:spPr bwMode="gray">
            <a:xfrm>
              <a:off x="704" y="1216"/>
              <a:ext cx="4768" cy="266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400" tIns="164592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dirty="0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dirty="0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dirty="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3015686" name="Group 6"/>
            <p:cNvGrpSpPr>
              <a:grpSpLocks/>
            </p:cNvGrpSpPr>
            <p:nvPr/>
          </p:nvGrpSpPr>
          <p:grpSpPr bwMode="auto">
            <a:xfrm>
              <a:off x="208" y="933"/>
              <a:ext cx="944" cy="1404"/>
              <a:chOff x="208" y="903"/>
              <a:chExt cx="944" cy="1404"/>
            </a:xfrm>
          </p:grpSpPr>
          <p:grpSp>
            <p:nvGrpSpPr>
              <p:cNvPr id="3015687" name="Group 7"/>
              <p:cNvGrpSpPr>
                <a:grpSpLocks/>
              </p:cNvGrpSpPr>
              <p:nvPr/>
            </p:nvGrpSpPr>
            <p:grpSpPr bwMode="auto">
              <a:xfrm>
                <a:off x="286" y="903"/>
                <a:ext cx="866" cy="1368"/>
                <a:chOff x="2814" y="2421"/>
                <a:chExt cx="554" cy="875"/>
              </a:xfrm>
            </p:grpSpPr>
            <p:sp>
              <p:nvSpPr>
                <p:cNvPr id="3015688" name="Freeform 8"/>
                <p:cNvSpPr>
                  <a:spLocks/>
                </p:cNvSpPr>
                <p:nvPr/>
              </p:nvSpPr>
              <p:spPr bwMode="gray">
                <a:xfrm>
                  <a:off x="2814" y="2421"/>
                  <a:ext cx="554" cy="664"/>
                </a:xfrm>
                <a:custGeom>
                  <a:avLst/>
                  <a:gdLst>
                    <a:gd name="T0" fmla="*/ 222 w 554"/>
                    <a:gd name="T1" fmla="*/ 632 h 664"/>
                    <a:gd name="T2" fmla="*/ 225 w 554"/>
                    <a:gd name="T3" fmla="*/ 588 h 664"/>
                    <a:gd name="T4" fmla="*/ 232 w 554"/>
                    <a:gd name="T5" fmla="*/ 549 h 664"/>
                    <a:gd name="T6" fmla="*/ 243 w 554"/>
                    <a:gd name="T7" fmla="*/ 517 h 664"/>
                    <a:gd name="T8" fmla="*/ 257 w 554"/>
                    <a:gd name="T9" fmla="*/ 491 h 664"/>
                    <a:gd name="T10" fmla="*/ 275 w 554"/>
                    <a:gd name="T11" fmla="*/ 465 h 664"/>
                    <a:gd name="T12" fmla="*/ 295 w 554"/>
                    <a:gd name="T13" fmla="*/ 443 h 664"/>
                    <a:gd name="T14" fmla="*/ 358 w 554"/>
                    <a:gd name="T15" fmla="*/ 382 h 664"/>
                    <a:gd name="T16" fmla="*/ 394 w 554"/>
                    <a:gd name="T17" fmla="*/ 349 h 664"/>
                    <a:gd name="T18" fmla="*/ 419 w 554"/>
                    <a:gd name="T19" fmla="*/ 321 h 664"/>
                    <a:gd name="T20" fmla="*/ 433 w 554"/>
                    <a:gd name="T21" fmla="*/ 298 h 664"/>
                    <a:gd name="T22" fmla="*/ 442 w 554"/>
                    <a:gd name="T23" fmla="*/ 275 h 664"/>
                    <a:gd name="T24" fmla="*/ 446 w 554"/>
                    <a:gd name="T25" fmla="*/ 251 h 664"/>
                    <a:gd name="T26" fmla="*/ 445 w 554"/>
                    <a:gd name="T27" fmla="*/ 227 h 664"/>
                    <a:gd name="T28" fmla="*/ 439 w 554"/>
                    <a:gd name="T29" fmla="*/ 198 h 664"/>
                    <a:gd name="T30" fmla="*/ 431 w 554"/>
                    <a:gd name="T31" fmla="*/ 177 h 664"/>
                    <a:gd name="T32" fmla="*/ 419 w 554"/>
                    <a:gd name="T33" fmla="*/ 158 h 664"/>
                    <a:gd name="T34" fmla="*/ 392 w 554"/>
                    <a:gd name="T35" fmla="*/ 128 h 664"/>
                    <a:gd name="T36" fmla="*/ 373 w 554"/>
                    <a:gd name="T37" fmla="*/ 113 h 664"/>
                    <a:gd name="T38" fmla="*/ 352 w 554"/>
                    <a:gd name="T39" fmla="*/ 102 h 664"/>
                    <a:gd name="T40" fmla="*/ 330 w 554"/>
                    <a:gd name="T41" fmla="*/ 93 h 664"/>
                    <a:gd name="T42" fmla="*/ 306 w 554"/>
                    <a:gd name="T43" fmla="*/ 88 h 664"/>
                    <a:gd name="T44" fmla="*/ 263 w 554"/>
                    <a:gd name="T45" fmla="*/ 87 h 664"/>
                    <a:gd name="T46" fmla="*/ 232 w 554"/>
                    <a:gd name="T47" fmla="*/ 93 h 664"/>
                    <a:gd name="T48" fmla="*/ 211 w 554"/>
                    <a:gd name="T49" fmla="*/ 100 h 664"/>
                    <a:gd name="T50" fmla="*/ 185 w 554"/>
                    <a:gd name="T51" fmla="*/ 115 h 664"/>
                    <a:gd name="T52" fmla="*/ 167 w 554"/>
                    <a:gd name="T53" fmla="*/ 129 h 664"/>
                    <a:gd name="T54" fmla="*/ 151 w 554"/>
                    <a:gd name="T55" fmla="*/ 147 h 664"/>
                    <a:gd name="T56" fmla="*/ 130 w 554"/>
                    <a:gd name="T57" fmla="*/ 184 h 664"/>
                    <a:gd name="T58" fmla="*/ 117 w 554"/>
                    <a:gd name="T59" fmla="*/ 220 h 664"/>
                    <a:gd name="T60" fmla="*/ 0 w 554"/>
                    <a:gd name="T61" fmla="*/ 249 h 664"/>
                    <a:gd name="T62" fmla="*/ 7 w 554"/>
                    <a:gd name="T63" fmla="*/ 206 h 664"/>
                    <a:gd name="T64" fmla="*/ 19 w 554"/>
                    <a:gd name="T65" fmla="*/ 166 h 664"/>
                    <a:gd name="T66" fmla="*/ 34 w 554"/>
                    <a:gd name="T67" fmla="*/ 131 h 664"/>
                    <a:gd name="T68" fmla="*/ 54 w 554"/>
                    <a:gd name="T69" fmla="*/ 100 h 664"/>
                    <a:gd name="T70" fmla="*/ 78 w 554"/>
                    <a:gd name="T71" fmla="*/ 73 h 664"/>
                    <a:gd name="T72" fmla="*/ 105 w 554"/>
                    <a:gd name="T73" fmla="*/ 49 h 664"/>
                    <a:gd name="T74" fmla="*/ 136 w 554"/>
                    <a:gd name="T75" fmla="*/ 31 h 664"/>
                    <a:gd name="T76" fmla="*/ 170 w 554"/>
                    <a:gd name="T77" fmla="*/ 16 h 664"/>
                    <a:gd name="T78" fmla="*/ 208 w 554"/>
                    <a:gd name="T79" fmla="*/ 7 h 664"/>
                    <a:gd name="T80" fmla="*/ 249 w 554"/>
                    <a:gd name="T81" fmla="*/ 1 h 664"/>
                    <a:gd name="T82" fmla="*/ 294 w 554"/>
                    <a:gd name="T83" fmla="*/ 1 h 664"/>
                    <a:gd name="T84" fmla="*/ 338 w 554"/>
                    <a:gd name="T85" fmla="*/ 5 h 664"/>
                    <a:gd name="T86" fmla="*/ 379 w 554"/>
                    <a:gd name="T87" fmla="*/ 13 h 664"/>
                    <a:gd name="T88" fmla="*/ 416 w 554"/>
                    <a:gd name="T89" fmla="*/ 27 h 664"/>
                    <a:gd name="T90" fmla="*/ 449 w 554"/>
                    <a:gd name="T91" fmla="*/ 46 h 664"/>
                    <a:gd name="T92" fmla="*/ 479 w 554"/>
                    <a:gd name="T93" fmla="*/ 69 h 664"/>
                    <a:gd name="T94" fmla="*/ 505 w 554"/>
                    <a:gd name="T95" fmla="*/ 96 h 664"/>
                    <a:gd name="T96" fmla="*/ 525 w 554"/>
                    <a:gd name="T97" fmla="*/ 125 h 664"/>
                    <a:gd name="T98" fmla="*/ 540 w 554"/>
                    <a:gd name="T99" fmla="*/ 155 h 664"/>
                    <a:gd name="T100" fmla="*/ 547 w 554"/>
                    <a:gd name="T101" fmla="*/ 177 h 664"/>
                    <a:gd name="T102" fmla="*/ 553 w 554"/>
                    <a:gd name="T103" fmla="*/ 211 h 664"/>
                    <a:gd name="T104" fmla="*/ 554 w 554"/>
                    <a:gd name="T105" fmla="*/ 249 h 664"/>
                    <a:gd name="T106" fmla="*/ 547 w 554"/>
                    <a:gd name="T107" fmla="*/ 289 h 664"/>
                    <a:gd name="T108" fmla="*/ 534 w 554"/>
                    <a:gd name="T109" fmla="*/ 327 h 664"/>
                    <a:gd name="T110" fmla="*/ 511 w 554"/>
                    <a:gd name="T111" fmla="*/ 364 h 664"/>
                    <a:gd name="T112" fmla="*/ 475 w 554"/>
                    <a:gd name="T113" fmla="*/ 406 h 664"/>
                    <a:gd name="T114" fmla="*/ 424 w 554"/>
                    <a:gd name="T115" fmla="*/ 455 h 664"/>
                    <a:gd name="T116" fmla="*/ 367 w 554"/>
                    <a:gd name="T117" fmla="*/ 510 h 664"/>
                    <a:gd name="T118" fmla="*/ 353 w 554"/>
                    <a:gd name="T119" fmla="*/ 528 h 664"/>
                    <a:gd name="T120" fmla="*/ 338 w 554"/>
                    <a:gd name="T121" fmla="*/ 559 h 664"/>
                    <a:gd name="T122" fmla="*/ 330 w 554"/>
                    <a:gd name="T123" fmla="*/ 589 h 664"/>
                    <a:gd name="T124" fmla="*/ 325 w 554"/>
                    <a:gd name="T125" fmla="*/ 664 h 6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554" h="664">
                      <a:moveTo>
                        <a:pt x="223" y="664"/>
                      </a:moveTo>
                      <a:lnTo>
                        <a:pt x="223" y="645"/>
                      </a:lnTo>
                      <a:lnTo>
                        <a:pt x="222" y="632"/>
                      </a:lnTo>
                      <a:lnTo>
                        <a:pt x="223" y="617"/>
                      </a:lnTo>
                      <a:lnTo>
                        <a:pt x="223" y="602"/>
                      </a:lnTo>
                      <a:lnTo>
                        <a:pt x="225" y="588"/>
                      </a:lnTo>
                      <a:lnTo>
                        <a:pt x="227" y="574"/>
                      </a:lnTo>
                      <a:lnTo>
                        <a:pt x="229" y="561"/>
                      </a:lnTo>
                      <a:lnTo>
                        <a:pt x="232" y="549"/>
                      </a:lnTo>
                      <a:lnTo>
                        <a:pt x="236" y="537"/>
                      </a:lnTo>
                      <a:lnTo>
                        <a:pt x="240" y="525"/>
                      </a:lnTo>
                      <a:lnTo>
                        <a:pt x="243" y="517"/>
                      </a:lnTo>
                      <a:lnTo>
                        <a:pt x="247" y="508"/>
                      </a:lnTo>
                      <a:lnTo>
                        <a:pt x="252" y="500"/>
                      </a:lnTo>
                      <a:lnTo>
                        <a:pt x="257" y="491"/>
                      </a:lnTo>
                      <a:lnTo>
                        <a:pt x="262" y="482"/>
                      </a:lnTo>
                      <a:lnTo>
                        <a:pt x="268" y="474"/>
                      </a:lnTo>
                      <a:lnTo>
                        <a:pt x="275" y="465"/>
                      </a:lnTo>
                      <a:lnTo>
                        <a:pt x="283" y="457"/>
                      </a:lnTo>
                      <a:lnTo>
                        <a:pt x="288" y="450"/>
                      </a:lnTo>
                      <a:lnTo>
                        <a:pt x="295" y="443"/>
                      </a:lnTo>
                      <a:lnTo>
                        <a:pt x="312" y="425"/>
                      </a:lnTo>
                      <a:lnTo>
                        <a:pt x="333" y="405"/>
                      </a:lnTo>
                      <a:lnTo>
                        <a:pt x="358" y="382"/>
                      </a:lnTo>
                      <a:lnTo>
                        <a:pt x="372" y="370"/>
                      </a:lnTo>
                      <a:lnTo>
                        <a:pt x="383" y="359"/>
                      </a:lnTo>
                      <a:lnTo>
                        <a:pt x="394" y="349"/>
                      </a:lnTo>
                      <a:lnTo>
                        <a:pt x="404" y="339"/>
                      </a:lnTo>
                      <a:lnTo>
                        <a:pt x="412" y="329"/>
                      </a:lnTo>
                      <a:lnTo>
                        <a:pt x="419" y="321"/>
                      </a:lnTo>
                      <a:lnTo>
                        <a:pt x="425" y="313"/>
                      </a:lnTo>
                      <a:lnTo>
                        <a:pt x="430" y="305"/>
                      </a:lnTo>
                      <a:lnTo>
                        <a:pt x="433" y="298"/>
                      </a:lnTo>
                      <a:lnTo>
                        <a:pt x="437" y="290"/>
                      </a:lnTo>
                      <a:lnTo>
                        <a:pt x="440" y="283"/>
                      </a:lnTo>
                      <a:lnTo>
                        <a:pt x="442" y="275"/>
                      </a:lnTo>
                      <a:lnTo>
                        <a:pt x="444" y="267"/>
                      </a:lnTo>
                      <a:lnTo>
                        <a:pt x="445" y="259"/>
                      </a:lnTo>
                      <a:lnTo>
                        <a:pt x="446" y="251"/>
                      </a:lnTo>
                      <a:lnTo>
                        <a:pt x="446" y="242"/>
                      </a:lnTo>
                      <a:lnTo>
                        <a:pt x="446" y="234"/>
                      </a:lnTo>
                      <a:lnTo>
                        <a:pt x="445" y="227"/>
                      </a:lnTo>
                      <a:lnTo>
                        <a:pt x="444" y="219"/>
                      </a:lnTo>
                      <a:lnTo>
                        <a:pt x="443" y="212"/>
                      </a:lnTo>
                      <a:lnTo>
                        <a:pt x="439" y="198"/>
                      </a:lnTo>
                      <a:lnTo>
                        <a:pt x="437" y="191"/>
                      </a:lnTo>
                      <a:lnTo>
                        <a:pt x="434" y="184"/>
                      </a:lnTo>
                      <a:lnTo>
                        <a:pt x="431" y="177"/>
                      </a:lnTo>
                      <a:lnTo>
                        <a:pt x="427" y="171"/>
                      </a:lnTo>
                      <a:lnTo>
                        <a:pt x="423" y="164"/>
                      </a:lnTo>
                      <a:lnTo>
                        <a:pt x="419" y="158"/>
                      </a:lnTo>
                      <a:lnTo>
                        <a:pt x="409" y="145"/>
                      </a:lnTo>
                      <a:lnTo>
                        <a:pt x="398" y="134"/>
                      </a:lnTo>
                      <a:lnTo>
                        <a:pt x="392" y="128"/>
                      </a:lnTo>
                      <a:lnTo>
                        <a:pt x="386" y="123"/>
                      </a:lnTo>
                      <a:lnTo>
                        <a:pt x="379" y="118"/>
                      </a:lnTo>
                      <a:lnTo>
                        <a:pt x="373" y="113"/>
                      </a:lnTo>
                      <a:lnTo>
                        <a:pt x="366" y="109"/>
                      </a:lnTo>
                      <a:lnTo>
                        <a:pt x="359" y="105"/>
                      </a:lnTo>
                      <a:lnTo>
                        <a:pt x="352" y="102"/>
                      </a:lnTo>
                      <a:lnTo>
                        <a:pt x="345" y="98"/>
                      </a:lnTo>
                      <a:lnTo>
                        <a:pt x="337" y="96"/>
                      </a:lnTo>
                      <a:lnTo>
                        <a:pt x="330" y="93"/>
                      </a:lnTo>
                      <a:lnTo>
                        <a:pt x="322" y="91"/>
                      </a:lnTo>
                      <a:lnTo>
                        <a:pt x="314" y="90"/>
                      </a:lnTo>
                      <a:lnTo>
                        <a:pt x="306" y="88"/>
                      </a:lnTo>
                      <a:lnTo>
                        <a:pt x="297" y="87"/>
                      </a:lnTo>
                      <a:lnTo>
                        <a:pt x="280" y="87"/>
                      </a:lnTo>
                      <a:lnTo>
                        <a:pt x="263" y="87"/>
                      </a:lnTo>
                      <a:lnTo>
                        <a:pt x="255" y="88"/>
                      </a:lnTo>
                      <a:lnTo>
                        <a:pt x="247" y="89"/>
                      </a:lnTo>
                      <a:lnTo>
                        <a:pt x="232" y="93"/>
                      </a:lnTo>
                      <a:lnTo>
                        <a:pt x="225" y="95"/>
                      </a:lnTo>
                      <a:lnTo>
                        <a:pt x="218" y="97"/>
                      </a:lnTo>
                      <a:lnTo>
                        <a:pt x="211" y="100"/>
                      </a:lnTo>
                      <a:lnTo>
                        <a:pt x="204" y="103"/>
                      </a:lnTo>
                      <a:lnTo>
                        <a:pt x="191" y="111"/>
                      </a:lnTo>
                      <a:lnTo>
                        <a:pt x="185" y="115"/>
                      </a:lnTo>
                      <a:lnTo>
                        <a:pt x="179" y="119"/>
                      </a:lnTo>
                      <a:lnTo>
                        <a:pt x="173" y="124"/>
                      </a:lnTo>
                      <a:lnTo>
                        <a:pt x="167" y="129"/>
                      </a:lnTo>
                      <a:lnTo>
                        <a:pt x="161" y="135"/>
                      </a:lnTo>
                      <a:lnTo>
                        <a:pt x="156" y="141"/>
                      </a:lnTo>
                      <a:lnTo>
                        <a:pt x="151" y="147"/>
                      </a:lnTo>
                      <a:lnTo>
                        <a:pt x="146" y="153"/>
                      </a:lnTo>
                      <a:lnTo>
                        <a:pt x="137" y="168"/>
                      </a:lnTo>
                      <a:lnTo>
                        <a:pt x="130" y="184"/>
                      </a:lnTo>
                      <a:lnTo>
                        <a:pt x="123" y="201"/>
                      </a:lnTo>
                      <a:lnTo>
                        <a:pt x="120" y="210"/>
                      </a:lnTo>
                      <a:lnTo>
                        <a:pt x="117" y="220"/>
                      </a:lnTo>
                      <a:lnTo>
                        <a:pt x="112" y="240"/>
                      </a:lnTo>
                      <a:lnTo>
                        <a:pt x="108" y="262"/>
                      </a:lnTo>
                      <a:lnTo>
                        <a:pt x="0" y="249"/>
                      </a:lnTo>
                      <a:lnTo>
                        <a:pt x="2" y="234"/>
                      </a:lnTo>
                      <a:lnTo>
                        <a:pt x="4" y="220"/>
                      </a:lnTo>
                      <a:lnTo>
                        <a:pt x="7" y="206"/>
                      </a:lnTo>
                      <a:lnTo>
                        <a:pt x="11" y="192"/>
                      </a:lnTo>
                      <a:lnTo>
                        <a:pt x="15" y="179"/>
                      </a:lnTo>
                      <a:lnTo>
                        <a:pt x="19" y="166"/>
                      </a:lnTo>
                      <a:lnTo>
                        <a:pt x="24" y="154"/>
                      </a:lnTo>
                      <a:lnTo>
                        <a:pt x="29" y="142"/>
                      </a:lnTo>
                      <a:lnTo>
                        <a:pt x="34" y="131"/>
                      </a:lnTo>
                      <a:lnTo>
                        <a:pt x="41" y="120"/>
                      </a:lnTo>
                      <a:lnTo>
                        <a:pt x="47" y="110"/>
                      </a:lnTo>
                      <a:lnTo>
                        <a:pt x="54" y="100"/>
                      </a:lnTo>
                      <a:lnTo>
                        <a:pt x="62" y="90"/>
                      </a:lnTo>
                      <a:lnTo>
                        <a:pt x="69" y="81"/>
                      </a:lnTo>
                      <a:lnTo>
                        <a:pt x="78" y="73"/>
                      </a:lnTo>
                      <a:lnTo>
                        <a:pt x="87" y="64"/>
                      </a:lnTo>
                      <a:lnTo>
                        <a:pt x="96" y="57"/>
                      </a:lnTo>
                      <a:lnTo>
                        <a:pt x="105" y="49"/>
                      </a:lnTo>
                      <a:lnTo>
                        <a:pt x="115" y="43"/>
                      </a:lnTo>
                      <a:lnTo>
                        <a:pt x="126" y="36"/>
                      </a:lnTo>
                      <a:lnTo>
                        <a:pt x="136" y="31"/>
                      </a:lnTo>
                      <a:lnTo>
                        <a:pt x="147" y="25"/>
                      </a:lnTo>
                      <a:lnTo>
                        <a:pt x="159" y="21"/>
                      </a:lnTo>
                      <a:lnTo>
                        <a:pt x="170" y="16"/>
                      </a:lnTo>
                      <a:lnTo>
                        <a:pt x="183" y="13"/>
                      </a:lnTo>
                      <a:lnTo>
                        <a:pt x="195" y="9"/>
                      </a:lnTo>
                      <a:lnTo>
                        <a:pt x="208" y="7"/>
                      </a:lnTo>
                      <a:lnTo>
                        <a:pt x="221" y="4"/>
                      </a:lnTo>
                      <a:lnTo>
                        <a:pt x="235" y="3"/>
                      </a:lnTo>
                      <a:lnTo>
                        <a:pt x="249" y="1"/>
                      </a:lnTo>
                      <a:lnTo>
                        <a:pt x="263" y="1"/>
                      </a:lnTo>
                      <a:lnTo>
                        <a:pt x="278" y="0"/>
                      </a:lnTo>
                      <a:lnTo>
                        <a:pt x="294" y="1"/>
                      </a:lnTo>
                      <a:lnTo>
                        <a:pt x="309" y="1"/>
                      </a:lnTo>
                      <a:lnTo>
                        <a:pt x="324" y="3"/>
                      </a:lnTo>
                      <a:lnTo>
                        <a:pt x="338" y="5"/>
                      </a:lnTo>
                      <a:lnTo>
                        <a:pt x="352" y="7"/>
                      </a:lnTo>
                      <a:lnTo>
                        <a:pt x="366" y="10"/>
                      </a:lnTo>
                      <a:lnTo>
                        <a:pt x="379" y="13"/>
                      </a:lnTo>
                      <a:lnTo>
                        <a:pt x="392" y="18"/>
                      </a:lnTo>
                      <a:lnTo>
                        <a:pt x="404" y="22"/>
                      </a:lnTo>
                      <a:lnTo>
                        <a:pt x="416" y="27"/>
                      </a:lnTo>
                      <a:lnTo>
                        <a:pt x="427" y="33"/>
                      </a:lnTo>
                      <a:lnTo>
                        <a:pt x="439" y="39"/>
                      </a:lnTo>
                      <a:lnTo>
                        <a:pt x="449" y="46"/>
                      </a:lnTo>
                      <a:lnTo>
                        <a:pt x="460" y="53"/>
                      </a:lnTo>
                      <a:lnTo>
                        <a:pt x="470" y="61"/>
                      </a:lnTo>
                      <a:lnTo>
                        <a:pt x="479" y="69"/>
                      </a:lnTo>
                      <a:lnTo>
                        <a:pt x="488" y="78"/>
                      </a:lnTo>
                      <a:lnTo>
                        <a:pt x="497" y="87"/>
                      </a:lnTo>
                      <a:lnTo>
                        <a:pt x="505" y="96"/>
                      </a:lnTo>
                      <a:lnTo>
                        <a:pt x="512" y="105"/>
                      </a:lnTo>
                      <a:lnTo>
                        <a:pt x="519" y="115"/>
                      </a:lnTo>
                      <a:lnTo>
                        <a:pt x="525" y="125"/>
                      </a:lnTo>
                      <a:lnTo>
                        <a:pt x="530" y="135"/>
                      </a:lnTo>
                      <a:lnTo>
                        <a:pt x="535" y="145"/>
                      </a:lnTo>
                      <a:lnTo>
                        <a:pt x="540" y="155"/>
                      </a:lnTo>
                      <a:lnTo>
                        <a:pt x="542" y="161"/>
                      </a:lnTo>
                      <a:lnTo>
                        <a:pt x="543" y="166"/>
                      </a:lnTo>
                      <a:lnTo>
                        <a:pt x="547" y="177"/>
                      </a:lnTo>
                      <a:lnTo>
                        <a:pt x="549" y="188"/>
                      </a:lnTo>
                      <a:lnTo>
                        <a:pt x="551" y="200"/>
                      </a:lnTo>
                      <a:lnTo>
                        <a:pt x="553" y="211"/>
                      </a:lnTo>
                      <a:lnTo>
                        <a:pt x="554" y="223"/>
                      </a:lnTo>
                      <a:lnTo>
                        <a:pt x="554" y="235"/>
                      </a:lnTo>
                      <a:lnTo>
                        <a:pt x="554" y="249"/>
                      </a:lnTo>
                      <a:lnTo>
                        <a:pt x="552" y="263"/>
                      </a:lnTo>
                      <a:lnTo>
                        <a:pt x="550" y="276"/>
                      </a:lnTo>
                      <a:lnTo>
                        <a:pt x="547" y="289"/>
                      </a:lnTo>
                      <a:lnTo>
                        <a:pt x="544" y="302"/>
                      </a:lnTo>
                      <a:lnTo>
                        <a:pt x="539" y="315"/>
                      </a:lnTo>
                      <a:lnTo>
                        <a:pt x="534" y="327"/>
                      </a:lnTo>
                      <a:lnTo>
                        <a:pt x="528" y="339"/>
                      </a:lnTo>
                      <a:lnTo>
                        <a:pt x="520" y="351"/>
                      </a:lnTo>
                      <a:lnTo>
                        <a:pt x="511" y="364"/>
                      </a:lnTo>
                      <a:lnTo>
                        <a:pt x="501" y="378"/>
                      </a:lnTo>
                      <a:lnTo>
                        <a:pt x="489" y="392"/>
                      </a:lnTo>
                      <a:lnTo>
                        <a:pt x="475" y="406"/>
                      </a:lnTo>
                      <a:lnTo>
                        <a:pt x="460" y="422"/>
                      </a:lnTo>
                      <a:lnTo>
                        <a:pt x="443" y="439"/>
                      </a:lnTo>
                      <a:lnTo>
                        <a:pt x="424" y="455"/>
                      </a:lnTo>
                      <a:lnTo>
                        <a:pt x="401" y="477"/>
                      </a:lnTo>
                      <a:lnTo>
                        <a:pt x="382" y="495"/>
                      </a:lnTo>
                      <a:lnTo>
                        <a:pt x="367" y="510"/>
                      </a:lnTo>
                      <a:lnTo>
                        <a:pt x="362" y="517"/>
                      </a:lnTo>
                      <a:lnTo>
                        <a:pt x="357" y="523"/>
                      </a:lnTo>
                      <a:lnTo>
                        <a:pt x="353" y="528"/>
                      </a:lnTo>
                      <a:lnTo>
                        <a:pt x="350" y="534"/>
                      </a:lnTo>
                      <a:lnTo>
                        <a:pt x="343" y="546"/>
                      </a:lnTo>
                      <a:lnTo>
                        <a:pt x="338" y="559"/>
                      </a:lnTo>
                      <a:lnTo>
                        <a:pt x="334" y="572"/>
                      </a:lnTo>
                      <a:lnTo>
                        <a:pt x="332" y="580"/>
                      </a:lnTo>
                      <a:lnTo>
                        <a:pt x="330" y="589"/>
                      </a:lnTo>
                      <a:lnTo>
                        <a:pt x="328" y="609"/>
                      </a:lnTo>
                      <a:lnTo>
                        <a:pt x="326" y="634"/>
                      </a:lnTo>
                      <a:lnTo>
                        <a:pt x="325" y="664"/>
                      </a:lnTo>
                      <a:lnTo>
                        <a:pt x="223" y="66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sp>
              <p:nvSpPr>
                <p:cNvPr id="3015689" name="Rectangle 9"/>
                <p:cNvSpPr>
                  <a:spLocks noChangeArrowheads="1"/>
                </p:cNvSpPr>
                <p:nvPr/>
              </p:nvSpPr>
              <p:spPr bwMode="gray">
                <a:xfrm>
                  <a:off x="3026" y="3176"/>
                  <a:ext cx="121" cy="12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</p:grpSp>
          <p:grpSp>
            <p:nvGrpSpPr>
              <p:cNvPr id="3015690" name="Group 10"/>
              <p:cNvGrpSpPr>
                <a:grpSpLocks/>
              </p:cNvGrpSpPr>
              <p:nvPr/>
            </p:nvGrpSpPr>
            <p:grpSpPr bwMode="auto">
              <a:xfrm>
                <a:off x="208" y="903"/>
                <a:ext cx="866" cy="1368"/>
                <a:chOff x="2814" y="2421"/>
                <a:chExt cx="554" cy="875"/>
              </a:xfrm>
            </p:grpSpPr>
            <p:sp>
              <p:nvSpPr>
                <p:cNvPr id="3015691" name="Freeform 11"/>
                <p:cNvSpPr>
                  <a:spLocks/>
                </p:cNvSpPr>
                <p:nvPr/>
              </p:nvSpPr>
              <p:spPr bwMode="gray">
                <a:xfrm>
                  <a:off x="2814" y="2421"/>
                  <a:ext cx="554" cy="664"/>
                </a:xfrm>
                <a:custGeom>
                  <a:avLst/>
                  <a:gdLst>
                    <a:gd name="T0" fmla="*/ 222 w 554"/>
                    <a:gd name="T1" fmla="*/ 632 h 664"/>
                    <a:gd name="T2" fmla="*/ 225 w 554"/>
                    <a:gd name="T3" fmla="*/ 588 h 664"/>
                    <a:gd name="T4" fmla="*/ 232 w 554"/>
                    <a:gd name="T5" fmla="*/ 549 h 664"/>
                    <a:gd name="T6" fmla="*/ 243 w 554"/>
                    <a:gd name="T7" fmla="*/ 517 h 664"/>
                    <a:gd name="T8" fmla="*/ 257 w 554"/>
                    <a:gd name="T9" fmla="*/ 491 h 664"/>
                    <a:gd name="T10" fmla="*/ 275 w 554"/>
                    <a:gd name="T11" fmla="*/ 465 h 664"/>
                    <a:gd name="T12" fmla="*/ 295 w 554"/>
                    <a:gd name="T13" fmla="*/ 443 h 664"/>
                    <a:gd name="T14" fmla="*/ 358 w 554"/>
                    <a:gd name="T15" fmla="*/ 382 h 664"/>
                    <a:gd name="T16" fmla="*/ 394 w 554"/>
                    <a:gd name="T17" fmla="*/ 349 h 664"/>
                    <a:gd name="T18" fmla="*/ 419 w 554"/>
                    <a:gd name="T19" fmla="*/ 321 h 664"/>
                    <a:gd name="T20" fmla="*/ 433 w 554"/>
                    <a:gd name="T21" fmla="*/ 298 h 664"/>
                    <a:gd name="T22" fmla="*/ 442 w 554"/>
                    <a:gd name="T23" fmla="*/ 275 h 664"/>
                    <a:gd name="T24" fmla="*/ 446 w 554"/>
                    <a:gd name="T25" fmla="*/ 251 h 664"/>
                    <a:gd name="T26" fmla="*/ 445 w 554"/>
                    <a:gd name="T27" fmla="*/ 227 h 664"/>
                    <a:gd name="T28" fmla="*/ 439 w 554"/>
                    <a:gd name="T29" fmla="*/ 198 h 664"/>
                    <a:gd name="T30" fmla="*/ 431 w 554"/>
                    <a:gd name="T31" fmla="*/ 177 h 664"/>
                    <a:gd name="T32" fmla="*/ 419 w 554"/>
                    <a:gd name="T33" fmla="*/ 158 h 664"/>
                    <a:gd name="T34" fmla="*/ 392 w 554"/>
                    <a:gd name="T35" fmla="*/ 128 h 664"/>
                    <a:gd name="T36" fmla="*/ 373 w 554"/>
                    <a:gd name="T37" fmla="*/ 113 h 664"/>
                    <a:gd name="T38" fmla="*/ 352 w 554"/>
                    <a:gd name="T39" fmla="*/ 102 h 664"/>
                    <a:gd name="T40" fmla="*/ 330 w 554"/>
                    <a:gd name="T41" fmla="*/ 93 h 664"/>
                    <a:gd name="T42" fmla="*/ 306 w 554"/>
                    <a:gd name="T43" fmla="*/ 88 h 664"/>
                    <a:gd name="T44" fmla="*/ 263 w 554"/>
                    <a:gd name="T45" fmla="*/ 87 h 664"/>
                    <a:gd name="T46" fmla="*/ 232 w 554"/>
                    <a:gd name="T47" fmla="*/ 93 h 664"/>
                    <a:gd name="T48" fmla="*/ 211 w 554"/>
                    <a:gd name="T49" fmla="*/ 100 h 664"/>
                    <a:gd name="T50" fmla="*/ 185 w 554"/>
                    <a:gd name="T51" fmla="*/ 115 h 664"/>
                    <a:gd name="T52" fmla="*/ 167 w 554"/>
                    <a:gd name="T53" fmla="*/ 129 h 664"/>
                    <a:gd name="T54" fmla="*/ 151 w 554"/>
                    <a:gd name="T55" fmla="*/ 147 h 664"/>
                    <a:gd name="T56" fmla="*/ 130 w 554"/>
                    <a:gd name="T57" fmla="*/ 184 h 664"/>
                    <a:gd name="T58" fmla="*/ 117 w 554"/>
                    <a:gd name="T59" fmla="*/ 220 h 664"/>
                    <a:gd name="T60" fmla="*/ 0 w 554"/>
                    <a:gd name="T61" fmla="*/ 249 h 664"/>
                    <a:gd name="T62" fmla="*/ 7 w 554"/>
                    <a:gd name="T63" fmla="*/ 206 h 664"/>
                    <a:gd name="T64" fmla="*/ 19 w 554"/>
                    <a:gd name="T65" fmla="*/ 166 h 664"/>
                    <a:gd name="T66" fmla="*/ 34 w 554"/>
                    <a:gd name="T67" fmla="*/ 131 h 664"/>
                    <a:gd name="T68" fmla="*/ 54 w 554"/>
                    <a:gd name="T69" fmla="*/ 100 h 664"/>
                    <a:gd name="T70" fmla="*/ 78 w 554"/>
                    <a:gd name="T71" fmla="*/ 73 h 664"/>
                    <a:gd name="T72" fmla="*/ 105 w 554"/>
                    <a:gd name="T73" fmla="*/ 49 h 664"/>
                    <a:gd name="T74" fmla="*/ 136 w 554"/>
                    <a:gd name="T75" fmla="*/ 31 h 664"/>
                    <a:gd name="T76" fmla="*/ 170 w 554"/>
                    <a:gd name="T77" fmla="*/ 16 h 664"/>
                    <a:gd name="T78" fmla="*/ 208 w 554"/>
                    <a:gd name="T79" fmla="*/ 7 h 664"/>
                    <a:gd name="T80" fmla="*/ 249 w 554"/>
                    <a:gd name="T81" fmla="*/ 1 h 664"/>
                    <a:gd name="T82" fmla="*/ 294 w 554"/>
                    <a:gd name="T83" fmla="*/ 1 h 664"/>
                    <a:gd name="T84" fmla="*/ 338 w 554"/>
                    <a:gd name="T85" fmla="*/ 5 h 664"/>
                    <a:gd name="T86" fmla="*/ 379 w 554"/>
                    <a:gd name="T87" fmla="*/ 13 h 664"/>
                    <a:gd name="T88" fmla="*/ 416 w 554"/>
                    <a:gd name="T89" fmla="*/ 27 h 664"/>
                    <a:gd name="T90" fmla="*/ 449 w 554"/>
                    <a:gd name="T91" fmla="*/ 46 h 664"/>
                    <a:gd name="T92" fmla="*/ 479 w 554"/>
                    <a:gd name="T93" fmla="*/ 69 h 664"/>
                    <a:gd name="T94" fmla="*/ 505 w 554"/>
                    <a:gd name="T95" fmla="*/ 96 h 664"/>
                    <a:gd name="T96" fmla="*/ 525 w 554"/>
                    <a:gd name="T97" fmla="*/ 125 h 664"/>
                    <a:gd name="T98" fmla="*/ 540 w 554"/>
                    <a:gd name="T99" fmla="*/ 155 h 664"/>
                    <a:gd name="T100" fmla="*/ 547 w 554"/>
                    <a:gd name="T101" fmla="*/ 177 h 664"/>
                    <a:gd name="T102" fmla="*/ 553 w 554"/>
                    <a:gd name="T103" fmla="*/ 211 h 664"/>
                    <a:gd name="T104" fmla="*/ 554 w 554"/>
                    <a:gd name="T105" fmla="*/ 249 h 664"/>
                    <a:gd name="T106" fmla="*/ 547 w 554"/>
                    <a:gd name="T107" fmla="*/ 289 h 664"/>
                    <a:gd name="T108" fmla="*/ 534 w 554"/>
                    <a:gd name="T109" fmla="*/ 327 h 664"/>
                    <a:gd name="T110" fmla="*/ 511 w 554"/>
                    <a:gd name="T111" fmla="*/ 364 h 664"/>
                    <a:gd name="T112" fmla="*/ 475 w 554"/>
                    <a:gd name="T113" fmla="*/ 406 h 664"/>
                    <a:gd name="T114" fmla="*/ 424 w 554"/>
                    <a:gd name="T115" fmla="*/ 455 h 664"/>
                    <a:gd name="T116" fmla="*/ 367 w 554"/>
                    <a:gd name="T117" fmla="*/ 510 h 664"/>
                    <a:gd name="T118" fmla="*/ 353 w 554"/>
                    <a:gd name="T119" fmla="*/ 528 h 664"/>
                    <a:gd name="T120" fmla="*/ 338 w 554"/>
                    <a:gd name="T121" fmla="*/ 559 h 664"/>
                    <a:gd name="T122" fmla="*/ 330 w 554"/>
                    <a:gd name="T123" fmla="*/ 589 h 664"/>
                    <a:gd name="T124" fmla="*/ 325 w 554"/>
                    <a:gd name="T125" fmla="*/ 664 h 6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554" h="664">
                      <a:moveTo>
                        <a:pt x="223" y="664"/>
                      </a:moveTo>
                      <a:lnTo>
                        <a:pt x="223" y="645"/>
                      </a:lnTo>
                      <a:lnTo>
                        <a:pt x="222" y="632"/>
                      </a:lnTo>
                      <a:lnTo>
                        <a:pt x="223" y="617"/>
                      </a:lnTo>
                      <a:lnTo>
                        <a:pt x="223" y="602"/>
                      </a:lnTo>
                      <a:lnTo>
                        <a:pt x="225" y="588"/>
                      </a:lnTo>
                      <a:lnTo>
                        <a:pt x="227" y="574"/>
                      </a:lnTo>
                      <a:lnTo>
                        <a:pt x="229" y="561"/>
                      </a:lnTo>
                      <a:lnTo>
                        <a:pt x="232" y="549"/>
                      </a:lnTo>
                      <a:lnTo>
                        <a:pt x="236" y="537"/>
                      </a:lnTo>
                      <a:lnTo>
                        <a:pt x="240" y="525"/>
                      </a:lnTo>
                      <a:lnTo>
                        <a:pt x="243" y="517"/>
                      </a:lnTo>
                      <a:lnTo>
                        <a:pt x="247" y="508"/>
                      </a:lnTo>
                      <a:lnTo>
                        <a:pt x="252" y="500"/>
                      </a:lnTo>
                      <a:lnTo>
                        <a:pt x="257" y="491"/>
                      </a:lnTo>
                      <a:lnTo>
                        <a:pt x="262" y="482"/>
                      </a:lnTo>
                      <a:lnTo>
                        <a:pt x="268" y="474"/>
                      </a:lnTo>
                      <a:lnTo>
                        <a:pt x="275" y="465"/>
                      </a:lnTo>
                      <a:lnTo>
                        <a:pt x="283" y="457"/>
                      </a:lnTo>
                      <a:lnTo>
                        <a:pt x="288" y="450"/>
                      </a:lnTo>
                      <a:lnTo>
                        <a:pt x="295" y="443"/>
                      </a:lnTo>
                      <a:lnTo>
                        <a:pt x="312" y="425"/>
                      </a:lnTo>
                      <a:lnTo>
                        <a:pt x="333" y="405"/>
                      </a:lnTo>
                      <a:lnTo>
                        <a:pt x="358" y="382"/>
                      </a:lnTo>
                      <a:lnTo>
                        <a:pt x="372" y="370"/>
                      </a:lnTo>
                      <a:lnTo>
                        <a:pt x="383" y="359"/>
                      </a:lnTo>
                      <a:lnTo>
                        <a:pt x="394" y="349"/>
                      </a:lnTo>
                      <a:lnTo>
                        <a:pt x="404" y="339"/>
                      </a:lnTo>
                      <a:lnTo>
                        <a:pt x="412" y="329"/>
                      </a:lnTo>
                      <a:lnTo>
                        <a:pt x="419" y="321"/>
                      </a:lnTo>
                      <a:lnTo>
                        <a:pt x="425" y="313"/>
                      </a:lnTo>
                      <a:lnTo>
                        <a:pt x="430" y="305"/>
                      </a:lnTo>
                      <a:lnTo>
                        <a:pt x="433" y="298"/>
                      </a:lnTo>
                      <a:lnTo>
                        <a:pt x="437" y="290"/>
                      </a:lnTo>
                      <a:lnTo>
                        <a:pt x="440" y="283"/>
                      </a:lnTo>
                      <a:lnTo>
                        <a:pt x="442" y="275"/>
                      </a:lnTo>
                      <a:lnTo>
                        <a:pt x="444" y="267"/>
                      </a:lnTo>
                      <a:lnTo>
                        <a:pt x="445" y="259"/>
                      </a:lnTo>
                      <a:lnTo>
                        <a:pt x="446" y="251"/>
                      </a:lnTo>
                      <a:lnTo>
                        <a:pt x="446" y="242"/>
                      </a:lnTo>
                      <a:lnTo>
                        <a:pt x="446" y="234"/>
                      </a:lnTo>
                      <a:lnTo>
                        <a:pt x="445" y="227"/>
                      </a:lnTo>
                      <a:lnTo>
                        <a:pt x="444" y="219"/>
                      </a:lnTo>
                      <a:lnTo>
                        <a:pt x="443" y="212"/>
                      </a:lnTo>
                      <a:lnTo>
                        <a:pt x="439" y="198"/>
                      </a:lnTo>
                      <a:lnTo>
                        <a:pt x="437" y="191"/>
                      </a:lnTo>
                      <a:lnTo>
                        <a:pt x="434" y="184"/>
                      </a:lnTo>
                      <a:lnTo>
                        <a:pt x="431" y="177"/>
                      </a:lnTo>
                      <a:lnTo>
                        <a:pt x="427" y="171"/>
                      </a:lnTo>
                      <a:lnTo>
                        <a:pt x="423" y="164"/>
                      </a:lnTo>
                      <a:lnTo>
                        <a:pt x="419" y="158"/>
                      </a:lnTo>
                      <a:lnTo>
                        <a:pt x="409" y="145"/>
                      </a:lnTo>
                      <a:lnTo>
                        <a:pt x="398" y="134"/>
                      </a:lnTo>
                      <a:lnTo>
                        <a:pt x="392" y="128"/>
                      </a:lnTo>
                      <a:lnTo>
                        <a:pt x="386" y="123"/>
                      </a:lnTo>
                      <a:lnTo>
                        <a:pt x="379" y="118"/>
                      </a:lnTo>
                      <a:lnTo>
                        <a:pt x="373" y="113"/>
                      </a:lnTo>
                      <a:lnTo>
                        <a:pt x="366" y="109"/>
                      </a:lnTo>
                      <a:lnTo>
                        <a:pt x="359" y="105"/>
                      </a:lnTo>
                      <a:lnTo>
                        <a:pt x="352" y="102"/>
                      </a:lnTo>
                      <a:lnTo>
                        <a:pt x="345" y="98"/>
                      </a:lnTo>
                      <a:lnTo>
                        <a:pt x="337" y="96"/>
                      </a:lnTo>
                      <a:lnTo>
                        <a:pt x="330" y="93"/>
                      </a:lnTo>
                      <a:lnTo>
                        <a:pt x="322" y="91"/>
                      </a:lnTo>
                      <a:lnTo>
                        <a:pt x="314" y="90"/>
                      </a:lnTo>
                      <a:lnTo>
                        <a:pt x="306" y="88"/>
                      </a:lnTo>
                      <a:lnTo>
                        <a:pt x="297" y="87"/>
                      </a:lnTo>
                      <a:lnTo>
                        <a:pt x="280" y="87"/>
                      </a:lnTo>
                      <a:lnTo>
                        <a:pt x="263" y="87"/>
                      </a:lnTo>
                      <a:lnTo>
                        <a:pt x="255" y="88"/>
                      </a:lnTo>
                      <a:lnTo>
                        <a:pt x="247" y="89"/>
                      </a:lnTo>
                      <a:lnTo>
                        <a:pt x="232" y="93"/>
                      </a:lnTo>
                      <a:lnTo>
                        <a:pt x="225" y="95"/>
                      </a:lnTo>
                      <a:lnTo>
                        <a:pt x="218" y="97"/>
                      </a:lnTo>
                      <a:lnTo>
                        <a:pt x="211" y="100"/>
                      </a:lnTo>
                      <a:lnTo>
                        <a:pt x="204" y="103"/>
                      </a:lnTo>
                      <a:lnTo>
                        <a:pt x="191" y="111"/>
                      </a:lnTo>
                      <a:lnTo>
                        <a:pt x="185" y="115"/>
                      </a:lnTo>
                      <a:lnTo>
                        <a:pt x="179" y="119"/>
                      </a:lnTo>
                      <a:lnTo>
                        <a:pt x="173" y="124"/>
                      </a:lnTo>
                      <a:lnTo>
                        <a:pt x="167" y="129"/>
                      </a:lnTo>
                      <a:lnTo>
                        <a:pt x="161" y="135"/>
                      </a:lnTo>
                      <a:lnTo>
                        <a:pt x="156" y="141"/>
                      </a:lnTo>
                      <a:lnTo>
                        <a:pt x="151" y="147"/>
                      </a:lnTo>
                      <a:lnTo>
                        <a:pt x="146" y="153"/>
                      </a:lnTo>
                      <a:lnTo>
                        <a:pt x="137" y="168"/>
                      </a:lnTo>
                      <a:lnTo>
                        <a:pt x="130" y="184"/>
                      </a:lnTo>
                      <a:lnTo>
                        <a:pt x="123" y="201"/>
                      </a:lnTo>
                      <a:lnTo>
                        <a:pt x="120" y="210"/>
                      </a:lnTo>
                      <a:lnTo>
                        <a:pt x="117" y="220"/>
                      </a:lnTo>
                      <a:lnTo>
                        <a:pt x="112" y="240"/>
                      </a:lnTo>
                      <a:lnTo>
                        <a:pt x="108" y="262"/>
                      </a:lnTo>
                      <a:lnTo>
                        <a:pt x="0" y="249"/>
                      </a:lnTo>
                      <a:lnTo>
                        <a:pt x="2" y="234"/>
                      </a:lnTo>
                      <a:lnTo>
                        <a:pt x="4" y="220"/>
                      </a:lnTo>
                      <a:lnTo>
                        <a:pt x="7" y="206"/>
                      </a:lnTo>
                      <a:lnTo>
                        <a:pt x="11" y="192"/>
                      </a:lnTo>
                      <a:lnTo>
                        <a:pt x="15" y="179"/>
                      </a:lnTo>
                      <a:lnTo>
                        <a:pt x="19" y="166"/>
                      </a:lnTo>
                      <a:lnTo>
                        <a:pt x="24" y="154"/>
                      </a:lnTo>
                      <a:lnTo>
                        <a:pt x="29" y="142"/>
                      </a:lnTo>
                      <a:lnTo>
                        <a:pt x="34" y="131"/>
                      </a:lnTo>
                      <a:lnTo>
                        <a:pt x="41" y="120"/>
                      </a:lnTo>
                      <a:lnTo>
                        <a:pt x="47" y="110"/>
                      </a:lnTo>
                      <a:lnTo>
                        <a:pt x="54" y="100"/>
                      </a:lnTo>
                      <a:lnTo>
                        <a:pt x="62" y="90"/>
                      </a:lnTo>
                      <a:lnTo>
                        <a:pt x="69" y="81"/>
                      </a:lnTo>
                      <a:lnTo>
                        <a:pt x="78" y="73"/>
                      </a:lnTo>
                      <a:lnTo>
                        <a:pt x="87" y="64"/>
                      </a:lnTo>
                      <a:lnTo>
                        <a:pt x="96" y="57"/>
                      </a:lnTo>
                      <a:lnTo>
                        <a:pt x="105" y="49"/>
                      </a:lnTo>
                      <a:lnTo>
                        <a:pt x="115" y="43"/>
                      </a:lnTo>
                      <a:lnTo>
                        <a:pt x="126" y="36"/>
                      </a:lnTo>
                      <a:lnTo>
                        <a:pt x="136" y="31"/>
                      </a:lnTo>
                      <a:lnTo>
                        <a:pt x="147" y="25"/>
                      </a:lnTo>
                      <a:lnTo>
                        <a:pt x="159" y="21"/>
                      </a:lnTo>
                      <a:lnTo>
                        <a:pt x="170" y="16"/>
                      </a:lnTo>
                      <a:lnTo>
                        <a:pt x="183" y="13"/>
                      </a:lnTo>
                      <a:lnTo>
                        <a:pt x="195" y="9"/>
                      </a:lnTo>
                      <a:lnTo>
                        <a:pt x="208" y="7"/>
                      </a:lnTo>
                      <a:lnTo>
                        <a:pt x="221" y="4"/>
                      </a:lnTo>
                      <a:lnTo>
                        <a:pt x="235" y="3"/>
                      </a:lnTo>
                      <a:lnTo>
                        <a:pt x="249" y="1"/>
                      </a:lnTo>
                      <a:lnTo>
                        <a:pt x="263" y="1"/>
                      </a:lnTo>
                      <a:lnTo>
                        <a:pt x="278" y="0"/>
                      </a:lnTo>
                      <a:lnTo>
                        <a:pt x="294" y="1"/>
                      </a:lnTo>
                      <a:lnTo>
                        <a:pt x="309" y="1"/>
                      </a:lnTo>
                      <a:lnTo>
                        <a:pt x="324" y="3"/>
                      </a:lnTo>
                      <a:lnTo>
                        <a:pt x="338" y="5"/>
                      </a:lnTo>
                      <a:lnTo>
                        <a:pt x="352" y="7"/>
                      </a:lnTo>
                      <a:lnTo>
                        <a:pt x="366" y="10"/>
                      </a:lnTo>
                      <a:lnTo>
                        <a:pt x="379" y="13"/>
                      </a:lnTo>
                      <a:lnTo>
                        <a:pt x="392" y="18"/>
                      </a:lnTo>
                      <a:lnTo>
                        <a:pt x="404" y="22"/>
                      </a:lnTo>
                      <a:lnTo>
                        <a:pt x="416" y="27"/>
                      </a:lnTo>
                      <a:lnTo>
                        <a:pt x="427" y="33"/>
                      </a:lnTo>
                      <a:lnTo>
                        <a:pt x="439" y="39"/>
                      </a:lnTo>
                      <a:lnTo>
                        <a:pt x="449" y="46"/>
                      </a:lnTo>
                      <a:lnTo>
                        <a:pt x="460" y="53"/>
                      </a:lnTo>
                      <a:lnTo>
                        <a:pt x="470" y="61"/>
                      </a:lnTo>
                      <a:lnTo>
                        <a:pt x="479" y="69"/>
                      </a:lnTo>
                      <a:lnTo>
                        <a:pt x="488" y="78"/>
                      </a:lnTo>
                      <a:lnTo>
                        <a:pt x="497" y="87"/>
                      </a:lnTo>
                      <a:lnTo>
                        <a:pt x="505" y="96"/>
                      </a:lnTo>
                      <a:lnTo>
                        <a:pt x="512" y="105"/>
                      </a:lnTo>
                      <a:lnTo>
                        <a:pt x="519" y="115"/>
                      </a:lnTo>
                      <a:lnTo>
                        <a:pt x="525" y="125"/>
                      </a:lnTo>
                      <a:lnTo>
                        <a:pt x="530" y="135"/>
                      </a:lnTo>
                      <a:lnTo>
                        <a:pt x="535" y="145"/>
                      </a:lnTo>
                      <a:lnTo>
                        <a:pt x="540" y="155"/>
                      </a:lnTo>
                      <a:lnTo>
                        <a:pt x="542" y="161"/>
                      </a:lnTo>
                      <a:lnTo>
                        <a:pt x="543" y="166"/>
                      </a:lnTo>
                      <a:lnTo>
                        <a:pt x="547" y="177"/>
                      </a:lnTo>
                      <a:lnTo>
                        <a:pt x="549" y="188"/>
                      </a:lnTo>
                      <a:lnTo>
                        <a:pt x="551" y="200"/>
                      </a:lnTo>
                      <a:lnTo>
                        <a:pt x="553" y="211"/>
                      </a:lnTo>
                      <a:lnTo>
                        <a:pt x="554" y="223"/>
                      </a:lnTo>
                      <a:lnTo>
                        <a:pt x="554" y="235"/>
                      </a:lnTo>
                      <a:lnTo>
                        <a:pt x="554" y="249"/>
                      </a:lnTo>
                      <a:lnTo>
                        <a:pt x="552" y="263"/>
                      </a:lnTo>
                      <a:lnTo>
                        <a:pt x="550" y="276"/>
                      </a:lnTo>
                      <a:lnTo>
                        <a:pt x="547" y="289"/>
                      </a:lnTo>
                      <a:lnTo>
                        <a:pt x="544" y="302"/>
                      </a:lnTo>
                      <a:lnTo>
                        <a:pt x="539" y="315"/>
                      </a:lnTo>
                      <a:lnTo>
                        <a:pt x="534" y="327"/>
                      </a:lnTo>
                      <a:lnTo>
                        <a:pt x="528" y="339"/>
                      </a:lnTo>
                      <a:lnTo>
                        <a:pt x="520" y="351"/>
                      </a:lnTo>
                      <a:lnTo>
                        <a:pt x="511" y="364"/>
                      </a:lnTo>
                      <a:lnTo>
                        <a:pt x="501" y="378"/>
                      </a:lnTo>
                      <a:lnTo>
                        <a:pt x="489" y="392"/>
                      </a:lnTo>
                      <a:lnTo>
                        <a:pt x="475" y="406"/>
                      </a:lnTo>
                      <a:lnTo>
                        <a:pt x="460" y="422"/>
                      </a:lnTo>
                      <a:lnTo>
                        <a:pt x="443" y="439"/>
                      </a:lnTo>
                      <a:lnTo>
                        <a:pt x="424" y="455"/>
                      </a:lnTo>
                      <a:lnTo>
                        <a:pt x="401" y="477"/>
                      </a:lnTo>
                      <a:lnTo>
                        <a:pt x="382" y="495"/>
                      </a:lnTo>
                      <a:lnTo>
                        <a:pt x="367" y="510"/>
                      </a:lnTo>
                      <a:lnTo>
                        <a:pt x="362" y="517"/>
                      </a:lnTo>
                      <a:lnTo>
                        <a:pt x="357" y="523"/>
                      </a:lnTo>
                      <a:lnTo>
                        <a:pt x="353" y="528"/>
                      </a:lnTo>
                      <a:lnTo>
                        <a:pt x="350" y="534"/>
                      </a:lnTo>
                      <a:lnTo>
                        <a:pt x="343" y="546"/>
                      </a:lnTo>
                      <a:lnTo>
                        <a:pt x="338" y="559"/>
                      </a:lnTo>
                      <a:lnTo>
                        <a:pt x="334" y="572"/>
                      </a:lnTo>
                      <a:lnTo>
                        <a:pt x="332" y="580"/>
                      </a:lnTo>
                      <a:lnTo>
                        <a:pt x="330" y="589"/>
                      </a:lnTo>
                      <a:lnTo>
                        <a:pt x="328" y="609"/>
                      </a:lnTo>
                      <a:lnTo>
                        <a:pt x="326" y="634"/>
                      </a:lnTo>
                      <a:lnTo>
                        <a:pt x="325" y="664"/>
                      </a:lnTo>
                      <a:lnTo>
                        <a:pt x="223" y="66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808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sp>
              <p:nvSpPr>
                <p:cNvPr id="3015692" name="Rectangle 12"/>
                <p:cNvSpPr>
                  <a:spLocks noChangeArrowheads="1"/>
                </p:cNvSpPr>
                <p:nvPr/>
              </p:nvSpPr>
              <p:spPr bwMode="gray">
                <a:xfrm>
                  <a:off x="3026" y="3176"/>
                  <a:ext cx="121" cy="12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808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</p:grpSp>
          <p:sp>
            <p:nvSpPr>
              <p:cNvPr id="3015693" name="Rectangle 13"/>
              <p:cNvSpPr>
                <a:spLocks noChangeArrowheads="1"/>
              </p:cNvSpPr>
              <p:nvPr/>
            </p:nvSpPr>
            <p:spPr bwMode="gray">
              <a:xfrm>
                <a:off x="539" y="2054"/>
                <a:ext cx="256" cy="253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15694" name="Rectangle 14"/>
              <p:cNvSpPr>
                <a:spLocks noChangeArrowheads="1"/>
              </p:cNvSpPr>
              <p:nvPr/>
            </p:nvSpPr>
            <p:spPr bwMode="gray">
              <a:xfrm>
                <a:off x="575" y="2083"/>
                <a:ext cx="190" cy="18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15696" name="Freeform 16"/>
              <p:cNvSpPr>
                <a:spLocks/>
              </p:cNvSpPr>
              <p:nvPr/>
            </p:nvSpPr>
            <p:spPr bwMode="gray">
              <a:xfrm>
                <a:off x="247" y="960"/>
                <a:ext cx="866" cy="1038"/>
              </a:xfrm>
              <a:custGeom>
                <a:avLst/>
                <a:gdLst>
                  <a:gd name="T0" fmla="*/ 222 w 554"/>
                  <a:gd name="T1" fmla="*/ 632 h 664"/>
                  <a:gd name="T2" fmla="*/ 225 w 554"/>
                  <a:gd name="T3" fmla="*/ 588 h 664"/>
                  <a:gd name="T4" fmla="*/ 232 w 554"/>
                  <a:gd name="T5" fmla="*/ 549 h 664"/>
                  <a:gd name="T6" fmla="*/ 243 w 554"/>
                  <a:gd name="T7" fmla="*/ 517 h 664"/>
                  <a:gd name="T8" fmla="*/ 257 w 554"/>
                  <a:gd name="T9" fmla="*/ 491 h 664"/>
                  <a:gd name="T10" fmla="*/ 275 w 554"/>
                  <a:gd name="T11" fmla="*/ 465 h 664"/>
                  <a:gd name="T12" fmla="*/ 295 w 554"/>
                  <a:gd name="T13" fmla="*/ 443 h 664"/>
                  <a:gd name="T14" fmla="*/ 358 w 554"/>
                  <a:gd name="T15" fmla="*/ 382 h 664"/>
                  <a:gd name="T16" fmla="*/ 394 w 554"/>
                  <a:gd name="T17" fmla="*/ 349 h 664"/>
                  <a:gd name="T18" fmla="*/ 419 w 554"/>
                  <a:gd name="T19" fmla="*/ 321 h 664"/>
                  <a:gd name="T20" fmla="*/ 433 w 554"/>
                  <a:gd name="T21" fmla="*/ 298 h 664"/>
                  <a:gd name="T22" fmla="*/ 442 w 554"/>
                  <a:gd name="T23" fmla="*/ 275 h 664"/>
                  <a:gd name="T24" fmla="*/ 446 w 554"/>
                  <a:gd name="T25" fmla="*/ 251 h 664"/>
                  <a:gd name="T26" fmla="*/ 445 w 554"/>
                  <a:gd name="T27" fmla="*/ 227 h 664"/>
                  <a:gd name="T28" fmla="*/ 439 w 554"/>
                  <a:gd name="T29" fmla="*/ 198 h 664"/>
                  <a:gd name="T30" fmla="*/ 431 w 554"/>
                  <a:gd name="T31" fmla="*/ 177 h 664"/>
                  <a:gd name="T32" fmla="*/ 419 w 554"/>
                  <a:gd name="T33" fmla="*/ 158 h 664"/>
                  <a:gd name="T34" fmla="*/ 392 w 554"/>
                  <a:gd name="T35" fmla="*/ 128 h 664"/>
                  <a:gd name="T36" fmla="*/ 373 w 554"/>
                  <a:gd name="T37" fmla="*/ 113 h 664"/>
                  <a:gd name="T38" fmla="*/ 352 w 554"/>
                  <a:gd name="T39" fmla="*/ 102 h 664"/>
                  <a:gd name="T40" fmla="*/ 330 w 554"/>
                  <a:gd name="T41" fmla="*/ 93 h 664"/>
                  <a:gd name="T42" fmla="*/ 306 w 554"/>
                  <a:gd name="T43" fmla="*/ 88 h 664"/>
                  <a:gd name="T44" fmla="*/ 263 w 554"/>
                  <a:gd name="T45" fmla="*/ 87 h 664"/>
                  <a:gd name="T46" fmla="*/ 232 w 554"/>
                  <a:gd name="T47" fmla="*/ 93 h 664"/>
                  <a:gd name="T48" fmla="*/ 211 w 554"/>
                  <a:gd name="T49" fmla="*/ 100 h 664"/>
                  <a:gd name="T50" fmla="*/ 185 w 554"/>
                  <a:gd name="T51" fmla="*/ 115 h 664"/>
                  <a:gd name="T52" fmla="*/ 167 w 554"/>
                  <a:gd name="T53" fmla="*/ 129 h 664"/>
                  <a:gd name="T54" fmla="*/ 151 w 554"/>
                  <a:gd name="T55" fmla="*/ 147 h 664"/>
                  <a:gd name="T56" fmla="*/ 130 w 554"/>
                  <a:gd name="T57" fmla="*/ 184 h 664"/>
                  <a:gd name="T58" fmla="*/ 117 w 554"/>
                  <a:gd name="T59" fmla="*/ 220 h 664"/>
                  <a:gd name="T60" fmla="*/ 0 w 554"/>
                  <a:gd name="T61" fmla="*/ 249 h 664"/>
                  <a:gd name="T62" fmla="*/ 7 w 554"/>
                  <a:gd name="T63" fmla="*/ 206 h 664"/>
                  <a:gd name="T64" fmla="*/ 19 w 554"/>
                  <a:gd name="T65" fmla="*/ 166 h 664"/>
                  <a:gd name="T66" fmla="*/ 34 w 554"/>
                  <a:gd name="T67" fmla="*/ 131 h 664"/>
                  <a:gd name="T68" fmla="*/ 54 w 554"/>
                  <a:gd name="T69" fmla="*/ 100 h 664"/>
                  <a:gd name="T70" fmla="*/ 78 w 554"/>
                  <a:gd name="T71" fmla="*/ 73 h 664"/>
                  <a:gd name="T72" fmla="*/ 105 w 554"/>
                  <a:gd name="T73" fmla="*/ 49 h 664"/>
                  <a:gd name="T74" fmla="*/ 136 w 554"/>
                  <a:gd name="T75" fmla="*/ 31 h 664"/>
                  <a:gd name="T76" fmla="*/ 170 w 554"/>
                  <a:gd name="T77" fmla="*/ 16 h 664"/>
                  <a:gd name="T78" fmla="*/ 208 w 554"/>
                  <a:gd name="T79" fmla="*/ 7 h 664"/>
                  <a:gd name="T80" fmla="*/ 249 w 554"/>
                  <a:gd name="T81" fmla="*/ 1 h 664"/>
                  <a:gd name="T82" fmla="*/ 294 w 554"/>
                  <a:gd name="T83" fmla="*/ 1 h 664"/>
                  <a:gd name="T84" fmla="*/ 338 w 554"/>
                  <a:gd name="T85" fmla="*/ 5 h 664"/>
                  <a:gd name="T86" fmla="*/ 379 w 554"/>
                  <a:gd name="T87" fmla="*/ 13 h 664"/>
                  <a:gd name="T88" fmla="*/ 416 w 554"/>
                  <a:gd name="T89" fmla="*/ 27 h 664"/>
                  <a:gd name="T90" fmla="*/ 449 w 554"/>
                  <a:gd name="T91" fmla="*/ 46 h 664"/>
                  <a:gd name="T92" fmla="*/ 479 w 554"/>
                  <a:gd name="T93" fmla="*/ 69 h 664"/>
                  <a:gd name="T94" fmla="*/ 505 w 554"/>
                  <a:gd name="T95" fmla="*/ 96 h 664"/>
                  <a:gd name="T96" fmla="*/ 525 w 554"/>
                  <a:gd name="T97" fmla="*/ 125 h 664"/>
                  <a:gd name="T98" fmla="*/ 540 w 554"/>
                  <a:gd name="T99" fmla="*/ 155 h 664"/>
                  <a:gd name="T100" fmla="*/ 547 w 554"/>
                  <a:gd name="T101" fmla="*/ 177 h 664"/>
                  <a:gd name="T102" fmla="*/ 553 w 554"/>
                  <a:gd name="T103" fmla="*/ 211 h 664"/>
                  <a:gd name="T104" fmla="*/ 554 w 554"/>
                  <a:gd name="T105" fmla="*/ 249 h 664"/>
                  <a:gd name="T106" fmla="*/ 547 w 554"/>
                  <a:gd name="T107" fmla="*/ 289 h 664"/>
                  <a:gd name="T108" fmla="*/ 534 w 554"/>
                  <a:gd name="T109" fmla="*/ 327 h 664"/>
                  <a:gd name="T110" fmla="*/ 511 w 554"/>
                  <a:gd name="T111" fmla="*/ 364 h 664"/>
                  <a:gd name="T112" fmla="*/ 475 w 554"/>
                  <a:gd name="T113" fmla="*/ 406 h 664"/>
                  <a:gd name="T114" fmla="*/ 424 w 554"/>
                  <a:gd name="T115" fmla="*/ 455 h 664"/>
                  <a:gd name="T116" fmla="*/ 367 w 554"/>
                  <a:gd name="T117" fmla="*/ 510 h 664"/>
                  <a:gd name="T118" fmla="*/ 353 w 554"/>
                  <a:gd name="T119" fmla="*/ 528 h 664"/>
                  <a:gd name="T120" fmla="*/ 338 w 554"/>
                  <a:gd name="T121" fmla="*/ 559 h 664"/>
                  <a:gd name="T122" fmla="*/ 330 w 554"/>
                  <a:gd name="T123" fmla="*/ 589 h 664"/>
                  <a:gd name="T124" fmla="*/ 325 w 554"/>
                  <a:gd name="T125" fmla="*/ 664 h 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54" h="664">
                    <a:moveTo>
                      <a:pt x="223" y="664"/>
                    </a:moveTo>
                    <a:lnTo>
                      <a:pt x="223" y="645"/>
                    </a:lnTo>
                    <a:lnTo>
                      <a:pt x="222" y="632"/>
                    </a:lnTo>
                    <a:lnTo>
                      <a:pt x="223" y="617"/>
                    </a:lnTo>
                    <a:lnTo>
                      <a:pt x="223" y="602"/>
                    </a:lnTo>
                    <a:lnTo>
                      <a:pt x="225" y="588"/>
                    </a:lnTo>
                    <a:lnTo>
                      <a:pt x="227" y="574"/>
                    </a:lnTo>
                    <a:lnTo>
                      <a:pt x="229" y="561"/>
                    </a:lnTo>
                    <a:lnTo>
                      <a:pt x="232" y="549"/>
                    </a:lnTo>
                    <a:lnTo>
                      <a:pt x="236" y="537"/>
                    </a:lnTo>
                    <a:lnTo>
                      <a:pt x="240" y="525"/>
                    </a:lnTo>
                    <a:lnTo>
                      <a:pt x="243" y="517"/>
                    </a:lnTo>
                    <a:lnTo>
                      <a:pt x="247" y="508"/>
                    </a:lnTo>
                    <a:lnTo>
                      <a:pt x="252" y="500"/>
                    </a:lnTo>
                    <a:lnTo>
                      <a:pt x="257" y="491"/>
                    </a:lnTo>
                    <a:lnTo>
                      <a:pt x="262" y="482"/>
                    </a:lnTo>
                    <a:lnTo>
                      <a:pt x="268" y="474"/>
                    </a:lnTo>
                    <a:lnTo>
                      <a:pt x="275" y="465"/>
                    </a:lnTo>
                    <a:lnTo>
                      <a:pt x="283" y="457"/>
                    </a:lnTo>
                    <a:lnTo>
                      <a:pt x="288" y="450"/>
                    </a:lnTo>
                    <a:lnTo>
                      <a:pt x="295" y="443"/>
                    </a:lnTo>
                    <a:lnTo>
                      <a:pt x="312" y="425"/>
                    </a:lnTo>
                    <a:lnTo>
                      <a:pt x="333" y="405"/>
                    </a:lnTo>
                    <a:lnTo>
                      <a:pt x="358" y="382"/>
                    </a:lnTo>
                    <a:lnTo>
                      <a:pt x="372" y="370"/>
                    </a:lnTo>
                    <a:lnTo>
                      <a:pt x="383" y="359"/>
                    </a:lnTo>
                    <a:lnTo>
                      <a:pt x="394" y="349"/>
                    </a:lnTo>
                    <a:lnTo>
                      <a:pt x="404" y="339"/>
                    </a:lnTo>
                    <a:lnTo>
                      <a:pt x="412" y="329"/>
                    </a:lnTo>
                    <a:lnTo>
                      <a:pt x="419" y="321"/>
                    </a:lnTo>
                    <a:lnTo>
                      <a:pt x="425" y="313"/>
                    </a:lnTo>
                    <a:lnTo>
                      <a:pt x="430" y="305"/>
                    </a:lnTo>
                    <a:lnTo>
                      <a:pt x="433" y="298"/>
                    </a:lnTo>
                    <a:lnTo>
                      <a:pt x="437" y="290"/>
                    </a:lnTo>
                    <a:lnTo>
                      <a:pt x="440" y="283"/>
                    </a:lnTo>
                    <a:lnTo>
                      <a:pt x="442" y="275"/>
                    </a:lnTo>
                    <a:lnTo>
                      <a:pt x="444" y="267"/>
                    </a:lnTo>
                    <a:lnTo>
                      <a:pt x="445" y="259"/>
                    </a:lnTo>
                    <a:lnTo>
                      <a:pt x="446" y="251"/>
                    </a:lnTo>
                    <a:lnTo>
                      <a:pt x="446" y="242"/>
                    </a:lnTo>
                    <a:lnTo>
                      <a:pt x="446" y="234"/>
                    </a:lnTo>
                    <a:lnTo>
                      <a:pt x="445" y="227"/>
                    </a:lnTo>
                    <a:lnTo>
                      <a:pt x="444" y="219"/>
                    </a:lnTo>
                    <a:lnTo>
                      <a:pt x="443" y="212"/>
                    </a:lnTo>
                    <a:lnTo>
                      <a:pt x="439" y="198"/>
                    </a:lnTo>
                    <a:lnTo>
                      <a:pt x="437" y="191"/>
                    </a:lnTo>
                    <a:lnTo>
                      <a:pt x="434" y="184"/>
                    </a:lnTo>
                    <a:lnTo>
                      <a:pt x="431" y="177"/>
                    </a:lnTo>
                    <a:lnTo>
                      <a:pt x="427" y="171"/>
                    </a:lnTo>
                    <a:lnTo>
                      <a:pt x="423" y="164"/>
                    </a:lnTo>
                    <a:lnTo>
                      <a:pt x="419" y="158"/>
                    </a:lnTo>
                    <a:lnTo>
                      <a:pt x="409" y="145"/>
                    </a:lnTo>
                    <a:lnTo>
                      <a:pt x="398" y="134"/>
                    </a:lnTo>
                    <a:lnTo>
                      <a:pt x="392" y="128"/>
                    </a:lnTo>
                    <a:lnTo>
                      <a:pt x="386" y="123"/>
                    </a:lnTo>
                    <a:lnTo>
                      <a:pt x="379" y="118"/>
                    </a:lnTo>
                    <a:lnTo>
                      <a:pt x="373" y="113"/>
                    </a:lnTo>
                    <a:lnTo>
                      <a:pt x="366" y="109"/>
                    </a:lnTo>
                    <a:lnTo>
                      <a:pt x="359" y="105"/>
                    </a:lnTo>
                    <a:lnTo>
                      <a:pt x="352" y="102"/>
                    </a:lnTo>
                    <a:lnTo>
                      <a:pt x="345" y="98"/>
                    </a:lnTo>
                    <a:lnTo>
                      <a:pt x="337" y="96"/>
                    </a:lnTo>
                    <a:lnTo>
                      <a:pt x="330" y="93"/>
                    </a:lnTo>
                    <a:lnTo>
                      <a:pt x="322" y="91"/>
                    </a:lnTo>
                    <a:lnTo>
                      <a:pt x="314" y="90"/>
                    </a:lnTo>
                    <a:lnTo>
                      <a:pt x="306" y="88"/>
                    </a:lnTo>
                    <a:lnTo>
                      <a:pt x="297" y="87"/>
                    </a:lnTo>
                    <a:lnTo>
                      <a:pt x="280" y="87"/>
                    </a:lnTo>
                    <a:lnTo>
                      <a:pt x="263" y="87"/>
                    </a:lnTo>
                    <a:lnTo>
                      <a:pt x="255" y="88"/>
                    </a:lnTo>
                    <a:lnTo>
                      <a:pt x="247" y="89"/>
                    </a:lnTo>
                    <a:lnTo>
                      <a:pt x="232" y="93"/>
                    </a:lnTo>
                    <a:lnTo>
                      <a:pt x="225" y="95"/>
                    </a:lnTo>
                    <a:lnTo>
                      <a:pt x="218" y="97"/>
                    </a:lnTo>
                    <a:lnTo>
                      <a:pt x="211" y="100"/>
                    </a:lnTo>
                    <a:lnTo>
                      <a:pt x="204" y="103"/>
                    </a:lnTo>
                    <a:lnTo>
                      <a:pt x="191" y="111"/>
                    </a:lnTo>
                    <a:lnTo>
                      <a:pt x="185" y="115"/>
                    </a:lnTo>
                    <a:lnTo>
                      <a:pt x="179" y="119"/>
                    </a:lnTo>
                    <a:lnTo>
                      <a:pt x="173" y="124"/>
                    </a:lnTo>
                    <a:lnTo>
                      <a:pt x="167" y="129"/>
                    </a:lnTo>
                    <a:lnTo>
                      <a:pt x="161" y="135"/>
                    </a:lnTo>
                    <a:lnTo>
                      <a:pt x="156" y="141"/>
                    </a:lnTo>
                    <a:lnTo>
                      <a:pt x="151" y="147"/>
                    </a:lnTo>
                    <a:lnTo>
                      <a:pt x="146" y="153"/>
                    </a:lnTo>
                    <a:lnTo>
                      <a:pt x="137" y="168"/>
                    </a:lnTo>
                    <a:lnTo>
                      <a:pt x="130" y="184"/>
                    </a:lnTo>
                    <a:lnTo>
                      <a:pt x="123" y="201"/>
                    </a:lnTo>
                    <a:lnTo>
                      <a:pt x="120" y="210"/>
                    </a:lnTo>
                    <a:lnTo>
                      <a:pt x="117" y="220"/>
                    </a:lnTo>
                    <a:lnTo>
                      <a:pt x="112" y="240"/>
                    </a:lnTo>
                    <a:lnTo>
                      <a:pt x="108" y="262"/>
                    </a:lnTo>
                    <a:lnTo>
                      <a:pt x="0" y="249"/>
                    </a:lnTo>
                    <a:lnTo>
                      <a:pt x="2" y="234"/>
                    </a:lnTo>
                    <a:lnTo>
                      <a:pt x="4" y="220"/>
                    </a:lnTo>
                    <a:lnTo>
                      <a:pt x="7" y="206"/>
                    </a:lnTo>
                    <a:lnTo>
                      <a:pt x="11" y="192"/>
                    </a:lnTo>
                    <a:lnTo>
                      <a:pt x="15" y="179"/>
                    </a:lnTo>
                    <a:lnTo>
                      <a:pt x="19" y="166"/>
                    </a:lnTo>
                    <a:lnTo>
                      <a:pt x="24" y="154"/>
                    </a:lnTo>
                    <a:lnTo>
                      <a:pt x="29" y="142"/>
                    </a:lnTo>
                    <a:lnTo>
                      <a:pt x="34" y="131"/>
                    </a:lnTo>
                    <a:lnTo>
                      <a:pt x="41" y="120"/>
                    </a:lnTo>
                    <a:lnTo>
                      <a:pt x="47" y="110"/>
                    </a:lnTo>
                    <a:lnTo>
                      <a:pt x="54" y="100"/>
                    </a:lnTo>
                    <a:lnTo>
                      <a:pt x="62" y="90"/>
                    </a:lnTo>
                    <a:lnTo>
                      <a:pt x="69" y="81"/>
                    </a:lnTo>
                    <a:lnTo>
                      <a:pt x="78" y="73"/>
                    </a:lnTo>
                    <a:lnTo>
                      <a:pt x="87" y="64"/>
                    </a:lnTo>
                    <a:lnTo>
                      <a:pt x="96" y="57"/>
                    </a:lnTo>
                    <a:lnTo>
                      <a:pt x="105" y="49"/>
                    </a:lnTo>
                    <a:lnTo>
                      <a:pt x="115" y="43"/>
                    </a:lnTo>
                    <a:lnTo>
                      <a:pt x="126" y="36"/>
                    </a:lnTo>
                    <a:lnTo>
                      <a:pt x="136" y="31"/>
                    </a:lnTo>
                    <a:lnTo>
                      <a:pt x="147" y="25"/>
                    </a:lnTo>
                    <a:lnTo>
                      <a:pt x="159" y="21"/>
                    </a:lnTo>
                    <a:lnTo>
                      <a:pt x="170" y="16"/>
                    </a:lnTo>
                    <a:lnTo>
                      <a:pt x="183" y="13"/>
                    </a:lnTo>
                    <a:lnTo>
                      <a:pt x="195" y="9"/>
                    </a:lnTo>
                    <a:lnTo>
                      <a:pt x="208" y="7"/>
                    </a:lnTo>
                    <a:lnTo>
                      <a:pt x="221" y="4"/>
                    </a:lnTo>
                    <a:lnTo>
                      <a:pt x="235" y="3"/>
                    </a:lnTo>
                    <a:lnTo>
                      <a:pt x="249" y="1"/>
                    </a:lnTo>
                    <a:lnTo>
                      <a:pt x="263" y="1"/>
                    </a:lnTo>
                    <a:lnTo>
                      <a:pt x="278" y="0"/>
                    </a:lnTo>
                    <a:lnTo>
                      <a:pt x="294" y="1"/>
                    </a:lnTo>
                    <a:lnTo>
                      <a:pt x="309" y="1"/>
                    </a:lnTo>
                    <a:lnTo>
                      <a:pt x="324" y="3"/>
                    </a:lnTo>
                    <a:lnTo>
                      <a:pt x="338" y="5"/>
                    </a:lnTo>
                    <a:lnTo>
                      <a:pt x="352" y="7"/>
                    </a:lnTo>
                    <a:lnTo>
                      <a:pt x="366" y="10"/>
                    </a:lnTo>
                    <a:lnTo>
                      <a:pt x="379" y="13"/>
                    </a:lnTo>
                    <a:lnTo>
                      <a:pt x="392" y="18"/>
                    </a:lnTo>
                    <a:lnTo>
                      <a:pt x="404" y="22"/>
                    </a:lnTo>
                    <a:lnTo>
                      <a:pt x="416" y="27"/>
                    </a:lnTo>
                    <a:lnTo>
                      <a:pt x="427" y="33"/>
                    </a:lnTo>
                    <a:lnTo>
                      <a:pt x="439" y="39"/>
                    </a:lnTo>
                    <a:lnTo>
                      <a:pt x="449" y="46"/>
                    </a:lnTo>
                    <a:lnTo>
                      <a:pt x="460" y="53"/>
                    </a:lnTo>
                    <a:lnTo>
                      <a:pt x="470" y="61"/>
                    </a:lnTo>
                    <a:lnTo>
                      <a:pt x="479" y="69"/>
                    </a:lnTo>
                    <a:lnTo>
                      <a:pt x="488" y="78"/>
                    </a:lnTo>
                    <a:lnTo>
                      <a:pt x="497" y="87"/>
                    </a:lnTo>
                    <a:lnTo>
                      <a:pt x="505" y="96"/>
                    </a:lnTo>
                    <a:lnTo>
                      <a:pt x="512" y="105"/>
                    </a:lnTo>
                    <a:lnTo>
                      <a:pt x="519" y="115"/>
                    </a:lnTo>
                    <a:lnTo>
                      <a:pt x="525" y="125"/>
                    </a:lnTo>
                    <a:lnTo>
                      <a:pt x="530" y="135"/>
                    </a:lnTo>
                    <a:lnTo>
                      <a:pt x="535" y="145"/>
                    </a:lnTo>
                    <a:lnTo>
                      <a:pt x="540" y="155"/>
                    </a:lnTo>
                    <a:lnTo>
                      <a:pt x="542" y="161"/>
                    </a:lnTo>
                    <a:lnTo>
                      <a:pt x="543" y="166"/>
                    </a:lnTo>
                    <a:lnTo>
                      <a:pt x="547" y="177"/>
                    </a:lnTo>
                    <a:lnTo>
                      <a:pt x="549" y="188"/>
                    </a:lnTo>
                    <a:lnTo>
                      <a:pt x="551" y="200"/>
                    </a:lnTo>
                    <a:lnTo>
                      <a:pt x="553" y="211"/>
                    </a:lnTo>
                    <a:lnTo>
                      <a:pt x="554" y="223"/>
                    </a:lnTo>
                    <a:lnTo>
                      <a:pt x="554" y="235"/>
                    </a:lnTo>
                    <a:lnTo>
                      <a:pt x="554" y="249"/>
                    </a:lnTo>
                    <a:lnTo>
                      <a:pt x="552" y="263"/>
                    </a:lnTo>
                    <a:lnTo>
                      <a:pt x="550" y="276"/>
                    </a:lnTo>
                    <a:lnTo>
                      <a:pt x="547" y="289"/>
                    </a:lnTo>
                    <a:lnTo>
                      <a:pt x="544" y="302"/>
                    </a:lnTo>
                    <a:lnTo>
                      <a:pt x="539" y="315"/>
                    </a:lnTo>
                    <a:lnTo>
                      <a:pt x="534" y="327"/>
                    </a:lnTo>
                    <a:lnTo>
                      <a:pt x="528" y="339"/>
                    </a:lnTo>
                    <a:lnTo>
                      <a:pt x="520" y="351"/>
                    </a:lnTo>
                    <a:lnTo>
                      <a:pt x="511" y="364"/>
                    </a:lnTo>
                    <a:lnTo>
                      <a:pt x="501" y="378"/>
                    </a:lnTo>
                    <a:lnTo>
                      <a:pt x="489" y="392"/>
                    </a:lnTo>
                    <a:lnTo>
                      <a:pt x="475" y="406"/>
                    </a:lnTo>
                    <a:lnTo>
                      <a:pt x="460" y="422"/>
                    </a:lnTo>
                    <a:lnTo>
                      <a:pt x="443" y="439"/>
                    </a:lnTo>
                    <a:lnTo>
                      <a:pt x="424" y="455"/>
                    </a:lnTo>
                    <a:lnTo>
                      <a:pt x="401" y="477"/>
                    </a:lnTo>
                    <a:lnTo>
                      <a:pt x="382" y="495"/>
                    </a:lnTo>
                    <a:lnTo>
                      <a:pt x="367" y="510"/>
                    </a:lnTo>
                    <a:lnTo>
                      <a:pt x="362" y="517"/>
                    </a:lnTo>
                    <a:lnTo>
                      <a:pt x="357" y="523"/>
                    </a:lnTo>
                    <a:lnTo>
                      <a:pt x="353" y="528"/>
                    </a:lnTo>
                    <a:lnTo>
                      <a:pt x="350" y="534"/>
                    </a:lnTo>
                    <a:lnTo>
                      <a:pt x="343" y="546"/>
                    </a:lnTo>
                    <a:lnTo>
                      <a:pt x="338" y="559"/>
                    </a:lnTo>
                    <a:lnTo>
                      <a:pt x="334" y="572"/>
                    </a:lnTo>
                    <a:lnTo>
                      <a:pt x="332" y="580"/>
                    </a:lnTo>
                    <a:lnTo>
                      <a:pt x="330" y="589"/>
                    </a:lnTo>
                    <a:lnTo>
                      <a:pt x="328" y="609"/>
                    </a:lnTo>
                    <a:lnTo>
                      <a:pt x="326" y="634"/>
                    </a:lnTo>
                    <a:lnTo>
                      <a:pt x="325" y="664"/>
                    </a:lnTo>
                    <a:lnTo>
                      <a:pt x="223" y="66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5931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02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ycle – 7 Factors</a:t>
            </a:r>
          </a:p>
        </p:txBody>
      </p:sp>
      <p:grpSp>
        <p:nvGrpSpPr>
          <p:cNvPr id="2400283" name="Group 27"/>
          <p:cNvGrpSpPr>
            <a:grpSpLocks/>
          </p:cNvGrpSpPr>
          <p:nvPr/>
        </p:nvGrpSpPr>
        <p:grpSpPr bwMode="auto">
          <a:xfrm>
            <a:off x="4203701" y="1579564"/>
            <a:ext cx="3763963" cy="3736975"/>
            <a:chOff x="1688" y="995"/>
            <a:chExt cx="2371" cy="2354"/>
          </a:xfrm>
        </p:grpSpPr>
        <p:sp>
          <p:nvSpPr>
            <p:cNvPr id="2400260" name="Arc 4"/>
            <p:cNvSpPr>
              <a:spLocks/>
            </p:cNvSpPr>
            <p:nvPr/>
          </p:nvSpPr>
          <p:spPr bwMode="gray">
            <a:xfrm>
              <a:off x="2891" y="1120"/>
              <a:ext cx="840" cy="1075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16770"/>
                <a:gd name="T1" fmla="*/ 0 h 21600"/>
                <a:gd name="T2" fmla="*/ 16770 w 16770"/>
                <a:gd name="T3" fmla="*/ 7987 h 21600"/>
                <a:gd name="T4" fmla="*/ 0 w 1677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770" h="21600" fill="none" extrusionOk="0">
                  <a:moveTo>
                    <a:pt x="-1" y="0"/>
                  </a:moveTo>
                  <a:cubicBezTo>
                    <a:pt x="6507" y="0"/>
                    <a:pt x="12668" y="2934"/>
                    <a:pt x="16770" y="7986"/>
                  </a:cubicBezTo>
                </a:path>
                <a:path w="16770" h="21600" stroke="0" extrusionOk="0">
                  <a:moveTo>
                    <a:pt x="-1" y="0"/>
                  </a:moveTo>
                  <a:cubicBezTo>
                    <a:pt x="6507" y="0"/>
                    <a:pt x="12668" y="2934"/>
                    <a:pt x="16770" y="7986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00261" name="Arc 5"/>
            <p:cNvSpPr>
              <a:spLocks/>
            </p:cNvSpPr>
            <p:nvPr/>
          </p:nvSpPr>
          <p:spPr bwMode="gray">
            <a:xfrm>
              <a:off x="2891" y="1517"/>
              <a:ext cx="1085" cy="918"/>
            </a:xfrm>
            <a:custGeom>
              <a:avLst/>
              <a:gdLst>
                <a:gd name="G0" fmla="+- 0 0 0"/>
                <a:gd name="G1" fmla="+- 13613 0 0"/>
                <a:gd name="G2" fmla="+- 21600 0 0"/>
                <a:gd name="T0" fmla="*/ 16770 w 21600"/>
                <a:gd name="T1" fmla="*/ 0 h 18445"/>
                <a:gd name="T2" fmla="*/ 21053 w 21600"/>
                <a:gd name="T3" fmla="*/ 18445 h 18445"/>
                <a:gd name="T4" fmla="*/ 0 w 21600"/>
                <a:gd name="T5" fmla="*/ 13613 h 18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18445" fill="none" extrusionOk="0">
                  <a:moveTo>
                    <a:pt x="16770" y="-1"/>
                  </a:moveTo>
                  <a:cubicBezTo>
                    <a:pt x="19894" y="3848"/>
                    <a:pt x="21600" y="8655"/>
                    <a:pt x="21600" y="13613"/>
                  </a:cubicBezTo>
                  <a:cubicBezTo>
                    <a:pt x="21600" y="15239"/>
                    <a:pt x="21416" y="16860"/>
                    <a:pt x="21052" y="18444"/>
                  </a:cubicBezTo>
                </a:path>
                <a:path w="21600" h="18445" stroke="0" extrusionOk="0">
                  <a:moveTo>
                    <a:pt x="16770" y="-1"/>
                  </a:moveTo>
                  <a:cubicBezTo>
                    <a:pt x="19894" y="3848"/>
                    <a:pt x="21600" y="8655"/>
                    <a:pt x="21600" y="13613"/>
                  </a:cubicBezTo>
                  <a:cubicBezTo>
                    <a:pt x="21600" y="15239"/>
                    <a:pt x="21416" y="16860"/>
                    <a:pt x="21052" y="18444"/>
                  </a:cubicBezTo>
                  <a:lnTo>
                    <a:pt x="0" y="136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00262" name="Arc 6"/>
            <p:cNvSpPr>
              <a:spLocks/>
            </p:cNvSpPr>
            <p:nvPr/>
          </p:nvSpPr>
          <p:spPr bwMode="gray">
            <a:xfrm>
              <a:off x="2891" y="2195"/>
              <a:ext cx="1056" cy="966"/>
            </a:xfrm>
            <a:custGeom>
              <a:avLst/>
              <a:gdLst>
                <a:gd name="G0" fmla="+- 0 0 0"/>
                <a:gd name="G1" fmla="+- 0 0 0"/>
                <a:gd name="G2" fmla="+- 21600 0 0"/>
                <a:gd name="T0" fmla="*/ 21053 w 21053"/>
                <a:gd name="T1" fmla="*/ 4832 h 19393"/>
                <a:gd name="T2" fmla="*/ 9511 w 21053"/>
                <a:gd name="T3" fmla="*/ 19393 h 19393"/>
                <a:gd name="T4" fmla="*/ 0 w 21053"/>
                <a:gd name="T5" fmla="*/ 0 h 19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053" h="19393" fill="none" extrusionOk="0">
                  <a:moveTo>
                    <a:pt x="21052" y="4831"/>
                  </a:moveTo>
                  <a:cubicBezTo>
                    <a:pt x="19596" y="11176"/>
                    <a:pt x="15356" y="16526"/>
                    <a:pt x="9511" y="19393"/>
                  </a:cubicBezTo>
                </a:path>
                <a:path w="21053" h="19393" stroke="0" extrusionOk="0">
                  <a:moveTo>
                    <a:pt x="21052" y="4831"/>
                  </a:moveTo>
                  <a:cubicBezTo>
                    <a:pt x="19596" y="11176"/>
                    <a:pt x="15356" y="16526"/>
                    <a:pt x="9511" y="1939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00263" name="Arc 7"/>
            <p:cNvSpPr>
              <a:spLocks/>
            </p:cNvSpPr>
            <p:nvPr/>
          </p:nvSpPr>
          <p:spPr bwMode="gray">
            <a:xfrm>
              <a:off x="2412" y="2195"/>
              <a:ext cx="956" cy="1076"/>
            </a:xfrm>
            <a:custGeom>
              <a:avLst/>
              <a:gdLst>
                <a:gd name="G0" fmla="+- 9525 0 0"/>
                <a:gd name="G1" fmla="+- 0 0 0"/>
                <a:gd name="G2" fmla="+- 21600 0 0"/>
                <a:gd name="T0" fmla="*/ 19036 w 19036"/>
                <a:gd name="T1" fmla="*/ 19393 h 21600"/>
                <a:gd name="T2" fmla="*/ 0 w 19036"/>
                <a:gd name="T3" fmla="*/ 19386 h 21600"/>
                <a:gd name="T4" fmla="*/ 9525 w 19036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036" h="21600" fill="none" extrusionOk="0">
                  <a:moveTo>
                    <a:pt x="19036" y="19393"/>
                  </a:moveTo>
                  <a:cubicBezTo>
                    <a:pt x="16075" y="20845"/>
                    <a:pt x="12822" y="21599"/>
                    <a:pt x="9525" y="21600"/>
                  </a:cubicBezTo>
                  <a:cubicBezTo>
                    <a:pt x="6222" y="21600"/>
                    <a:pt x="2963" y="20842"/>
                    <a:pt x="-1" y="19386"/>
                  </a:cubicBezTo>
                </a:path>
                <a:path w="19036" h="21600" stroke="0" extrusionOk="0">
                  <a:moveTo>
                    <a:pt x="19036" y="19393"/>
                  </a:moveTo>
                  <a:cubicBezTo>
                    <a:pt x="16075" y="20845"/>
                    <a:pt x="12822" y="21599"/>
                    <a:pt x="9525" y="21600"/>
                  </a:cubicBezTo>
                  <a:cubicBezTo>
                    <a:pt x="6222" y="21600"/>
                    <a:pt x="2963" y="20842"/>
                    <a:pt x="-1" y="19386"/>
                  </a:cubicBezTo>
                  <a:lnTo>
                    <a:pt x="952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00264" name="Arc 8"/>
            <p:cNvSpPr>
              <a:spLocks/>
            </p:cNvSpPr>
            <p:nvPr/>
          </p:nvSpPr>
          <p:spPr bwMode="gray">
            <a:xfrm>
              <a:off x="1833" y="2195"/>
              <a:ext cx="1058" cy="966"/>
            </a:xfrm>
            <a:custGeom>
              <a:avLst/>
              <a:gdLst>
                <a:gd name="G0" fmla="+- 21054 0 0"/>
                <a:gd name="G1" fmla="+- 0 0 0"/>
                <a:gd name="G2" fmla="+- 21600 0 0"/>
                <a:gd name="T0" fmla="*/ 11529 w 21054"/>
                <a:gd name="T1" fmla="*/ 19386 h 19386"/>
                <a:gd name="T2" fmla="*/ 0 w 21054"/>
                <a:gd name="T3" fmla="*/ 4828 h 19386"/>
                <a:gd name="T4" fmla="*/ 21054 w 21054"/>
                <a:gd name="T5" fmla="*/ 0 h 19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054" h="19386" fill="none" extrusionOk="0">
                  <a:moveTo>
                    <a:pt x="11528" y="19386"/>
                  </a:moveTo>
                  <a:cubicBezTo>
                    <a:pt x="5689" y="16517"/>
                    <a:pt x="1454" y="11169"/>
                    <a:pt x="0" y="4827"/>
                  </a:cubicBezTo>
                </a:path>
                <a:path w="21054" h="19386" stroke="0" extrusionOk="0">
                  <a:moveTo>
                    <a:pt x="11528" y="19386"/>
                  </a:moveTo>
                  <a:cubicBezTo>
                    <a:pt x="5689" y="16517"/>
                    <a:pt x="1454" y="11169"/>
                    <a:pt x="0" y="4827"/>
                  </a:cubicBezTo>
                  <a:lnTo>
                    <a:pt x="21054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00265" name="Arc 9"/>
            <p:cNvSpPr>
              <a:spLocks/>
            </p:cNvSpPr>
            <p:nvPr/>
          </p:nvSpPr>
          <p:spPr bwMode="gray">
            <a:xfrm>
              <a:off x="1804" y="1518"/>
              <a:ext cx="1087" cy="918"/>
            </a:xfrm>
            <a:custGeom>
              <a:avLst/>
              <a:gdLst>
                <a:gd name="G0" fmla="+- 21600 0 0"/>
                <a:gd name="G1" fmla="+- 13605 0 0"/>
                <a:gd name="G2" fmla="+- 21600 0 0"/>
                <a:gd name="T0" fmla="*/ 546 w 21600"/>
                <a:gd name="T1" fmla="*/ 18433 h 18433"/>
                <a:gd name="T2" fmla="*/ 4823 w 21600"/>
                <a:gd name="T3" fmla="*/ 0 h 18433"/>
                <a:gd name="T4" fmla="*/ 21600 w 21600"/>
                <a:gd name="T5" fmla="*/ 13605 h 18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18433" fill="none" extrusionOk="0">
                  <a:moveTo>
                    <a:pt x="546" y="18432"/>
                  </a:moveTo>
                  <a:cubicBezTo>
                    <a:pt x="183" y="16849"/>
                    <a:pt x="0" y="15229"/>
                    <a:pt x="0" y="13605"/>
                  </a:cubicBezTo>
                  <a:cubicBezTo>
                    <a:pt x="-1" y="8651"/>
                    <a:pt x="1702" y="3847"/>
                    <a:pt x="4823" y="0"/>
                  </a:cubicBezTo>
                </a:path>
                <a:path w="21600" h="18433" stroke="0" extrusionOk="0">
                  <a:moveTo>
                    <a:pt x="546" y="18432"/>
                  </a:moveTo>
                  <a:cubicBezTo>
                    <a:pt x="183" y="16849"/>
                    <a:pt x="0" y="15229"/>
                    <a:pt x="0" y="13605"/>
                  </a:cubicBezTo>
                  <a:cubicBezTo>
                    <a:pt x="-1" y="8651"/>
                    <a:pt x="1702" y="3847"/>
                    <a:pt x="4823" y="0"/>
                  </a:cubicBezTo>
                  <a:lnTo>
                    <a:pt x="21600" y="13605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00266" name="Arc 10"/>
            <p:cNvSpPr>
              <a:spLocks/>
            </p:cNvSpPr>
            <p:nvPr/>
          </p:nvSpPr>
          <p:spPr bwMode="gray">
            <a:xfrm>
              <a:off x="2048" y="1120"/>
              <a:ext cx="843" cy="1075"/>
            </a:xfrm>
            <a:custGeom>
              <a:avLst/>
              <a:gdLst>
                <a:gd name="G0" fmla="+- 16777 0 0"/>
                <a:gd name="G1" fmla="+- 21600 0 0"/>
                <a:gd name="G2" fmla="+- 21600 0 0"/>
                <a:gd name="T0" fmla="*/ 0 w 16777"/>
                <a:gd name="T1" fmla="*/ 7995 h 21600"/>
                <a:gd name="T2" fmla="*/ 16777 w 16777"/>
                <a:gd name="T3" fmla="*/ 0 h 21600"/>
                <a:gd name="T4" fmla="*/ 16777 w 16777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777" h="21600" fill="none" extrusionOk="0">
                  <a:moveTo>
                    <a:pt x="0" y="7995"/>
                  </a:moveTo>
                  <a:cubicBezTo>
                    <a:pt x="4101" y="2937"/>
                    <a:pt x="10265" y="0"/>
                    <a:pt x="16776" y="0"/>
                  </a:cubicBezTo>
                </a:path>
                <a:path w="16777" h="21600" stroke="0" extrusionOk="0">
                  <a:moveTo>
                    <a:pt x="0" y="7995"/>
                  </a:moveTo>
                  <a:cubicBezTo>
                    <a:pt x="4101" y="2937"/>
                    <a:pt x="10265" y="0"/>
                    <a:pt x="16776" y="0"/>
                  </a:cubicBezTo>
                  <a:lnTo>
                    <a:pt x="16777" y="21600"/>
                  </a:ln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00267" name="Oval 11"/>
            <p:cNvSpPr>
              <a:spLocks noChangeArrowheads="1"/>
            </p:cNvSpPr>
            <p:nvPr/>
          </p:nvSpPr>
          <p:spPr bwMode="gray">
            <a:xfrm>
              <a:off x="2429" y="1753"/>
              <a:ext cx="932" cy="901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>
                <a:lnSpc>
                  <a:spcPct val="85000"/>
                </a:lnSpc>
              </a:pPr>
              <a:endParaRPr lang="de-DE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00268" name="Rectangle 12"/>
            <p:cNvSpPr>
              <a:spLocks noChangeArrowheads="1"/>
            </p:cNvSpPr>
            <p:nvPr/>
          </p:nvSpPr>
          <p:spPr bwMode="gray">
            <a:xfrm>
              <a:off x="3456" y="2056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400269" name="Freeform 13"/>
            <p:cNvSpPr>
              <a:spLocks/>
            </p:cNvSpPr>
            <p:nvPr/>
          </p:nvSpPr>
          <p:spPr bwMode="gray">
            <a:xfrm rot="-29293136">
              <a:off x="3447" y="1334"/>
              <a:ext cx="176" cy="858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00270" name="Freeform 14"/>
            <p:cNvSpPr>
              <a:spLocks/>
            </p:cNvSpPr>
            <p:nvPr/>
          </p:nvSpPr>
          <p:spPr bwMode="gray">
            <a:xfrm rot="-26231635">
              <a:off x="3551" y="2016"/>
              <a:ext cx="176" cy="841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00271" name="Freeform 15"/>
            <p:cNvSpPr>
              <a:spLocks/>
            </p:cNvSpPr>
            <p:nvPr/>
          </p:nvSpPr>
          <p:spPr bwMode="gray">
            <a:xfrm rot="-23175623">
              <a:off x="3072" y="2504"/>
              <a:ext cx="178" cy="845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00272" name="Freeform 16"/>
            <p:cNvSpPr>
              <a:spLocks/>
            </p:cNvSpPr>
            <p:nvPr/>
          </p:nvSpPr>
          <p:spPr bwMode="gray">
            <a:xfrm rot="-20082761">
              <a:off x="2384" y="2426"/>
              <a:ext cx="178" cy="852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00273" name="Freeform 17"/>
            <p:cNvSpPr>
              <a:spLocks/>
            </p:cNvSpPr>
            <p:nvPr/>
          </p:nvSpPr>
          <p:spPr bwMode="gray">
            <a:xfrm rot="-17022140">
              <a:off x="2026" y="1865"/>
              <a:ext cx="176" cy="851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00274" name="Freeform 18"/>
            <p:cNvSpPr>
              <a:spLocks/>
            </p:cNvSpPr>
            <p:nvPr/>
          </p:nvSpPr>
          <p:spPr bwMode="gray">
            <a:xfrm rot="-13845193">
              <a:off x="2253" y="1215"/>
              <a:ext cx="176" cy="869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00275" name="Freeform 19"/>
            <p:cNvSpPr>
              <a:spLocks/>
            </p:cNvSpPr>
            <p:nvPr/>
          </p:nvSpPr>
          <p:spPr bwMode="gray">
            <a:xfrm rot="-10854711">
              <a:off x="2874" y="995"/>
              <a:ext cx="177" cy="871"/>
            </a:xfrm>
            <a:custGeom>
              <a:avLst/>
              <a:gdLst>
                <a:gd name="T0" fmla="*/ 198 w 198"/>
                <a:gd name="T1" fmla="*/ 123 h 915"/>
                <a:gd name="T2" fmla="*/ 198 w 198"/>
                <a:gd name="T3" fmla="*/ 0 h 915"/>
                <a:gd name="T4" fmla="*/ 0 w 198"/>
                <a:gd name="T5" fmla="*/ 462 h 915"/>
                <a:gd name="T6" fmla="*/ 195 w 198"/>
                <a:gd name="T7" fmla="*/ 915 h 915"/>
                <a:gd name="T8" fmla="*/ 195 w 198"/>
                <a:gd name="T9" fmla="*/ 78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915">
                  <a:moveTo>
                    <a:pt x="198" y="123"/>
                  </a:moveTo>
                  <a:lnTo>
                    <a:pt x="198" y="0"/>
                  </a:lnTo>
                  <a:lnTo>
                    <a:pt x="0" y="462"/>
                  </a:lnTo>
                  <a:lnTo>
                    <a:pt x="195" y="915"/>
                  </a:lnTo>
                  <a:lnTo>
                    <a:pt x="195" y="7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00276" name="Rectangle 20"/>
            <p:cNvSpPr>
              <a:spLocks noChangeArrowheads="1"/>
            </p:cNvSpPr>
            <p:nvPr/>
          </p:nvSpPr>
          <p:spPr bwMode="gray">
            <a:xfrm>
              <a:off x="1950" y="1906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400277" name="Rectangle 21"/>
            <p:cNvSpPr>
              <a:spLocks noChangeArrowheads="1"/>
            </p:cNvSpPr>
            <p:nvPr/>
          </p:nvSpPr>
          <p:spPr bwMode="gray">
            <a:xfrm>
              <a:off x="1980" y="2548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400278" name="Rectangle 22"/>
            <p:cNvSpPr>
              <a:spLocks noChangeArrowheads="1"/>
            </p:cNvSpPr>
            <p:nvPr/>
          </p:nvSpPr>
          <p:spPr bwMode="gray">
            <a:xfrm>
              <a:off x="2598" y="2908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400279" name="Rectangle 23"/>
            <p:cNvSpPr>
              <a:spLocks noChangeArrowheads="1"/>
            </p:cNvSpPr>
            <p:nvPr/>
          </p:nvSpPr>
          <p:spPr bwMode="gray">
            <a:xfrm>
              <a:off x="3192" y="2716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400280" name="Rectangle 24"/>
            <p:cNvSpPr>
              <a:spLocks noChangeArrowheads="1"/>
            </p:cNvSpPr>
            <p:nvPr/>
          </p:nvSpPr>
          <p:spPr bwMode="gray">
            <a:xfrm>
              <a:off x="3090" y="1492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400281" name="Rectangle 25"/>
            <p:cNvSpPr>
              <a:spLocks noChangeArrowheads="1"/>
            </p:cNvSpPr>
            <p:nvPr/>
          </p:nvSpPr>
          <p:spPr bwMode="gray">
            <a:xfrm>
              <a:off x="2394" y="1420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400282" name="Rectangle 26"/>
            <p:cNvSpPr>
              <a:spLocks noChangeArrowheads="1"/>
            </p:cNvSpPr>
            <p:nvPr/>
          </p:nvSpPr>
          <p:spPr bwMode="gray">
            <a:xfrm>
              <a:off x="2666" y="2137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174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38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ycle </a:t>
            </a:r>
            <a:r>
              <a:rPr lang="en-US">
                <a:cs typeface="Arial" pitchFamily="34" charset="0"/>
              </a:rPr>
              <a:t>–</a:t>
            </a:r>
            <a:r>
              <a:rPr lang="en-US"/>
              <a:t> 4 Factors</a:t>
            </a:r>
          </a:p>
        </p:txBody>
      </p:sp>
      <p:grpSp>
        <p:nvGrpSpPr>
          <p:cNvPr id="2383893" name="Group 21"/>
          <p:cNvGrpSpPr>
            <a:grpSpLocks/>
          </p:cNvGrpSpPr>
          <p:nvPr/>
        </p:nvGrpSpPr>
        <p:grpSpPr bwMode="auto">
          <a:xfrm>
            <a:off x="1905001" y="1702029"/>
            <a:ext cx="8315325" cy="4476750"/>
            <a:chOff x="240" y="936"/>
            <a:chExt cx="5238" cy="2820"/>
          </a:xfrm>
        </p:grpSpPr>
        <p:sp>
          <p:nvSpPr>
            <p:cNvPr id="2383892" name="Rectangle 20"/>
            <p:cNvSpPr>
              <a:spLocks noChangeArrowheads="1"/>
            </p:cNvSpPr>
            <p:nvPr/>
          </p:nvSpPr>
          <p:spPr bwMode="gray">
            <a:xfrm>
              <a:off x="1608" y="936"/>
              <a:ext cx="3870" cy="282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2880" tIns="182880" bIns="0"/>
            <a:lstStyle/>
            <a:p>
              <a:pPr algn="r"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 </a:t>
              </a: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(Text)</a:t>
              </a:r>
            </a:p>
          </p:txBody>
        </p:sp>
        <p:sp>
          <p:nvSpPr>
            <p:cNvPr id="2383891" name="Rectangle 19"/>
            <p:cNvSpPr>
              <a:spLocks noChangeArrowheads="1"/>
            </p:cNvSpPr>
            <p:nvPr/>
          </p:nvSpPr>
          <p:spPr bwMode="gray">
            <a:xfrm>
              <a:off x="240" y="936"/>
              <a:ext cx="1368" cy="282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2880" tIns="182880" bIns="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 </a:t>
              </a: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(Text)</a:t>
              </a:r>
            </a:p>
          </p:txBody>
        </p:sp>
        <p:sp>
          <p:nvSpPr>
            <p:cNvPr id="2383880" name="Freeform 8"/>
            <p:cNvSpPr>
              <a:spLocks/>
            </p:cNvSpPr>
            <p:nvPr/>
          </p:nvSpPr>
          <p:spPr bwMode="gray">
            <a:xfrm>
              <a:off x="1914" y="1726"/>
              <a:ext cx="1631" cy="1673"/>
            </a:xfrm>
            <a:custGeom>
              <a:avLst/>
              <a:gdLst>
                <a:gd name="T0" fmla="*/ 1101 w 1631"/>
                <a:gd name="T1" fmla="*/ 0 h 1673"/>
                <a:gd name="T2" fmla="*/ 581 w 1631"/>
                <a:gd name="T3" fmla="*/ 1 h 1673"/>
                <a:gd name="T4" fmla="*/ 744 w 1631"/>
                <a:gd name="T5" fmla="*/ 94 h 1673"/>
                <a:gd name="T6" fmla="*/ 720 w 1631"/>
                <a:gd name="T7" fmla="*/ 159 h 1673"/>
                <a:gd name="T8" fmla="*/ 700 w 1631"/>
                <a:gd name="T9" fmla="*/ 225 h 1673"/>
                <a:gd name="T10" fmla="*/ 684 w 1631"/>
                <a:gd name="T11" fmla="*/ 291 h 1673"/>
                <a:gd name="T12" fmla="*/ 673 w 1631"/>
                <a:gd name="T13" fmla="*/ 359 h 1673"/>
                <a:gd name="T14" fmla="*/ 667 w 1631"/>
                <a:gd name="T15" fmla="*/ 428 h 1673"/>
                <a:gd name="T16" fmla="*/ 666 w 1631"/>
                <a:gd name="T17" fmla="*/ 495 h 1673"/>
                <a:gd name="T18" fmla="*/ 668 w 1631"/>
                <a:gd name="T19" fmla="*/ 564 h 1673"/>
                <a:gd name="T20" fmla="*/ 676 w 1631"/>
                <a:gd name="T21" fmla="*/ 632 h 1673"/>
                <a:gd name="T22" fmla="*/ 689 w 1631"/>
                <a:gd name="T23" fmla="*/ 700 h 1673"/>
                <a:gd name="T24" fmla="*/ 705 w 1631"/>
                <a:gd name="T25" fmla="*/ 767 h 1673"/>
                <a:gd name="T26" fmla="*/ 726 w 1631"/>
                <a:gd name="T27" fmla="*/ 832 h 1673"/>
                <a:gd name="T28" fmla="*/ 763 w 1631"/>
                <a:gd name="T29" fmla="*/ 914 h 1673"/>
                <a:gd name="T30" fmla="*/ 786 w 1631"/>
                <a:gd name="T31" fmla="*/ 956 h 1673"/>
                <a:gd name="T32" fmla="*/ 258 w 1631"/>
                <a:gd name="T33" fmla="*/ 956 h 1673"/>
                <a:gd name="T34" fmla="*/ 257 w 1631"/>
                <a:gd name="T35" fmla="*/ 758 h 1673"/>
                <a:gd name="T36" fmla="*/ 0 w 1631"/>
                <a:gd name="T37" fmla="*/ 1214 h 1673"/>
                <a:gd name="T38" fmla="*/ 261 w 1631"/>
                <a:gd name="T39" fmla="*/ 1673 h 1673"/>
                <a:gd name="T40" fmla="*/ 261 w 1631"/>
                <a:gd name="T41" fmla="*/ 1475 h 1673"/>
                <a:gd name="T42" fmla="*/ 1629 w 1631"/>
                <a:gd name="T43" fmla="*/ 1475 h 1673"/>
                <a:gd name="T44" fmla="*/ 1474 w 1631"/>
                <a:gd name="T45" fmla="*/ 1208 h 1673"/>
                <a:gd name="T46" fmla="*/ 1631 w 1631"/>
                <a:gd name="T47" fmla="*/ 952 h 1673"/>
                <a:gd name="T48" fmla="*/ 1554 w 1631"/>
                <a:gd name="T49" fmla="*/ 941 h 1673"/>
                <a:gd name="T50" fmla="*/ 1517 w 1631"/>
                <a:gd name="T51" fmla="*/ 931 h 1673"/>
                <a:gd name="T52" fmla="*/ 1473 w 1631"/>
                <a:gd name="T53" fmla="*/ 916 h 1673"/>
                <a:gd name="T54" fmla="*/ 1439 w 1631"/>
                <a:gd name="T55" fmla="*/ 899 h 1673"/>
                <a:gd name="T56" fmla="*/ 1398 w 1631"/>
                <a:gd name="T57" fmla="*/ 877 h 1673"/>
                <a:gd name="T58" fmla="*/ 1352 w 1631"/>
                <a:gd name="T59" fmla="*/ 842 h 1673"/>
                <a:gd name="T60" fmla="*/ 1314 w 1631"/>
                <a:gd name="T61" fmla="*/ 806 h 1673"/>
                <a:gd name="T62" fmla="*/ 1278 w 1631"/>
                <a:gd name="T63" fmla="*/ 763 h 1673"/>
                <a:gd name="T64" fmla="*/ 1244 w 1631"/>
                <a:gd name="T65" fmla="*/ 709 h 1673"/>
                <a:gd name="T66" fmla="*/ 1217 w 1631"/>
                <a:gd name="T67" fmla="*/ 655 h 1673"/>
                <a:gd name="T68" fmla="*/ 1200 w 1631"/>
                <a:gd name="T69" fmla="*/ 605 h 1673"/>
                <a:gd name="T70" fmla="*/ 1190 w 1631"/>
                <a:gd name="T71" fmla="*/ 556 h 1673"/>
                <a:gd name="T72" fmla="*/ 1184 w 1631"/>
                <a:gd name="T73" fmla="*/ 518 h 1673"/>
                <a:gd name="T74" fmla="*/ 1182 w 1631"/>
                <a:gd name="T75" fmla="*/ 467 h 1673"/>
                <a:gd name="T76" fmla="*/ 1187 w 1631"/>
                <a:gd name="T77" fmla="*/ 412 h 1673"/>
                <a:gd name="T78" fmla="*/ 1197 w 1631"/>
                <a:gd name="T79" fmla="*/ 353 h 1673"/>
                <a:gd name="T80" fmla="*/ 1368 w 1631"/>
                <a:gd name="T81" fmla="*/ 451 h 1673"/>
                <a:gd name="T82" fmla="*/ 1101 w 1631"/>
                <a:gd name="T83" fmla="*/ 0 h 1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31" h="1673">
                  <a:moveTo>
                    <a:pt x="1101" y="0"/>
                  </a:moveTo>
                  <a:lnTo>
                    <a:pt x="581" y="1"/>
                  </a:lnTo>
                  <a:lnTo>
                    <a:pt x="744" y="94"/>
                  </a:lnTo>
                  <a:lnTo>
                    <a:pt x="720" y="159"/>
                  </a:lnTo>
                  <a:lnTo>
                    <a:pt x="700" y="225"/>
                  </a:lnTo>
                  <a:lnTo>
                    <a:pt x="684" y="291"/>
                  </a:lnTo>
                  <a:lnTo>
                    <a:pt x="673" y="359"/>
                  </a:lnTo>
                  <a:lnTo>
                    <a:pt x="667" y="428"/>
                  </a:lnTo>
                  <a:lnTo>
                    <a:pt x="666" y="495"/>
                  </a:lnTo>
                  <a:lnTo>
                    <a:pt x="668" y="564"/>
                  </a:lnTo>
                  <a:lnTo>
                    <a:pt x="676" y="632"/>
                  </a:lnTo>
                  <a:lnTo>
                    <a:pt x="689" y="700"/>
                  </a:lnTo>
                  <a:lnTo>
                    <a:pt x="705" y="767"/>
                  </a:lnTo>
                  <a:lnTo>
                    <a:pt x="726" y="832"/>
                  </a:lnTo>
                  <a:lnTo>
                    <a:pt x="763" y="914"/>
                  </a:lnTo>
                  <a:lnTo>
                    <a:pt x="786" y="956"/>
                  </a:lnTo>
                  <a:lnTo>
                    <a:pt x="258" y="956"/>
                  </a:lnTo>
                  <a:lnTo>
                    <a:pt x="257" y="758"/>
                  </a:lnTo>
                  <a:lnTo>
                    <a:pt x="0" y="1214"/>
                  </a:lnTo>
                  <a:lnTo>
                    <a:pt x="261" y="1673"/>
                  </a:lnTo>
                  <a:lnTo>
                    <a:pt x="261" y="1475"/>
                  </a:lnTo>
                  <a:lnTo>
                    <a:pt x="1629" y="1475"/>
                  </a:lnTo>
                  <a:lnTo>
                    <a:pt x="1474" y="1208"/>
                  </a:lnTo>
                  <a:lnTo>
                    <a:pt x="1631" y="952"/>
                  </a:lnTo>
                  <a:lnTo>
                    <a:pt x="1554" y="941"/>
                  </a:lnTo>
                  <a:lnTo>
                    <a:pt x="1517" y="931"/>
                  </a:lnTo>
                  <a:lnTo>
                    <a:pt x="1473" y="916"/>
                  </a:lnTo>
                  <a:lnTo>
                    <a:pt x="1439" y="899"/>
                  </a:lnTo>
                  <a:lnTo>
                    <a:pt x="1398" y="877"/>
                  </a:lnTo>
                  <a:lnTo>
                    <a:pt x="1352" y="842"/>
                  </a:lnTo>
                  <a:lnTo>
                    <a:pt x="1314" y="806"/>
                  </a:lnTo>
                  <a:lnTo>
                    <a:pt x="1278" y="763"/>
                  </a:lnTo>
                  <a:cubicBezTo>
                    <a:pt x="1266" y="747"/>
                    <a:pt x="1254" y="727"/>
                    <a:pt x="1244" y="709"/>
                  </a:cubicBezTo>
                  <a:cubicBezTo>
                    <a:pt x="1234" y="691"/>
                    <a:pt x="1224" y="672"/>
                    <a:pt x="1217" y="655"/>
                  </a:cubicBezTo>
                  <a:lnTo>
                    <a:pt x="1200" y="605"/>
                  </a:lnTo>
                  <a:lnTo>
                    <a:pt x="1190" y="556"/>
                  </a:lnTo>
                  <a:lnTo>
                    <a:pt x="1184" y="518"/>
                  </a:lnTo>
                  <a:cubicBezTo>
                    <a:pt x="1183" y="503"/>
                    <a:pt x="1182" y="485"/>
                    <a:pt x="1182" y="467"/>
                  </a:cubicBezTo>
                  <a:cubicBezTo>
                    <a:pt x="1182" y="449"/>
                    <a:pt x="1185" y="431"/>
                    <a:pt x="1187" y="412"/>
                  </a:cubicBezTo>
                  <a:lnTo>
                    <a:pt x="1197" y="353"/>
                  </a:lnTo>
                  <a:lnTo>
                    <a:pt x="1368" y="451"/>
                  </a:lnTo>
                  <a:lnTo>
                    <a:pt x="1101" y="0"/>
                  </a:lnTo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83881" name="Freeform 9"/>
            <p:cNvSpPr>
              <a:spLocks/>
            </p:cNvSpPr>
            <p:nvPr/>
          </p:nvSpPr>
          <p:spPr bwMode="gray">
            <a:xfrm>
              <a:off x="3433" y="1781"/>
              <a:ext cx="1154" cy="1610"/>
            </a:xfrm>
            <a:custGeom>
              <a:avLst/>
              <a:gdLst>
                <a:gd name="T0" fmla="*/ 0 w 1154"/>
                <a:gd name="T1" fmla="*/ 1154 h 1610"/>
                <a:gd name="T2" fmla="*/ 249 w 1154"/>
                <a:gd name="T3" fmla="*/ 1610 h 1610"/>
                <a:gd name="T4" fmla="*/ 253 w 1154"/>
                <a:gd name="T5" fmla="*/ 1423 h 1610"/>
                <a:gd name="T6" fmla="*/ 321 w 1154"/>
                <a:gd name="T7" fmla="*/ 1413 h 1610"/>
                <a:gd name="T8" fmla="*/ 389 w 1154"/>
                <a:gd name="T9" fmla="*/ 1399 h 1610"/>
                <a:gd name="T10" fmla="*/ 455 w 1154"/>
                <a:gd name="T11" fmla="*/ 1381 h 1610"/>
                <a:gd name="T12" fmla="*/ 520 w 1154"/>
                <a:gd name="T13" fmla="*/ 1358 h 1610"/>
                <a:gd name="T14" fmla="*/ 583 w 1154"/>
                <a:gd name="T15" fmla="*/ 1331 h 1610"/>
                <a:gd name="T16" fmla="*/ 642 w 1154"/>
                <a:gd name="T17" fmla="*/ 1300 h 1610"/>
                <a:gd name="T18" fmla="*/ 702 w 1154"/>
                <a:gd name="T19" fmla="*/ 1265 h 1610"/>
                <a:gd name="T20" fmla="*/ 758 w 1154"/>
                <a:gd name="T21" fmla="*/ 1225 h 1610"/>
                <a:gd name="T22" fmla="*/ 812 w 1154"/>
                <a:gd name="T23" fmla="*/ 1181 h 1610"/>
                <a:gd name="T24" fmla="*/ 863 w 1154"/>
                <a:gd name="T25" fmla="*/ 1135 h 1610"/>
                <a:gd name="T26" fmla="*/ 910 w 1154"/>
                <a:gd name="T27" fmla="*/ 1086 h 1610"/>
                <a:gd name="T28" fmla="*/ 964 w 1154"/>
                <a:gd name="T29" fmla="*/ 1014 h 1610"/>
                <a:gd name="T30" fmla="*/ 1002 w 1154"/>
                <a:gd name="T31" fmla="*/ 960 h 1610"/>
                <a:gd name="T32" fmla="*/ 1035 w 1154"/>
                <a:gd name="T33" fmla="*/ 902 h 1610"/>
                <a:gd name="T34" fmla="*/ 1068 w 1154"/>
                <a:gd name="T35" fmla="*/ 836 h 1610"/>
                <a:gd name="T36" fmla="*/ 1098 w 1154"/>
                <a:gd name="T37" fmla="*/ 765 h 1610"/>
                <a:gd name="T38" fmla="*/ 1116 w 1154"/>
                <a:gd name="T39" fmla="*/ 702 h 1610"/>
                <a:gd name="T40" fmla="*/ 1135 w 1154"/>
                <a:gd name="T41" fmla="*/ 630 h 1610"/>
                <a:gd name="T42" fmla="*/ 1145 w 1154"/>
                <a:gd name="T43" fmla="*/ 570 h 1610"/>
                <a:gd name="T44" fmla="*/ 1153 w 1154"/>
                <a:gd name="T45" fmla="*/ 487 h 1610"/>
                <a:gd name="T46" fmla="*/ 1153 w 1154"/>
                <a:gd name="T47" fmla="*/ 422 h 1610"/>
                <a:gd name="T48" fmla="*/ 1154 w 1154"/>
                <a:gd name="T49" fmla="*/ 371 h 1610"/>
                <a:gd name="T50" fmla="*/ 1150 w 1154"/>
                <a:gd name="T51" fmla="*/ 313 h 1610"/>
                <a:gd name="T52" fmla="*/ 1142 w 1154"/>
                <a:gd name="T53" fmla="*/ 257 h 1610"/>
                <a:gd name="T54" fmla="*/ 1132 w 1154"/>
                <a:gd name="T55" fmla="*/ 211 h 1610"/>
                <a:gd name="T56" fmla="*/ 1119 w 1154"/>
                <a:gd name="T57" fmla="*/ 157 h 1610"/>
                <a:gd name="T58" fmla="*/ 1101 w 1154"/>
                <a:gd name="T59" fmla="*/ 104 h 1610"/>
                <a:gd name="T60" fmla="*/ 1081 w 1154"/>
                <a:gd name="T61" fmla="*/ 55 h 1610"/>
                <a:gd name="T62" fmla="*/ 1055 w 1154"/>
                <a:gd name="T63" fmla="*/ 0 h 1610"/>
                <a:gd name="T64" fmla="*/ 862 w 1154"/>
                <a:gd name="T65" fmla="*/ 262 h 1610"/>
                <a:gd name="T66" fmla="*/ 592 w 1154"/>
                <a:gd name="T67" fmla="*/ 248 h 1610"/>
                <a:gd name="T68" fmla="*/ 610 w 1154"/>
                <a:gd name="T69" fmla="*/ 306 h 1610"/>
                <a:gd name="T70" fmla="*/ 619 w 1154"/>
                <a:gd name="T71" fmla="*/ 344 h 1610"/>
                <a:gd name="T72" fmla="*/ 625 w 1154"/>
                <a:gd name="T73" fmla="*/ 388 h 1610"/>
                <a:gd name="T74" fmla="*/ 625 w 1154"/>
                <a:gd name="T75" fmla="*/ 424 h 1610"/>
                <a:gd name="T76" fmla="*/ 623 w 1154"/>
                <a:gd name="T77" fmla="*/ 468 h 1610"/>
                <a:gd name="T78" fmla="*/ 614 w 1154"/>
                <a:gd name="T79" fmla="*/ 525 h 1610"/>
                <a:gd name="T80" fmla="*/ 602 w 1154"/>
                <a:gd name="T81" fmla="*/ 571 h 1610"/>
                <a:gd name="T82" fmla="*/ 580 w 1154"/>
                <a:gd name="T83" fmla="*/ 621 h 1610"/>
                <a:gd name="T84" fmla="*/ 548 w 1154"/>
                <a:gd name="T85" fmla="*/ 679 h 1610"/>
                <a:gd name="T86" fmla="*/ 520 w 1154"/>
                <a:gd name="T87" fmla="*/ 720 h 1610"/>
                <a:gd name="T88" fmla="*/ 484 w 1154"/>
                <a:gd name="T89" fmla="*/ 760 h 1610"/>
                <a:gd name="T90" fmla="*/ 449 w 1154"/>
                <a:gd name="T91" fmla="*/ 790 h 1610"/>
                <a:gd name="T92" fmla="*/ 412 w 1154"/>
                <a:gd name="T93" fmla="*/ 817 h 1610"/>
                <a:gd name="T94" fmla="*/ 371 w 1154"/>
                <a:gd name="T95" fmla="*/ 841 h 1610"/>
                <a:gd name="T96" fmla="*/ 322 w 1154"/>
                <a:gd name="T97" fmla="*/ 865 h 1610"/>
                <a:gd name="T98" fmla="*/ 269 w 1154"/>
                <a:gd name="T99" fmla="*/ 882 h 1610"/>
                <a:gd name="T100" fmla="*/ 269 w 1154"/>
                <a:gd name="T101" fmla="*/ 704 h 1610"/>
                <a:gd name="T102" fmla="*/ 0 w 1154"/>
                <a:gd name="T103" fmla="*/ 1154 h 1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4" h="1610">
                  <a:moveTo>
                    <a:pt x="0" y="1154"/>
                  </a:moveTo>
                  <a:lnTo>
                    <a:pt x="249" y="1610"/>
                  </a:lnTo>
                  <a:lnTo>
                    <a:pt x="253" y="1423"/>
                  </a:lnTo>
                  <a:lnTo>
                    <a:pt x="321" y="1413"/>
                  </a:lnTo>
                  <a:lnTo>
                    <a:pt x="389" y="1399"/>
                  </a:lnTo>
                  <a:lnTo>
                    <a:pt x="455" y="1381"/>
                  </a:lnTo>
                  <a:lnTo>
                    <a:pt x="520" y="1358"/>
                  </a:lnTo>
                  <a:lnTo>
                    <a:pt x="583" y="1331"/>
                  </a:lnTo>
                  <a:lnTo>
                    <a:pt x="642" y="1300"/>
                  </a:lnTo>
                  <a:lnTo>
                    <a:pt x="702" y="1265"/>
                  </a:lnTo>
                  <a:lnTo>
                    <a:pt x="758" y="1225"/>
                  </a:lnTo>
                  <a:lnTo>
                    <a:pt x="812" y="1181"/>
                  </a:lnTo>
                  <a:lnTo>
                    <a:pt x="863" y="1135"/>
                  </a:lnTo>
                  <a:lnTo>
                    <a:pt x="910" y="1086"/>
                  </a:lnTo>
                  <a:lnTo>
                    <a:pt x="964" y="1014"/>
                  </a:lnTo>
                  <a:lnTo>
                    <a:pt x="1002" y="960"/>
                  </a:lnTo>
                  <a:lnTo>
                    <a:pt x="1035" y="902"/>
                  </a:lnTo>
                  <a:lnTo>
                    <a:pt x="1068" y="836"/>
                  </a:lnTo>
                  <a:lnTo>
                    <a:pt x="1098" y="765"/>
                  </a:lnTo>
                  <a:lnTo>
                    <a:pt x="1116" y="702"/>
                  </a:lnTo>
                  <a:lnTo>
                    <a:pt x="1135" y="630"/>
                  </a:lnTo>
                  <a:lnTo>
                    <a:pt x="1145" y="570"/>
                  </a:lnTo>
                  <a:lnTo>
                    <a:pt x="1153" y="487"/>
                  </a:lnTo>
                  <a:lnTo>
                    <a:pt x="1153" y="422"/>
                  </a:lnTo>
                  <a:lnTo>
                    <a:pt x="1154" y="371"/>
                  </a:lnTo>
                  <a:lnTo>
                    <a:pt x="1150" y="313"/>
                  </a:lnTo>
                  <a:lnTo>
                    <a:pt x="1142" y="257"/>
                  </a:lnTo>
                  <a:lnTo>
                    <a:pt x="1132" y="211"/>
                  </a:lnTo>
                  <a:lnTo>
                    <a:pt x="1119" y="157"/>
                  </a:lnTo>
                  <a:lnTo>
                    <a:pt x="1101" y="104"/>
                  </a:lnTo>
                  <a:lnTo>
                    <a:pt x="1081" y="55"/>
                  </a:lnTo>
                  <a:lnTo>
                    <a:pt x="1055" y="0"/>
                  </a:lnTo>
                  <a:lnTo>
                    <a:pt x="862" y="262"/>
                  </a:lnTo>
                  <a:lnTo>
                    <a:pt x="592" y="248"/>
                  </a:lnTo>
                  <a:lnTo>
                    <a:pt x="610" y="306"/>
                  </a:lnTo>
                  <a:lnTo>
                    <a:pt x="619" y="344"/>
                  </a:lnTo>
                  <a:lnTo>
                    <a:pt x="625" y="388"/>
                  </a:lnTo>
                  <a:lnTo>
                    <a:pt x="625" y="424"/>
                  </a:lnTo>
                  <a:lnTo>
                    <a:pt x="623" y="468"/>
                  </a:lnTo>
                  <a:lnTo>
                    <a:pt x="614" y="525"/>
                  </a:lnTo>
                  <a:lnTo>
                    <a:pt x="602" y="571"/>
                  </a:lnTo>
                  <a:lnTo>
                    <a:pt x="580" y="621"/>
                  </a:lnTo>
                  <a:cubicBezTo>
                    <a:pt x="571" y="639"/>
                    <a:pt x="558" y="663"/>
                    <a:pt x="548" y="679"/>
                  </a:cubicBezTo>
                  <a:cubicBezTo>
                    <a:pt x="538" y="695"/>
                    <a:pt x="531" y="707"/>
                    <a:pt x="520" y="720"/>
                  </a:cubicBezTo>
                  <a:lnTo>
                    <a:pt x="484" y="760"/>
                  </a:lnTo>
                  <a:lnTo>
                    <a:pt x="449" y="790"/>
                  </a:lnTo>
                  <a:lnTo>
                    <a:pt x="412" y="817"/>
                  </a:lnTo>
                  <a:cubicBezTo>
                    <a:pt x="400" y="825"/>
                    <a:pt x="386" y="833"/>
                    <a:pt x="371" y="841"/>
                  </a:cubicBezTo>
                  <a:cubicBezTo>
                    <a:pt x="356" y="849"/>
                    <a:pt x="339" y="858"/>
                    <a:pt x="322" y="865"/>
                  </a:cubicBezTo>
                  <a:lnTo>
                    <a:pt x="269" y="882"/>
                  </a:lnTo>
                  <a:lnTo>
                    <a:pt x="269" y="704"/>
                  </a:lnTo>
                  <a:lnTo>
                    <a:pt x="0" y="1154"/>
                  </a:lnTo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83882" name="Freeform 10"/>
            <p:cNvSpPr>
              <a:spLocks/>
            </p:cNvSpPr>
            <p:nvPr/>
          </p:nvSpPr>
          <p:spPr bwMode="gray">
            <a:xfrm>
              <a:off x="1146" y="1202"/>
              <a:ext cx="3431" cy="806"/>
            </a:xfrm>
            <a:custGeom>
              <a:avLst/>
              <a:gdLst>
                <a:gd name="T0" fmla="*/ 3130 w 3431"/>
                <a:gd name="T1" fmla="*/ 806 h 806"/>
                <a:gd name="T2" fmla="*/ 3431 w 3431"/>
                <a:gd name="T3" fmla="*/ 382 h 806"/>
                <a:gd name="T4" fmla="*/ 3276 w 3431"/>
                <a:gd name="T5" fmla="*/ 450 h 806"/>
                <a:gd name="T6" fmla="*/ 3236 w 3431"/>
                <a:gd name="T7" fmla="*/ 394 h 806"/>
                <a:gd name="T8" fmla="*/ 3190 w 3431"/>
                <a:gd name="T9" fmla="*/ 336 h 806"/>
                <a:gd name="T10" fmla="*/ 3142 w 3431"/>
                <a:gd name="T11" fmla="*/ 288 h 806"/>
                <a:gd name="T12" fmla="*/ 3092 w 3431"/>
                <a:gd name="T13" fmla="*/ 244 h 806"/>
                <a:gd name="T14" fmla="*/ 3042 w 3431"/>
                <a:gd name="T15" fmla="*/ 198 h 806"/>
                <a:gd name="T16" fmla="*/ 2980 w 3431"/>
                <a:gd name="T17" fmla="*/ 156 h 806"/>
                <a:gd name="T18" fmla="*/ 2926 w 3431"/>
                <a:gd name="T19" fmla="*/ 124 h 806"/>
                <a:gd name="T20" fmla="*/ 2861 w 3431"/>
                <a:gd name="T21" fmla="*/ 93 h 806"/>
                <a:gd name="T22" fmla="*/ 2798 w 3431"/>
                <a:gd name="T23" fmla="*/ 64 h 806"/>
                <a:gd name="T24" fmla="*/ 2730 w 3431"/>
                <a:gd name="T25" fmla="*/ 42 h 806"/>
                <a:gd name="T26" fmla="*/ 2668 w 3431"/>
                <a:gd name="T27" fmla="*/ 24 h 806"/>
                <a:gd name="T28" fmla="*/ 2580 w 3431"/>
                <a:gd name="T29" fmla="*/ 10 h 806"/>
                <a:gd name="T30" fmla="*/ 2512 w 3431"/>
                <a:gd name="T31" fmla="*/ 2 h 806"/>
                <a:gd name="T32" fmla="*/ 2445 w 3431"/>
                <a:gd name="T33" fmla="*/ 0 h 806"/>
                <a:gd name="T34" fmla="*/ 0 w 3431"/>
                <a:gd name="T35" fmla="*/ 1 h 806"/>
                <a:gd name="T36" fmla="*/ 0 w 3431"/>
                <a:gd name="T37" fmla="*/ 487 h 806"/>
                <a:gd name="T38" fmla="*/ 1902 w 3431"/>
                <a:gd name="T39" fmla="*/ 487 h 806"/>
                <a:gd name="T40" fmla="*/ 2034 w 3431"/>
                <a:gd name="T41" fmla="*/ 734 h 806"/>
                <a:gd name="T42" fmla="*/ 2045 w 3431"/>
                <a:gd name="T43" fmla="*/ 714 h 806"/>
                <a:gd name="T44" fmla="*/ 2069 w 3431"/>
                <a:gd name="T45" fmla="*/ 688 h 806"/>
                <a:gd name="T46" fmla="*/ 2085 w 3431"/>
                <a:gd name="T47" fmla="*/ 667 h 806"/>
                <a:gd name="T48" fmla="*/ 2111 w 3431"/>
                <a:gd name="T49" fmla="*/ 643 h 806"/>
                <a:gd name="T50" fmla="*/ 2135 w 3431"/>
                <a:gd name="T51" fmla="*/ 619 h 806"/>
                <a:gd name="T52" fmla="*/ 2166 w 3431"/>
                <a:gd name="T53" fmla="*/ 597 h 806"/>
                <a:gd name="T54" fmla="*/ 2201 w 3431"/>
                <a:gd name="T55" fmla="*/ 576 h 806"/>
                <a:gd name="T56" fmla="*/ 2240 w 3431"/>
                <a:gd name="T57" fmla="*/ 558 h 806"/>
                <a:gd name="T58" fmla="*/ 2286 w 3431"/>
                <a:gd name="T59" fmla="*/ 540 h 806"/>
                <a:gd name="T60" fmla="*/ 2331 w 3431"/>
                <a:gd name="T61" fmla="*/ 526 h 806"/>
                <a:gd name="T62" fmla="*/ 2393 w 3431"/>
                <a:gd name="T63" fmla="*/ 519 h 806"/>
                <a:gd name="T64" fmla="*/ 2445 w 3431"/>
                <a:gd name="T65" fmla="*/ 517 h 806"/>
                <a:gd name="T66" fmla="*/ 2501 w 3431"/>
                <a:gd name="T67" fmla="*/ 522 h 806"/>
                <a:gd name="T68" fmla="*/ 2555 w 3431"/>
                <a:gd name="T69" fmla="*/ 534 h 806"/>
                <a:gd name="T70" fmla="*/ 2607 w 3431"/>
                <a:gd name="T71" fmla="*/ 552 h 806"/>
                <a:gd name="T72" fmla="*/ 2649 w 3431"/>
                <a:gd name="T73" fmla="*/ 570 h 806"/>
                <a:gd name="T74" fmla="*/ 2696 w 3431"/>
                <a:gd name="T75" fmla="*/ 598 h 806"/>
                <a:gd name="T76" fmla="*/ 2742 w 3431"/>
                <a:gd name="T77" fmla="*/ 633 h 806"/>
                <a:gd name="T78" fmla="*/ 2784 w 3431"/>
                <a:gd name="T79" fmla="*/ 678 h 806"/>
                <a:gd name="T80" fmla="*/ 2608 w 3431"/>
                <a:gd name="T81" fmla="*/ 762 h 806"/>
                <a:gd name="T82" fmla="*/ 3130 w 3431"/>
                <a:gd name="T83" fmla="*/ 806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431" h="806">
                  <a:moveTo>
                    <a:pt x="3130" y="806"/>
                  </a:moveTo>
                  <a:lnTo>
                    <a:pt x="3431" y="382"/>
                  </a:lnTo>
                  <a:lnTo>
                    <a:pt x="3276" y="450"/>
                  </a:lnTo>
                  <a:lnTo>
                    <a:pt x="3236" y="394"/>
                  </a:lnTo>
                  <a:lnTo>
                    <a:pt x="3190" y="336"/>
                  </a:lnTo>
                  <a:lnTo>
                    <a:pt x="3142" y="288"/>
                  </a:lnTo>
                  <a:lnTo>
                    <a:pt x="3092" y="244"/>
                  </a:lnTo>
                  <a:lnTo>
                    <a:pt x="3042" y="198"/>
                  </a:lnTo>
                  <a:lnTo>
                    <a:pt x="2980" y="156"/>
                  </a:lnTo>
                  <a:lnTo>
                    <a:pt x="2926" y="124"/>
                  </a:lnTo>
                  <a:lnTo>
                    <a:pt x="2861" y="93"/>
                  </a:lnTo>
                  <a:lnTo>
                    <a:pt x="2798" y="64"/>
                  </a:lnTo>
                  <a:lnTo>
                    <a:pt x="2730" y="42"/>
                  </a:lnTo>
                  <a:lnTo>
                    <a:pt x="2668" y="24"/>
                  </a:lnTo>
                  <a:lnTo>
                    <a:pt x="2580" y="10"/>
                  </a:lnTo>
                  <a:lnTo>
                    <a:pt x="2512" y="2"/>
                  </a:lnTo>
                  <a:lnTo>
                    <a:pt x="2445" y="0"/>
                  </a:lnTo>
                  <a:lnTo>
                    <a:pt x="0" y="1"/>
                  </a:lnTo>
                  <a:lnTo>
                    <a:pt x="0" y="487"/>
                  </a:lnTo>
                  <a:lnTo>
                    <a:pt x="1902" y="487"/>
                  </a:lnTo>
                  <a:lnTo>
                    <a:pt x="2034" y="734"/>
                  </a:lnTo>
                  <a:lnTo>
                    <a:pt x="2045" y="714"/>
                  </a:lnTo>
                  <a:lnTo>
                    <a:pt x="2069" y="688"/>
                  </a:lnTo>
                  <a:lnTo>
                    <a:pt x="2085" y="667"/>
                  </a:lnTo>
                  <a:lnTo>
                    <a:pt x="2111" y="643"/>
                  </a:lnTo>
                  <a:lnTo>
                    <a:pt x="2135" y="619"/>
                  </a:lnTo>
                  <a:lnTo>
                    <a:pt x="2166" y="597"/>
                  </a:lnTo>
                  <a:lnTo>
                    <a:pt x="2201" y="576"/>
                  </a:lnTo>
                  <a:lnTo>
                    <a:pt x="2240" y="558"/>
                  </a:lnTo>
                  <a:lnTo>
                    <a:pt x="2286" y="540"/>
                  </a:lnTo>
                  <a:lnTo>
                    <a:pt x="2331" y="526"/>
                  </a:lnTo>
                  <a:lnTo>
                    <a:pt x="2393" y="519"/>
                  </a:lnTo>
                  <a:cubicBezTo>
                    <a:pt x="2412" y="518"/>
                    <a:pt x="2427" y="516"/>
                    <a:pt x="2445" y="517"/>
                  </a:cubicBezTo>
                  <a:cubicBezTo>
                    <a:pt x="2463" y="518"/>
                    <a:pt x="2483" y="519"/>
                    <a:pt x="2501" y="522"/>
                  </a:cubicBezTo>
                  <a:lnTo>
                    <a:pt x="2555" y="534"/>
                  </a:lnTo>
                  <a:lnTo>
                    <a:pt x="2607" y="552"/>
                  </a:lnTo>
                  <a:lnTo>
                    <a:pt x="2649" y="570"/>
                  </a:lnTo>
                  <a:cubicBezTo>
                    <a:pt x="2661" y="578"/>
                    <a:pt x="2681" y="588"/>
                    <a:pt x="2696" y="598"/>
                  </a:cubicBezTo>
                  <a:cubicBezTo>
                    <a:pt x="2711" y="608"/>
                    <a:pt x="2727" y="620"/>
                    <a:pt x="2742" y="633"/>
                  </a:cubicBezTo>
                  <a:lnTo>
                    <a:pt x="2784" y="678"/>
                  </a:lnTo>
                  <a:lnTo>
                    <a:pt x="2608" y="762"/>
                  </a:lnTo>
                  <a:lnTo>
                    <a:pt x="3130" y="806"/>
                  </a:lnTo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83883" name="Freeform 11"/>
            <p:cNvSpPr>
              <a:spLocks/>
            </p:cNvSpPr>
            <p:nvPr/>
          </p:nvSpPr>
          <p:spPr bwMode="gray">
            <a:xfrm>
              <a:off x="881" y="2485"/>
              <a:ext cx="1146" cy="906"/>
            </a:xfrm>
            <a:custGeom>
              <a:avLst/>
              <a:gdLst>
                <a:gd name="T0" fmla="*/ 0 w 1146"/>
                <a:gd name="T1" fmla="*/ 457 h 906"/>
                <a:gd name="T2" fmla="*/ 261 w 1146"/>
                <a:gd name="T3" fmla="*/ 906 h 906"/>
                <a:gd name="T4" fmla="*/ 260 w 1146"/>
                <a:gd name="T5" fmla="*/ 719 h 906"/>
                <a:gd name="T6" fmla="*/ 1146 w 1146"/>
                <a:gd name="T7" fmla="*/ 719 h 906"/>
                <a:gd name="T8" fmla="*/ 989 w 1146"/>
                <a:gd name="T9" fmla="*/ 455 h 906"/>
                <a:gd name="T10" fmla="*/ 1143 w 1146"/>
                <a:gd name="T11" fmla="*/ 197 h 906"/>
                <a:gd name="T12" fmla="*/ 781 w 1146"/>
                <a:gd name="T13" fmla="*/ 197 h 906"/>
                <a:gd name="T14" fmla="*/ 258 w 1146"/>
                <a:gd name="T15" fmla="*/ 197 h 906"/>
                <a:gd name="T16" fmla="*/ 257 w 1146"/>
                <a:gd name="T17" fmla="*/ 0 h 906"/>
                <a:gd name="T18" fmla="*/ 0 w 1146"/>
                <a:gd name="T19" fmla="*/ 457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6" h="906">
                  <a:moveTo>
                    <a:pt x="0" y="457"/>
                  </a:moveTo>
                  <a:lnTo>
                    <a:pt x="261" y="906"/>
                  </a:lnTo>
                  <a:lnTo>
                    <a:pt x="260" y="719"/>
                  </a:lnTo>
                  <a:lnTo>
                    <a:pt x="1146" y="719"/>
                  </a:lnTo>
                  <a:lnTo>
                    <a:pt x="989" y="455"/>
                  </a:lnTo>
                  <a:lnTo>
                    <a:pt x="1143" y="197"/>
                  </a:lnTo>
                  <a:lnTo>
                    <a:pt x="781" y="197"/>
                  </a:lnTo>
                  <a:lnTo>
                    <a:pt x="258" y="197"/>
                  </a:lnTo>
                  <a:lnTo>
                    <a:pt x="257" y="0"/>
                  </a:lnTo>
                  <a:lnTo>
                    <a:pt x="0" y="457"/>
                  </a:lnTo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83884" name="Rectangle 12"/>
            <p:cNvSpPr>
              <a:spLocks noChangeArrowheads="1"/>
            </p:cNvSpPr>
            <p:nvPr/>
          </p:nvSpPr>
          <p:spPr bwMode="gray">
            <a:xfrm>
              <a:off x="1086" y="2798"/>
              <a:ext cx="762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83885" name="Rectangle 13"/>
            <p:cNvSpPr>
              <a:spLocks noChangeArrowheads="1"/>
            </p:cNvSpPr>
            <p:nvPr/>
          </p:nvSpPr>
          <p:spPr bwMode="gray">
            <a:xfrm>
              <a:off x="2496" y="2797"/>
              <a:ext cx="762" cy="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 </a:t>
              </a:r>
              <a:br>
                <a:rPr lang="en-US">
                  <a:latin typeface="Baskerville" charset="0"/>
                  <a:ea typeface="Baskerville" charset="0"/>
                  <a:cs typeface="Baskerville" charset="0"/>
                </a:rPr>
              </a:b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(Text)</a:t>
              </a:r>
            </a:p>
          </p:txBody>
        </p:sp>
        <p:sp>
          <p:nvSpPr>
            <p:cNvPr id="2383886" name="Rectangle 14"/>
            <p:cNvSpPr>
              <a:spLocks noChangeArrowheads="1"/>
            </p:cNvSpPr>
            <p:nvPr/>
          </p:nvSpPr>
          <p:spPr bwMode="gray">
            <a:xfrm>
              <a:off x="3931" y="2193"/>
              <a:ext cx="563" cy="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algn="r"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(Text)</a:t>
              </a:r>
            </a:p>
          </p:txBody>
        </p:sp>
        <p:sp>
          <p:nvSpPr>
            <p:cNvPr id="2383889" name="Rectangle 17"/>
            <p:cNvSpPr>
              <a:spLocks noChangeArrowheads="1"/>
            </p:cNvSpPr>
            <p:nvPr/>
          </p:nvSpPr>
          <p:spPr bwMode="gray">
            <a:xfrm>
              <a:off x="1260" y="1352"/>
              <a:ext cx="206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 </a:t>
              </a: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(Text)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128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0019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ycle </a:t>
            </a:r>
            <a:r>
              <a:rPr lang="en-US">
                <a:cs typeface="Arial" pitchFamily="34" charset="0"/>
              </a:rPr>
              <a:t>–</a:t>
            </a:r>
            <a:r>
              <a:rPr lang="en-US"/>
              <a:t> 5 Factors</a:t>
            </a:r>
          </a:p>
        </p:txBody>
      </p:sp>
      <p:grpSp>
        <p:nvGrpSpPr>
          <p:cNvPr id="2390049" name="Group 33"/>
          <p:cNvGrpSpPr>
            <a:grpSpLocks/>
          </p:cNvGrpSpPr>
          <p:nvPr/>
        </p:nvGrpSpPr>
        <p:grpSpPr bwMode="auto">
          <a:xfrm>
            <a:off x="4381500" y="1608138"/>
            <a:ext cx="3390900" cy="3359150"/>
            <a:chOff x="1800" y="1013"/>
            <a:chExt cx="2136" cy="2116"/>
          </a:xfrm>
        </p:grpSpPr>
        <p:sp>
          <p:nvSpPr>
            <p:cNvPr id="2390020" name="Freeform 4"/>
            <p:cNvSpPr>
              <a:spLocks/>
            </p:cNvSpPr>
            <p:nvPr/>
          </p:nvSpPr>
          <p:spPr bwMode="gray">
            <a:xfrm>
              <a:off x="2109" y="1013"/>
              <a:ext cx="962" cy="988"/>
            </a:xfrm>
            <a:custGeom>
              <a:avLst/>
              <a:gdLst>
                <a:gd name="T0" fmla="*/ 1042 w 1042"/>
                <a:gd name="T1" fmla="*/ 512 h 988"/>
                <a:gd name="T2" fmla="*/ 917 w 1042"/>
                <a:gd name="T3" fmla="*/ 0 h 988"/>
                <a:gd name="T4" fmla="*/ 917 w 1042"/>
                <a:gd name="T5" fmla="*/ 221 h 988"/>
                <a:gd name="T6" fmla="*/ 833 w 1042"/>
                <a:gd name="T7" fmla="*/ 223 h 988"/>
                <a:gd name="T8" fmla="*/ 753 w 1042"/>
                <a:gd name="T9" fmla="*/ 226 h 988"/>
                <a:gd name="T10" fmla="*/ 674 w 1042"/>
                <a:gd name="T11" fmla="*/ 232 h 988"/>
                <a:gd name="T12" fmla="*/ 598 w 1042"/>
                <a:gd name="T13" fmla="*/ 238 h 988"/>
                <a:gd name="T14" fmla="*/ 526 w 1042"/>
                <a:gd name="T15" fmla="*/ 247 h 988"/>
                <a:gd name="T16" fmla="*/ 456 w 1042"/>
                <a:gd name="T17" fmla="*/ 258 h 988"/>
                <a:gd name="T18" fmla="*/ 389 w 1042"/>
                <a:gd name="T19" fmla="*/ 271 h 988"/>
                <a:gd name="T20" fmla="*/ 324 w 1042"/>
                <a:gd name="T21" fmla="*/ 285 h 988"/>
                <a:gd name="T22" fmla="*/ 262 w 1042"/>
                <a:gd name="T23" fmla="*/ 301 h 988"/>
                <a:gd name="T24" fmla="*/ 203 w 1042"/>
                <a:gd name="T25" fmla="*/ 318 h 988"/>
                <a:gd name="T26" fmla="*/ 148 w 1042"/>
                <a:gd name="T27" fmla="*/ 338 h 988"/>
                <a:gd name="T28" fmla="*/ 96 w 1042"/>
                <a:gd name="T29" fmla="*/ 358 h 988"/>
                <a:gd name="T30" fmla="*/ 46 w 1042"/>
                <a:gd name="T31" fmla="*/ 382 h 988"/>
                <a:gd name="T32" fmla="*/ 0 w 1042"/>
                <a:gd name="T33" fmla="*/ 407 h 988"/>
                <a:gd name="T34" fmla="*/ 138 w 1042"/>
                <a:gd name="T35" fmla="*/ 659 h 988"/>
                <a:gd name="T36" fmla="*/ 115 w 1042"/>
                <a:gd name="T37" fmla="*/ 935 h 988"/>
                <a:gd name="T38" fmla="*/ 142 w 1042"/>
                <a:gd name="T39" fmla="*/ 922 h 988"/>
                <a:gd name="T40" fmla="*/ 182 w 1042"/>
                <a:gd name="T41" fmla="*/ 907 h 988"/>
                <a:gd name="T42" fmla="*/ 223 w 1042"/>
                <a:gd name="T43" fmla="*/ 894 h 988"/>
                <a:gd name="T44" fmla="*/ 267 w 1042"/>
                <a:gd name="T45" fmla="*/ 880 h 988"/>
                <a:gd name="T46" fmla="*/ 311 w 1042"/>
                <a:gd name="T47" fmla="*/ 868 h 988"/>
                <a:gd name="T48" fmla="*/ 359 w 1042"/>
                <a:gd name="T49" fmla="*/ 857 h 988"/>
                <a:gd name="T50" fmla="*/ 407 w 1042"/>
                <a:gd name="T51" fmla="*/ 846 h 988"/>
                <a:gd name="T52" fmla="*/ 457 w 1042"/>
                <a:gd name="T53" fmla="*/ 836 h 988"/>
                <a:gd name="T54" fmla="*/ 506 w 1042"/>
                <a:gd name="T55" fmla="*/ 829 h 988"/>
                <a:gd name="T56" fmla="*/ 557 w 1042"/>
                <a:gd name="T57" fmla="*/ 822 h 988"/>
                <a:gd name="T58" fmla="*/ 606 w 1042"/>
                <a:gd name="T59" fmla="*/ 816 h 988"/>
                <a:gd name="T60" fmla="*/ 656 w 1042"/>
                <a:gd name="T61" fmla="*/ 811 h 988"/>
                <a:gd name="T62" fmla="*/ 705 w 1042"/>
                <a:gd name="T63" fmla="*/ 809 h 988"/>
                <a:gd name="T64" fmla="*/ 754 w 1042"/>
                <a:gd name="T65" fmla="*/ 807 h 988"/>
                <a:gd name="T66" fmla="*/ 800 w 1042"/>
                <a:gd name="T67" fmla="*/ 806 h 988"/>
                <a:gd name="T68" fmla="*/ 847 w 1042"/>
                <a:gd name="T69" fmla="*/ 807 h 988"/>
                <a:gd name="T70" fmla="*/ 890 w 1042"/>
                <a:gd name="T71" fmla="*/ 809 h 988"/>
                <a:gd name="T72" fmla="*/ 896 w 1042"/>
                <a:gd name="T73" fmla="*/ 988 h 988"/>
                <a:gd name="T74" fmla="*/ 1042 w 1042"/>
                <a:gd name="T75" fmla="*/ 512 h 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42" h="988">
                  <a:moveTo>
                    <a:pt x="1042" y="512"/>
                  </a:moveTo>
                  <a:lnTo>
                    <a:pt x="917" y="0"/>
                  </a:lnTo>
                  <a:lnTo>
                    <a:pt x="917" y="221"/>
                  </a:lnTo>
                  <a:lnTo>
                    <a:pt x="833" y="223"/>
                  </a:lnTo>
                  <a:lnTo>
                    <a:pt x="753" y="226"/>
                  </a:lnTo>
                  <a:lnTo>
                    <a:pt x="674" y="232"/>
                  </a:lnTo>
                  <a:lnTo>
                    <a:pt x="598" y="238"/>
                  </a:lnTo>
                  <a:lnTo>
                    <a:pt x="526" y="247"/>
                  </a:lnTo>
                  <a:lnTo>
                    <a:pt x="456" y="258"/>
                  </a:lnTo>
                  <a:lnTo>
                    <a:pt x="389" y="271"/>
                  </a:lnTo>
                  <a:lnTo>
                    <a:pt x="324" y="285"/>
                  </a:lnTo>
                  <a:lnTo>
                    <a:pt x="262" y="301"/>
                  </a:lnTo>
                  <a:lnTo>
                    <a:pt x="203" y="318"/>
                  </a:lnTo>
                  <a:lnTo>
                    <a:pt x="148" y="338"/>
                  </a:lnTo>
                  <a:lnTo>
                    <a:pt x="96" y="358"/>
                  </a:lnTo>
                  <a:lnTo>
                    <a:pt x="46" y="382"/>
                  </a:lnTo>
                  <a:lnTo>
                    <a:pt x="0" y="407"/>
                  </a:lnTo>
                  <a:lnTo>
                    <a:pt x="138" y="659"/>
                  </a:lnTo>
                  <a:lnTo>
                    <a:pt x="115" y="935"/>
                  </a:lnTo>
                  <a:lnTo>
                    <a:pt x="142" y="922"/>
                  </a:lnTo>
                  <a:lnTo>
                    <a:pt x="182" y="907"/>
                  </a:lnTo>
                  <a:lnTo>
                    <a:pt x="223" y="894"/>
                  </a:lnTo>
                  <a:lnTo>
                    <a:pt x="267" y="880"/>
                  </a:lnTo>
                  <a:lnTo>
                    <a:pt x="311" y="868"/>
                  </a:lnTo>
                  <a:lnTo>
                    <a:pt x="359" y="857"/>
                  </a:lnTo>
                  <a:lnTo>
                    <a:pt x="407" y="846"/>
                  </a:lnTo>
                  <a:lnTo>
                    <a:pt x="457" y="836"/>
                  </a:lnTo>
                  <a:lnTo>
                    <a:pt x="506" y="829"/>
                  </a:lnTo>
                  <a:lnTo>
                    <a:pt x="557" y="822"/>
                  </a:lnTo>
                  <a:lnTo>
                    <a:pt x="606" y="816"/>
                  </a:lnTo>
                  <a:lnTo>
                    <a:pt x="656" y="811"/>
                  </a:lnTo>
                  <a:lnTo>
                    <a:pt x="705" y="809"/>
                  </a:lnTo>
                  <a:lnTo>
                    <a:pt x="754" y="807"/>
                  </a:lnTo>
                  <a:lnTo>
                    <a:pt x="800" y="806"/>
                  </a:lnTo>
                  <a:lnTo>
                    <a:pt x="847" y="807"/>
                  </a:lnTo>
                  <a:lnTo>
                    <a:pt x="890" y="809"/>
                  </a:lnTo>
                  <a:lnTo>
                    <a:pt x="896" y="988"/>
                  </a:lnTo>
                  <a:lnTo>
                    <a:pt x="1042" y="512"/>
                  </a:lnTo>
                </a:path>
              </a:pathLst>
            </a:custGeom>
            <a:solidFill>
              <a:schemeClr val="accent2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90022" name="Freeform 6"/>
            <p:cNvSpPr>
              <a:spLocks/>
            </p:cNvSpPr>
            <p:nvPr/>
          </p:nvSpPr>
          <p:spPr bwMode="gray">
            <a:xfrm>
              <a:off x="3028" y="1248"/>
              <a:ext cx="840" cy="917"/>
            </a:xfrm>
            <a:custGeom>
              <a:avLst/>
              <a:gdLst>
                <a:gd name="T0" fmla="*/ 891 w 910"/>
                <a:gd name="T1" fmla="*/ 617 h 917"/>
                <a:gd name="T2" fmla="*/ 889 w 910"/>
                <a:gd name="T3" fmla="*/ 517 h 917"/>
                <a:gd name="T4" fmla="*/ 889 w 910"/>
                <a:gd name="T5" fmla="*/ 417 h 917"/>
                <a:gd name="T6" fmla="*/ 893 w 910"/>
                <a:gd name="T7" fmla="*/ 317 h 917"/>
                <a:gd name="T8" fmla="*/ 899 w 910"/>
                <a:gd name="T9" fmla="*/ 218 h 917"/>
                <a:gd name="T10" fmla="*/ 910 w 910"/>
                <a:gd name="T11" fmla="*/ 118 h 917"/>
                <a:gd name="T12" fmla="*/ 847 w 910"/>
                <a:gd name="T13" fmla="*/ 251 h 917"/>
                <a:gd name="T14" fmla="*/ 776 w 910"/>
                <a:gd name="T15" fmla="*/ 211 h 917"/>
                <a:gd name="T16" fmla="*/ 705 w 910"/>
                <a:gd name="T17" fmla="*/ 175 h 917"/>
                <a:gd name="T18" fmla="*/ 632 w 910"/>
                <a:gd name="T19" fmla="*/ 142 h 917"/>
                <a:gd name="T20" fmla="*/ 558 w 910"/>
                <a:gd name="T21" fmla="*/ 114 h 917"/>
                <a:gd name="T22" fmla="*/ 484 w 910"/>
                <a:gd name="T23" fmla="*/ 87 h 917"/>
                <a:gd name="T24" fmla="*/ 409 w 910"/>
                <a:gd name="T25" fmla="*/ 63 h 917"/>
                <a:gd name="T26" fmla="*/ 332 w 910"/>
                <a:gd name="T27" fmla="*/ 44 h 917"/>
                <a:gd name="T28" fmla="*/ 256 w 910"/>
                <a:gd name="T29" fmla="*/ 28 h 917"/>
                <a:gd name="T30" fmla="*/ 178 w 910"/>
                <a:gd name="T31" fmla="*/ 15 h 917"/>
                <a:gd name="T32" fmla="*/ 100 w 910"/>
                <a:gd name="T33" fmla="*/ 5 h 917"/>
                <a:gd name="T34" fmla="*/ 22 w 910"/>
                <a:gd name="T35" fmla="*/ 0 h 917"/>
                <a:gd name="T36" fmla="*/ 100 w 910"/>
                <a:gd name="T37" fmla="*/ 282 h 917"/>
                <a:gd name="T38" fmla="*/ 0 w 910"/>
                <a:gd name="T39" fmla="*/ 579 h 917"/>
                <a:gd name="T40" fmla="*/ 65 w 910"/>
                <a:gd name="T41" fmla="*/ 580 h 917"/>
                <a:gd name="T42" fmla="*/ 130 w 910"/>
                <a:gd name="T43" fmla="*/ 583 h 917"/>
                <a:gd name="T44" fmla="*/ 193 w 910"/>
                <a:gd name="T45" fmla="*/ 589 h 917"/>
                <a:gd name="T46" fmla="*/ 255 w 910"/>
                <a:gd name="T47" fmla="*/ 596 h 917"/>
                <a:gd name="T48" fmla="*/ 314 w 910"/>
                <a:gd name="T49" fmla="*/ 605 h 917"/>
                <a:gd name="T50" fmla="*/ 373 w 910"/>
                <a:gd name="T51" fmla="*/ 617 h 917"/>
                <a:gd name="T52" fmla="*/ 429 w 910"/>
                <a:gd name="T53" fmla="*/ 629 h 917"/>
                <a:gd name="T54" fmla="*/ 484 w 910"/>
                <a:gd name="T55" fmla="*/ 645 h 917"/>
                <a:gd name="T56" fmla="*/ 536 w 910"/>
                <a:gd name="T57" fmla="*/ 661 h 917"/>
                <a:gd name="T58" fmla="*/ 587 w 910"/>
                <a:gd name="T59" fmla="*/ 681 h 917"/>
                <a:gd name="T60" fmla="*/ 634 w 910"/>
                <a:gd name="T61" fmla="*/ 700 h 917"/>
                <a:gd name="T62" fmla="*/ 678 w 910"/>
                <a:gd name="T63" fmla="*/ 723 h 917"/>
                <a:gd name="T64" fmla="*/ 720 w 910"/>
                <a:gd name="T65" fmla="*/ 747 h 917"/>
                <a:gd name="T66" fmla="*/ 758 w 910"/>
                <a:gd name="T67" fmla="*/ 771 h 917"/>
                <a:gd name="T68" fmla="*/ 793 w 910"/>
                <a:gd name="T69" fmla="*/ 797 h 917"/>
                <a:gd name="T70" fmla="*/ 795 w 910"/>
                <a:gd name="T71" fmla="*/ 837 h 917"/>
                <a:gd name="T72" fmla="*/ 795 w 910"/>
                <a:gd name="T73" fmla="*/ 877 h 917"/>
                <a:gd name="T74" fmla="*/ 793 w 910"/>
                <a:gd name="T75" fmla="*/ 917 h 917"/>
                <a:gd name="T76" fmla="*/ 823 w 910"/>
                <a:gd name="T77" fmla="*/ 842 h 917"/>
                <a:gd name="T78" fmla="*/ 848 w 910"/>
                <a:gd name="T79" fmla="*/ 768 h 917"/>
                <a:gd name="T80" fmla="*/ 871 w 910"/>
                <a:gd name="T81" fmla="*/ 692 h 917"/>
                <a:gd name="T82" fmla="*/ 891 w 910"/>
                <a:gd name="T83" fmla="*/ 617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10" h="917">
                  <a:moveTo>
                    <a:pt x="891" y="617"/>
                  </a:moveTo>
                  <a:lnTo>
                    <a:pt x="889" y="517"/>
                  </a:lnTo>
                  <a:lnTo>
                    <a:pt x="889" y="417"/>
                  </a:lnTo>
                  <a:lnTo>
                    <a:pt x="893" y="317"/>
                  </a:lnTo>
                  <a:lnTo>
                    <a:pt x="899" y="218"/>
                  </a:lnTo>
                  <a:lnTo>
                    <a:pt x="910" y="118"/>
                  </a:lnTo>
                  <a:lnTo>
                    <a:pt x="847" y="251"/>
                  </a:lnTo>
                  <a:lnTo>
                    <a:pt x="776" y="211"/>
                  </a:lnTo>
                  <a:lnTo>
                    <a:pt x="705" y="175"/>
                  </a:lnTo>
                  <a:lnTo>
                    <a:pt x="632" y="142"/>
                  </a:lnTo>
                  <a:lnTo>
                    <a:pt x="558" y="114"/>
                  </a:lnTo>
                  <a:lnTo>
                    <a:pt x="484" y="87"/>
                  </a:lnTo>
                  <a:lnTo>
                    <a:pt x="409" y="63"/>
                  </a:lnTo>
                  <a:lnTo>
                    <a:pt x="332" y="44"/>
                  </a:lnTo>
                  <a:lnTo>
                    <a:pt x="256" y="28"/>
                  </a:lnTo>
                  <a:lnTo>
                    <a:pt x="178" y="15"/>
                  </a:lnTo>
                  <a:lnTo>
                    <a:pt x="100" y="5"/>
                  </a:lnTo>
                  <a:lnTo>
                    <a:pt x="22" y="0"/>
                  </a:lnTo>
                  <a:lnTo>
                    <a:pt x="100" y="282"/>
                  </a:lnTo>
                  <a:lnTo>
                    <a:pt x="0" y="579"/>
                  </a:lnTo>
                  <a:lnTo>
                    <a:pt x="65" y="580"/>
                  </a:lnTo>
                  <a:lnTo>
                    <a:pt x="130" y="583"/>
                  </a:lnTo>
                  <a:lnTo>
                    <a:pt x="193" y="589"/>
                  </a:lnTo>
                  <a:lnTo>
                    <a:pt x="255" y="596"/>
                  </a:lnTo>
                  <a:lnTo>
                    <a:pt x="314" y="605"/>
                  </a:lnTo>
                  <a:lnTo>
                    <a:pt x="373" y="617"/>
                  </a:lnTo>
                  <a:lnTo>
                    <a:pt x="429" y="629"/>
                  </a:lnTo>
                  <a:lnTo>
                    <a:pt x="484" y="645"/>
                  </a:lnTo>
                  <a:lnTo>
                    <a:pt x="536" y="661"/>
                  </a:lnTo>
                  <a:lnTo>
                    <a:pt x="587" y="681"/>
                  </a:lnTo>
                  <a:lnTo>
                    <a:pt x="634" y="700"/>
                  </a:lnTo>
                  <a:lnTo>
                    <a:pt x="678" y="723"/>
                  </a:lnTo>
                  <a:lnTo>
                    <a:pt x="720" y="747"/>
                  </a:lnTo>
                  <a:lnTo>
                    <a:pt x="758" y="771"/>
                  </a:lnTo>
                  <a:lnTo>
                    <a:pt x="793" y="797"/>
                  </a:lnTo>
                  <a:lnTo>
                    <a:pt x="795" y="837"/>
                  </a:lnTo>
                  <a:lnTo>
                    <a:pt x="795" y="877"/>
                  </a:lnTo>
                  <a:lnTo>
                    <a:pt x="793" y="917"/>
                  </a:lnTo>
                  <a:lnTo>
                    <a:pt x="823" y="842"/>
                  </a:lnTo>
                  <a:lnTo>
                    <a:pt x="848" y="768"/>
                  </a:lnTo>
                  <a:lnTo>
                    <a:pt x="871" y="692"/>
                  </a:lnTo>
                  <a:lnTo>
                    <a:pt x="891" y="61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90023" name="Freeform 7"/>
            <p:cNvSpPr>
              <a:spLocks/>
            </p:cNvSpPr>
            <p:nvPr/>
          </p:nvSpPr>
          <p:spPr bwMode="gray">
            <a:xfrm>
              <a:off x="3028" y="1248"/>
              <a:ext cx="840" cy="917"/>
            </a:xfrm>
            <a:custGeom>
              <a:avLst/>
              <a:gdLst>
                <a:gd name="T0" fmla="*/ 891 w 910"/>
                <a:gd name="T1" fmla="*/ 617 h 917"/>
                <a:gd name="T2" fmla="*/ 889 w 910"/>
                <a:gd name="T3" fmla="*/ 517 h 917"/>
                <a:gd name="T4" fmla="*/ 889 w 910"/>
                <a:gd name="T5" fmla="*/ 417 h 917"/>
                <a:gd name="T6" fmla="*/ 893 w 910"/>
                <a:gd name="T7" fmla="*/ 317 h 917"/>
                <a:gd name="T8" fmla="*/ 899 w 910"/>
                <a:gd name="T9" fmla="*/ 218 h 917"/>
                <a:gd name="T10" fmla="*/ 910 w 910"/>
                <a:gd name="T11" fmla="*/ 118 h 917"/>
                <a:gd name="T12" fmla="*/ 847 w 910"/>
                <a:gd name="T13" fmla="*/ 251 h 917"/>
                <a:gd name="T14" fmla="*/ 776 w 910"/>
                <a:gd name="T15" fmla="*/ 211 h 917"/>
                <a:gd name="T16" fmla="*/ 705 w 910"/>
                <a:gd name="T17" fmla="*/ 175 h 917"/>
                <a:gd name="T18" fmla="*/ 632 w 910"/>
                <a:gd name="T19" fmla="*/ 142 h 917"/>
                <a:gd name="T20" fmla="*/ 558 w 910"/>
                <a:gd name="T21" fmla="*/ 114 h 917"/>
                <a:gd name="T22" fmla="*/ 484 w 910"/>
                <a:gd name="T23" fmla="*/ 87 h 917"/>
                <a:gd name="T24" fmla="*/ 409 w 910"/>
                <a:gd name="T25" fmla="*/ 63 h 917"/>
                <a:gd name="T26" fmla="*/ 332 w 910"/>
                <a:gd name="T27" fmla="*/ 44 h 917"/>
                <a:gd name="T28" fmla="*/ 256 w 910"/>
                <a:gd name="T29" fmla="*/ 28 h 917"/>
                <a:gd name="T30" fmla="*/ 178 w 910"/>
                <a:gd name="T31" fmla="*/ 15 h 917"/>
                <a:gd name="T32" fmla="*/ 100 w 910"/>
                <a:gd name="T33" fmla="*/ 5 h 917"/>
                <a:gd name="T34" fmla="*/ 22 w 910"/>
                <a:gd name="T35" fmla="*/ 0 h 917"/>
                <a:gd name="T36" fmla="*/ 100 w 910"/>
                <a:gd name="T37" fmla="*/ 282 h 917"/>
                <a:gd name="T38" fmla="*/ 0 w 910"/>
                <a:gd name="T39" fmla="*/ 579 h 917"/>
                <a:gd name="T40" fmla="*/ 65 w 910"/>
                <a:gd name="T41" fmla="*/ 580 h 917"/>
                <a:gd name="T42" fmla="*/ 130 w 910"/>
                <a:gd name="T43" fmla="*/ 583 h 917"/>
                <a:gd name="T44" fmla="*/ 193 w 910"/>
                <a:gd name="T45" fmla="*/ 589 h 917"/>
                <a:gd name="T46" fmla="*/ 255 w 910"/>
                <a:gd name="T47" fmla="*/ 596 h 917"/>
                <a:gd name="T48" fmla="*/ 314 w 910"/>
                <a:gd name="T49" fmla="*/ 605 h 917"/>
                <a:gd name="T50" fmla="*/ 373 w 910"/>
                <a:gd name="T51" fmla="*/ 617 h 917"/>
                <a:gd name="T52" fmla="*/ 429 w 910"/>
                <a:gd name="T53" fmla="*/ 629 h 917"/>
                <a:gd name="T54" fmla="*/ 484 w 910"/>
                <a:gd name="T55" fmla="*/ 645 h 917"/>
                <a:gd name="T56" fmla="*/ 536 w 910"/>
                <a:gd name="T57" fmla="*/ 661 h 917"/>
                <a:gd name="T58" fmla="*/ 587 w 910"/>
                <a:gd name="T59" fmla="*/ 681 h 917"/>
                <a:gd name="T60" fmla="*/ 634 w 910"/>
                <a:gd name="T61" fmla="*/ 700 h 917"/>
                <a:gd name="T62" fmla="*/ 678 w 910"/>
                <a:gd name="T63" fmla="*/ 723 h 917"/>
                <a:gd name="T64" fmla="*/ 720 w 910"/>
                <a:gd name="T65" fmla="*/ 747 h 917"/>
                <a:gd name="T66" fmla="*/ 758 w 910"/>
                <a:gd name="T67" fmla="*/ 771 h 917"/>
                <a:gd name="T68" fmla="*/ 793 w 910"/>
                <a:gd name="T69" fmla="*/ 797 h 917"/>
                <a:gd name="T70" fmla="*/ 795 w 910"/>
                <a:gd name="T71" fmla="*/ 837 h 917"/>
                <a:gd name="T72" fmla="*/ 795 w 910"/>
                <a:gd name="T73" fmla="*/ 877 h 917"/>
                <a:gd name="T74" fmla="*/ 793 w 910"/>
                <a:gd name="T75" fmla="*/ 917 h 917"/>
                <a:gd name="T76" fmla="*/ 823 w 910"/>
                <a:gd name="T77" fmla="*/ 842 h 917"/>
                <a:gd name="T78" fmla="*/ 848 w 910"/>
                <a:gd name="T79" fmla="*/ 768 h 917"/>
                <a:gd name="T80" fmla="*/ 871 w 910"/>
                <a:gd name="T81" fmla="*/ 692 h 917"/>
                <a:gd name="T82" fmla="*/ 891 w 910"/>
                <a:gd name="T83" fmla="*/ 617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10" h="917">
                  <a:moveTo>
                    <a:pt x="891" y="617"/>
                  </a:moveTo>
                  <a:lnTo>
                    <a:pt x="889" y="517"/>
                  </a:lnTo>
                  <a:lnTo>
                    <a:pt x="889" y="417"/>
                  </a:lnTo>
                  <a:lnTo>
                    <a:pt x="893" y="317"/>
                  </a:lnTo>
                  <a:lnTo>
                    <a:pt x="899" y="218"/>
                  </a:lnTo>
                  <a:lnTo>
                    <a:pt x="910" y="118"/>
                  </a:lnTo>
                  <a:lnTo>
                    <a:pt x="847" y="251"/>
                  </a:lnTo>
                  <a:lnTo>
                    <a:pt x="776" y="211"/>
                  </a:lnTo>
                  <a:lnTo>
                    <a:pt x="705" y="175"/>
                  </a:lnTo>
                  <a:lnTo>
                    <a:pt x="632" y="142"/>
                  </a:lnTo>
                  <a:lnTo>
                    <a:pt x="558" y="114"/>
                  </a:lnTo>
                  <a:lnTo>
                    <a:pt x="484" y="87"/>
                  </a:lnTo>
                  <a:lnTo>
                    <a:pt x="409" y="63"/>
                  </a:lnTo>
                  <a:lnTo>
                    <a:pt x="332" y="44"/>
                  </a:lnTo>
                  <a:lnTo>
                    <a:pt x="256" y="28"/>
                  </a:lnTo>
                  <a:lnTo>
                    <a:pt x="178" y="15"/>
                  </a:lnTo>
                  <a:lnTo>
                    <a:pt x="100" y="5"/>
                  </a:lnTo>
                  <a:lnTo>
                    <a:pt x="22" y="0"/>
                  </a:lnTo>
                  <a:lnTo>
                    <a:pt x="100" y="282"/>
                  </a:lnTo>
                  <a:lnTo>
                    <a:pt x="0" y="579"/>
                  </a:lnTo>
                  <a:lnTo>
                    <a:pt x="65" y="580"/>
                  </a:lnTo>
                  <a:lnTo>
                    <a:pt x="130" y="583"/>
                  </a:lnTo>
                  <a:lnTo>
                    <a:pt x="193" y="589"/>
                  </a:lnTo>
                  <a:lnTo>
                    <a:pt x="255" y="596"/>
                  </a:lnTo>
                  <a:lnTo>
                    <a:pt x="314" y="605"/>
                  </a:lnTo>
                  <a:lnTo>
                    <a:pt x="373" y="617"/>
                  </a:lnTo>
                  <a:lnTo>
                    <a:pt x="429" y="629"/>
                  </a:lnTo>
                  <a:lnTo>
                    <a:pt x="484" y="645"/>
                  </a:lnTo>
                  <a:lnTo>
                    <a:pt x="536" y="661"/>
                  </a:lnTo>
                  <a:lnTo>
                    <a:pt x="587" y="681"/>
                  </a:lnTo>
                  <a:lnTo>
                    <a:pt x="634" y="700"/>
                  </a:lnTo>
                  <a:lnTo>
                    <a:pt x="678" y="723"/>
                  </a:lnTo>
                  <a:lnTo>
                    <a:pt x="720" y="747"/>
                  </a:lnTo>
                  <a:lnTo>
                    <a:pt x="758" y="771"/>
                  </a:lnTo>
                  <a:lnTo>
                    <a:pt x="793" y="797"/>
                  </a:lnTo>
                  <a:lnTo>
                    <a:pt x="795" y="837"/>
                  </a:lnTo>
                  <a:lnTo>
                    <a:pt x="795" y="877"/>
                  </a:lnTo>
                  <a:lnTo>
                    <a:pt x="793" y="917"/>
                  </a:lnTo>
                  <a:lnTo>
                    <a:pt x="823" y="842"/>
                  </a:lnTo>
                  <a:lnTo>
                    <a:pt x="848" y="768"/>
                  </a:lnTo>
                  <a:lnTo>
                    <a:pt x="871" y="692"/>
                  </a:lnTo>
                  <a:lnTo>
                    <a:pt x="891" y="617"/>
                  </a:lnTo>
                </a:path>
              </a:pathLst>
            </a:custGeom>
            <a:solidFill>
              <a:schemeClr val="accent2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90024" name="Freeform 8"/>
            <p:cNvSpPr>
              <a:spLocks/>
            </p:cNvSpPr>
            <p:nvPr/>
          </p:nvSpPr>
          <p:spPr bwMode="gray">
            <a:xfrm>
              <a:off x="2156" y="2116"/>
              <a:ext cx="1188" cy="960"/>
            </a:xfrm>
            <a:custGeom>
              <a:avLst/>
              <a:gdLst>
                <a:gd name="T0" fmla="*/ 0 w 1287"/>
                <a:gd name="T1" fmla="*/ 489 h 960"/>
                <a:gd name="T2" fmla="*/ 108 w 1287"/>
                <a:gd name="T3" fmla="*/ 960 h 960"/>
                <a:gd name="T4" fmla="*/ 131 w 1287"/>
                <a:gd name="T5" fmla="*/ 808 h 960"/>
                <a:gd name="T6" fmla="*/ 193 w 1287"/>
                <a:gd name="T7" fmla="*/ 828 h 960"/>
                <a:gd name="T8" fmla="*/ 273 w 1287"/>
                <a:gd name="T9" fmla="*/ 850 h 960"/>
                <a:gd name="T10" fmla="*/ 352 w 1287"/>
                <a:gd name="T11" fmla="*/ 869 h 960"/>
                <a:gd name="T12" fmla="*/ 431 w 1287"/>
                <a:gd name="T13" fmla="*/ 884 h 960"/>
                <a:gd name="T14" fmla="*/ 511 w 1287"/>
                <a:gd name="T15" fmla="*/ 898 h 960"/>
                <a:gd name="T16" fmla="*/ 590 w 1287"/>
                <a:gd name="T17" fmla="*/ 908 h 960"/>
                <a:gd name="T18" fmla="*/ 670 w 1287"/>
                <a:gd name="T19" fmla="*/ 913 h 960"/>
                <a:gd name="T20" fmla="*/ 747 w 1287"/>
                <a:gd name="T21" fmla="*/ 915 h 960"/>
                <a:gd name="T22" fmla="*/ 827 w 1287"/>
                <a:gd name="T23" fmla="*/ 914 h 960"/>
                <a:gd name="T24" fmla="*/ 905 w 1287"/>
                <a:gd name="T25" fmla="*/ 911 h 960"/>
                <a:gd name="T26" fmla="*/ 982 w 1287"/>
                <a:gd name="T27" fmla="*/ 904 h 960"/>
                <a:gd name="T28" fmla="*/ 1060 w 1287"/>
                <a:gd name="T29" fmla="*/ 892 h 960"/>
                <a:gd name="T30" fmla="*/ 1136 w 1287"/>
                <a:gd name="T31" fmla="*/ 878 h 960"/>
                <a:gd name="T32" fmla="*/ 1211 w 1287"/>
                <a:gd name="T33" fmla="*/ 860 h 960"/>
                <a:gd name="T34" fmla="*/ 1287 w 1287"/>
                <a:gd name="T35" fmla="*/ 839 h 960"/>
                <a:gd name="T36" fmla="*/ 1117 w 1287"/>
                <a:gd name="T37" fmla="*/ 609 h 960"/>
                <a:gd name="T38" fmla="*/ 1204 w 1287"/>
                <a:gd name="T39" fmla="*/ 274 h 960"/>
                <a:gd name="T40" fmla="*/ 1182 w 1287"/>
                <a:gd name="T41" fmla="*/ 281 h 960"/>
                <a:gd name="T42" fmla="*/ 1156 w 1287"/>
                <a:gd name="T43" fmla="*/ 288 h 960"/>
                <a:gd name="T44" fmla="*/ 1129 w 1287"/>
                <a:gd name="T45" fmla="*/ 294 h 960"/>
                <a:gd name="T46" fmla="*/ 1098 w 1287"/>
                <a:gd name="T47" fmla="*/ 300 h 960"/>
                <a:gd name="T48" fmla="*/ 1064 w 1287"/>
                <a:gd name="T49" fmla="*/ 304 h 960"/>
                <a:gd name="T50" fmla="*/ 1027 w 1287"/>
                <a:gd name="T51" fmla="*/ 309 h 960"/>
                <a:gd name="T52" fmla="*/ 987 w 1287"/>
                <a:gd name="T53" fmla="*/ 311 h 960"/>
                <a:gd name="T54" fmla="*/ 947 w 1287"/>
                <a:gd name="T55" fmla="*/ 314 h 960"/>
                <a:gd name="T56" fmla="*/ 905 w 1287"/>
                <a:gd name="T57" fmla="*/ 316 h 960"/>
                <a:gd name="T58" fmla="*/ 861 w 1287"/>
                <a:gd name="T59" fmla="*/ 318 h 960"/>
                <a:gd name="T60" fmla="*/ 816 w 1287"/>
                <a:gd name="T61" fmla="*/ 318 h 960"/>
                <a:gd name="T62" fmla="*/ 772 w 1287"/>
                <a:gd name="T63" fmla="*/ 318 h 960"/>
                <a:gd name="T64" fmla="*/ 725 w 1287"/>
                <a:gd name="T65" fmla="*/ 316 h 960"/>
                <a:gd name="T66" fmla="*/ 679 w 1287"/>
                <a:gd name="T67" fmla="*/ 314 h 960"/>
                <a:gd name="T68" fmla="*/ 634 w 1287"/>
                <a:gd name="T69" fmla="*/ 311 h 960"/>
                <a:gd name="T70" fmla="*/ 589 w 1287"/>
                <a:gd name="T71" fmla="*/ 308 h 960"/>
                <a:gd name="T72" fmla="*/ 545 w 1287"/>
                <a:gd name="T73" fmla="*/ 304 h 960"/>
                <a:gd name="T74" fmla="*/ 504 w 1287"/>
                <a:gd name="T75" fmla="*/ 300 h 960"/>
                <a:gd name="T76" fmla="*/ 462 w 1287"/>
                <a:gd name="T77" fmla="*/ 294 h 960"/>
                <a:gd name="T78" fmla="*/ 423 w 1287"/>
                <a:gd name="T79" fmla="*/ 287 h 960"/>
                <a:gd name="T80" fmla="*/ 386 w 1287"/>
                <a:gd name="T81" fmla="*/ 281 h 960"/>
                <a:gd name="T82" fmla="*/ 352 w 1287"/>
                <a:gd name="T83" fmla="*/ 273 h 960"/>
                <a:gd name="T84" fmla="*/ 321 w 1287"/>
                <a:gd name="T85" fmla="*/ 266 h 960"/>
                <a:gd name="T86" fmla="*/ 292 w 1287"/>
                <a:gd name="T87" fmla="*/ 257 h 960"/>
                <a:gd name="T88" fmla="*/ 268 w 1287"/>
                <a:gd name="T89" fmla="*/ 249 h 960"/>
                <a:gd name="T90" fmla="*/ 291 w 1287"/>
                <a:gd name="T91" fmla="*/ 0 h 960"/>
                <a:gd name="T92" fmla="*/ 0 w 1287"/>
                <a:gd name="T93" fmla="*/ 489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7" h="960">
                  <a:moveTo>
                    <a:pt x="0" y="489"/>
                  </a:moveTo>
                  <a:lnTo>
                    <a:pt x="108" y="960"/>
                  </a:lnTo>
                  <a:lnTo>
                    <a:pt x="131" y="808"/>
                  </a:lnTo>
                  <a:lnTo>
                    <a:pt x="193" y="828"/>
                  </a:lnTo>
                  <a:lnTo>
                    <a:pt x="273" y="850"/>
                  </a:lnTo>
                  <a:lnTo>
                    <a:pt x="352" y="869"/>
                  </a:lnTo>
                  <a:lnTo>
                    <a:pt x="431" y="884"/>
                  </a:lnTo>
                  <a:lnTo>
                    <a:pt x="511" y="898"/>
                  </a:lnTo>
                  <a:lnTo>
                    <a:pt x="590" y="908"/>
                  </a:lnTo>
                  <a:lnTo>
                    <a:pt x="670" y="913"/>
                  </a:lnTo>
                  <a:lnTo>
                    <a:pt x="747" y="915"/>
                  </a:lnTo>
                  <a:lnTo>
                    <a:pt x="827" y="914"/>
                  </a:lnTo>
                  <a:lnTo>
                    <a:pt x="905" y="911"/>
                  </a:lnTo>
                  <a:lnTo>
                    <a:pt x="982" y="904"/>
                  </a:lnTo>
                  <a:lnTo>
                    <a:pt x="1060" y="892"/>
                  </a:lnTo>
                  <a:lnTo>
                    <a:pt x="1136" y="878"/>
                  </a:lnTo>
                  <a:lnTo>
                    <a:pt x="1211" y="860"/>
                  </a:lnTo>
                  <a:lnTo>
                    <a:pt x="1287" y="839"/>
                  </a:lnTo>
                  <a:lnTo>
                    <a:pt x="1117" y="609"/>
                  </a:lnTo>
                  <a:lnTo>
                    <a:pt x="1204" y="274"/>
                  </a:lnTo>
                  <a:lnTo>
                    <a:pt x="1182" y="281"/>
                  </a:lnTo>
                  <a:lnTo>
                    <a:pt x="1156" y="288"/>
                  </a:lnTo>
                  <a:lnTo>
                    <a:pt x="1129" y="294"/>
                  </a:lnTo>
                  <a:lnTo>
                    <a:pt x="1098" y="300"/>
                  </a:lnTo>
                  <a:lnTo>
                    <a:pt x="1064" y="304"/>
                  </a:lnTo>
                  <a:lnTo>
                    <a:pt x="1027" y="309"/>
                  </a:lnTo>
                  <a:lnTo>
                    <a:pt x="987" y="311"/>
                  </a:lnTo>
                  <a:lnTo>
                    <a:pt x="947" y="314"/>
                  </a:lnTo>
                  <a:lnTo>
                    <a:pt x="905" y="316"/>
                  </a:lnTo>
                  <a:lnTo>
                    <a:pt x="861" y="318"/>
                  </a:lnTo>
                  <a:lnTo>
                    <a:pt x="816" y="318"/>
                  </a:lnTo>
                  <a:lnTo>
                    <a:pt x="772" y="318"/>
                  </a:lnTo>
                  <a:lnTo>
                    <a:pt x="725" y="316"/>
                  </a:lnTo>
                  <a:lnTo>
                    <a:pt x="679" y="314"/>
                  </a:lnTo>
                  <a:lnTo>
                    <a:pt x="634" y="311"/>
                  </a:lnTo>
                  <a:lnTo>
                    <a:pt x="589" y="308"/>
                  </a:lnTo>
                  <a:lnTo>
                    <a:pt x="545" y="304"/>
                  </a:lnTo>
                  <a:lnTo>
                    <a:pt x="504" y="300"/>
                  </a:lnTo>
                  <a:lnTo>
                    <a:pt x="462" y="294"/>
                  </a:lnTo>
                  <a:lnTo>
                    <a:pt x="423" y="287"/>
                  </a:lnTo>
                  <a:lnTo>
                    <a:pt x="386" y="281"/>
                  </a:lnTo>
                  <a:lnTo>
                    <a:pt x="352" y="273"/>
                  </a:lnTo>
                  <a:lnTo>
                    <a:pt x="321" y="266"/>
                  </a:lnTo>
                  <a:lnTo>
                    <a:pt x="292" y="257"/>
                  </a:lnTo>
                  <a:lnTo>
                    <a:pt x="268" y="249"/>
                  </a:lnTo>
                  <a:lnTo>
                    <a:pt x="291" y="0"/>
                  </a:lnTo>
                  <a:lnTo>
                    <a:pt x="0" y="489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90025" name="Freeform 9"/>
            <p:cNvSpPr>
              <a:spLocks/>
            </p:cNvSpPr>
            <p:nvPr/>
          </p:nvSpPr>
          <p:spPr bwMode="gray">
            <a:xfrm>
              <a:off x="2156" y="2116"/>
              <a:ext cx="1188" cy="960"/>
            </a:xfrm>
            <a:custGeom>
              <a:avLst/>
              <a:gdLst>
                <a:gd name="T0" fmla="*/ 0 w 1287"/>
                <a:gd name="T1" fmla="*/ 489 h 960"/>
                <a:gd name="T2" fmla="*/ 108 w 1287"/>
                <a:gd name="T3" fmla="*/ 960 h 960"/>
                <a:gd name="T4" fmla="*/ 131 w 1287"/>
                <a:gd name="T5" fmla="*/ 808 h 960"/>
                <a:gd name="T6" fmla="*/ 193 w 1287"/>
                <a:gd name="T7" fmla="*/ 828 h 960"/>
                <a:gd name="T8" fmla="*/ 273 w 1287"/>
                <a:gd name="T9" fmla="*/ 850 h 960"/>
                <a:gd name="T10" fmla="*/ 352 w 1287"/>
                <a:gd name="T11" fmla="*/ 869 h 960"/>
                <a:gd name="T12" fmla="*/ 431 w 1287"/>
                <a:gd name="T13" fmla="*/ 884 h 960"/>
                <a:gd name="T14" fmla="*/ 511 w 1287"/>
                <a:gd name="T15" fmla="*/ 898 h 960"/>
                <a:gd name="T16" fmla="*/ 590 w 1287"/>
                <a:gd name="T17" fmla="*/ 908 h 960"/>
                <a:gd name="T18" fmla="*/ 670 w 1287"/>
                <a:gd name="T19" fmla="*/ 913 h 960"/>
                <a:gd name="T20" fmla="*/ 747 w 1287"/>
                <a:gd name="T21" fmla="*/ 915 h 960"/>
                <a:gd name="T22" fmla="*/ 827 w 1287"/>
                <a:gd name="T23" fmla="*/ 914 h 960"/>
                <a:gd name="T24" fmla="*/ 905 w 1287"/>
                <a:gd name="T25" fmla="*/ 911 h 960"/>
                <a:gd name="T26" fmla="*/ 982 w 1287"/>
                <a:gd name="T27" fmla="*/ 904 h 960"/>
                <a:gd name="T28" fmla="*/ 1060 w 1287"/>
                <a:gd name="T29" fmla="*/ 892 h 960"/>
                <a:gd name="T30" fmla="*/ 1136 w 1287"/>
                <a:gd name="T31" fmla="*/ 878 h 960"/>
                <a:gd name="T32" fmla="*/ 1211 w 1287"/>
                <a:gd name="T33" fmla="*/ 860 h 960"/>
                <a:gd name="T34" fmla="*/ 1287 w 1287"/>
                <a:gd name="T35" fmla="*/ 839 h 960"/>
                <a:gd name="T36" fmla="*/ 1117 w 1287"/>
                <a:gd name="T37" fmla="*/ 609 h 960"/>
                <a:gd name="T38" fmla="*/ 1204 w 1287"/>
                <a:gd name="T39" fmla="*/ 274 h 960"/>
                <a:gd name="T40" fmla="*/ 1182 w 1287"/>
                <a:gd name="T41" fmla="*/ 281 h 960"/>
                <a:gd name="T42" fmla="*/ 1156 w 1287"/>
                <a:gd name="T43" fmla="*/ 288 h 960"/>
                <a:gd name="T44" fmla="*/ 1129 w 1287"/>
                <a:gd name="T45" fmla="*/ 294 h 960"/>
                <a:gd name="T46" fmla="*/ 1098 w 1287"/>
                <a:gd name="T47" fmla="*/ 300 h 960"/>
                <a:gd name="T48" fmla="*/ 1064 w 1287"/>
                <a:gd name="T49" fmla="*/ 304 h 960"/>
                <a:gd name="T50" fmla="*/ 1027 w 1287"/>
                <a:gd name="T51" fmla="*/ 309 h 960"/>
                <a:gd name="T52" fmla="*/ 987 w 1287"/>
                <a:gd name="T53" fmla="*/ 311 h 960"/>
                <a:gd name="T54" fmla="*/ 947 w 1287"/>
                <a:gd name="T55" fmla="*/ 314 h 960"/>
                <a:gd name="T56" fmla="*/ 905 w 1287"/>
                <a:gd name="T57" fmla="*/ 316 h 960"/>
                <a:gd name="T58" fmla="*/ 861 w 1287"/>
                <a:gd name="T59" fmla="*/ 318 h 960"/>
                <a:gd name="T60" fmla="*/ 816 w 1287"/>
                <a:gd name="T61" fmla="*/ 318 h 960"/>
                <a:gd name="T62" fmla="*/ 772 w 1287"/>
                <a:gd name="T63" fmla="*/ 318 h 960"/>
                <a:gd name="T64" fmla="*/ 725 w 1287"/>
                <a:gd name="T65" fmla="*/ 316 h 960"/>
                <a:gd name="T66" fmla="*/ 679 w 1287"/>
                <a:gd name="T67" fmla="*/ 314 h 960"/>
                <a:gd name="T68" fmla="*/ 634 w 1287"/>
                <a:gd name="T69" fmla="*/ 311 h 960"/>
                <a:gd name="T70" fmla="*/ 589 w 1287"/>
                <a:gd name="T71" fmla="*/ 308 h 960"/>
                <a:gd name="T72" fmla="*/ 545 w 1287"/>
                <a:gd name="T73" fmla="*/ 304 h 960"/>
                <a:gd name="T74" fmla="*/ 504 w 1287"/>
                <a:gd name="T75" fmla="*/ 300 h 960"/>
                <a:gd name="T76" fmla="*/ 462 w 1287"/>
                <a:gd name="T77" fmla="*/ 294 h 960"/>
                <a:gd name="T78" fmla="*/ 423 w 1287"/>
                <a:gd name="T79" fmla="*/ 287 h 960"/>
                <a:gd name="T80" fmla="*/ 386 w 1287"/>
                <a:gd name="T81" fmla="*/ 281 h 960"/>
                <a:gd name="T82" fmla="*/ 352 w 1287"/>
                <a:gd name="T83" fmla="*/ 273 h 960"/>
                <a:gd name="T84" fmla="*/ 321 w 1287"/>
                <a:gd name="T85" fmla="*/ 266 h 960"/>
                <a:gd name="T86" fmla="*/ 292 w 1287"/>
                <a:gd name="T87" fmla="*/ 257 h 960"/>
                <a:gd name="T88" fmla="*/ 268 w 1287"/>
                <a:gd name="T89" fmla="*/ 249 h 960"/>
                <a:gd name="T90" fmla="*/ 291 w 1287"/>
                <a:gd name="T91" fmla="*/ 0 h 960"/>
                <a:gd name="T92" fmla="*/ 0 w 1287"/>
                <a:gd name="T93" fmla="*/ 489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7" h="960">
                  <a:moveTo>
                    <a:pt x="0" y="489"/>
                  </a:moveTo>
                  <a:lnTo>
                    <a:pt x="108" y="960"/>
                  </a:lnTo>
                  <a:lnTo>
                    <a:pt x="131" y="808"/>
                  </a:lnTo>
                  <a:lnTo>
                    <a:pt x="193" y="828"/>
                  </a:lnTo>
                  <a:lnTo>
                    <a:pt x="273" y="850"/>
                  </a:lnTo>
                  <a:lnTo>
                    <a:pt x="352" y="869"/>
                  </a:lnTo>
                  <a:lnTo>
                    <a:pt x="431" y="884"/>
                  </a:lnTo>
                  <a:lnTo>
                    <a:pt x="511" y="898"/>
                  </a:lnTo>
                  <a:lnTo>
                    <a:pt x="590" y="908"/>
                  </a:lnTo>
                  <a:lnTo>
                    <a:pt x="670" y="913"/>
                  </a:lnTo>
                  <a:lnTo>
                    <a:pt x="747" y="915"/>
                  </a:lnTo>
                  <a:lnTo>
                    <a:pt x="827" y="914"/>
                  </a:lnTo>
                  <a:lnTo>
                    <a:pt x="905" y="911"/>
                  </a:lnTo>
                  <a:lnTo>
                    <a:pt x="982" y="904"/>
                  </a:lnTo>
                  <a:lnTo>
                    <a:pt x="1060" y="892"/>
                  </a:lnTo>
                  <a:lnTo>
                    <a:pt x="1136" y="878"/>
                  </a:lnTo>
                  <a:lnTo>
                    <a:pt x="1211" y="860"/>
                  </a:lnTo>
                  <a:lnTo>
                    <a:pt x="1287" y="839"/>
                  </a:lnTo>
                  <a:lnTo>
                    <a:pt x="1117" y="609"/>
                  </a:lnTo>
                  <a:lnTo>
                    <a:pt x="1204" y="274"/>
                  </a:lnTo>
                  <a:lnTo>
                    <a:pt x="1182" y="281"/>
                  </a:lnTo>
                  <a:lnTo>
                    <a:pt x="1156" y="288"/>
                  </a:lnTo>
                  <a:lnTo>
                    <a:pt x="1129" y="294"/>
                  </a:lnTo>
                  <a:lnTo>
                    <a:pt x="1098" y="300"/>
                  </a:lnTo>
                  <a:lnTo>
                    <a:pt x="1064" y="304"/>
                  </a:lnTo>
                  <a:lnTo>
                    <a:pt x="1027" y="309"/>
                  </a:lnTo>
                  <a:lnTo>
                    <a:pt x="987" y="311"/>
                  </a:lnTo>
                  <a:lnTo>
                    <a:pt x="947" y="314"/>
                  </a:lnTo>
                  <a:lnTo>
                    <a:pt x="905" y="316"/>
                  </a:lnTo>
                  <a:lnTo>
                    <a:pt x="861" y="318"/>
                  </a:lnTo>
                  <a:lnTo>
                    <a:pt x="816" y="318"/>
                  </a:lnTo>
                  <a:lnTo>
                    <a:pt x="772" y="318"/>
                  </a:lnTo>
                  <a:lnTo>
                    <a:pt x="725" y="316"/>
                  </a:lnTo>
                  <a:lnTo>
                    <a:pt x="679" y="314"/>
                  </a:lnTo>
                  <a:lnTo>
                    <a:pt x="634" y="311"/>
                  </a:lnTo>
                  <a:lnTo>
                    <a:pt x="589" y="308"/>
                  </a:lnTo>
                  <a:lnTo>
                    <a:pt x="545" y="304"/>
                  </a:lnTo>
                  <a:lnTo>
                    <a:pt x="504" y="300"/>
                  </a:lnTo>
                  <a:lnTo>
                    <a:pt x="462" y="294"/>
                  </a:lnTo>
                  <a:lnTo>
                    <a:pt x="423" y="287"/>
                  </a:lnTo>
                  <a:lnTo>
                    <a:pt x="386" y="281"/>
                  </a:lnTo>
                  <a:lnTo>
                    <a:pt x="352" y="273"/>
                  </a:lnTo>
                  <a:lnTo>
                    <a:pt x="321" y="266"/>
                  </a:lnTo>
                  <a:lnTo>
                    <a:pt x="292" y="257"/>
                  </a:lnTo>
                  <a:lnTo>
                    <a:pt x="268" y="249"/>
                  </a:lnTo>
                  <a:lnTo>
                    <a:pt x="291" y="0"/>
                  </a:lnTo>
                  <a:lnTo>
                    <a:pt x="0" y="489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90027" name="Rectangle 11"/>
            <p:cNvSpPr>
              <a:spLocks noChangeArrowheads="1"/>
            </p:cNvSpPr>
            <p:nvPr/>
          </p:nvSpPr>
          <p:spPr bwMode="gray">
            <a:xfrm>
              <a:off x="2303" y="1500"/>
              <a:ext cx="633" cy="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200"/>
            </a:p>
          </p:txBody>
        </p:sp>
        <p:sp>
          <p:nvSpPr>
            <p:cNvPr id="2390028" name="Rectangle 12"/>
            <p:cNvSpPr>
              <a:spLocks noChangeArrowheads="1"/>
            </p:cNvSpPr>
            <p:nvPr/>
          </p:nvSpPr>
          <p:spPr bwMode="gray">
            <a:xfrm>
              <a:off x="3141" y="1562"/>
              <a:ext cx="632" cy="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200"/>
            </a:p>
          </p:txBody>
        </p:sp>
        <p:sp>
          <p:nvSpPr>
            <p:cNvPr id="2390029" name="Rectangle 13"/>
            <p:cNvSpPr>
              <a:spLocks noChangeArrowheads="1"/>
            </p:cNvSpPr>
            <p:nvPr/>
          </p:nvSpPr>
          <p:spPr bwMode="gray">
            <a:xfrm>
              <a:off x="3408" y="2478"/>
              <a:ext cx="420" cy="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200"/>
            </a:p>
          </p:txBody>
        </p:sp>
        <p:sp>
          <p:nvSpPr>
            <p:cNvPr id="2390030" name="Rectangle 14"/>
            <p:cNvSpPr>
              <a:spLocks noChangeArrowheads="1"/>
            </p:cNvSpPr>
            <p:nvPr/>
          </p:nvSpPr>
          <p:spPr bwMode="gray">
            <a:xfrm>
              <a:off x="2406" y="1490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/>
                <a:t>Text</a:t>
              </a:r>
            </a:p>
          </p:txBody>
        </p:sp>
        <p:sp>
          <p:nvSpPr>
            <p:cNvPr id="2390031" name="Rectangle 15"/>
            <p:cNvSpPr>
              <a:spLocks noChangeArrowheads="1"/>
            </p:cNvSpPr>
            <p:nvPr/>
          </p:nvSpPr>
          <p:spPr bwMode="gray">
            <a:xfrm>
              <a:off x="3234" y="1556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/>
                <a:t>Text</a:t>
              </a:r>
            </a:p>
          </p:txBody>
        </p:sp>
        <p:grpSp>
          <p:nvGrpSpPr>
            <p:cNvPr id="2390032" name="Group 16"/>
            <p:cNvGrpSpPr>
              <a:grpSpLocks/>
            </p:cNvGrpSpPr>
            <p:nvPr/>
          </p:nvGrpSpPr>
          <p:grpSpPr bwMode="auto">
            <a:xfrm>
              <a:off x="3766" y="1551"/>
              <a:ext cx="170" cy="621"/>
              <a:chOff x="4087" y="1641"/>
              <a:chExt cx="184" cy="621"/>
            </a:xfrm>
          </p:grpSpPr>
          <p:sp>
            <p:nvSpPr>
              <p:cNvPr id="2390033" name="Freeform 17"/>
              <p:cNvSpPr>
                <a:spLocks/>
              </p:cNvSpPr>
              <p:nvPr/>
            </p:nvSpPr>
            <p:spPr bwMode="gray">
              <a:xfrm>
                <a:off x="4087" y="1641"/>
                <a:ext cx="184" cy="621"/>
              </a:xfrm>
              <a:custGeom>
                <a:avLst/>
                <a:gdLst>
                  <a:gd name="T0" fmla="*/ 0 w 184"/>
                  <a:gd name="T1" fmla="*/ 620 h 621"/>
                  <a:gd name="T2" fmla="*/ 22 w 184"/>
                  <a:gd name="T3" fmla="*/ 617 h 621"/>
                  <a:gd name="T4" fmla="*/ 43 w 184"/>
                  <a:gd name="T5" fmla="*/ 611 h 621"/>
                  <a:gd name="T6" fmla="*/ 62 w 184"/>
                  <a:gd name="T7" fmla="*/ 601 h 621"/>
                  <a:gd name="T8" fmla="*/ 81 w 184"/>
                  <a:gd name="T9" fmla="*/ 588 h 621"/>
                  <a:gd name="T10" fmla="*/ 98 w 184"/>
                  <a:gd name="T11" fmla="*/ 571 h 621"/>
                  <a:gd name="T12" fmla="*/ 114 w 184"/>
                  <a:gd name="T13" fmla="*/ 552 h 621"/>
                  <a:gd name="T14" fmla="*/ 129 w 184"/>
                  <a:gd name="T15" fmla="*/ 530 h 621"/>
                  <a:gd name="T16" fmla="*/ 142 w 184"/>
                  <a:gd name="T17" fmla="*/ 503 h 621"/>
                  <a:gd name="T18" fmla="*/ 154 w 184"/>
                  <a:gd name="T19" fmla="*/ 476 h 621"/>
                  <a:gd name="T20" fmla="*/ 163 w 184"/>
                  <a:gd name="T21" fmla="*/ 446 h 621"/>
                  <a:gd name="T22" fmla="*/ 171 w 184"/>
                  <a:gd name="T23" fmla="*/ 414 h 621"/>
                  <a:gd name="T24" fmla="*/ 178 w 184"/>
                  <a:gd name="T25" fmla="*/ 380 h 621"/>
                  <a:gd name="T26" fmla="*/ 182 w 184"/>
                  <a:gd name="T27" fmla="*/ 344 h 621"/>
                  <a:gd name="T28" fmla="*/ 184 w 184"/>
                  <a:gd name="T29" fmla="*/ 307 h 621"/>
                  <a:gd name="T30" fmla="*/ 184 w 184"/>
                  <a:gd name="T31" fmla="*/ 269 h 621"/>
                  <a:gd name="T32" fmla="*/ 182 w 184"/>
                  <a:gd name="T33" fmla="*/ 230 h 621"/>
                  <a:gd name="T34" fmla="*/ 178 w 184"/>
                  <a:gd name="T35" fmla="*/ 191 h 621"/>
                  <a:gd name="T36" fmla="*/ 172 w 184"/>
                  <a:gd name="T37" fmla="*/ 152 h 621"/>
                  <a:gd name="T38" fmla="*/ 164 w 184"/>
                  <a:gd name="T39" fmla="*/ 113 h 621"/>
                  <a:gd name="T40" fmla="*/ 155 w 184"/>
                  <a:gd name="T41" fmla="*/ 74 h 621"/>
                  <a:gd name="T42" fmla="*/ 144 w 184"/>
                  <a:gd name="T43" fmla="*/ 37 h 621"/>
                  <a:gd name="T44" fmla="*/ 131 w 184"/>
                  <a:gd name="T45" fmla="*/ 0 h 621"/>
                  <a:gd name="T46" fmla="*/ 136 w 184"/>
                  <a:gd name="T47" fmla="*/ 66 h 621"/>
                  <a:gd name="T48" fmla="*/ 139 w 184"/>
                  <a:gd name="T49" fmla="*/ 131 h 621"/>
                  <a:gd name="T50" fmla="*/ 140 w 184"/>
                  <a:gd name="T51" fmla="*/ 198 h 621"/>
                  <a:gd name="T52" fmla="*/ 139 w 184"/>
                  <a:gd name="T53" fmla="*/ 263 h 621"/>
                  <a:gd name="T54" fmla="*/ 135 w 184"/>
                  <a:gd name="T55" fmla="*/ 328 h 621"/>
                  <a:gd name="T56" fmla="*/ 132 w 184"/>
                  <a:gd name="T57" fmla="*/ 359 h 621"/>
                  <a:gd name="T58" fmla="*/ 128 w 184"/>
                  <a:gd name="T59" fmla="*/ 390 h 621"/>
                  <a:gd name="T60" fmla="*/ 122 w 184"/>
                  <a:gd name="T61" fmla="*/ 421 h 621"/>
                  <a:gd name="T62" fmla="*/ 116 w 184"/>
                  <a:gd name="T63" fmla="*/ 451 h 621"/>
                  <a:gd name="T64" fmla="*/ 107 w 184"/>
                  <a:gd name="T65" fmla="*/ 479 h 621"/>
                  <a:gd name="T66" fmla="*/ 99 w 184"/>
                  <a:gd name="T67" fmla="*/ 506 h 621"/>
                  <a:gd name="T68" fmla="*/ 89 w 184"/>
                  <a:gd name="T69" fmla="*/ 531 h 621"/>
                  <a:gd name="T70" fmla="*/ 79 w 184"/>
                  <a:gd name="T71" fmla="*/ 554 h 621"/>
                  <a:gd name="T72" fmla="*/ 68 w 184"/>
                  <a:gd name="T73" fmla="*/ 572 h 621"/>
                  <a:gd name="T74" fmla="*/ 56 w 184"/>
                  <a:gd name="T75" fmla="*/ 590 h 621"/>
                  <a:gd name="T76" fmla="*/ 46 w 184"/>
                  <a:gd name="T77" fmla="*/ 603 h 621"/>
                  <a:gd name="T78" fmla="*/ 34 w 184"/>
                  <a:gd name="T79" fmla="*/ 612 h 621"/>
                  <a:gd name="T80" fmla="*/ 23 w 184"/>
                  <a:gd name="T81" fmla="*/ 618 h 621"/>
                  <a:gd name="T82" fmla="*/ 12 w 184"/>
                  <a:gd name="T83" fmla="*/ 621 h 621"/>
                  <a:gd name="T84" fmla="*/ 0 w 184"/>
                  <a:gd name="T85" fmla="*/ 62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84" h="621">
                    <a:moveTo>
                      <a:pt x="0" y="620"/>
                    </a:moveTo>
                    <a:lnTo>
                      <a:pt x="22" y="617"/>
                    </a:lnTo>
                    <a:lnTo>
                      <a:pt x="43" y="611"/>
                    </a:lnTo>
                    <a:lnTo>
                      <a:pt x="62" y="601"/>
                    </a:lnTo>
                    <a:lnTo>
                      <a:pt x="81" y="588"/>
                    </a:lnTo>
                    <a:lnTo>
                      <a:pt x="98" y="571"/>
                    </a:lnTo>
                    <a:lnTo>
                      <a:pt x="114" y="552"/>
                    </a:lnTo>
                    <a:lnTo>
                      <a:pt x="129" y="530"/>
                    </a:lnTo>
                    <a:lnTo>
                      <a:pt x="142" y="503"/>
                    </a:lnTo>
                    <a:lnTo>
                      <a:pt x="154" y="476"/>
                    </a:lnTo>
                    <a:lnTo>
                      <a:pt x="163" y="446"/>
                    </a:lnTo>
                    <a:lnTo>
                      <a:pt x="171" y="414"/>
                    </a:lnTo>
                    <a:lnTo>
                      <a:pt x="178" y="380"/>
                    </a:lnTo>
                    <a:lnTo>
                      <a:pt x="182" y="344"/>
                    </a:lnTo>
                    <a:lnTo>
                      <a:pt x="184" y="307"/>
                    </a:lnTo>
                    <a:lnTo>
                      <a:pt x="184" y="269"/>
                    </a:lnTo>
                    <a:lnTo>
                      <a:pt x="182" y="230"/>
                    </a:lnTo>
                    <a:lnTo>
                      <a:pt x="178" y="191"/>
                    </a:lnTo>
                    <a:lnTo>
                      <a:pt x="172" y="152"/>
                    </a:lnTo>
                    <a:lnTo>
                      <a:pt x="164" y="113"/>
                    </a:lnTo>
                    <a:lnTo>
                      <a:pt x="155" y="74"/>
                    </a:lnTo>
                    <a:lnTo>
                      <a:pt x="144" y="37"/>
                    </a:lnTo>
                    <a:lnTo>
                      <a:pt x="131" y="0"/>
                    </a:lnTo>
                    <a:lnTo>
                      <a:pt x="136" y="66"/>
                    </a:lnTo>
                    <a:lnTo>
                      <a:pt x="139" y="131"/>
                    </a:lnTo>
                    <a:lnTo>
                      <a:pt x="140" y="198"/>
                    </a:lnTo>
                    <a:lnTo>
                      <a:pt x="139" y="263"/>
                    </a:lnTo>
                    <a:lnTo>
                      <a:pt x="135" y="328"/>
                    </a:lnTo>
                    <a:lnTo>
                      <a:pt x="132" y="359"/>
                    </a:lnTo>
                    <a:lnTo>
                      <a:pt x="128" y="390"/>
                    </a:lnTo>
                    <a:lnTo>
                      <a:pt x="122" y="421"/>
                    </a:lnTo>
                    <a:lnTo>
                      <a:pt x="116" y="451"/>
                    </a:lnTo>
                    <a:lnTo>
                      <a:pt x="107" y="479"/>
                    </a:lnTo>
                    <a:lnTo>
                      <a:pt x="99" y="506"/>
                    </a:lnTo>
                    <a:lnTo>
                      <a:pt x="89" y="531"/>
                    </a:lnTo>
                    <a:lnTo>
                      <a:pt x="79" y="554"/>
                    </a:lnTo>
                    <a:lnTo>
                      <a:pt x="68" y="572"/>
                    </a:lnTo>
                    <a:lnTo>
                      <a:pt x="56" y="590"/>
                    </a:lnTo>
                    <a:lnTo>
                      <a:pt x="46" y="603"/>
                    </a:lnTo>
                    <a:lnTo>
                      <a:pt x="34" y="612"/>
                    </a:lnTo>
                    <a:lnTo>
                      <a:pt x="23" y="618"/>
                    </a:lnTo>
                    <a:lnTo>
                      <a:pt x="12" y="621"/>
                    </a:lnTo>
                    <a:lnTo>
                      <a:pt x="0" y="62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90034" name="Freeform 18"/>
              <p:cNvSpPr>
                <a:spLocks/>
              </p:cNvSpPr>
              <p:nvPr/>
            </p:nvSpPr>
            <p:spPr bwMode="gray">
              <a:xfrm>
                <a:off x="4087" y="1641"/>
                <a:ext cx="184" cy="621"/>
              </a:xfrm>
              <a:custGeom>
                <a:avLst/>
                <a:gdLst>
                  <a:gd name="T0" fmla="*/ 0 w 184"/>
                  <a:gd name="T1" fmla="*/ 620 h 621"/>
                  <a:gd name="T2" fmla="*/ 22 w 184"/>
                  <a:gd name="T3" fmla="*/ 617 h 621"/>
                  <a:gd name="T4" fmla="*/ 43 w 184"/>
                  <a:gd name="T5" fmla="*/ 611 h 621"/>
                  <a:gd name="T6" fmla="*/ 62 w 184"/>
                  <a:gd name="T7" fmla="*/ 601 h 621"/>
                  <a:gd name="T8" fmla="*/ 81 w 184"/>
                  <a:gd name="T9" fmla="*/ 588 h 621"/>
                  <a:gd name="T10" fmla="*/ 98 w 184"/>
                  <a:gd name="T11" fmla="*/ 571 h 621"/>
                  <a:gd name="T12" fmla="*/ 114 w 184"/>
                  <a:gd name="T13" fmla="*/ 552 h 621"/>
                  <a:gd name="T14" fmla="*/ 129 w 184"/>
                  <a:gd name="T15" fmla="*/ 530 h 621"/>
                  <a:gd name="T16" fmla="*/ 142 w 184"/>
                  <a:gd name="T17" fmla="*/ 503 h 621"/>
                  <a:gd name="T18" fmla="*/ 154 w 184"/>
                  <a:gd name="T19" fmla="*/ 476 h 621"/>
                  <a:gd name="T20" fmla="*/ 163 w 184"/>
                  <a:gd name="T21" fmla="*/ 446 h 621"/>
                  <a:gd name="T22" fmla="*/ 171 w 184"/>
                  <a:gd name="T23" fmla="*/ 414 h 621"/>
                  <a:gd name="T24" fmla="*/ 178 w 184"/>
                  <a:gd name="T25" fmla="*/ 380 h 621"/>
                  <a:gd name="T26" fmla="*/ 182 w 184"/>
                  <a:gd name="T27" fmla="*/ 344 h 621"/>
                  <a:gd name="T28" fmla="*/ 184 w 184"/>
                  <a:gd name="T29" fmla="*/ 307 h 621"/>
                  <a:gd name="T30" fmla="*/ 184 w 184"/>
                  <a:gd name="T31" fmla="*/ 269 h 621"/>
                  <a:gd name="T32" fmla="*/ 182 w 184"/>
                  <a:gd name="T33" fmla="*/ 230 h 621"/>
                  <a:gd name="T34" fmla="*/ 178 w 184"/>
                  <a:gd name="T35" fmla="*/ 191 h 621"/>
                  <a:gd name="T36" fmla="*/ 172 w 184"/>
                  <a:gd name="T37" fmla="*/ 152 h 621"/>
                  <a:gd name="T38" fmla="*/ 164 w 184"/>
                  <a:gd name="T39" fmla="*/ 113 h 621"/>
                  <a:gd name="T40" fmla="*/ 155 w 184"/>
                  <a:gd name="T41" fmla="*/ 74 h 621"/>
                  <a:gd name="T42" fmla="*/ 144 w 184"/>
                  <a:gd name="T43" fmla="*/ 37 h 621"/>
                  <a:gd name="T44" fmla="*/ 131 w 184"/>
                  <a:gd name="T45" fmla="*/ 0 h 621"/>
                  <a:gd name="T46" fmla="*/ 136 w 184"/>
                  <a:gd name="T47" fmla="*/ 66 h 621"/>
                  <a:gd name="T48" fmla="*/ 139 w 184"/>
                  <a:gd name="T49" fmla="*/ 131 h 621"/>
                  <a:gd name="T50" fmla="*/ 140 w 184"/>
                  <a:gd name="T51" fmla="*/ 198 h 621"/>
                  <a:gd name="T52" fmla="*/ 139 w 184"/>
                  <a:gd name="T53" fmla="*/ 263 h 621"/>
                  <a:gd name="T54" fmla="*/ 135 w 184"/>
                  <a:gd name="T55" fmla="*/ 328 h 621"/>
                  <a:gd name="T56" fmla="*/ 132 w 184"/>
                  <a:gd name="T57" fmla="*/ 359 h 621"/>
                  <a:gd name="T58" fmla="*/ 128 w 184"/>
                  <a:gd name="T59" fmla="*/ 390 h 621"/>
                  <a:gd name="T60" fmla="*/ 122 w 184"/>
                  <a:gd name="T61" fmla="*/ 421 h 621"/>
                  <a:gd name="T62" fmla="*/ 116 w 184"/>
                  <a:gd name="T63" fmla="*/ 451 h 621"/>
                  <a:gd name="T64" fmla="*/ 107 w 184"/>
                  <a:gd name="T65" fmla="*/ 479 h 621"/>
                  <a:gd name="T66" fmla="*/ 99 w 184"/>
                  <a:gd name="T67" fmla="*/ 506 h 621"/>
                  <a:gd name="T68" fmla="*/ 89 w 184"/>
                  <a:gd name="T69" fmla="*/ 531 h 621"/>
                  <a:gd name="T70" fmla="*/ 79 w 184"/>
                  <a:gd name="T71" fmla="*/ 554 h 621"/>
                  <a:gd name="T72" fmla="*/ 68 w 184"/>
                  <a:gd name="T73" fmla="*/ 572 h 621"/>
                  <a:gd name="T74" fmla="*/ 56 w 184"/>
                  <a:gd name="T75" fmla="*/ 590 h 621"/>
                  <a:gd name="T76" fmla="*/ 46 w 184"/>
                  <a:gd name="T77" fmla="*/ 603 h 621"/>
                  <a:gd name="T78" fmla="*/ 34 w 184"/>
                  <a:gd name="T79" fmla="*/ 612 h 621"/>
                  <a:gd name="T80" fmla="*/ 23 w 184"/>
                  <a:gd name="T81" fmla="*/ 618 h 621"/>
                  <a:gd name="T82" fmla="*/ 12 w 184"/>
                  <a:gd name="T83" fmla="*/ 621 h 621"/>
                  <a:gd name="T84" fmla="*/ 0 w 184"/>
                  <a:gd name="T85" fmla="*/ 62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84" h="621">
                    <a:moveTo>
                      <a:pt x="0" y="620"/>
                    </a:moveTo>
                    <a:lnTo>
                      <a:pt x="22" y="617"/>
                    </a:lnTo>
                    <a:lnTo>
                      <a:pt x="43" y="611"/>
                    </a:lnTo>
                    <a:lnTo>
                      <a:pt x="62" y="601"/>
                    </a:lnTo>
                    <a:lnTo>
                      <a:pt x="81" y="588"/>
                    </a:lnTo>
                    <a:lnTo>
                      <a:pt x="98" y="571"/>
                    </a:lnTo>
                    <a:lnTo>
                      <a:pt x="114" y="552"/>
                    </a:lnTo>
                    <a:lnTo>
                      <a:pt x="129" y="530"/>
                    </a:lnTo>
                    <a:lnTo>
                      <a:pt x="142" y="503"/>
                    </a:lnTo>
                    <a:lnTo>
                      <a:pt x="154" y="476"/>
                    </a:lnTo>
                    <a:lnTo>
                      <a:pt x="163" y="446"/>
                    </a:lnTo>
                    <a:lnTo>
                      <a:pt x="171" y="414"/>
                    </a:lnTo>
                    <a:lnTo>
                      <a:pt x="178" y="380"/>
                    </a:lnTo>
                    <a:lnTo>
                      <a:pt x="182" y="344"/>
                    </a:lnTo>
                    <a:lnTo>
                      <a:pt x="184" y="307"/>
                    </a:lnTo>
                    <a:lnTo>
                      <a:pt x="184" y="269"/>
                    </a:lnTo>
                    <a:lnTo>
                      <a:pt x="182" y="230"/>
                    </a:lnTo>
                    <a:lnTo>
                      <a:pt x="178" y="191"/>
                    </a:lnTo>
                    <a:lnTo>
                      <a:pt x="172" y="152"/>
                    </a:lnTo>
                    <a:lnTo>
                      <a:pt x="164" y="113"/>
                    </a:lnTo>
                    <a:lnTo>
                      <a:pt x="155" y="74"/>
                    </a:lnTo>
                    <a:lnTo>
                      <a:pt x="144" y="37"/>
                    </a:lnTo>
                    <a:lnTo>
                      <a:pt x="131" y="0"/>
                    </a:lnTo>
                    <a:lnTo>
                      <a:pt x="136" y="66"/>
                    </a:lnTo>
                    <a:lnTo>
                      <a:pt x="139" y="131"/>
                    </a:lnTo>
                    <a:lnTo>
                      <a:pt x="140" y="198"/>
                    </a:lnTo>
                    <a:lnTo>
                      <a:pt x="139" y="263"/>
                    </a:lnTo>
                    <a:lnTo>
                      <a:pt x="135" y="328"/>
                    </a:lnTo>
                    <a:lnTo>
                      <a:pt x="132" y="359"/>
                    </a:lnTo>
                    <a:lnTo>
                      <a:pt x="128" y="390"/>
                    </a:lnTo>
                    <a:lnTo>
                      <a:pt x="122" y="421"/>
                    </a:lnTo>
                    <a:lnTo>
                      <a:pt x="116" y="451"/>
                    </a:lnTo>
                    <a:lnTo>
                      <a:pt x="107" y="479"/>
                    </a:lnTo>
                    <a:lnTo>
                      <a:pt x="99" y="506"/>
                    </a:lnTo>
                    <a:lnTo>
                      <a:pt x="89" y="531"/>
                    </a:lnTo>
                    <a:lnTo>
                      <a:pt x="79" y="554"/>
                    </a:lnTo>
                    <a:lnTo>
                      <a:pt x="68" y="572"/>
                    </a:lnTo>
                    <a:lnTo>
                      <a:pt x="56" y="590"/>
                    </a:lnTo>
                    <a:lnTo>
                      <a:pt x="46" y="603"/>
                    </a:lnTo>
                    <a:lnTo>
                      <a:pt x="34" y="612"/>
                    </a:lnTo>
                    <a:lnTo>
                      <a:pt x="23" y="618"/>
                    </a:lnTo>
                    <a:lnTo>
                      <a:pt x="12" y="621"/>
                    </a:lnTo>
                    <a:lnTo>
                      <a:pt x="0" y="620"/>
                    </a:lnTo>
                  </a:path>
                </a:pathLst>
              </a:custGeom>
              <a:solidFill>
                <a:schemeClr val="accent2"/>
              </a:solidFill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90035" name="Group 19"/>
            <p:cNvGrpSpPr>
              <a:grpSpLocks/>
            </p:cNvGrpSpPr>
            <p:nvPr/>
          </p:nvGrpSpPr>
          <p:grpSpPr bwMode="auto">
            <a:xfrm>
              <a:off x="3235" y="1869"/>
              <a:ext cx="700" cy="1260"/>
              <a:chOff x="3511" y="1959"/>
              <a:chExt cx="759" cy="1260"/>
            </a:xfrm>
          </p:grpSpPr>
          <p:sp>
            <p:nvSpPr>
              <p:cNvPr id="2390036" name="Freeform 20"/>
              <p:cNvSpPr>
                <a:spLocks/>
              </p:cNvSpPr>
              <p:nvPr/>
            </p:nvSpPr>
            <p:spPr bwMode="gray">
              <a:xfrm>
                <a:off x="3511" y="1959"/>
                <a:ext cx="759" cy="1260"/>
              </a:xfrm>
              <a:custGeom>
                <a:avLst/>
                <a:gdLst>
                  <a:gd name="T0" fmla="*/ 0 w 759"/>
                  <a:gd name="T1" fmla="*/ 850 h 1260"/>
                  <a:gd name="T2" fmla="*/ 294 w 759"/>
                  <a:gd name="T3" fmla="*/ 1260 h 1260"/>
                  <a:gd name="T4" fmla="*/ 240 w 759"/>
                  <a:gd name="T5" fmla="*/ 1052 h 1260"/>
                  <a:gd name="T6" fmla="*/ 286 w 759"/>
                  <a:gd name="T7" fmla="*/ 1032 h 1260"/>
                  <a:gd name="T8" fmla="*/ 337 w 759"/>
                  <a:gd name="T9" fmla="*/ 1011 h 1260"/>
                  <a:gd name="T10" fmla="*/ 386 w 759"/>
                  <a:gd name="T11" fmla="*/ 987 h 1260"/>
                  <a:gd name="T12" fmla="*/ 434 w 759"/>
                  <a:gd name="T13" fmla="*/ 962 h 1260"/>
                  <a:gd name="T14" fmla="*/ 477 w 759"/>
                  <a:gd name="T15" fmla="*/ 937 h 1260"/>
                  <a:gd name="T16" fmla="*/ 520 w 759"/>
                  <a:gd name="T17" fmla="*/ 909 h 1260"/>
                  <a:gd name="T18" fmla="*/ 559 w 759"/>
                  <a:gd name="T19" fmla="*/ 881 h 1260"/>
                  <a:gd name="T20" fmla="*/ 596 w 759"/>
                  <a:gd name="T21" fmla="*/ 851 h 1260"/>
                  <a:gd name="T22" fmla="*/ 629 w 759"/>
                  <a:gd name="T23" fmla="*/ 821 h 1260"/>
                  <a:gd name="T24" fmla="*/ 659 w 759"/>
                  <a:gd name="T25" fmla="*/ 791 h 1260"/>
                  <a:gd name="T26" fmla="*/ 686 w 759"/>
                  <a:gd name="T27" fmla="*/ 760 h 1260"/>
                  <a:gd name="T28" fmla="*/ 709 w 759"/>
                  <a:gd name="T29" fmla="*/ 727 h 1260"/>
                  <a:gd name="T30" fmla="*/ 730 w 759"/>
                  <a:gd name="T31" fmla="*/ 694 h 1260"/>
                  <a:gd name="T32" fmla="*/ 746 w 759"/>
                  <a:gd name="T33" fmla="*/ 662 h 1260"/>
                  <a:gd name="T34" fmla="*/ 759 w 759"/>
                  <a:gd name="T35" fmla="*/ 629 h 1260"/>
                  <a:gd name="T36" fmla="*/ 759 w 759"/>
                  <a:gd name="T37" fmla="*/ 0 h 1260"/>
                  <a:gd name="T38" fmla="*/ 756 w 759"/>
                  <a:gd name="T39" fmla="*/ 24 h 1260"/>
                  <a:gd name="T40" fmla="*/ 748 w 759"/>
                  <a:gd name="T41" fmla="*/ 51 h 1260"/>
                  <a:gd name="T42" fmla="*/ 738 w 759"/>
                  <a:gd name="T43" fmla="*/ 78 h 1260"/>
                  <a:gd name="T44" fmla="*/ 726 w 759"/>
                  <a:gd name="T45" fmla="*/ 106 h 1260"/>
                  <a:gd name="T46" fmla="*/ 709 w 759"/>
                  <a:gd name="T47" fmla="*/ 134 h 1260"/>
                  <a:gd name="T48" fmla="*/ 690 w 759"/>
                  <a:gd name="T49" fmla="*/ 164 h 1260"/>
                  <a:gd name="T50" fmla="*/ 668 w 759"/>
                  <a:gd name="T51" fmla="*/ 194 h 1260"/>
                  <a:gd name="T52" fmla="*/ 643 w 759"/>
                  <a:gd name="T53" fmla="*/ 222 h 1260"/>
                  <a:gd name="T54" fmla="*/ 617 w 759"/>
                  <a:gd name="T55" fmla="*/ 251 h 1260"/>
                  <a:gd name="T56" fmla="*/ 588 w 759"/>
                  <a:gd name="T57" fmla="*/ 279 h 1260"/>
                  <a:gd name="T58" fmla="*/ 557 w 759"/>
                  <a:gd name="T59" fmla="*/ 307 h 1260"/>
                  <a:gd name="T60" fmla="*/ 525 w 759"/>
                  <a:gd name="T61" fmla="*/ 333 h 1260"/>
                  <a:gd name="T62" fmla="*/ 491 w 759"/>
                  <a:gd name="T63" fmla="*/ 357 h 1260"/>
                  <a:gd name="T64" fmla="*/ 457 w 759"/>
                  <a:gd name="T65" fmla="*/ 382 h 1260"/>
                  <a:gd name="T66" fmla="*/ 421 w 759"/>
                  <a:gd name="T67" fmla="*/ 402 h 1260"/>
                  <a:gd name="T68" fmla="*/ 385 w 759"/>
                  <a:gd name="T69" fmla="*/ 422 h 1260"/>
                  <a:gd name="T70" fmla="*/ 350 w 759"/>
                  <a:gd name="T71" fmla="*/ 439 h 1260"/>
                  <a:gd name="T72" fmla="*/ 314 w 759"/>
                  <a:gd name="T73" fmla="*/ 455 h 1260"/>
                  <a:gd name="T74" fmla="*/ 278 w 759"/>
                  <a:gd name="T75" fmla="*/ 467 h 1260"/>
                  <a:gd name="T76" fmla="*/ 244 w 759"/>
                  <a:gd name="T77" fmla="*/ 477 h 1260"/>
                  <a:gd name="T78" fmla="*/ 210 w 759"/>
                  <a:gd name="T79" fmla="*/ 485 h 1260"/>
                  <a:gd name="T80" fmla="*/ 180 w 759"/>
                  <a:gd name="T81" fmla="*/ 490 h 1260"/>
                  <a:gd name="T82" fmla="*/ 137 w 759"/>
                  <a:gd name="T83" fmla="*/ 246 h 1260"/>
                  <a:gd name="T84" fmla="*/ 0 w 759"/>
                  <a:gd name="T85" fmla="*/ 850 h 1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59" h="1260">
                    <a:moveTo>
                      <a:pt x="0" y="850"/>
                    </a:moveTo>
                    <a:lnTo>
                      <a:pt x="294" y="1260"/>
                    </a:lnTo>
                    <a:lnTo>
                      <a:pt x="240" y="1052"/>
                    </a:lnTo>
                    <a:lnTo>
                      <a:pt x="286" y="1032"/>
                    </a:lnTo>
                    <a:lnTo>
                      <a:pt x="337" y="1011"/>
                    </a:lnTo>
                    <a:lnTo>
                      <a:pt x="386" y="987"/>
                    </a:lnTo>
                    <a:lnTo>
                      <a:pt x="434" y="962"/>
                    </a:lnTo>
                    <a:lnTo>
                      <a:pt x="477" y="937"/>
                    </a:lnTo>
                    <a:lnTo>
                      <a:pt x="520" y="909"/>
                    </a:lnTo>
                    <a:lnTo>
                      <a:pt x="559" y="881"/>
                    </a:lnTo>
                    <a:lnTo>
                      <a:pt x="596" y="851"/>
                    </a:lnTo>
                    <a:lnTo>
                      <a:pt x="629" y="821"/>
                    </a:lnTo>
                    <a:lnTo>
                      <a:pt x="659" y="791"/>
                    </a:lnTo>
                    <a:lnTo>
                      <a:pt x="686" y="760"/>
                    </a:lnTo>
                    <a:lnTo>
                      <a:pt x="709" y="727"/>
                    </a:lnTo>
                    <a:lnTo>
                      <a:pt x="730" y="694"/>
                    </a:lnTo>
                    <a:lnTo>
                      <a:pt x="746" y="662"/>
                    </a:lnTo>
                    <a:lnTo>
                      <a:pt x="759" y="629"/>
                    </a:lnTo>
                    <a:lnTo>
                      <a:pt x="759" y="0"/>
                    </a:lnTo>
                    <a:lnTo>
                      <a:pt x="756" y="24"/>
                    </a:lnTo>
                    <a:lnTo>
                      <a:pt x="748" y="51"/>
                    </a:lnTo>
                    <a:lnTo>
                      <a:pt x="738" y="78"/>
                    </a:lnTo>
                    <a:lnTo>
                      <a:pt x="726" y="106"/>
                    </a:lnTo>
                    <a:lnTo>
                      <a:pt x="709" y="134"/>
                    </a:lnTo>
                    <a:lnTo>
                      <a:pt x="690" y="164"/>
                    </a:lnTo>
                    <a:lnTo>
                      <a:pt x="668" y="194"/>
                    </a:lnTo>
                    <a:lnTo>
                      <a:pt x="643" y="222"/>
                    </a:lnTo>
                    <a:lnTo>
                      <a:pt x="617" y="251"/>
                    </a:lnTo>
                    <a:lnTo>
                      <a:pt x="588" y="279"/>
                    </a:lnTo>
                    <a:lnTo>
                      <a:pt x="557" y="307"/>
                    </a:lnTo>
                    <a:lnTo>
                      <a:pt x="525" y="333"/>
                    </a:lnTo>
                    <a:lnTo>
                      <a:pt x="491" y="357"/>
                    </a:lnTo>
                    <a:lnTo>
                      <a:pt x="457" y="382"/>
                    </a:lnTo>
                    <a:lnTo>
                      <a:pt x="421" y="402"/>
                    </a:lnTo>
                    <a:lnTo>
                      <a:pt x="385" y="422"/>
                    </a:lnTo>
                    <a:lnTo>
                      <a:pt x="350" y="439"/>
                    </a:lnTo>
                    <a:lnTo>
                      <a:pt x="314" y="455"/>
                    </a:lnTo>
                    <a:lnTo>
                      <a:pt x="278" y="467"/>
                    </a:lnTo>
                    <a:lnTo>
                      <a:pt x="244" y="477"/>
                    </a:lnTo>
                    <a:lnTo>
                      <a:pt x="210" y="485"/>
                    </a:lnTo>
                    <a:lnTo>
                      <a:pt x="180" y="490"/>
                    </a:lnTo>
                    <a:lnTo>
                      <a:pt x="137" y="246"/>
                    </a:lnTo>
                    <a:lnTo>
                      <a:pt x="0" y="850"/>
                    </a:lnTo>
                    <a:close/>
                  </a:path>
                </a:pathLst>
              </a:cu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90037" name="Freeform 21"/>
              <p:cNvSpPr>
                <a:spLocks/>
              </p:cNvSpPr>
              <p:nvPr/>
            </p:nvSpPr>
            <p:spPr bwMode="gray">
              <a:xfrm>
                <a:off x="3511" y="1959"/>
                <a:ext cx="759" cy="1260"/>
              </a:xfrm>
              <a:custGeom>
                <a:avLst/>
                <a:gdLst>
                  <a:gd name="T0" fmla="*/ 0 w 759"/>
                  <a:gd name="T1" fmla="*/ 850 h 1260"/>
                  <a:gd name="T2" fmla="*/ 294 w 759"/>
                  <a:gd name="T3" fmla="*/ 1260 h 1260"/>
                  <a:gd name="T4" fmla="*/ 240 w 759"/>
                  <a:gd name="T5" fmla="*/ 1052 h 1260"/>
                  <a:gd name="T6" fmla="*/ 286 w 759"/>
                  <a:gd name="T7" fmla="*/ 1032 h 1260"/>
                  <a:gd name="T8" fmla="*/ 337 w 759"/>
                  <a:gd name="T9" fmla="*/ 1011 h 1260"/>
                  <a:gd name="T10" fmla="*/ 386 w 759"/>
                  <a:gd name="T11" fmla="*/ 987 h 1260"/>
                  <a:gd name="T12" fmla="*/ 434 w 759"/>
                  <a:gd name="T13" fmla="*/ 962 h 1260"/>
                  <a:gd name="T14" fmla="*/ 477 w 759"/>
                  <a:gd name="T15" fmla="*/ 937 h 1260"/>
                  <a:gd name="T16" fmla="*/ 520 w 759"/>
                  <a:gd name="T17" fmla="*/ 909 h 1260"/>
                  <a:gd name="T18" fmla="*/ 559 w 759"/>
                  <a:gd name="T19" fmla="*/ 881 h 1260"/>
                  <a:gd name="T20" fmla="*/ 596 w 759"/>
                  <a:gd name="T21" fmla="*/ 851 h 1260"/>
                  <a:gd name="T22" fmla="*/ 629 w 759"/>
                  <a:gd name="T23" fmla="*/ 821 h 1260"/>
                  <a:gd name="T24" fmla="*/ 659 w 759"/>
                  <a:gd name="T25" fmla="*/ 791 h 1260"/>
                  <a:gd name="T26" fmla="*/ 686 w 759"/>
                  <a:gd name="T27" fmla="*/ 760 h 1260"/>
                  <a:gd name="T28" fmla="*/ 709 w 759"/>
                  <a:gd name="T29" fmla="*/ 727 h 1260"/>
                  <a:gd name="T30" fmla="*/ 730 w 759"/>
                  <a:gd name="T31" fmla="*/ 694 h 1260"/>
                  <a:gd name="T32" fmla="*/ 746 w 759"/>
                  <a:gd name="T33" fmla="*/ 662 h 1260"/>
                  <a:gd name="T34" fmla="*/ 759 w 759"/>
                  <a:gd name="T35" fmla="*/ 629 h 1260"/>
                  <a:gd name="T36" fmla="*/ 759 w 759"/>
                  <a:gd name="T37" fmla="*/ 0 h 1260"/>
                  <a:gd name="T38" fmla="*/ 756 w 759"/>
                  <a:gd name="T39" fmla="*/ 24 h 1260"/>
                  <a:gd name="T40" fmla="*/ 748 w 759"/>
                  <a:gd name="T41" fmla="*/ 51 h 1260"/>
                  <a:gd name="T42" fmla="*/ 738 w 759"/>
                  <a:gd name="T43" fmla="*/ 78 h 1260"/>
                  <a:gd name="T44" fmla="*/ 726 w 759"/>
                  <a:gd name="T45" fmla="*/ 106 h 1260"/>
                  <a:gd name="T46" fmla="*/ 709 w 759"/>
                  <a:gd name="T47" fmla="*/ 134 h 1260"/>
                  <a:gd name="T48" fmla="*/ 690 w 759"/>
                  <a:gd name="T49" fmla="*/ 164 h 1260"/>
                  <a:gd name="T50" fmla="*/ 668 w 759"/>
                  <a:gd name="T51" fmla="*/ 194 h 1260"/>
                  <a:gd name="T52" fmla="*/ 643 w 759"/>
                  <a:gd name="T53" fmla="*/ 222 h 1260"/>
                  <a:gd name="T54" fmla="*/ 617 w 759"/>
                  <a:gd name="T55" fmla="*/ 251 h 1260"/>
                  <a:gd name="T56" fmla="*/ 588 w 759"/>
                  <a:gd name="T57" fmla="*/ 279 h 1260"/>
                  <a:gd name="T58" fmla="*/ 557 w 759"/>
                  <a:gd name="T59" fmla="*/ 307 h 1260"/>
                  <a:gd name="T60" fmla="*/ 525 w 759"/>
                  <a:gd name="T61" fmla="*/ 333 h 1260"/>
                  <a:gd name="T62" fmla="*/ 491 w 759"/>
                  <a:gd name="T63" fmla="*/ 357 h 1260"/>
                  <a:gd name="T64" fmla="*/ 457 w 759"/>
                  <a:gd name="T65" fmla="*/ 382 h 1260"/>
                  <a:gd name="T66" fmla="*/ 421 w 759"/>
                  <a:gd name="T67" fmla="*/ 402 h 1260"/>
                  <a:gd name="T68" fmla="*/ 385 w 759"/>
                  <a:gd name="T69" fmla="*/ 422 h 1260"/>
                  <a:gd name="T70" fmla="*/ 350 w 759"/>
                  <a:gd name="T71" fmla="*/ 439 h 1260"/>
                  <a:gd name="T72" fmla="*/ 314 w 759"/>
                  <a:gd name="T73" fmla="*/ 455 h 1260"/>
                  <a:gd name="T74" fmla="*/ 278 w 759"/>
                  <a:gd name="T75" fmla="*/ 467 h 1260"/>
                  <a:gd name="T76" fmla="*/ 244 w 759"/>
                  <a:gd name="T77" fmla="*/ 477 h 1260"/>
                  <a:gd name="T78" fmla="*/ 210 w 759"/>
                  <a:gd name="T79" fmla="*/ 485 h 1260"/>
                  <a:gd name="T80" fmla="*/ 180 w 759"/>
                  <a:gd name="T81" fmla="*/ 490 h 1260"/>
                  <a:gd name="T82" fmla="*/ 137 w 759"/>
                  <a:gd name="T83" fmla="*/ 246 h 1260"/>
                  <a:gd name="T84" fmla="*/ 0 w 759"/>
                  <a:gd name="T85" fmla="*/ 850 h 1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59" h="1260">
                    <a:moveTo>
                      <a:pt x="0" y="850"/>
                    </a:moveTo>
                    <a:lnTo>
                      <a:pt x="294" y="1260"/>
                    </a:lnTo>
                    <a:lnTo>
                      <a:pt x="240" y="1052"/>
                    </a:lnTo>
                    <a:lnTo>
                      <a:pt x="286" y="1032"/>
                    </a:lnTo>
                    <a:lnTo>
                      <a:pt x="337" y="1011"/>
                    </a:lnTo>
                    <a:lnTo>
                      <a:pt x="386" y="987"/>
                    </a:lnTo>
                    <a:lnTo>
                      <a:pt x="434" y="962"/>
                    </a:lnTo>
                    <a:lnTo>
                      <a:pt x="477" y="937"/>
                    </a:lnTo>
                    <a:lnTo>
                      <a:pt x="520" y="909"/>
                    </a:lnTo>
                    <a:lnTo>
                      <a:pt x="559" y="881"/>
                    </a:lnTo>
                    <a:lnTo>
                      <a:pt x="596" y="851"/>
                    </a:lnTo>
                    <a:lnTo>
                      <a:pt x="629" y="821"/>
                    </a:lnTo>
                    <a:lnTo>
                      <a:pt x="659" y="791"/>
                    </a:lnTo>
                    <a:lnTo>
                      <a:pt x="686" y="760"/>
                    </a:lnTo>
                    <a:lnTo>
                      <a:pt x="709" y="727"/>
                    </a:lnTo>
                    <a:lnTo>
                      <a:pt x="730" y="694"/>
                    </a:lnTo>
                    <a:lnTo>
                      <a:pt x="746" y="662"/>
                    </a:lnTo>
                    <a:lnTo>
                      <a:pt x="759" y="629"/>
                    </a:lnTo>
                    <a:lnTo>
                      <a:pt x="759" y="0"/>
                    </a:lnTo>
                    <a:lnTo>
                      <a:pt x="756" y="24"/>
                    </a:lnTo>
                    <a:lnTo>
                      <a:pt x="748" y="51"/>
                    </a:lnTo>
                    <a:lnTo>
                      <a:pt x="738" y="78"/>
                    </a:lnTo>
                    <a:lnTo>
                      <a:pt x="726" y="106"/>
                    </a:lnTo>
                    <a:lnTo>
                      <a:pt x="709" y="134"/>
                    </a:lnTo>
                    <a:lnTo>
                      <a:pt x="690" y="164"/>
                    </a:lnTo>
                    <a:lnTo>
                      <a:pt x="668" y="194"/>
                    </a:lnTo>
                    <a:lnTo>
                      <a:pt x="643" y="222"/>
                    </a:lnTo>
                    <a:lnTo>
                      <a:pt x="617" y="251"/>
                    </a:lnTo>
                    <a:lnTo>
                      <a:pt x="588" y="279"/>
                    </a:lnTo>
                    <a:lnTo>
                      <a:pt x="557" y="307"/>
                    </a:lnTo>
                    <a:lnTo>
                      <a:pt x="525" y="333"/>
                    </a:lnTo>
                    <a:lnTo>
                      <a:pt x="491" y="357"/>
                    </a:lnTo>
                    <a:lnTo>
                      <a:pt x="457" y="382"/>
                    </a:lnTo>
                    <a:lnTo>
                      <a:pt x="421" y="402"/>
                    </a:lnTo>
                    <a:lnTo>
                      <a:pt x="385" y="422"/>
                    </a:lnTo>
                    <a:lnTo>
                      <a:pt x="350" y="439"/>
                    </a:lnTo>
                    <a:lnTo>
                      <a:pt x="314" y="455"/>
                    </a:lnTo>
                    <a:lnTo>
                      <a:pt x="278" y="467"/>
                    </a:lnTo>
                    <a:lnTo>
                      <a:pt x="244" y="477"/>
                    </a:lnTo>
                    <a:lnTo>
                      <a:pt x="210" y="485"/>
                    </a:lnTo>
                    <a:lnTo>
                      <a:pt x="180" y="490"/>
                    </a:lnTo>
                    <a:lnTo>
                      <a:pt x="137" y="246"/>
                    </a:lnTo>
                    <a:lnTo>
                      <a:pt x="0" y="850"/>
                    </a:lnTo>
                  </a:path>
                </a:pathLst>
              </a:custGeom>
              <a:solidFill>
                <a:srgbClr val="EAEAEA"/>
              </a:solidFill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390038" name="Rectangle 22"/>
            <p:cNvSpPr>
              <a:spLocks noChangeArrowheads="1"/>
            </p:cNvSpPr>
            <p:nvPr/>
          </p:nvSpPr>
          <p:spPr bwMode="gray">
            <a:xfrm>
              <a:off x="3420" y="2456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/>
                <a:t>Text</a:t>
              </a:r>
            </a:p>
          </p:txBody>
        </p:sp>
        <p:grpSp>
          <p:nvGrpSpPr>
            <p:cNvPr id="2390039" name="Group 23"/>
            <p:cNvGrpSpPr>
              <a:grpSpLocks/>
            </p:cNvGrpSpPr>
            <p:nvPr/>
          </p:nvGrpSpPr>
          <p:grpSpPr bwMode="auto">
            <a:xfrm>
              <a:off x="1809" y="1269"/>
              <a:ext cx="385" cy="863"/>
              <a:chOff x="1966" y="1359"/>
              <a:chExt cx="417" cy="863"/>
            </a:xfrm>
          </p:grpSpPr>
          <p:sp>
            <p:nvSpPr>
              <p:cNvPr id="2390040" name="Freeform 24"/>
              <p:cNvSpPr>
                <a:spLocks/>
              </p:cNvSpPr>
              <p:nvPr/>
            </p:nvSpPr>
            <p:spPr bwMode="gray">
              <a:xfrm>
                <a:off x="1966" y="1359"/>
                <a:ext cx="417" cy="863"/>
              </a:xfrm>
              <a:custGeom>
                <a:avLst/>
                <a:gdLst>
                  <a:gd name="T0" fmla="*/ 417 w 417"/>
                  <a:gd name="T1" fmla="*/ 441 h 863"/>
                  <a:gd name="T2" fmla="*/ 219 w 417"/>
                  <a:gd name="T3" fmla="*/ 0 h 863"/>
                  <a:gd name="T4" fmla="*/ 219 w 417"/>
                  <a:gd name="T5" fmla="*/ 203 h 863"/>
                  <a:gd name="T6" fmla="*/ 182 w 417"/>
                  <a:gd name="T7" fmla="*/ 230 h 863"/>
                  <a:gd name="T8" fmla="*/ 148 w 417"/>
                  <a:gd name="T9" fmla="*/ 259 h 863"/>
                  <a:gd name="T10" fmla="*/ 118 w 417"/>
                  <a:gd name="T11" fmla="*/ 289 h 863"/>
                  <a:gd name="T12" fmla="*/ 90 w 417"/>
                  <a:gd name="T13" fmla="*/ 321 h 863"/>
                  <a:gd name="T14" fmla="*/ 67 w 417"/>
                  <a:gd name="T15" fmla="*/ 353 h 863"/>
                  <a:gd name="T16" fmla="*/ 46 w 417"/>
                  <a:gd name="T17" fmla="*/ 387 h 863"/>
                  <a:gd name="T18" fmla="*/ 30 w 417"/>
                  <a:gd name="T19" fmla="*/ 423 h 863"/>
                  <a:gd name="T20" fmla="*/ 16 w 417"/>
                  <a:gd name="T21" fmla="*/ 459 h 863"/>
                  <a:gd name="T22" fmla="*/ 7 w 417"/>
                  <a:gd name="T23" fmla="*/ 496 h 863"/>
                  <a:gd name="T24" fmla="*/ 2 w 417"/>
                  <a:gd name="T25" fmla="*/ 532 h 863"/>
                  <a:gd name="T26" fmla="*/ 0 w 417"/>
                  <a:gd name="T27" fmla="*/ 566 h 863"/>
                  <a:gd name="T28" fmla="*/ 3 w 417"/>
                  <a:gd name="T29" fmla="*/ 608 h 863"/>
                  <a:gd name="T30" fmla="*/ 10 w 417"/>
                  <a:gd name="T31" fmla="*/ 645 h 863"/>
                  <a:gd name="T32" fmla="*/ 20 w 417"/>
                  <a:gd name="T33" fmla="*/ 682 h 863"/>
                  <a:gd name="T34" fmla="*/ 35 w 417"/>
                  <a:gd name="T35" fmla="*/ 720 h 863"/>
                  <a:gd name="T36" fmla="*/ 52 w 417"/>
                  <a:gd name="T37" fmla="*/ 756 h 863"/>
                  <a:gd name="T38" fmla="*/ 71 w 417"/>
                  <a:gd name="T39" fmla="*/ 784 h 863"/>
                  <a:gd name="T40" fmla="*/ 93 w 417"/>
                  <a:gd name="T41" fmla="*/ 811 h 863"/>
                  <a:gd name="T42" fmla="*/ 116 w 417"/>
                  <a:gd name="T43" fmla="*/ 838 h 863"/>
                  <a:gd name="T44" fmla="*/ 141 w 417"/>
                  <a:gd name="T45" fmla="*/ 863 h 863"/>
                  <a:gd name="T46" fmla="*/ 171 w 417"/>
                  <a:gd name="T47" fmla="*/ 837 h 863"/>
                  <a:gd name="T48" fmla="*/ 203 w 417"/>
                  <a:gd name="T49" fmla="*/ 811 h 863"/>
                  <a:gd name="T50" fmla="*/ 236 w 417"/>
                  <a:gd name="T51" fmla="*/ 787 h 863"/>
                  <a:gd name="T52" fmla="*/ 270 w 417"/>
                  <a:gd name="T53" fmla="*/ 765 h 863"/>
                  <a:gd name="T54" fmla="*/ 304 w 417"/>
                  <a:gd name="T55" fmla="*/ 744 h 863"/>
                  <a:gd name="T56" fmla="*/ 339 w 417"/>
                  <a:gd name="T57" fmla="*/ 726 h 863"/>
                  <a:gd name="T58" fmla="*/ 374 w 417"/>
                  <a:gd name="T59" fmla="*/ 708 h 863"/>
                  <a:gd name="T60" fmla="*/ 394 w 417"/>
                  <a:gd name="T61" fmla="*/ 838 h 863"/>
                  <a:gd name="T62" fmla="*/ 417 w 417"/>
                  <a:gd name="T63" fmla="*/ 441 h 8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17" h="863">
                    <a:moveTo>
                      <a:pt x="417" y="441"/>
                    </a:moveTo>
                    <a:lnTo>
                      <a:pt x="219" y="0"/>
                    </a:lnTo>
                    <a:lnTo>
                      <a:pt x="219" y="203"/>
                    </a:lnTo>
                    <a:lnTo>
                      <a:pt x="182" y="230"/>
                    </a:lnTo>
                    <a:lnTo>
                      <a:pt x="148" y="259"/>
                    </a:lnTo>
                    <a:lnTo>
                      <a:pt x="118" y="289"/>
                    </a:lnTo>
                    <a:lnTo>
                      <a:pt x="90" y="321"/>
                    </a:lnTo>
                    <a:lnTo>
                      <a:pt x="67" y="353"/>
                    </a:lnTo>
                    <a:lnTo>
                      <a:pt x="46" y="387"/>
                    </a:lnTo>
                    <a:lnTo>
                      <a:pt x="30" y="423"/>
                    </a:lnTo>
                    <a:lnTo>
                      <a:pt x="16" y="459"/>
                    </a:lnTo>
                    <a:lnTo>
                      <a:pt x="7" y="496"/>
                    </a:lnTo>
                    <a:lnTo>
                      <a:pt x="2" y="532"/>
                    </a:lnTo>
                    <a:lnTo>
                      <a:pt x="0" y="566"/>
                    </a:lnTo>
                    <a:lnTo>
                      <a:pt x="3" y="608"/>
                    </a:lnTo>
                    <a:lnTo>
                      <a:pt x="10" y="645"/>
                    </a:lnTo>
                    <a:lnTo>
                      <a:pt x="20" y="682"/>
                    </a:lnTo>
                    <a:lnTo>
                      <a:pt x="35" y="720"/>
                    </a:lnTo>
                    <a:lnTo>
                      <a:pt x="52" y="756"/>
                    </a:lnTo>
                    <a:lnTo>
                      <a:pt x="71" y="784"/>
                    </a:lnTo>
                    <a:lnTo>
                      <a:pt x="93" y="811"/>
                    </a:lnTo>
                    <a:lnTo>
                      <a:pt x="116" y="838"/>
                    </a:lnTo>
                    <a:lnTo>
                      <a:pt x="141" y="863"/>
                    </a:lnTo>
                    <a:lnTo>
                      <a:pt x="171" y="837"/>
                    </a:lnTo>
                    <a:lnTo>
                      <a:pt x="203" y="811"/>
                    </a:lnTo>
                    <a:lnTo>
                      <a:pt x="236" y="787"/>
                    </a:lnTo>
                    <a:lnTo>
                      <a:pt x="270" y="765"/>
                    </a:lnTo>
                    <a:lnTo>
                      <a:pt x="304" y="744"/>
                    </a:lnTo>
                    <a:lnTo>
                      <a:pt x="339" y="726"/>
                    </a:lnTo>
                    <a:lnTo>
                      <a:pt x="374" y="708"/>
                    </a:lnTo>
                    <a:lnTo>
                      <a:pt x="394" y="838"/>
                    </a:lnTo>
                    <a:lnTo>
                      <a:pt x="417" y="44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90041" name="Freeform 25"/>
              <p:cNvSpPr>
                <a:spLocks/>
              </p:cNvSpPr>
              <p:nvPr/>
            </p:nvSpPr>
            <p:spPr bwMode="gray">
              <a:xfrm>
                <a:off x="1966" y="1359"/>
                <a:ext cx="417" cy="863"/>
              </a:xfrm>
              <a:custGeom>
                <a:avLst/>
                <a:gdLst>
                  <a:gd name="T0" fmla="*/ 417 w 417"/>
                  <a:gd name="T1" fmla="*/ 441 h 863"/>
                  <a:gd name="T2" fmla="*/ 219 w 417"/>
                  <a:gd name="T3" fmla="*/ 0 h 863"/>
                  <a:gd name="T4" fmla="*/ 219 w 417"/>
                  <a:gd name="T5" fmla="*/ 203 h 863"/>
                  <a:gd name="T6" fmla="*/ 182 w 417"/>
                  <a:gd name="T7" fmla="*/ 230 h 863"/>
                  <a:gd name="T8" fmla="*/ 148 w 417"/>
                  <a:gd name="T9" fmla="*/ 259 h 863"/>
                  <a:gd name="T10" fmla="*/ 118 w 417"/>
                  <a:gd name="T11" fmla="*/ 289 h 863"/>
                  <a:gd name="T12" fmla="*/ 90 w 417"/>
                  <a:gd name="T13" fmla="*/ 321 h 863"/>
                  <a:gd name="T14" fmla="*/ 67 w 417"/>
                  <a:gd name="T15" fmla="*/ 353 h 863"/>
                  <a:gd name="T16" fmla="*/ 46 w 417"/>
                  <a:gd name="T17" fmla="*/ 387 h 863"/>
                  <a:gd name="T18" fmla="*/ 30 w 417"/>
                  <a:gd name="T19" fmla="*/ 423 h 863"/>
                  <a:gd name="T20" fmla="*/ 16 w 417"/>
                  <a:gd name="T21" fmla="*/ 459 h 863"/>
                  <a:gd name="T22" fmla="*/ 7 w 417"/>
                  <a:gd name="T23" fmla="*/ 496 h 863"/>
                  <a:gd name="T24" fmla="*/ 2 w 417"/>
                  <a:gd name="T25" fmla="*/ 532 h 863"/>
                  <a:gd name="T26" fmla="*/ 0 w 417"/>
                  <a:gd name="T27" fmla="*/ 566 h 863"/>
                  <a:gd name="T28" fmla="*/ 3 w 417"/>
                  <a:gd name="T29" fmla="*/ 608 h 863"/>
                  <a:gd name="T30" fmla="*/ 10 w 417"/>
                  <a:gd name="T31" fmla="*/ 645 h 863"/>
                  <a:gd name="T32" fmla="*/ 20 w 417"/>
                  <a:gd name="T33" fmla="*/ 682 h 863"/>
                  <a:gd name="T34" fmla="*/ 35 w 417"/>
                  <a:gd name="T35" fmla="*/ 720 h 863"/>
                  <a:gd name="T36" fmla="*/ 52 w 417"/>
                  <a:gd name="T37" fmla="*/ 756 h 863"/>
                  <a:gd name="T38" fmla="*/ 71 w 417"/>
                  <a:gd name="T39" fmla="*/ 784 h 863"/>
                  <a:gd name="T40" fmla="*/ 93 w 417"/>
                  <a:gd name="T41" fmla="*/ 811 h 863"/>
                  <a:gd name="T42" fmla="*/ 116 w 417"/>
                  <a:gd name="T43" fmla="*/ 838 h 863"/>
                  <a:gd name="T44" fmla="*/ 141 w 417"/>
                  <a:gd name="T45" fmla="*/ 863 h 863"/>
                  <a:gd name="T46" fmla="*/ 171 w 417"/>
                  <a:gd name="T47" fmla="*/ 837 h 863"/>
                  <a:gd name="T48" fmla="*/ 203 w 417"/>
                  <a:gd name="T49" fmla="*/ 811 h 863"/>
                  <a:gd name="T50" fmla="*/ 236 w 417"/>
                  <a:gd name="T51" fmla="*/ 787 h 863"/>
                  <a:gd name="T52" fmla="*/ 270 w 417"/>
                  <a:gd name="T53" fmla="*/ 765 h 863"/>
                  <a:gd name="T54" fmla="*/ 304 w 417"/>
                  <a:gd name="T55" fmla="*/ 744 h 863"/>
                  <a:gd name="T56" fmla="*/ 339 w 417"/>
                  <a:gd name="T57" fmla="*/ 726 h 863"/>
                  <a:gd name="T58" fmla="*/ 374 w 417"/>
                  <a:gd name="T59" fmla="*/ 708 h 863"/>
                  <a:gd name="T60" fmla="*/ 394 w 417"/>
                  <a:gd name="T61" fmla="*/ 838 h 863"/>
                  <a:gd name="T62" fmla="*/ 417 w 417"/>
                  <a:gd name="T63" fmla="*/ 441 h 8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17" h="863">
                    <a:moveTo>
                      <a:pt x="417" y="441"/>
                    </a:moveTo>
                    <a:lnTo>
                      <a:pt x="219" y="0"/>
                    </a:lnTo>
                    <a:lnTo>
                      <a:pt x="219" y="203"/>
                    </a:lnTo>
                    <a:lnTo>
                      <a:pt x="182" y="230"/>
                    </a:lnTo>
                    <a:lnTo>
                      <a:pt x="148" y="259"/>
                    </a:lnTo>
                    <a:lnTo>
                      <a:pt x="118" y="289"/>
                    </a:lnTo>
                    <a:lnTo>
                      <a:pt x="90" y="321"/>
                    </a:lnTo>
                    <a:lnTo>
                      <a:pt x="67" y="353"/>
                    </a:lnTo>
                    <a:lnTo>
                      <a:pt x="46" y="387"/>
                    </a:lnTo>
                    <a:lnTo>
                      <a:pt x="30" y="423"/>
                    </a:lnTo>
                    <a:lnTo>
                      <a:pt x="16" y="459"/>
                    </a:lnTo>
                    <a:lnTo>
                      <a:pt x="7" y="496"/>
                    </a:lnTo>
                    <a:lnTo>
                      <a:pt x="2" y="532"/>
                    </a:lnTo>
                    <a:lnTo>
                      <a:pt x="0" y="566"/>
                    </a:lnTo>
                    <a:lnTo>
                      <a:pt x="3" y="608"/>
                    </a:lnTo>
                    <a:lnTo>
                      <a:pt x="10" y="645"/>
                    </a:lnTo>
                    <a:lnTo>
                      <a:pt x="20" y="682"/>
                    </a:lnTo>
                    <a:lnTo>
                      <a:pt x="35" y="720"/>
                    </a:lnTo>
                    <a:lnTo>
                      <a:pt x="52" y="756"/>
                    </a:lnTo>
                    <a:lnTo>
                      <a:pt x="71" y="784"/>
                    </a:lnTo>
                    <a:lnTo>
                      <a:pt x="93" y="811"/>
                    </a:lnTo>
                    <a:lnTo>
                      <a:pt x="116" y="838"/>
                    </a:lnTo>
                    <a:lnTo>
                      <a:pt x="141" y="863"/>
                    </a:lnTo>
                    <a:lnTo>
                      <a:pt x="171" y="837"/>
                    </a:lnTo>
                    <a:lnTo>
                      <a:pt x="203" y="811"/>
                    </a:lnTo>
                    <a:lnTo>
                      <a:pt x="236" y="787"/>
                    </a:lnTo>
                    <a:lnTo>
                      <a:pt x="270" y="765"/>
                    </a:lnTo>
                    <a:lnTo>
                      <a:pt x="304" y="744"/>
                    </a:lnTo>
                    <a:lnTo>
                      <a:pt x="339" y="726"/>
                    </a:lnTo>
                    <a:lnTo>
                      <a:pt x="374" y="708"/>
                    </a:lnTo>
                    <a:lnTo>
                      <a:pt x="394" y="838"/>
                    </a:lnTo>
                    <a:lnTo>
                      <a:pt x="417" y="441"/>
                    </a:lnTo>
                  </a:path>
                </a:pathLst>
              </a:custGeom>
              <a:solidFill>
                <a:schemeClr val="accent2"/>
              </a:solidFill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390042" name="Group 26"/>
            <p:cNvGrpSpPr>
              <a:grpSpLocks/>
            </p:cNvGrpSpPr>
            <p:nvPr/>
          </p:nvGrpSpPr>
          <p:grpSpPr bwMode="auto">
            <a:xfrm>
              <a:off x="1809" y="1844"/>
              <a:ext cx="454" cy="1034"/>
              <a:chOff x="1966" y="1934"/>
              <a:chExt cx="492" cy="1034"/>
            </a:xfrm>
          </p:grpSpPr>
          <p:sp>
            <p:nvSpPr>
              <p:cNvPr id="2390043" name="Freeform 27"/>
              <p:cNvSpPr>
                <a:spLocks/>
              </p:cNvSpPr>
              <p:nvPr/>
            </p:nvSpPr>
            <p:spPr bwMode="gray">
              <a:xfrm>
                <a:off x="1966" y="1934"/>
                <a:ext cx="492" cy="1034"/>
              </a:xfrm>
              <a:custGeom>
                <a:avLst/>
                <a:gdLst>
                  <a:gd name="T0" fmla="*/ 0 w 492"/>
                  <a:gd name="T1" fmla="*/ 0 h 1034"/>
                  <a:gd name="T2" fmla="*/ 0 w 492"/>
                  <a:gd name="T3" fmla="*/ 569 h 1034"/>
                  <a:gd name="T4" fmla="*/ 3 w 492"/>
                  <a:gd name="T5" fmla="*/ 598 h 1034"/>
                  <a:gd name="T6" fmla="*/ 7 w 492"/>
                  <a:gd name="T7" fmla="*/ 627 h 1034"/>
                  <a:gd name="T8" fmla="*/ 16 w 492"/>
                  <a:gd name="T9" fmla="*/ 658 h 1034"/>
                  <a:gd name="T10" fmla="*/ 27 w 492"/>
                  <a:gd name="T11" fmla="*/ 689 h 1034"/>
                  <a:gd name="T12" fmla="*/ 39 w 492"/>
                  <a:gd name="T13" fmla="*/ 721 h 1034"/>
                  <a:gd name="T14" fmla="*/ 55 w 492"/>
                  <a:gd name="T15" fmla="*/ 753 h 1034"/>
                  <a:gd name="T16" fmla="*/ 73 w 492"/>
                  <a:gd name="T17" fmla="*/ 785 h 1034"/>
                  <a:gd name="T18" fmla="*/ 95 w 492"/>
                  <a:gd name="T19" fmla="*/ 815 h 1034"/>
                  <a:gd name="T20" fmla="*/ 117 w 492"/>
                  <a:gd name="T21" fmla="*/ 845 h 1034"/>
                  <a:gd name="T22" fmla="*/ 140 w 492"/>
                  <a:gd name="T23" fmla="*/ 873 h 1034"/>
                  <a:gd name="T24" fmla="*/ 167 w 492"/>
                  <a:gd name="T25" fmla="*/ 901 h 1034"/>
                  <a:gd name="T26" fmla="*/ 194 w 492"/>
                  <a:gd name="T27" fmla="*/ 927 h 1034"/>
                  <a:gd name="T28" fmla="*/ 222 w 492"/>
                  <a:gd name="T29" fmla="*/ 950 h 1034"/>
                  <a:gd name="T30" fmla="*/ 251 w 492"/>
                  <a:gd name="T31" fmla="*/ 971 h 1034"/>
                  <a:gd name="T32" fmla="*/ 280 w 492"/>
                  <a:gd name="T33" fmla="*/ 988 h 1034"/>
                  <a:gd name="T34" fmla="*/ 309 w 492"/>
                  <a:gd name="T35" fmla="*/ 1005 h 1034"/>
                  <a:gd name="T36" fmla="*/ 338 w 492"/>
                  <a:gd name="T37" fmla="*/ 1017 h 1034"/>
                  <a:gd name="T38" fmla="*/ 367 w 492"/>
                  <a:gd name="T39" fmla="*/ 1027 h 1034"/>
                  <a:gd name="T40" fmla="*/ 395 w 492"/>
                  <a:gd name="T41" fmla="*/ 1034 h 1034"/>
                  <a:gd name="T42" fmla="*/ 325 w 492"/>
                  <a:gd name="T43" fmla="*/ 750 h 1034"/>
                  <a:gd name="T44" fmla="*/ 492 w 492"/>
                  <a:gd name="T45" fmla="*/ 490 h 1034"/>
                  <a:gd name="T46" fmla="*/ 459 w 492"/>
                  <a:gd name="T47" fmla="*/ 478 h 1034"/>
                  <a:gd name="T48" fmla="*/ 420 w 492"/>
                  <a:gd name="T49" fmla="*/ 463 h 1034"/>
                  <a:gd name="T50" fmla="*/ 381 w 492"/>
                  <a:gd name="T51" fmla="*/ 446 h 1034"/>
                  <a:gd name="T52" fmla="*/ 344 w 492"/>
                  <a:gd name="T53" fmla="*/ 428 h 1034"/>
                  <a:gd name="T54" fmla="*/ 308 w 492"/>
                  <a:gd name="T55" fmla="*/ 411 h 1034"/>
                  <a:gd name="T56" fmla="*/ 275 w 492"/>
                  <a:gd name="T57" fmla="*/ 390 h 1034"/>
                  <a:gd name="T58" fmla="*/ 243 w 492"/>
                  <a:gd name="T59" fmla="*/ 372 h 1034"/>
                  <a:gd name="T60" fmla="*/ 215 w 492"/>
                  <a:gd name="T61" fmla="*/ 351 h 1034"/>
                  <a:gd name="T62" fmla="*/ 188 w 492"/>
                  <a:gd name="T63" fmla="*/ 331 h 1034"/>
                  <a:gd name="T64" fmla="*/ 165 w 492"/>
                  <a:gd name="T65" fmla="*/ 312 h 1034"/>
                  <a:gd name="T66" fmla="*/ 144 w 492"/>
                  <a:gd name="T67" fmla="*/ 292 h 1034"/>
                  <a:gd name="T68" fmla="*/ 127 w 492"/>
                  <a:gd name="T69" fmla="*/ 272 h 1034"/>
                  <a:gd name="T70" fmla="*/ 101 w 492"/>
                  <a:gd name="T71" fmla="*/ 242 h 1034"/>
                  <a:gd name="T72" fmla="*/ 78 w 492"/>
                  <a:gd name="T73" fmla="*/ 211 h 1034"/>
                  <a:gd name="T74" fmla="*/ 58 w 492"/>
                  <a:gd name="T75" fmla="*/ 179 h 1034"/>
                  <a:gd name="T76" fmla="*/ 40 w 492"/>
                  <a:gd name="T77" fmla="*/ 145 h 1034"/>
                  <a:gd name="T78" fmla="*/ 27 w 492"/>
                  <a:gd name="T79" fmla="*/ 110 h 1034"/>
                  <a:gd name="T80" fmla="*/ 15 w 492"/>
                  <a:gd name="T81" fmla="*/ 74 h 1034"/>
                  <a:gd name="T82" fmla="*/ 6 w 492"/>
                  <a:gd name="T83" fmla="*/ 37 h 1034"/>
                  <a:gd name="T84" fmla="*/ 0 w 492"/>
                  <a:gd name="T85" fmla="*/ 0 h 10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92" h="1034">
                    <a:moveTo>
                      <a:pt x="0" y="0"/>
                    </a:moveTo>
                    <a:lnTo>
                      <a:pt x="0" y="569"/>
                    </a:lnTo>
                    <a:lnTo>
                      <a:pt x="3" y="598"/>
                    </a:lnTo>
                    <a:lnTo>
                      <a:pt x="7" y="627"/>
                    </a:lnTo>
                    <a:lnTo>
                      <a:pt x="16" y="658"/>
                    </a:lnTo>
                    <a:lnTo>
                      <a:pt x="27" y="689"/>
                    </a:lnTo>
                    <a:lnTo>
                      <a:pt x="39" y="721"/>
                    </a:lnTo>
                    <a:lnTo>
                      <a:pt x="55" y="753"/>
                    </a:lnTo>
                    <a:lnTo>
                      <a:pt x="73" y="785"/>
                    </a:lnTo>
                    <a:lnTo>
                      <a:pt x="95" y="815"/>
                    </a:lnTo>
                    <a:lnTo>
                      <a:pt x="117" y="845"/>
                    </a:lnTo>
                    <a:lnTo>
                      <a:pt x="140" y="873"/>
                    </a:lnTo>
                    <a:lnTo>
                      <a:pt x="167" y="901"/>
                    </a:lnTo>
                    <a:lnTo>
                      <a:pt x="194" y="927"/>
                    </a:lnTo>
                    <a:lnTo>
                      <a:pt x="222" y="950"/>
                    </a:lnTo>
                    <a:lnTo>
                      <a:pt x="251" y="971"/>
                    </a:lnTo>
                    <a:lnTo>
                      <a:pt x="280" y="988"/>
                    </a:lnTo>
                    <a:lnTo>
                      <a:pt x="309" y="1005"/>
                    </a:lnTo>
                    <a:lnTo>
                      <a:pt x="338" y="1017"/>
                    </a:lnTo>
                    <a:lnTo>
                      <a:pt x="367" y="1027"/>
                    </a:lnTo>
                    <a:lnTo>
                      <a:pt x="395" y="1034"/>
                    </a:lnTo>
                    <a:lnTo>
                      <a:pt x="325" y="750"/>
                    </a:lnTo>
                    <a:lnTo>
                      <a:pt x="492" y="490"/>
                    </a:lnTo>
                    <a:lnTo>
                      <a:pt x="459" y="478"/>
                    </a:lnTo>
                    <a:lnTo>
                      <a:pt x="420" y="463"/>
                    </a:lnTo>
                    <a:lnTo>
                      <a:pt x="381" y="446"/>
                    </a:lnTo>
                    <a:lnTo>
                      <a:pt x="344" y="428"/>
                    </a:lnTo>
                    <a:lnTo>
                      <a:pt x="308" y="411"/>
                    </a:lnTo>
                    <a:lnTo>
                      <a:pt x="275" y="390"/>
                    </a:lnTo>
                    <a:lnTo>
                      <a:pt x="243" y="372"/>
                    </a:lnTo>
                    <a:lnTo>
                      <a:pt x="215" y="351"/>
                    </a:lnTo>
                    <a:lnTo>
                      <a:pt x="188" y="331"/>
                    </a:lnTo>
                    <a:lnTo>
                      <a:pt x="165" y="312"/>
                    </a:lnTo>
                    <a:lnTo>
                      <a:pt x="144" y="292"/>
                    </a:lnTo>
                    <a:lnTo>
                      <a:pt x="127" y="272"/>
                    </a:lnTo>
                    <a:lnTo>
                      <a:pt x="101" y="242"/>
                    </a:lnTo>
                    <a:lnTo>
                      <a:pt x="78" y="211"/>
                    </a:lnTo>
                    <a:lnTo>
                      <a:pt x="58" y="179"/>
                    </a:lnTo>
                    <a:lnTo>
                      <a:pt x="40" y="145"/>
                    </a:lnTo>
                    <a:lnTo>
                      <a:pt x="27" y="110"/>
                    </a:lnTo>
                    <a:lnTo>
                      <a:pt x="15" y="74"/>
                    </a:lnTo>
                    <a:lnTo>
                      <a:pt x="6" y="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90044" name="Freeform 28"/>
              <p:cNvSpPr>
                <a:spLocks/>
              </p:cNvSpPr>
              <p:nvPr/>
            </p:nvSpPr>
            <p:spPr bwMode="gray">
              <a:xfrm>
                <a:off x="1966" y="1934"/>
                <a:ext cx="492" cy="1034"/>
              </a:xfrm>
              <a:custGeom>
                <a:avLst/>
                <a:gdLst>
                  <a:gd name="T0" fmla="*/ 0 w 492"/>
                  <a:gd name="T1" fmla="*/ 0 h 1034"/>
                  <a:gd name="T2" fmla="*/ 0 w 492"/>
                  <a:gd name="T3" fmla="*/ 569 h 1034"/>
                  <a:gd name="T4" fmla="*/ 3 w 492"/>
                  <a:gd name="T5" fmla="*/ 598 h 1034"/>
                  <a:gd name="T6" fmla="*/ 7 w 492"/>
                  <a:gd name="T7" fmla="*/ 627 h 1034"/>
                  <a:gd name="T8" fmla="*/ 16 w 492"/>
                  <a:gd name="T9" fmla="*/ 658 h 1034"/>
                  <a:gd name="T10" fmla="*/ 27 w 492"/>
                  <a:gd name="T11" fmla="*/ 689 h 1034"/>
                  <a:gd name="T12" fmla="*/ 39 w 492"/>
                  <a:gd name="T13" fmla="*/ 721 h 1034"/>
                  <a:gd name="T14" fmla="*/ 55 w 492"/>
                  <a:gd name="T15" fmla="*/ 753 h 1034"/>
                  <a:gd name="T16" fmla="*/ 73 w 492"/>
                  <a:gd name="T17" fmla="*/ 785 h 1034"/>
                  <a:gd name="T18" fmla="*/ 95 w 492"/>
                  <a:gd name="T19" fmla="*/ 815 h 1034"/>
                  <a:gd name="T20" fmla="*/ 117 w 492"/>
                  <a:gd name="T21" fmla="*/ 845 h 1034"/>
                  <a:gd name="T22" fmla="*/ 140 w 492"/>
                  <a:gd name="T23" fmla="*/ 873 h 1034"/>
                  <a:gd name="T24" fmla="*/ 167 w 492"/>
                  <a:gd name="T25" fmla="*/ 901 h 1034"/>
                  <a:gd name="T26" fmla="*/ 194 w 492"/>
                  <a:gd name="T27" fmla="*/ 927 h 1034"/>
                  <a:gd name="T28" fmla="*/ 222 w 492"/>
                  <a:gd name="T29" fmla="*/ 950 h 1034"/>
                  <a:gd name="T30" fmla="*/ 251 w 492"/>
                  <a:gd name="T31" fmla="*/ 971 h 1034"/>
                  <a:gd name="T32" fmla="*/ 280 w 492"/>
                  <a:gd name="T33" fmla="*/ 988 h 1034"/>
                  <a:gd name="T34" fmla="*/ 309 w 492"/>
                  <a:gd name="T35" fmla="*/ 1005 h 1034"/>
                  <a:gd name="T36" fmla="*/ 338 w 492"/>
                  <a:gd name="T37" fmla="*/ 1017 h 1034"/>
                  <a:gd name="T38" fmla="*/ 367 w 492"/>
                  <a:gd name="T39" fmla="*/ 1027 h 1034"/>
                  <a:gd name="T40" fmla="*/ 395 w 492"/>
                  <a:gd name="T41" fmla="*/ 1034 h 1034"/>
                  <a:gd name="T42" fmla="*/ 325 w 492"/>
                  <a:gd name="T43" fmla="*/ 750 h 1034"/>
                  <a:gd name="T44" fmla="*/ 492 w 492"/>
                  <a:gd name="T45" fmla="*/ 490 h 1034"/>
                  <a:gd name="T46" fmla="*/ 459 w 492"/>
                  <a:gd name="T47" fmla="*/ 478 h 1034"/>
                  <a:gd name="T48" fmla="*/ 420 w 492"/>
                  <a:gd name="T49" fmla="*/ 463 h 1034"/>
                  <a:gd name="T50" fmla="*/ 381 w 492"/>
                  <a:gd name="T51" fmla="*/ 446 h 1034"/>
                  <a:gd name="T52" fmla="*/ 344 w 492"/>
                  <a:gd name="T53" fmla="*/ 428 h 1034"/>
                  <a:gd name="T54" fmla="*/ 308 w 492"/>
                  <a:gd name="T55" fmla="*/ 411 h 1034"/>
                  <a:gd name="T56" fmla="*/ 275 w 492"/>
                  <a:gd name="T57" fmla="*/ 390 h 1034"/>
                  <a:gd name="T58" fmla="*/ 243 w 492"/>
                  <a:gd name="T59" fmla="*/ 372 h 1034"/>
                  <a:gd name="T60" fmla="*/ 215 w 492"/>
                  <a:gd name="T61" fmla="*/ 351 h 1034"/>
                  <a:gd name="T62" fmla="*/ 188 w 492"/>
                  <a:gd name="T63" fmla="*/ 331 h 1034"/>
                  <a:gd name="T64" fmla="*/ 165 w 492"/>
                  <a:gd name="T65" fmla="*/ 312 h 1034"/>
                  <a:gd name="T66" fmla="*/ 144 w 492"/>
                  <a:gd name="T67" fmla="*/ 292 h 1034"/>
                  <a:gd name="T68" fmla="*/ 127 w 492"/>
                  <a:gd name="T69" fmla="*/ 272 h 1034"/>
                  <a:gd name="T70" fmla="*/ 101 w 492"/>
                  <a:gd name="T71" fmla="*/ 242 h 1034"/>
                  <a:gd name="T72" fmla="*/ 78 w 492"/>
                  <a:gd name="T73" fmla="*/ 211 h 1034"/>
                  <a:gd name="T74" fmla="*/ 58 w 492"/>
                  <a:gd name="T75" fmla="*/ 179 h 1034"/>
                  <a:gd name="T76" fmla="*/ 40 w 492"/>
                  <a:gd name="T77" fmla="*/ 145 h 1034"/>
                  <a:gd name="T78" fmla="*/ 27 w 492"/>
                  <a:gd name="T79" fmla="*/ 110 h 1034"/>
                  <a:gd name="T80" fmla="*/ 15 w 492"/>
                  <a:gd name="T81" fmla="*/ 74 h 1034"/>
                  <a:gd name="T82" fmla="*/ 6 w 492"/>
                  <a:gd name="T83" fmla="*/ 37 h 1034"/>
                  <a:gd name="T84" fmla="*/ 0 w 492"/>
                  <a:gd name="T85" fmla="*/ 0 h 10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92" h="1034">
                    <a:moveTo>
                      <a:pt x="0" y="0"/>
                    </a:moveTo>
                    <a:lnTo>
                      <a:pt x="0" y="569"/>
                    </a:lnTo>
                    <a:lnTo>
                      <a:pt x="3" y="598"/>
                    </a:lnTo>
                    <a:lnTo>
                      <a:pt x="7" y="627"/>
                    </a:lnTo>
                    <a:lnTo>
                      <a:pt x="16" y="658"/>
                    </a:lnTo>
                    <a:lnTo>
                      <a:pt x="27" y="689"/>
                    </a:lnTo>
                    <a:lnTo>
                      <a:pt x="39" y="721"/>
                    </a:lnTo>
                    <a:lnTo>
                      <a:pt x="55" y="753"/>
                    </a:lnTo>
                    <a:lnTo>
                      <a:pt x="73" y="785"/>
                    </a:lnTo>
                    <a:lnTo>
                      <a:pt x="95" y="815"/>
                    </a:lnTo>
                    <a:lnTo>
                      <a:pt x="117" y="845"/>
                    </a:lnTo>
                    <a:lnTo>
                      <a:pt x="140" y="873"/>
                    </a:lnTo>
                    <a:lnTo>
                      <a:pt x="167" y="901"/>
                    </a:lnTo>
                    <a:lnTo>
                      <a:pt x="194" y="927"/>
                    </a:lnTo>
                    <a:lnTo>
                      <a:pt x="222" y="950"/>
                    </a:lnTo>
                    <a:lnTo>
                      <a:pt x="251" y="971"/>
                    </a:lnTo>
                    <a:lnTo>
                      <a:pt x="280" y="988"/>
                    </a:lnTo>
                    <a:lnTo>
                      <a:pt x="309" y="1005"/>
                    </a:lnTo>
                    <a:lnTo>
                      <a:pt x="338" y="1017"/>
                    </a:lnTo>
                    <a:lnTo>
                      <a:pt x="367" y="1027"/>
                    </a:lnTo>
                    <a:lnTo>
                      <a:pt x="395" y="1034"/>
                    </a:lnTo>
                    <a:lnTo>
                      <a:pt x="325" y="750"/>
                    </a:lnTo>
                    <a:lnTo>
                      <a:pt x="492" y="490"/>
                    </a:lnTo>
                    <a:lnTo>
                      <a:pt x="459" y="478"/>
                    </a:lnTo>
                    <a:lnTo>
                      <a:pt x="420" y="463"/>
                    </a:lnTo>
                    <a:lnTo>
                      <a:pt x="381" y="446"/>
                    </a:lnTo>
                    <a:lnTo>
                      <a:pt x="344" y="428"/>
                    </a:lnTo>
                    <a:lnTo>
                      <a:pt x="308" y="411"/>
                    </a:lnTo>
                    <a:lnTo>
                      <a:pt x="275" y="390"/>
                    </a:lnTo>
                    <a:lnTo>
                      <a:pt x="243" y="372"/>
                    </a:lnTo>
                    <a:lnTo>
                      <a:pt x="215" y="351"/>
                    </a:lnTo>
                    <a:lnTo>
                      <a:pt x="188" y="331"/>
                    </a:lnTo>
                    <a:lnTo>
                      <a:pt x="165" y="312"/>
                    </a:lnTo>
                    <a:lnTo>
                      <a:pt x="144" y="292"/>
                    </a:lnTo>
                    <a:lnTo>
                      <a:pt x="127" y="272"/>
                    </a:lnTo>
                    <a:lnTo>
                      <a:pt x="101" y="242"/>
                    </a:lnTo>
                    <a:lnTo>
                      <a:pt x="78" y="211"/>
                    </a:lnTo>
                    <a:lnTo>
                      <a:pt x="58" y="179"/>
                    </a:lnTo>
                    <a:lnTo>
                      <a:pt x="40" y="145"/>
                    </a:lnTo>
                    <a:lnTo>
                      <a:pt x="27" y="110"/>
                    </a:lnTo>
                    <a:lnTo>
                      <a:pt x="15" y="74"/>
                    </a:lnTo>
                    <a:lnTo>
                      <a:pt x="6" y="37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EAEAEA"/>
              </a:solidFill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390045" name="Rectangle 29"/>
            <p:cNvSpPr>
              <a:spLocks noChangeArrowheads="1"/>
            </p:cNvSpPr>
            <p:nvPr/>
          </p:nvSpPr>
          <p:spPr bwMode="gray">
            <a:xfrm>
              <a:off x="1865" y="2350"/>
              <a:ext cx="285" cy="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1200"/>
            </a:p>
          </p:txBody>
        </p:sp>
        <p:sp>
          <p:nvSpPr>
            <p:cNvPr id="2390046" name="Rectangle 30"/>
            <p:cNvSpPr>
              <a:spLocks noChangeArrowheads="1"/>
            </p:cNvSpPr>
            <p:nvPr/>
          </p:nvSpPr>
          <p:spPr bwMode="gray">
            <a:xfrm>
              <a:off x="1800" y="2418"/>
              <a:ext cx="37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/>
                <a:t>Text</a:t>
              </a:r>
            </a:p>
          </p:txBody>
        </p:sp>
        <p:sp>
          <p:nvSpPr>
            <p:cNvPr id="2390047" name="Rectangle 31"/>
            <p:cNvSpPr>
              <a:spLocks noChangeArrowheads="1"/>
            </p:cNvSpPr>
            <p:nvPr/>
          </p:nvSpPr>
          <p:spPr bwMode="gray">
            <a:xfrm>
              <a:off x="2508" y="2684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/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94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82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ycle </a:t>
            </a:r>
            <a:r>
              <a:rPr lang="en-US">
                <a:cs typeface="Arial" pitchFamily="34" charset="0"/>
              </a:rPr>
              <a:t>–</a:t>
            </a:r>
            <a:r>
              <a:rPr lang="en-US"/>
              <a:t> 6 Factors</a:t>
            </a:r>
          </a:p>
        </p:txBody>
      </p:sp>
      <p:grpSp>
        <p:nvGrpSpPr>
          <p:cNvPr id="2398212" name="Group 4"/>
          <p:cNvGrpSpPr>
            <a:grpSpLocks/>
          </p:cNvGrpSpPr>
          <p:nvPr/>
        </p:nvGrpSpPr>
        <p:grpSpPr bwMode="auto">
          <a:xfrm>
            <a:off x="4220846" y="1508875"/>
            <a:ext cx="3408363" cy="3759200"/>
            <a:chOff x="1782" y="1198"/>
            <a:chExt cx="2147" cy="2368"/>
          </a:xfrm>
        </p:grpSpPr>
        <p:cxnSp>
          <p:nvCxnSpPr>
            <p:cNvPr id="2398213" name="AutoShape 5"/>
            <p:cNvCxnSpPr>
              <a:cxnSpLocks noChangeShapeType="1"/>
            </p:cNvCxnSpPr>
            <p:nvPr/>
          </p:nvCxnSpPr>
          <p:spPr bwMode="gray">
            <a:xfrm>
              <a:off x="3900" y="1660"/>
              <a:ext cx="0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2398214" name="Group 6"/>
            <p:cNvGrpSpPr>
              <a:grpSpLocks/>
            </p:cNvGrpSpPr>
            <p:nvPr/>
          </p:nvGrpSpPr>
          <p:grpSpPr bwMode="auto">
            <a:xfrm>
              <a:off x="1782" y="1198"/>
              <a:ext cx="2086" cy="2305"/>
              <a:chOff x="1739" y="968"/>
              <a:chExt cx="2268" cy="2506"/>
            </a:xfrm>
          </p:grpSpPr>
          <p:sp>
            <p:nvSpPr>
              <p:cNvPr id="2398215" name="Freeform 7"/>
              <p:cNvSpPr>
                <a:spLocks/>
              </p:cNvSpPr>
              <p:nvPr/>
            </p:nvSpPr>
            <p:spPr bwMode="gray">
              <a:xfrm>
                <a:off x="1739" y="968"/>
                <a:ext cx="2268" cy="2506"/>
              </a:xfrm>
              <a:custGeom>
                <a:avLst/>
                <a:gdLst>
                  <a:gd name="T0" fmla="*/ 332 w 2268"/>
                  <a:gd name="T1" fmla="*/ 570 h 2506"/>
                  <a:gd name="T2" fmla="*/ 224 w 2268"/>
                  <a:gd name="T3" fmla="*/ 694 h 2506"/>
                  <a:gd name="T4" fmla="*/ 136 w 2268"/>
                  <a:gd name="T5" fmla="*/ 832 h 2506"/>
                  <a:gd name="T6" fmla="*/ 68 w 2268"/>
                  <a:gd name="T7" fmla="*/ 982 h 2506"/>
                  <a:gd name="T8" fmla="*/ 29 w 2268"/>
                  <a:gd name="T9" fmla="*/ 1116 h 2506"/>
                  <a:gd name="T10" fmla="*/ 13 w 2268"/>
                  <a:gd name="T11" fmla="*/ 1199 h 2506"/>
                  <a:gd name="T12" fmla="*/ 3 w 2268"/>
                  <a:gd name="T13" fmla="*/ 1285 h 2506"/>
                  <a:gd name="T14" fmla="*/ 0 w 2268"/>
                  <a:gd name="T15" fmla="*/ 1373 h 2506"/>
                  <a:gd name="T16" fmla="*/ 3 w 2268"/>
                  <a:gd name="T17" fmla="*/ 1459 h 2506"/>
                  <a:gd name="T18" fmla="*/ 13 w 2268"/>
                  <a:gd name="T19" fmla="*/ 1544 h 2506"/>
                  <a:gd name="T20" fmla="*/ 29 w 2268"/>
                  <a:gd name="T21" fmla="*/ 1628 h 2506"/>
                  <a:gd name="T22" fmla="*/ 68 w 2268"/>
                  <a:gd name="T23" fmla="*/ 1761 h 2506"/>
                  <a:gd name="T24" fmla="*/ 136 w 2268"/>
                  <a:gd name="T25" fmla="*/ 1912 h 2506"/>
                  <a:gd name="T26" fmla="*/ 224 w 2268"/>
                  <a:gd name="T27" fmla="*/ 2050 h 2506"/>
                  <a:gd name="T28" fmla="*/ 332 w 2268"/>
                  <a:gd name="T29" fmla="*/ 2173 h 2506"/>
                  <a:gd name="T30" fmla="*/ 455 w 2268"/>
                  <a:gd name="T31" fmla="*/ 2281 h 2506"/>
                  <a:gd name="T32" fmla="*/ 594 w 2268"/>
                  <a:gd name="T33" fmla="*/ 2369 h 2506"/>
                  <a:gd name="T34" fmla="*/ 744 w 2268"/>
                  <a:gd name="T35" fmla="*/ 2437 h 2506"/>
                  <a:gd name="T36" fmla="*/ 905 w 2268"/>
                  <a:gd name="T37" fmla="*/ 2483 h 2506"/>
                  <a:gd name="T38" fmla="*/ 989 w 2268"/>
                  <a:gd name="T39" fmla="*/ 2497 h 2506"/>
                  <a:gd name="T40" fmla="*/ 1075 w 2268"/>
                  <a:gd name="T41" fmla="*/ 2504 h 2506"/>
                  <a:gd name="T42" fmla="*/ 1164 w 2268"/>
                  <a:gd name="T43" fmla="*/ 2505 h 2506"/>
                  <a:gd name="T44" fmla="*/ 1250 w 2268"/>
                  <a:gd name="T45" fmla="*/ 2500 h 2506"/>
                  <a:gd name="T46" fmla="*/ 1335 w 2268"/>
                  <a:gd name="T47" fmla="*/ 2487 h 2506"/>
                  <a:gd name="T48" fmla="*/ 1471 w 2268"/>
                  <a:gd name="T49" fmla="*/ 2454 h 2506"/>
                  <a:gd name="T50" fmla="*/ 1625 w 2268"/>
                  <a:gd name="T51" fmla="*/ 2394 h 2506"/>
                  <a:gd name="T52" fmla="*/ 1768 w 2268"/>
                  <a:gd name="T53" fmla="*/ 2312 h 2506"/>
                  <a:gd name="T54" fmla="*/ 1896 w 2268"/>
                  <a:gd name="T55" fmla="*/ 2212 h 2506"/>
                  <a:gd name="T56" fmla="*/ 2009 w 2268"/>
                  <a:gd name="T57" fmla="*/ 2093 h 2506"/>
                  <a:gd name="T58" fmla="*/ 2104 w 2268"/>
                  <a:gd name="T59" fmla="*/ 1960 h 2506"/>
                  <a:gd name="T60" fmla="*/ 2179 w 2268"/>
                  <a:gd name="T61" fmla="*/ 1813 h 2506"/>
                  <a:gd name="T62" fmla="*/ 2233 w 2268"/>
                  <a:gd name="T63" fmla="*/ 1656 h 2506"/>
                  <a:gd name="T64" fmla="*/ 2250 w 2268"/>
                  <a:gd name="T65" fmla="*/ 1573 h 2506"/>
                  <a:gd name="T66" fmla="*/ 2262 w 2268"/>
                  <a:gd name="T67" fmla="*/ 1488 h 2506"/>
                  <a:gd name="T68" fmla="*/ 2268 w 2268"/>
                  <a:gd name="T69" fmla="*/ 1401 h 2506"/>
                  <a:gd name="T70" fmla="*/ 2267 w 2268"/>
                  <a:gd name="T71" fmla="*/ 1314 h 2506"/>
                  <a:gd name="T72" fmla="*/ 2259 w 2268"/>
                  <a:gd name="T73" fmla="*/ 1227 h 2506"/>
                  <a:gd name="T74" fmla="*/ 2245 w 2268"/>
                  <a:gd name="T75" fmla="*/ 1144 h 2506"/>
                  <a:gd name="T76" fmla="*/ 2217 w 2268"/>
                  <a:gd name="T77" fmla="*/ 1035 h 2506"/>
                  <a:gd name="T78" fmla="*/ 2157 w 2268"/>
                  <a:gd name="T79" fmla="*/ 880 h 2506"/>
                  <a:gd name="T80" fmla="*/ 2074 w 2268"/>
                  <a:gd name="T81" fmla="*/ 738 h 2506"/>
                  <a:gd name="T82" fmla="*/ 1973 w 2268"/>
                  <a:gd name="T83" fmla="*/ 610 h 2506"/>
                  <a:gd name="T84" fmla="*/ 1179 w 2268"/>
                  <a:gd name="T85" fmla="*/ 27 h 2506"/>
                  <a:gd name="T86" fmla="*/ 1669 w 2268"/>
                  <a:gd name="T87" fmla="*/ 780 h 2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268" h="2506">
                    <a:moveTo>
                      <a:pt x="633" y="752"/>
                    </a:moveTo>
                    <a:lnTo>
                      <a:pt x="373" y="532"/>
                    </a:lnTo>
                    <a:lnTo>
                      <a:pt x="332" y="570"/>
                    </a:lnTo>
                    <a:lnTo>
                      <a:pt x="295" y="610"/>
                    </a:lnTo>
                    <a:lnTo>
                      <a:pt x="259" y="651"/>
                    </a:lnTo>
                    <a:lnTo>
                      <a:pt x="224" y="694"/>
                    </a:lnTo>
                    <a:lnTo>
                      <a:pt x="194" y="738"/>
                    </a:lnTo>
                    <a:lnTo>
                      <a:pt x="163" y="785"/>
                    </a:lnTo>
                    <a:lnTo>
                      <a:pt x="136" y="832"/>
                    </a:lnTo>
                    <a:lnTo>
                      <a:pt x="111" y="880"/>
                    </a:lnTo>
                    <a:lnTo>
                      <a:pt x="89" y="931"/>
                    </a:lnTo>
                    <a:lnTo>
                      <a:pt x="68" y="982"/>
                    </a:lnTo>
                    <a:lnTo>
                      <a:pt x="51" y="1035"/>
                    </a:lnTo>
                    <a:lnTo>
                      <a:pt x="35" y="1088"/>
                    </a:lnTo>
                    <a:lnTo>
                      <a:pt x="29" y="1116"/>
                    </a:lnTo>
                    <a:lnTo>
                      <a:pt x="23" y="1144"/>
                    </a:lnTo>
                    <a:lnTo>
                      <a:pt x="17" y="1172"/>
                    </a:lnTo>
                    <a:lnTo>
                      <a:pt x="13" y="1199"/>
                    </a:lnTo>
                    <a:lnTo>
                      <a:pt x="9" y="1227"/>
                    </a:lnTo>
                    <a:lnTo>
                      <a:pt x="5" y="1256"/>
                    </a:lnTo>
                    <a:lnTo>
                      <a:pt x="3" y="1285"/>
                    </a:lnTo>
                    <a:lnTo>
                      <a:pt x="1" y="1314"/>
                    </a:lnTo>
                    <a:lnTo>
                      <a:pt x="0" y="1343"/>
                    </a:lnTo>
                    <a:lnTo>
                      <a:pt x="0" y="1373"/>
                    </a:lnTo>
                    <a:lnTo>
                      <a:pt x="0" y="1401"/>
                    </a:lnTo>
                    <a:lnTo>
                      <a:pt x="1" y="1430"/>
                    </a:lnTo>
                    <a:lnTo>
                      <a:pt x="3" y="1459"/>
                    </a:lnTo>
                    <a:lnTo>
                      <a:pt x="5" y="1488"/>
                    </a:lnTo>
                    <a:lnTo>
                      <a:pt x="9" y="1517"/>
                    </a:lnTo>
                    <a:lnTo>
                      <a:pt x="13" y="1544"/>
                    </a:lnTo>
                    <a:lnTo>
                      <a:pt x="17" y="1573"/>
                    </a:lnTo>
                    <a:lnTo>
                      <a:pt x="23" y="1601"/>
                    </a:lnTo>
                    <a:lnTo>
                      <a:pt x="29" y="1628"/>
                    </a:lnTo>
                    <a:lnTo>
                      <a:pt x="35" y="1656"/>
                    </a:lnTo>
                    <a:lnTo>
                      <a:pt x="51" y="1709"/>
                    </a:lnTo>
                    <a:lnTo>
                      <a:pt x="68" y="1761"/>
                    </a:lnTo>
                    <a:lnTo>
                      <a:pt x="89" y="1813"/>
                    </a:lnTo>
                    <a:lnTo>
                      <a:pt x="111" y="1863"/>
                    </a:lnTo>
                    <a:lnTo>
                      <a:pt x="136" y="1912"/>
                    </a:lnTo>
                    <a:lnTo>
                      <a:pt x="163" y="1960"/>
                    </a:lnTo>
                    <a:lnTo>
                      <a:pt x="194" y="2006"/>
                    </a:lnTo>
                    <a:lnTo>
                      <a:pt x="224" y="2050"/>
                    </a:lnTo>
                    <a:lnTo>
                      <a:pt x="259" y="2093"/>
                    </a:lnTo>
                    <a:lnTo>
                      <a:pt x="295" y="2135"/>
                    </a:lnTo>
                    <a:lnTo>
                      <a:pt x="332" y="2173"/>
                    </a:lnTo>
                    <a:lnTo>
                      <a:pt x="371" y="2212"/>
                    </a:lnTo>
                    <a:lnTo>
                      <a:pt x="412" y="2246"/>
                    </a:lnTo>
                    <a:lnTo>
                      <a:pt x="455" y="2281"/>
                    </a:lnTo>
                    <a:lnTo>
                      <a:pt x="500" y="2312"/>
                    </a:lnTo>
                    <a:lnTo>
                      <a:pt x="546" y="2341"/>
                    </a:lnTo>
                    <a:lnTo>
                      <a:pt x="594" y="2369"/>
                    </a:lnTo>
                    <a:lnTo>
                      <a:pt x="643" y="2394"/>
                    </a:lnTo>
                    <a:lnTo>
                      <a:pt x="693" y="2416"/>
                    </a:lnTo>
                    <a:lnTo>
                      <a:pt x="744" y="2437"/>
                    </a:lnTo>
                    <a:lnTo>
                      <a:pt x="797" y="2454"/>
                    </a:lnTo>
                    <a:lnTo>
                      <a:pt x="851" y="2470"/>
                    </a:lnTo>
                    <a:lnTo>
                      <a:pt x="905" y="2483"/>
                    </a:lnTo>
                    <a:lnTo>
                      <a:pt x="933" y="2487"/>
                    </a:lnTo>
                    <a:lnTo>
                      <a:pt x="961" y="2493"/>
                    </a:lnTo>
                    <a:lnTo>
                      <a:pt x="989" y="2497"/>
                    </a:lnTo>
                    <a:lnTo>
                      <a:pt x="1018" y="2500"/>
                    </a:lnTo>
                    <a:lnTo>
                      <a:pt x="1047" y="2502"/>
                    </a:lnTo>
                    <a:lnTo>
                      <a:pt x="1075" y="2504"/>
                    </a:lnTo>
                    <a:lnTo>
                      <a:pt x="1104" y="2505"/>
                    </a:lnTo>
                    <a:lnTo>
                      <a:pt x="1134" y="2506"/>
                    </a:lnTo>
                    <a:lnTo>
                      <a:pt x="1164" y="2505"/>
                    </a:lnTo>
                    <a:lnTo>
                      <a:pt x="1193" y="2504"/>
                    </a:lnTo>
                    <a:lnTo>
                      <a:pt x="1221" y="2502"/>
                    </a:lnTo>
                    <a:lnTo>
                      <a:pt x="1250" y="2500"/>
                    </a:lnTo>
                    <a:lnTo>
                      <a:pt x="1279" y="2497"/>
                    </a:lnTo>
                    <a:lnTo>
                      <a:pt x="1307" y="2493"/>
                    </a:lnTo>
                    <a:lnTo>
                      <a:pt x="1335" y="2487"/>
                    </a:lnTo>
                    <a:lnTo>
                      <a:pt x="1363" y="2483"/>
                    </a:lnTo>
                    <a:lnTo>
                      <a:pt x="1417" y="2470"/>
                    </a:lnTo>
                    <a:lnTo>
                      <a:pt x="1471" y="2454"/>
                    </a:lnTo>
                    <a:lnTo>
                      <a:pt x="1524" y="2437"/>
                    </a:lnTo>
                    <a:lnTo>
                      <a:pt x="1575" y="2416"/>
                    </a:lnTo>
                    <a:lnTo>
                      <a:pt x="1625" y="2394"/>
                    </a:lnTo>
                    <a:lnTo>
                      <a:pt x="1675" y="2369"/>
                    </a:lnTo>
                    <a:lnTo>
                      <a:pt x="1722" y="2341"/>
                    </a:lnTo>
                    <a:lnTo>
                      <a:pt x="1768" y="2312"/>
                    </a:lnTo>
                    <a:lnTo>
                      <a:pt x="1813" y="2281"/>
                    </a:lnTo>
                    <a:lnTo>
                      <a:pt x="1855" y="2246"/>
                    </a:lnTo>
                    <a:lnTo>
                      <a:pt x="1896" y="2212"/>
                    </a:lnTo>
                    <a:lnTo>
                      <a:pt x="1936" y="2173"/>
                    </a:lnTo>
                    <a:lnTo>
                      <a:pt x="1973" y="2135"/>
                    </a:lnTo>
                    <a:lnTo>
                      <a:pt x="2009" y="2093"/>
                    </a:lnTo>
                    <a:lnTo>
                      <a:pt x="2042" y="2050"/>
                    </a:lnTo>
                    <a:lnTo>
                      <a:pt x="2074" y="2006"/>
                    </a:lnTo>
                    <a:lnTo>
                      <a:pt x="2104" y="1960"/>
                    </a:lnTo>
                    <a:lnTo>
                      <a:pt x="2132" y="1912"/>
                    </a:lnTo>
                    <a:lnTo>
                      <a:pt x="2157" y="1863"/>
                    </a:lnTo>
                    <a:lnTo>
                      <a:pt x="2179" y="1813"/>
                    </a:lnTo>
                    <a:lnTo>
                      <a:pt x="2199" y="1761"/>
                    </a:lnTo>
                    <a:lnTo>
                      <a:pt x="2217" y="1709"/>
                    </a:lnTo>
                    <a:lnTo>
                      <a:pt x="2233" y="1656"/>
                    </a:lnTo>
                    <a:lnTo>
                      <a:pt x="2239" y="1628"/>
                    </a:lnTo>
                    <a:lnTo>
                      <a:pt x="2245" y="1601"/>
                    </a:lnTo>
                    <a:lnTo>
                      <a:pt x="2250" y="1573"/>
                    </a:lnTo>
                    <a:lnTo>
                      <a:pt x="2255" y="1544"/>
                    </a:lnTo>
                    <a:lnTo>
                      <a:pt x="2259" y="1517"/>
                    </a:lnTo>
                    <a:lnTo>
                      <a:pt x="2262" y="1488"/>
                    </a:lnTo>
                    <a:lnTo>
                      <a:pt x="2265" y="1459"/>
                    </a:lnTo>
                    <a:lnTo>
                      <a:pt x="2267" y="1430"/>
                    </a:lnTo>
                    <a:lnTo>
                      <a:pt x="2268" y="1401"/>
                    </a:lnTo>
                    <a:lnTo>
                      <a:pt x="2268" y="1373"/>
                    </a:lnTo>
                    <a:lnTo>
                      <a:pt x="2268" y="1343"/>
                    </a:lnTo>
                    <a:lnTo>
                      <a:pt x="2267" y="1314"/>
                    </a:lnTo>
                    <a:lnTo>
                      <a:pt x="2265" y="1285"/>
                    </a:lnTo>
                    <a:lnTo>
                      <a:pt x="2262" y="1256"/>
                    </a:lnTo>
                    <a:lnTo>
                      <a:pt x="2259" y="1227"/>
                    </a:lnTo>
                    <a:lnTo>
                      <a:pt x="2255" y="1199"/>
                    </a:lnTo>
                    <a:lnTo>
                      <a:pt x="2250" y="1172"/>
                    </a:lnTo>
                    <a:lnTo>
                      <a:pt x="2245" y="1144"/>
                    </a:lnTo>
                    <a:lnTo>
                      <a:pt x="2239" y="1116"/>
                    </a:lnTo>
                    <a:lnTo>
                      <a:pt x="2233" y="1088"/>
                    </a:lnTo>
                    <a:lnTo>
                      <a:pt x="2217" y="1035"/>
                    </a:lnTo>
                    <a:lnTo>
                      <a:pt x="2199" y="982"/>
                    </a:lnTo>
                    <a:lnTo>
                      <a:pt x="2179" y="931"/>
                    </a:lnTo>
                    <a:lnTo>
                      <a:pt x="2157" y="880"/>
                    </a:lnTo>
                    <a:lnTo>
                      <a:pt x="2132" y="832"/>
                    </a:lnTo>
                    <a:lnTo>
                      <a:pt x="2104" y="785"/>
                    </a:lnTo>
                    <a:lnTo>
                      <a:pt x="2074" y="738"/>
                    </a:lnTo>
                    <a:lnTo>
                      <a:pt x="2042" y="694"/>
                    </a:lnTo>
                    <a:lnTo>
                      <a:pt x="2009" y="651"/>
                    </a:lnTo>
                    <a:lnTo>
                      <a:pt x="1973" y="610"/>
                    </a:lnTo>
                    <a:lnTo>
                      <a:pt x="1465" y="92"/>
                    </a:lnTo>
                    <a:lnTo>
                      <a:pt x="1560" y="0"/>
                    </a:lnTo>
                    <a:lnTo>
                      <a:pt x="1179" y="27"/>
                    </a:lnTo>
                    <a:lnTo>
                      <a:pt x="1137" y="405"/>
                    </a:lnTo>
                    <a:lnTo>
                      <a:pt x="1233" y="313"/>
                    </a:lnTo>
                    <a:lnTo>
                      <a:pt x="1669" y="780"/>
                    </a:ln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398216" name="Freeform 8"/>
              <p:cNvSpPr>
                <a:spLocks/>
              </p:cNvSpPr>
              <p:nvPr/>
            </p:nvSpPr>
            <p:spPr bwMode="gray">
              <a:xfrm>
                <a:off x="2079" y="1722"/>
                <a:ext cx="1587" cy="1412"/>
              </a:xfrm>
              <a:custGeom>
                <a:avLst/>
                <a:gdLst>
                  <a:gd name="T0" fmla="*/ 232 w 1587"/>
                  <a:gd name="T1" fmla="*/ 57 h 1412"/>
                  <a:gd name="T2" fmla="*/ 157 w 1587"/>
                  <a:gd name="T3" fmla="*/ 144 h 1412"/>
                  <a:gd name="T4" fmla="*/ 95 w 1587"/>
                  <a:gd name="T5" fmla="*/ 240 h 1412"/>
                  <a:gd name="T6" fmla="*/ 48 w 1587"/>
                  <a:gd name="T7" fmla="*/ 345 h 1412"/>
                  <a:gd name="T8" fmla="*/ 20 w 1587"/>
                  <a:gd name="T9" fmla="*/ 439 h 1412"/>
                  <a:gd name="T10" fmla="*/ 9 w 1587"/>
                  <a:gd name="T11" fmla="*/ 497 h 1412"/>
                  <a:gd name="T12" fmla="*/ 2 w 1587"/>
                  <a:gd name="T13" fmla="*/ 557 h 1412"/>
                  <a:gd name="T14" fmla="*/ 0 w 1587"/>
                  <a:gd name="T15" fmla="*/ 619 h 1412"/>
                  <a:gd name="T16" fmla="*/ 2 w 1587"/>
                  <a:gd name="T17" fmla="*/ 679 h 1412"/>
                  <a:gd name="T18" fmla="*/ 9 w 1587"/>
                  <a:gd name="T19" fmla="*/ 739 h 1412"/>
                  <a:gd name="T20" fmla="*/ 20 w 1587"/>
                  <a:gd name="T21" fmla="*/ 797 h 1412"/>
                  <a:gd name="T22" fmla="*/ 48 w 1587"/>
                  <a:gd name="T23" fmla="*/ 891 h 1412"/>
                  <a:gd name="T24" fmla="*/ 95 w 1587"/>
                  <a:gd name="T25" fmla="*/ 996 h 1412"/>
                  <a:gd name="T26" fmla="*/ 157 w 1587"/>
                  <a:gd name="T27" fmla="*/ 1093 h 1412"/>
                  <a:gd name="T28" fmla="*/ 232 w 1587"/>
                  <a:gd name="T29" fmla="*/ 1179 h 1412"/>
                  <a:gd name="T30" fmla="*/ 318 w 1587"/>
                  <a:gd name="T31" fmla="*/ 1254 h 1412"/>
                  <a:gd name="T32" fmla="*/ 415 w 1587"/>
                  <a:gd name="T33" fmla="*/ 1316 h 1412"/>
                  <a:gd name="T34" fmla="*/ 520 w 1587"/>
                  <a:gd name="T35" fmla="*/ 1364 h 1412"/>
                  <a:gd name="T36" fmla="*/ 633 w 1587"/>
                  <a:gd name="T37" fmla="*/ 1396 h 1412"/>
                  <a:gd name="T38" fmla="*/ 692 w 1587"/>
                  <a:gd name="T39" fmla="*/ 1406 h 1412"/>
                  <a:gd name="T40" fmla="*/ 752 w 1587"/>
                  <a:gd name="T41" fmla="*/ 1411 h 1412"/>
                  <a:gd name="T42" fmla="*/ 814 w 1587"/>
                  <a:gd name="T43" fmla="*/ 1412 h 1412"/>
                  <a:gd name="T44" fmla="*/ 874 w 1587"/>
                  <a:gd name="T45" fmla="*/ 1408 h 1412"/>
                  <a:gd name="T46" fmla="*/ 934 w 1587"/>
                  <a:gd name="T47" fmla="*/ 1399 h 1412"/>
                  <a:gd name="T48" fmla="*/ 1030 w 1587"/>
                  <a:gd name="T49" fmla="*/ 1376 h 1412"/>
                  <a:gd name="T50" fmla="*/ 1137 w 1587"/>
                  <a:gd name="T51" fmla="*/ 1333 h 1412"/>
                  <a:gd name="T52" fmla="*/ 1237 w 1587"/>
                  <a:gd name="T53" fmla="*/ 1276 h 1412"/>
                  <a:gd name="T54" fmla="*/ 1327 w 1587"/>
                  <a:gd name="T55" fmla="*/ 1206 h 1412"/>
                  <a:gd name="T56" fmla="*/ 1406 w 1587"/>
                  <a:gd name="T57" fmla="*/ 1123 h 1412"/>
                  <a:gd name="T58" fmla="*/ 1472 w 1587"/>
                  <a:gd name="T59" fmla="*/ 1030 h 1412"/>
                  <a:gd name="T60" fmla="*/ 1525 w 1587"/>
                  <a:gd name="T61" fmla="*/ 927 h 1412"/>
                  <a:gd name="T62" fmla="*/ 1563 w 1587"/>
                  <a:gd name="T63" fmla="*/ 817 h 1412"/>
                  <a:gd name="T64" fmla="*/ 1574 w 1587"/>
                  <a:gd name="T65" fmla="*/ 759 h 1412"/>
                  <a:gd name="T66" fmla="*/ 1583 w 1587"/>
                  <a:gd name="T67" fmla="*/ 699 h 1412"/>
                  <a:gd name="T68" fmla="*/ 1587 w 1587"/>
                  <a:gd name="T69" fmla="*/ 639 h 1412"/>
                  <a:gd name="T70" fmla="*/ 1587 w 1587"/>
                  <a:gd name="T71" fmla="*/ 577 h 1412"/>
                  <a:gd name="T72" fmla="*/ 1581 w 1587"/>
                  <a:gd name="T73" fmla="*/ 517 h 1412"/>
                  <a:gd name="T74" fmla="*/ 1571 w 1587"/>
                  <a:gd name="T75" fmla="*/ 459 h 1412"/>
                  <a:gd name="T76" fmla="*/ 1551 w 1587"/>
                  <a:gd name="T77" fmla="*/ 382 h 1412"/>
                  <a:gd name="T78" fmla="*/ 1509 w 1587"/>
                  <a:gd name="T79" fmla="*/ 274 h 1412"/>
                  <a:gd name="T80" fmla="*/ 1452 w 1587"/>
                  <a:gd name="T81" fmla="*/ 175 h 1412"/>
                  <a:gd name="T82" fmla="*/ 1381 w 1587"/>
                  <a:gd name="T83" fmla="*/ 84 h 1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587" h="1412">
                    <a:moveTo>
                      <a:pt x="294" y="0"/>
                    </a:moveTo>
                    <a:lnTo>
                      <a:pt x="259" y="31"/>
                    </a:lnTo>
                    <a:lnTo>
                      <a:pt x="232" y="57"/>
                    </a:lnTo>
                    <a:lnTo>
                      <a:pt x="206" y="84"/>
                    </a:lnTo>
                    <a:lnTo>
                      <a:pt x="181" y="113"/>
                    </a:lnTo>
                    <a:lnTo>
                      <a:pt x="157" y="144"/>
                    </a:lnTo>
                    <a:lnTo>
                      <a:pt x="135" y="175"/>
                    </a:lnTo>
                    <a:lnTo>
                      <a:pt x="114" y="207"/>
                    </a:lnTo>
                    <a:lnTo>
                      <a:pt x="95" y="240"/>
                    </a:lnTo>
                    <a:lnTo>
                      <a:pt x="78" y="274"/>
                    </a:lnTo>
                    <a:lnTo>
                      <a:pt x="62" y="309"/>
                    </a:lnTo>
                    <a:lnTo>
                      <a:pt x="48" y="345"/>
                    </a:lnTo>
                    <a:lnTo>
                      <a:pt x="36" y="382"/>
                    </a:lnTo>
                    <a:lnTo>
                      <a:pt x="24" y="420"/>
                    </a:lnTo>
                    <a:lnTo>
                      <a:pt x="20" y="439"/>
                    </a:lnTo>
                    <a:lnTo>
                      <a:pt x="16" y="459"/>
                    </a:lnTo>
                    <a:lnTo>
                      <a:pt x="12" y="478"/>
                    </a:lnTo>
                    <a:lnTo>
                      <a:pt x="9" y="497"/>
                    </a:lnTo>
                    <a:lnTo>
                      <a:pt x="6" y="517"/>
                    </a:lnTo>
                    <a:lnTo>
                      <a:pt x="3" y="537"/>
                    </a:lnTo>
                    <a:lnTo>
                      <a:pt x="2" y="557"/>
                    </a:lnTo>
                    <a:lnTo>
                      <a:pt x="0" y="577"/>
                    </a:lnTo>
                    <a:lnTo>
                      <a:pt x="0" y="598"/>
                    </a:lnTo>
                    <a:lnTo>
                      <a:pt x="0" y="619"/>
                    </a:lnTo>
                    <a:lnTo>
                      <a:pt x="0" y="639"/>
                    </a:lnTo>
                    <a:lnTo>
                      <a:pt x="0" y="659"/>
                    </a:lnTo>
                    <a:lnTo>
                      <a:pt x="2" y="679"/>
                    </a:lnTo>
                    <a:lnTo>
                      <a:pt x="3" y="699"/>
                    </a:lnTo>
                    <a:lnTo>
                      <a:pt x="6" y="720"/>
                    </a:lnTo>
                    <a:lnTo>
                      <a:pt x="9" y="739"/>
                    </a:lnTo>
                    <a:lnTo>
                      <a:pt x="12" y="759"/>
                    </a:lnTo>
                    <a:lnTo>
                      <a:pt x="16" y="778"/>
                    </a:lnTo>
                    <a:lnTo>
                      <a:pt x="20" y="797"/>
                    </a:lnTo>
                    <a:lnTo>
                      <a:pt x="24" y="817"/>
                    </a:lnTo>
                    <a:lnTo>
                      <a:pt x="36" y="854"/>
                    </a:lnTo>
                    <a:lnTo>
                      <a:pt x="48" y="891"/>
                    </a:lnTo>
                    <a:lnTo>
                      <a:pt x="62" y="927"/>
                    </a:lnTo>
                    <a:lnTo>
                      <a:pt x="78" y="962"/>
                    </a:lnTo>
                    <a:lnTo>
                      <a:pt x="95" y="996"/>
                    </a:lnTo>
                    <a:lnTo>
                      <a:pt x="114" y="1030"/>
                    </a:lnTo>
                    <a:lnTo>
                      <a:pt x="135" y="1062"/>
                    </a:lnTo>
                    <a:lnTo>
                      <a:pt x="157" y="1093"/>
                    </a:lnTo>
                    <a:lnTo>
                      <a:pt x="181" y="1123"/>
                    </a:lnTo>
                    <a:lnTo>
                      <a:pt x="206" y="1152"/>
                    </a:lnTo>
                    <a:lnTo>
                      <a:pt x="232" y="1179"/>
                    </a:lnTo>
                    <a:lnTo>
                      <a:pt x="259" y="1206"/>
                    </a:lnTo>
                    <a:lnTo>
                      <a:pt x="288" y="1230"/>
                    </a:lnTo>
                    <a:lnTo>
                      <a:pt x="318" y="1254"/>
                    </a:lnTo>
                    <a:lnTo>
                      <a:pt x="350" y="1276"/>
                    </a:lnTo>
                    <a:lnTo>
                      <a:pt x="382" y="1297"/>
                    </a:lnTo>
                    <a:lnTo>
                      <a:pt x="415" y="1316"/>
                    </a:lnTo>
                    <a:lnTo>
                      <a:pt x="450" y="1333"/>
                    </a:lnTo>
                    <a:lnTo>
                      <a:pt x="485" y="1349"/>
                    </a:lnTo>
                    <a:lnTo>
                      <a:pt x="520" y="1364"/>
                    </a:lnTo>
                    <a:lnTo>
                      <a:pt x="557" y="1376"/>
                    </a:lnTo>
                    <a:lnTo>
                      <a:pt x="595" y="1387"/>
                    </a:lnTo>
                    <a:lnTo>
                      <a:pt x="633" y="1396"/>
                    </a:lnTo>
                    <a:lnTo>
                      <a:pt x="653" y="1399"/>
                    </a:lnTo>
                    <a:lnTo>
                      <a:pt x="672" y="1403"/>
                    </a:lnTo>
                    <a:lnTo>
                      <a:pt x="692" y="1406"/>
                    </a:lnTo>
                    <a:lnTo>
                      <a:pt x="713" y="1408"/>
                    </a:lnTo>
                    <a:lnTo>
                      <a:pt x="732" y="1409"/>
                    </a:lnTo>
                    <a:lnTo>
                      <a:pt x="752" y="1411"/>
                    </a:lnTo>
                    <a:lnTo>
                      <a:pt x="773" y="1412"/>
                    </a:lnTo>
                    <a:lnTo>
                      <a:pt x="793" y="1412"/>
                    </a:lnTo>
                    <a:lnTo>
                      <a:pt x="814" y="1412"/>
                    </a:lnTo>
                    <a:lnTo>
                      <a:pt x="835" y="1411"/>
                    </a:lnTo>
                    <a:lnTo>
                      <a:pt x="854" y="1409"/>
                    </a:lnTo>
                    <a:lnTo>
                      <a:pt x="874" y="1408"/>
                    </a:lnTo>
                    <a:lnTo>
                      <a:pt x="895" y="1406"/>
                    </a:lnTo>
                    <a:lnTo>
                      <a:pt x="915" y="1403"/>
                    </a:lnTo>
                    <a:lnTo>
                      <a:pt x="934" y="1399"/>
                    </a:lnTo>
                    <a:lnTo>
                      <a:pt x="954" y="1396"/>
                    </a:lnTo>
                    <a:lnTo>
                      <a:pt x="992" y="1387"/>
                    </a:lnTo>
                    <a:lnTo>
                      <a:pt x="1030" y="1376"/>
                    </a:lnTo>
                    <a:lnTo>
                      <a:pt x="1067" y="1364"/>
                    </a:lnTo>
                    <a:lnTo>
                      <a:pt x="1102" y="1349"/>
                    </a:lnTo>
                    <a:lnTo>
                      <a:pt x="1137" y="1333"/>
                    </a:lnTo>
                    <a:lnTo>
                      <a:pt x="1172" y="1316"/>
                    </a:lnTo>
                    <a:lnTo>
                      <a:pt x="1205" y="1297"/>
                    </a:lnTo>
                    <a:lnTo>
                      <a:pt x="1237" y="1276"/>
                    </a:lnTo>
                    <a:lnTo>
                      <a:pt x="1269" y="1254"/>
                    </a:lnTo>
                    <a:lnTo>
                      <a:pt x="1298" y="1230"/>
                    </a:lnTo>
                    <a:lnTo>
                      <a:pt x="1327" y="1206"/>
                    </a:lnTo>
                    <a:lnTo>
                      <a:pt x="1355" y="1179"/>
                    </a:lnTo>
                    <a:lnTo>
                      <a:pt x="1381" y="1152"/>
                    </a:lnTo>
                    <a:lnTo>
                      <a:pt x="1406" y="1123"/>
                    </a:lnTo>
                    <a:lnTo>
                      <a:pt x="1429" y="1093"/>
                    </a:lnTo>
                    <a:lnTo>
                      <a:pt x="1452" y="1062"/>
                    </a:lnTo>
                    <a:lnTo>
                      <a:pt x="1472" y="1030"/>
                    </a:lnTo>
                    <a:lnTo>
                      <a:pt x="1492" y="996"/>
                    </a:lnTo>
                    <a:lnTo>
                      <a:pt x="1509" y="962"/>
                    </a:lnTo>
                    <a:lnTo>
                      <a:pt x="1525" y="927"/>
                    </a:lnTo>
                    <a:lnTo>
                      <a:pt x="1539" y="891"/>
                    </a:lnTo>
                    <a:lnTo>
                      <a:pt x="1551" y="854"/>
                    </a:lnTo>
                    <a:lnTo>
                      <a:pt x="1563" y="817"/>
                    </a:lnTo>
                    <a:lnTo>
                      <a:pt x="1567" y="797"/>
                    </a:lnTo>
                    <a:lnTo>
                      <a:pt x="1571" y="778"/>
                    </a:lnTo>
                    <a:lnTo>
                      <a:pt x="1574" y="759"/>
                    </a:lnTo>
                    <a:lnTo>
                      <a:pt x="1578" y="739"/>
                    </a:lnTo>
                    <a:lnTo>
                      <a:pt x="1581" y="720"/>
                    </a:lnTo>
                    <a:lnTo>
                      <a:pt x="1583" y="699"/>
                    </a:lnTo>
                    <a:lnTo>
                      <a:pt x="1585" y="679"/>
                    </a:lnTo>
                    <a:lnTo>
                      <a:pt x="1587" y="659"/>
                    </a:lnTo>
                    <a:lnTo>
                      <a:pt x="1587" y="639"/>
                    </a:lnTo>
                    <a:lnTo>
                      <a:pt x="1587" y="619"/>
                    </a:lnTo>
                    <a:lnTo>
                      <a:pt x="1587" y="598"/>
                    </a:lnTo>
                    <a:lnTo>
                      <a:pt x="1587" y="577"/>
                    </a:lnTo>
                    <a:lnTo>
                      <a:pt x="1585" y="557"/>
                    </a:lnTo>
                    <a:lnTo>
                      <a:pt x="1583" y="537"/>
                    </a:lnTo>
                    <a:lnTo>
                      <a:pt x="1581" y="517"/>
                    </a:lnTo>
                    <a:lnTo>
                      <a:pt x="1578" y="497"/>
                    </a:lnTo>
                    <a:lnTo>
                      <a:pt x="1574" y="478"/>
                    </a:lnTo>
                    <a:lnTo>
                      <a:pt x="1571" y="459"/>
                    </a:lnTo>
                    <a:lnTo>
                      <a:pt x="1567" y="439"/>
                    </a:lnTo>
                    <a:lnTo>
                      <a:pt x="1563" y="420"/>
                    </a:lnTo>
                    <a:lnTo>
                      <a:pt x="1551" y="382"/>
                    </a:lnTo>
                    <a:lnTo>
                      <a:pt x="1539" y="345"/>
                    </a:lnTo>
                    <a:lnTo>
                      <a:pt x="1525" y="309"/>
                    </a:lnTo>
                    <a:lnTo>
                      <a:pt x="1509" y="274"/>
                    </a:lnTo>
                    <a:lnTo>
                      <a:pt x="1492" y="240"/>
                    </a:lnTo>
                    <a:lnTo>
                      <a:pt x="1472" y="207"/>
                    </a:lnTo>
                    <a:lnTo>
                      <a:pt x="1452" y="175"/>
                    </a:lnTo>
                    <a:lnTo>
                      <a:pt x="1429" y="144"/>
                    </a:lnTo>
                    <a:lnTo>
                      <a:pt x="1406" y="113"/>
                    </a:lnTo>
                    <a:lnTo>
                      <a:pt x="1381" y="84"/>
                    </a:lnTo>
                    <a:lnTo>
                      <a:pt x="1355" y="57"/>
                    </a:lnTo>
                    <a:lnTo>
                      <a:pt x="1326" y="23"/>
                    </a:lnTo>
                  </a:path>
                </a:pathLst>
              </a:custGeom>
              <a:solidFill>
                <a:schemeClr val="accent2"/>
              </a:solidFill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sp>
          <p:nvSpPr>
            <p:cNvPr id="2398217" name="Freeform 9"/>
            <p:cNvSpPr>
              <a:spLocks/>
            </p:cNvSpPr>
            <p:nvPr/>
          </p:nvSpPr>
          <p:spPr bwMode="gray">
            <a:xfrm>
              <a:off x="2094" y="1888"/>
              <a:ext cx="1465" cy="1304"/>
            </a:xfrm>
            <a:custGeom>
              <a:avLst/>
              <a:gdLst>
                <a:gd name="T0" fmla="*/ 248 w 1593"/>
                <a:gd name="T1" fmla="*/ 45 h 1418"/>
                <a:gd name="T2" fmla="*/ 203 w 1593"/>
                <a:gd name="T3" fmla="*/ 97 h 1418"/>
                <a:gd name="T4" fmla="*/ 158 w 1593"/>
                <a:gd name="T5" fmla="*/ 157 h 1418"/>
                <a:gd name="T6" fmla="*/ 115 w 1593"/>
                <a:gd name="T7" fmla="*/ 220 h 1418"/>
                <a:gd name="T8" fmla="*/ 78 w 1593"/>
                <a:gd name="T9" fmla="*/ 286 h 1418"/>
                <a:gd name="T10" fmla="*/ 48 w 1593"/>
                <a:gd name="T11" fmla="*/ 357 h 1418"/>
                <a:gd name="T12" fmla="*/ 24 w 1593"/>
                <a:gd name="T13" fmla="*/ 431 h 1418"/>
                <a:gd name="T14" fmla="*/ 16 w 1593"/>
                <a:gd name="T15" fmla="*/ 470 h 1418"/>
                <a:gd name="T16" fmla="*/ 9 w 1593"/>
                <a:gd name="T17" fmla="*/ 508 h 1418"/>
                <a:gd name="T18" fmla="*/ 3 w 1593"/>
                <a:gd name="T19" fmla="*/ 548 h 1418"/>
                <a:gd name="T20" fmla="*/ 0 w 1593"/>
                <a:gd name="T21" fmla="*/ 588 h 1418"/>
                <a:gd name="T22" fmla="*/ 0 w 1593"/>
                <a:gd name="T23" fmla="*/ 629 h 1418"/>
                <a:gd name="T24" fmla="*/ 0 w 1593"/>
                <a:gd name="T25" fmla="*/ 669 h 1418"/>
                <a:gd name="T26" fmla="*/ 3 w 1593"/>
                <a:gd name="T27" fmla="*/ 709 h 1418"/>
                <a:gd name="T28" fmla="*/ 9 w 1593"/>
                <a:gd name="T29" fmla="*/ 749 h 1418"/>
                <a:gd name="T30" fmla="*/ 16 w 1593"/>
                <a:gd name="T31" fmla="*/ 788 h 1418"/>
                <a:gd name="T32" fmla="*/ 24 w 1593"/>
                <a:gd name="T33" fmla="*/ 826 h 1418"/>
                <a:gd name="T34" fmla="*/ 48 w 1593"/>
                <a:gd name="T35" fmla="*/ 900 h 1418"/>
                <a:gd name="T36" fmla="*/ 78 w 1593"/>
                <a:gd name="T37" fmla="*/ 971 h 1418"/>
                <a:gd name="T38" fmla="*/ 115 w 1593"/>
                <a:gd name="T39" fmla="*/ 1038 h 1418"/>
                <a:gd name="T40" fmla="*/ 158 w 1593"/>
                <a:gd name="T41" fmla="*/ 1101 h 1418"/>
                <a:gd name="T42" fmla="*/ 207 w 1593"/>
                <a:gd name="T43" fmla="*/ 1160 h 1418"/>
                <a:gd name="T44" fmla="*/ 260 w 1593"/>
                <a:gd name="T45" fmla="*/ 1213 h 1418"/>
                <a:gd name="T46" fmla="*/ 320 w 1593"/>
                <a:gd name="T47" fmla="*/ 1261 h 1418"/>
                <a:gd name="T48" fmla="*/ 384 w 1593"/>
                <a:gd name="T49" fmla="*/ 1303 h 1418"/>
                <a:gd name="T50" fmla="*/ 451 w 1593"/>
                <a:gd name="T51" fmla="*/ 1340 h 1418"/>
                <a:gd name="T52" fmla="*/ 522 w 1593"/>
                <a:gd name="T53" fmla="*/ 1370 h 1418"/>
                <a:gd name="T54" fmla="*/ 598 w 1593"/>
                <a:gd name="T55" fmla="*/ 1393 h 1418"/>
                <a:gd name="T56" fmla="*/ 656 w 1593"/>
                <a:gd name="T57" fmla="*/ 1405 h 1418"/>
                <a:gd name="T58" fmla="*/ 695 w 1593"/>
                <a:gd name="T59" fmla="*/ 1412 h 1418"/>
                <a:gd name="T60" fmla="*/ 735 w 1593"/>
                <a:gd name="T61" fmla="*/ 1415 h 1418"/>
                <a:gd name="T62" fmla="*/ 776 w 1593"/>
                <a:gd name="T63" fmla="*/ 1418 h 1418"/>
                <a:gd name="T64" fmla="*/ 817 w 1593"/>
                <a:gd name="T65" fmla="*/ 1418 h 1418"/>
                <a:gd name="T66" fmla="*/ 857 w 1593"/>
                <a:gd name="T67" fmla="*/ 1415 h 1418"/>
                <a:gd name="T68" fmla="*/ 898 w 1593"/>
                <a:gd name="T69" fmla="*/ 1412 h 1418"/>
                <a:gd name="T70" fmla="*/ 937 w 1593"/>
                <a:gd name="T71" fmla="*/ 1405 h 1418"/>
                <a:gd name="T72" fmla="*/ 995 w 1593"/>
                <a:gd name="T73" fmla="*/ 1393 h 1418"/>
                <a:gd name="T74" fmla="*/ 1071 w 1593"/>
                <a:gd name="T75" fmla="*/ 1370 h 1418"/>
                <a:gd name="T76" fmla="*/ 1142 w 1593"/>
                <a:gd name="T77" fmla="*/ 1340 h 1418"/>
                <a:gd name="T78" fmla="*/ 1209 w 1593"/>
                <a:gd name="T79" fmla="*/ 1303 h 1418"/>
                <a:gd name="T80" fmla="*/ 1273 w 1593"/>
                <a:gd name="T81" fmla="*/ 1261 h 1418"/>
                <a:gd name="T82" fmla="*/ 1332 w 1593"/>
                <a:gd name="T83" fmla="*/ 1213 h 1418"/>
                <a:gd name="T84" fmla="*/ 1386 w 1593"/>
                <a:gd name="T85" fmla="*/ 1160 h 1418"/>
                <a:gd name="T86" fmla="*/ 1434 w 1593"/>
                <a:gd name="T87" fmla="*/ 1101 h 1418"/>
                <a:gd name="T88" fmla="*/ 1478 w 1593"/>
                <a:gd name="T89" fmla="*/ 1038 h 1418"/>
                <a:gd name="T90" fmla="*/ 1515 w 1593"/>
                <a:gd name="T91" fmla="*/ 971 h 1418"/>
                <a:gd name="T92" fmla="*/ 1545 w 1593"/>
                <a:gd name="T93" fmla="*/ 900 h 1418"/>
                <a:gd name="T94" fmla="*/ 1569 w 1593"/>
                <a:gd name="T95" fmla="*/ 826 h 1418"/>
                <a:gd name="T96" fmla="*/ 1577 w 1593"/>
                <a:gd name="T97" fmla="*/ 788 h 1418"/>
                <a:gd name="T98" fmla="*/ 1584 w 1593"/>
                <a:gd name="T99" fmla="*/ 749 h 1418"/>
                <a:gd name="T100" fmla="*/ 1589 w 1593"/>
                <a:gd name="T101" fmla="*/ 709 h 1418"/>
                <a:gd name="T102" fmla="*/ 1593 w 1593"/>
                <a:gd name="T103" fmla="*/ 669 h 1418"/>
                <a:gd name="T104" fmla="*/ 1593 w 1593"/>
                <a:gd name="T105" fmla="*/ 629 h 1418"/>
                <a:gd name="T106" fmla="*/ 1593 w 1593"/>
                <a:gd name="T107" fmla="*/ 588 h 1418"/>
                <a:gd name="T108" fmla="*/ 1589 w 1593"/>
                <a:gd name="T109" fmla="*/ 548 h 1418"/>
                <a:gd name="T110" fmla="*/ 1584 w 1593"/>
                <a:gd name="T111" fmla="*/ 508 h 1418"/>
                <a:gd name="T112" fmla="*/ 1577 w 1593"/>
                <a:gd name="T113" fmla="*/ 470 h 1418"/>
                <a:gd name="T114" fmla="*/ 1569 w 1593"/>
                <a:gd name="T115" fmla="*/ 431 h 1418"/>
                <a:gd name="T116" fmla="*/ 1545 w 1593"/>
                <a:gd name="T117" fmla="*/ 357 h 1418"/>
                <a:gd name="T118" fmla="*/ 1517 w 1593"/>
                <a:gd name="T119" fmla="*/ 283 h 1418"/>
                <a:gd name="T120" fmla="*/ 1484 w 1593"/>
                <a:gd name="T121" fmla="*/ 214 h 1418"/>
                <a:gd name="T122" fmla="*/ 1421 w 1593"/>
                <a:gd name="T123" fmla="*/ 124 h 1418"/>
                <a:gd name="T124" fmla="*/ 1310 w 1593"/>
                <a:gd name="T125" fmla="*/ 3 h 1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93" h="1418">
                  <a:moveTo>
                    <a:pt x="300" y="0"/>
                  </a:moveTo>
                  <a:lnTo>
                    <a:pt x="248" y="45"/>
                  </a:lnTo>
                  <a:lnTo>
                    <a:pt x="227" y="70"/>
                  </a:lnTo>
                  <a:lnTo>
                    <a:pt x="203" y="97"/>
                  </a:lnTo>
                  <a:lnTo>
                    <a:pt x="182" y="127"/>
                  </a:lnTo>
                  <a:lnTo>
                    <a:pt x="158" y="157"/>
                  </a:lnTo>
                  <a:lnTo>
                    <a:pt x="136" y="188"/>
                  </a:lnTo>
                  <a:lnTo>
                    <a:pt x="115" y="220"/>
                  </a:lnTo>
                  <a:lnTo>
                    <a:pt x="96" y="253"/>
                  </a:lnTo>
                  <a:lnTo>
                    <a:pt x="78" y="286"/>
                  </a:lnTo>
                  <a:lnTo>
                    <a:pt x="63" y="321"/>
                  </a:lnTo>
                  <a:lnTo>
                    <a:pt x="48" y="357"/>
                  </a:lnTo>
                  <a:lnTo>
                    <a:pt x="36" y="394"/>
                  </a:lnTo>
                  <a:lnTo>
                    <a:pt x="24" y="431"/>
                  </a:lnTo>
                  <a:lnTo>
                    <a:pt x="20" y="450"/>
                  </a:lnTo>
                  <a:lnTo>
                    <a:pt x="16" y="470"/>
                  </a:lnTo>
                  <a:lnTo>
                    <a:pt x="12" y="489"/>
                  </a:lnTo>
                  <a:lnTo>
                    <a:pt x="9" y="508"/>
                  </a:lnTo>
                  <a:lnTo>
                    <a:pt x="6" y="528"/>
                  </a:lnTo>
                  <a:lnTo>
                    <a:pt x="3" y="548"/>
                  </a:lnTo>
                  <a:lnTo>
                    <a:pt x="2" y="568"/>
                  </a:lnTo>
                  <a:lnTo>
                    <a:pt x="0" y="588"/>
                  </a:lnTo>
                  <a:lnTo>
                    <a:pt x="0" y="608"/>
                  </a:lnTo>
                  <a:lnTo>
                    <a:pt x="0" y="629"/>
                  </a:lnTo>
                  <a:lnTo>
                    <a:pt x="0" y="649"/>
                  </a:lnTo>
                  <a:lnTo>
                    <a:pt x="0" y="669"/>
                  </a:lnTo>
                  <a:lnTo>
                    <a:pt x="2" y="689"/>
                  </a:lnTo>
                  <a:lnTo>
                    <a:pt x="3" y="709"/>
                  </a:lnTo>
                  <a:lnTo>
                    <a:pt x="6" y="729"/>
                  </a:lnTo>
                  <a:lnTo>
                    <a:pt x="9" y="749"/>
                  </a:lnTo>
                  <a:lnTo>
                    <a:pt x="12" y="769"/>
                  </a:lnTo>
                  <a:lnTo>
                    <a:pt x="16" y="788"/>
                  </a:lnTo>
                  <a:lnTo>
                    <a:pt x="20" y="807"/>
                  </a:lnTo>
                  <a:lnTo>
                    <a:pt x="24" y="826"/>
                  </a:lnTo>
                  <a:lnTo>
                    <a:pt x="36" y="863"/>
                  </a:lnTo>
                  <a:lnTo>
                    <a:pt x="48" y="900"/>
                  </a:lnTo>
                  <a:lnTo>
                    <a:pt x="63" y="936"/>
                  </a:lnTo>
                  <a:lnTo>
                    <a:pt x="78" y="971"/>
                  </a:lnTo>
                  <a:lnTo>
                    <a:pt x="96" y="1005"/>
                  </a:lnTo>
                  <a:lnTo>
                    <a:pt x="115" y="1038"/>
                  </a:lnTo>
                  <a:lnTo>
                    <a:pt x="136" y="1070"/>
                  </a:lnTo>
                  <a:lnTo>
                    <a:pt x="158" y="1101"/>
                  </a:lnTo>
                  <a:lnTo>
                    <a:pt x="182" y="1131"/>
                  </a:lnTo>
                  <a:lnTo>
                    <a:pt x="207" y="1160"/>
                  </a:lnTo>
                  <a:lnTo>
                    <a:pt x="233" y="1186"/>
                  </a:lnTo>
                  <a:lnTo>
                    <a:pt x="260" y="1213"/>
                  </a:lnTo>
                  <a:lnTo>
                    <a:pt x="289" y="1237"/>
                  </a:lnTo>
                  <a:lnTo>
                    <a:pt x="320" y="1261"/>
                  </a:lnTo>
                  <a:lnTo>
                    <a:pt x="351" y="1283"/>
                  </a:lnTo>
                  <a:lnTo>
                    <a:pt x="384" y="1303"/>
                  </a:lnTo>
                  <a:lnTo>
                    <a:pt x="417" y="1323"/>
                  </a:lnTo>
                  <a:lnTo>
                    <a:pt x="451" y="1340"/>
                  </a:lnTo>
                  <a:lnTo>
                    <a:pt x="487" y="1356"/>
                  </a:lnTo>
                  <a:lnTo>
                    <a:pt x="522" y="1370"/>
                  </a:lnTo>
                  <a:lnTo>
                    <a:pt x="560" y="1382"/>
                  </a:lnTo>
                  <a:lnTo>
                    <a:pt x="598" y="1393"/>
                  </a:lnTo>
                  <a:lnTo>
                    <a:pt x="636" y="1402"/>
                  </a:lnTo>
                  <a:lnTo>
                    <a:pt x="656" y="1405"/>
                  </a:lnTo>
                  <a:lnTo>
                    <a:pt x="675" y="1409"/>
                  </a:lnTo>
                  <a:lnTo>
                    <a:pt x="695" y="1412"/>
                  </a:lnTo>
                  <a:lnTo>
                    <a:pt x="715" y="1414"/>
                  </a:lnTo>
                  <a:lnTo>
                    <a:pt x="735" y="1415"/>
                  </a:lnTo>
                  <a:lnTo>
                    <a:pt x="755" y="1417"/>
                  </a:lnTo>
                  <a:lnTo>
                    <a:pt x="776" y="1418"/>
                  </a:lnTo>
                  <a:lnTo>
                    <a:pt x="796" y="1418"/>
                  </a:lnTo>
                  <a:lnTo>
                    <a:pt x="817" y="1418"/>
                  </a:lnTo>
                  <a:lnTo>
                    <a:pt x="838" y="1417"/>
                  </a:lnTo>
                  <a:lnTo>
                    <a:pt x="857" y="1415"/>
                  </a:lnTo>
                  <a:lnTo>
                    <a:pt x="878" y="1414"/>
                  </a:lnTo>
                  <a:lnTo>
                    <a:pt x="898" y="1412"/>
                  </a:lnTo>
                  <a:lnTo>
                    <a:pt x="918" y="1409"/>
                  </a:lnTo>
                  <a:lnTo>
                    <a:pt x="937" y="1405"/>
                  </a:lnTo>
                  <a:lnTo>
                    <a:pt x="957" y="1402"/>
                  </a:lnTo>
                  <a:lnTo>
                    <a:pt x="995" y="1393"/>
                  </a:lnTo>
                  <a:lnTo>
                    <a:pt x="1033" y="1382"/>
                  </a:lnTo>
                  <a:lnTo>
                    <a:pt x="1071" y="1370"/>
                  </a:lnTo>
                  <a:lnTo>
                    <a:pt x="1106" y="1356"/>
                  </a:lnTo>
                  <a:lnTo>
                    <a:pt x="1142" y="1340"/>
                  </a:lnTo>
                  <a:lnTo>
                    <a:pt x="1177" y="1323"/>
                  </a:lnTo>
                  <a:lnTo>
                    <a:pt x="1209" y="1303"/>
                  </a:lnTo>
                  <a:lnTo>
                    <a:pt x="1242" y="1283"/>
                  </a:lnTo>
                  <a:lnTo>
                    <a:pt x="1273" y="1261"/>
                  </a:lnTo>
                  <a:lnTo>
                    <a:pt x="1303" y="1237"/>
                  </a:lnTo>
                  <a:lnTo>
                    <a:pt x="1332" y="1213"/>
                  </a:lnTo>
                  <a:lnTo>
                    <a:pt x="1360" y="1186"/>
                  </a:lnTo>
                  <a:lnTo>
                    <a:pt x="1386" y="1160"/>
                  </a:lnTo>
                  <a:lnTo>
                    <a:pt x="1411" y="1131"/>
                  </a:lnTo>
                  <a:lnTo>
                    <a:pt x="1434" y="1101"/>
                  </a:lnTo>
                  <a:lnTo>
                    <a:pt x="1457" y="1070"/>
                  </a:lnTo>
                  <a:lnTo>
                    <a:pt x="1478" y="1038"/>
                  </a:lnTo>
                  <a:lnTo>
                    <a:pt x="1497" y="1005"/>
                  </a:lnTo>
                  <a:lnTo>
                    <a:pt x="1515" y="971"/>
                  </a:lnTo>
                  <a:lnTo>
                    <a:pt x="1530" y="936"/>
                  </a:lnTo>
                  <a:lnTo>
                    <a:pt x="1545" y="900"/>
                  </a:lnTo>
                  <a:lnTo>
                    <a:pt x="1557" y="863"/>
                  </a:lnTo>
                  <a:lnTo>
                    <a:pt x="1569" y="826"/>
                  </a:lnTo>
                  <a:lnTo>
                    <a:pt x="1573" y="807"/>
                  </a:lnTo>
                  <a:lnTo>
                    <a:pt x="1577" y="788"/>
                  </a:lnTo>
                  <a:lnTo>
                    <a:pt x="1580" y="769"/>
                  </a:lnTo>
                  <a:lnTo>
                    <a:pt x="1584" y="749"/>
                  </a:lnTo>
                  <a:lnTo>
                    <a:pt x="1587" y="729"/>
                  </a:lnTo>
                  <a:lnTo>
                    <a:pt x="1589" y="709"/>
                  </a:lnTo>
                  <a:lnTo>
                    <a:pt x="1591" y="689"/>
                  </a:lnTo>
                  <a:lnTo>
                    <a:pt x="1593" y="669"/>
                  </a:lnTo>
                  <a:lnTo>
                    <a:pt x="1593" y="649"/>
                  </a:lnTo>
                  <a:lnTo>
                    <a:pt x="1593" y="629"/>
                  </a:lnTo>
                  <a:lnTo>
                    <a:pt x="1593" y="608"/>
                  </a:lnTo>
                  <a:lnTo>
                    <a:pt x="1593" y="588"/>
                  </a:lnTo>
                  <a:lnTo>
                    <a:pt x="1591" y="568"/>
                  </a:lnTo>
                  <a:lnTo>
                    <a:pt x="1589" y="548"/>
                  </a:lnTo>
                  <a:lnTo>
                    <a:pt x="1587" y="528"/>
                  </a:lnTo>
                  <a:lnTo>
                    <a:pt x="1584" y="508"/>
                  </a:lnTo>
                  <a:lnTo>
                    <a:pt x="1580" y="489"/>
                  </a:lnTo>
                  <a:lnTo>
                    <a:pt x="1577" y="470"/>
                  </a:lnTo>
                  <a:lnTo>
                    <a:pt x="1573" y="450"/>
                  </a:lnTo>
                  <a:lnTo>
                    <a:pt x="1569" y="431"/>
                  </a:lnTo>
                  <a:lnTo>
                    <a:pt x="1557" y="394"/>
                  </a:lnTo>
                  <a:lnTo>
                    <a:pt x="1545" y="357"/>
                  </a:lnTo>
                  <a:lnTo>
                    <a:pt x="1533" y="319"/>
                  </a:lnTo>
                  <a:lnTo>
                    <a:pt x="1517" y="283"/>
                  </a:lnTo>
                  <a:lnTo>
                    <a:pt x="1500" y="249"/>
                  </a:lnTo>
                  <a:cubicBezTo>
                    <a:pt x="1495" y="238"/>
                    <a:pt x="1490" y="225"/>
                    <a:pt x="1484" y="214"/>
                  </a:cubicBezTo>
                  <a:cubicBezTo>
                    <a:pt x="1478" y="203"/>
                    <a:pt x="1473" y="198"/>
                    <a:pt x="1463" y="183"/>
                  </a:cubicBezTo>
                  <a:cubicBezTo>
                    <a:pt x="1453" y="168"/>
                    <a:pt x="1432" y="139"/>
                    <a:pt x="1421" y="124"/>
                  </a:cubicBezTo>
                  <a:cubicBezTo>
                    <a:pt x="1410" y="109"/>
                    <a:pt x="1376" y="73"/>
                    <a:pt x="1358" y="54"/>
                  </a:cubicBezTo>
                  <a:lnTo>
                    <a:pt x="1310" y="3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8218" name="Freeform 10"/>
            <p:cNvSpPr>
              <a:spLocks/>
            </p:cNvSpPr>
            <p:nvPr/>
          </p:nvSpPr>
          <p:spPr bwMode="gray">
            <a:xfrm>
              <a:off x="1788" y="2519"/>
              <a:ext cx="301" cy="149"/>
            </a:xfrm>
            <a:custGeom>
              <a:avLst/>
              <a:gdLst>
                <a:gd name="T0" fmla="*/ 0 w 327"/>
                <a:gd name="T1" fmla="*/ 61 h 161"/>
                <a:gd name="T2" fmla="*/ 194 w 327"/>
                <a:gd name="T3" fmla="*/ 161 h 161"/>
                <a:gd name="T4" fmla="*/ 327 w 327"/>
                <a:gd name="T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7" h="161">
                  <a:moveTo>
                    <a:pt x="0" y="61"/>
                  </a:moveTo>
                  <a:lnTo>
                    <a:pt x="194" y="161"/>
                  </a:lnTo>
                  <a:lnTo>
                    <a:pt x="327" y="0"/>
                  </a:ln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8219" name="Freeform 11"/>
            <p:cNvSpPr>
              <a:spLocks/>
            </p:cNvSpPr>
            <p:nvPr/>
          </p:nvSpPr>
          <p:spPr bwMode="gray">
            <a:xfrm>
              <a:off x="2235" y="3055"/>
              <a:ext cx="189" cy="265"/>
            </a:xfrm>
            <a:custGeom>
              <a:avLst/>
              <a:gdLst>
                <a:gd name="T0" fmla="*/ 0 w 206"/>
                <a:gd name="T1" fmla="*/ 288 h 288"/>
                <a:gd name="T2" fmla="*/ 206 w 206"/>
                <a:gd name="T3" fmla="*/ 216 h 288"/>
                <a:gd name="T4" fmla="*/ 174 w 206"/>
                <a:gd name="T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6" h="288">
                  <a:moveTo>
                    <a:pt x="0" y="288"/>
                  </a:moveTo>
                  <a:lnTo>
                    <a:pt x="206" y="216"/>
                  </a:lnTo>
                  <a:lnTo>
                    <a:pt x="174" y="0"/>
                  </a:ln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8220" name="Freeform 12"/>
            <p:cNvSpPr>
              <a:spLocks/>
            </p:cNvSpPr>
            <p:nvPr/>
          </p:nvSpPr>
          <p:spPr bwMode="gray">
            <a:xfrm rot="3790904" flipV="1">
              <a:off x="2945" y="3227"/>
              <a:ext cx="314" cy="124"/>
            </a:xfrm>
            <a:custGeom>
              <a:avLst/>
              <a:gdLst>
                <a:gd name="T0" fmla="*/ 0 w 342"/>
                <a:gd name="T1" fmla="*/ 0 h 135"/>
                <a:gd name="T2" fmla="*/ 172 w 342"/>
                <a:gd name="T3" fmla="*/ 135 h 135"/>
                <a:gd name="T4" fmla="*/ 342 w 342"/>
                <a:gd name="T5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2" h="135">
                  <a:moveTo>
                    <a:pt x="0" y="0"/>
                  </a:moveTo>
                  <a:lnTo>
                    <a:pt x="172" y="135"/>
                  </a:lnTo>
                  <a:lnTo>
                    <a:pt x="342" y="0"/>
                  </a:ln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8221" name="Freeform 13"/>
            <p:cNvSpPr>
              <a:spLocks/>
            </p:cNvSpPr>
            <p:nvPr/>
          </p:nvSpPr>
          <p:spPr bwMode="gray">
            <a:xfrm>
              <a:off x="3492" y="2719"/>
              <a:ext cx="279" cy="181"/>
            </a:xfrm>
            <a:custGeom>
              <a:avLst/>
              <a:gdLst>
                <a:gd name="T0" fmla="*/ 0 w 304"/>
                <a:gd name="T1" fmla="*/ 44 h 197"/>
                <a:gd name="T2" fmla="*/ 213 w 304"/>
                <a:gd name="T3" fmla="*/ 0 h 197"/>
                <a:gd name="T4" fmla="*/ 304 w 304"/>
                <a:gd name="T5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4" h="197">
                  <a:moveTo>
                    <a:pt x="0" y="44"/>
                  </a:moveTo>
                  <a:lnTo>
                    <a:pt x="213" y="0"/>
                  </a:lnTo>
                  <a:lnTo>
                    <a:pt x="304" y="197"/>
                  </a:ln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8222" name="Freeform 14"/>
            <p:cNvSpPr>
              <a:spLocks/>
            </p:cNvSpPr>
            <p:nvPr/>
          </p:nvSpPr>
          <p:spPr bwMode="gray">
            <a:xfrm>
              <a:off x="3455" y="1899"/>
              <a:ext cx="258" cy="190"/>
            </a:xfrm>
            <a:custGeom>
              <a:avLst/>
              <a:gdLst>
                <a:gd name="T0" fmla="*/ 0 w 280"/>
                <a:gd name="T1" fmla="*/ 207 h 207"/>
                <a:gd name="T2" fmla="*/ 64 w 280"/>
                <a:gd name="T3" fmla="*/ 0 h 207"/>
                <a:gd name="T4" fmla="*/ 280 w 280"/>
                <a:gd name="T5" fmla="*/ 18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0" h="207">
                  <a:moveTo>
                    <a:pt x="0" y="207"/>
                  </a:moveTo>
                  <a:lnTo>
                    <a:pt x="64" y="0"/>
                  </a:lnTo>
                  <a:lnTo>
                    <a:pt x="280" y="18"/>
                  </a:ln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2398223" name="Group 15"/>
            <p:cNvGrpSpPr>
              <a:grpSpLocks/>
            </p:cNvGrpSpPr>
            <p:nvPr/>
          </p:nvGrpSpPr>
          <p:grpSpPr bwMode="auto">
            <a:xfrm rot="-737367">
              <a:off x="2153" y="2275"/>
              <a:ext cx="1466" cy="907"/>
              <a:chOff x="2076" y="2148"/>
              <a:chExt cx="1594" cy="986"/>
            </a:xfrm>
          </p:grpSpPr>
          <p:sp>
            <p:nvSpPr>
              <p:cNvPr id="2398224" name="Arc 16"/>
              <p:cNvSpPr>
                <a:spLocks/>
              </p:cNvSpPr>
              <p:nvPr/>
            </p:nvSpPr>
            <p:spPr bwMode="gray">
              <a:xfrm flipV="1">
                <a:off x="2076" y="2148"/>
                <a:ext cx="1594" cy="986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2 w 43200"/>
                  <a:gd name="T1" fmla="*/ 22564 h 27073"/>
                  <a:gd name="T2" fmla="*/ 42495 w 43200"/>
                  <a:gd name="T3" fmla="*/ 27073 h 27073"/>
                  <a:gd name="T4" fmla="*/ 21600 w 43200"/>
                  <a:gd name="T5" fmla="*/ 21600 h 27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27073" fill="none" extrusionOk="0">
                    <a:moveTo>
                      <a:pt x="21" y="22564"/>
                    </a:moveTo>
                    <a:cubicBezTo>
                      <a:pt x="7" y="22242"/>
                      <a:pt x="0" y="21921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23446"/>
                      <a:pt x="42963" y="25286"/>
                      <a:pt x="42495" y="27073"/>
                    </a:cubicBezTo>
                  </a:path>
                  <a:path w="43200" h="27073" stroke="0" extrusionOk="0">
                    <a:moveTo>
                      <a:pt x="21" y="22564"/>
                    </a:moveTo>
                    <a:cubicBezTo>
                      <a:pt x="7" y="22242"/>
                      <a:pt x="0" y="21921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23446"/>
                      <a:pt x="42963" y="25286"/>
                      <a:pt x="42495" y="27073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36000" rIns="0" bIns="3600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398225" name="Arc 17"/>
              <p:cNvSpPr>
                <a:spLocks/>
              </p:cNvSpPr>
              <p:nvPr/>
            </p:nvSpPr>
            <p:spPr bwMode="gray">
              <a:xfrm flipV="1">
                <a:off x="2264" y="2198"/>
                <a:ext cx="1218" cy="754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2 w 43200"/>
                  <a:gd name="T1" fmla="*/ 22564 h 27073"/>
                  <a:gd name="T2" fmla="*/ 42495 w 43200"/>
                  <a:gd name="T3" fmla="*/ 27073 h 27073"/>
                  <a:gd name="T4" fmla="*/ 21600 w 43200"/>
                  <a:gd name="T5" fmla="*/ 21600 h 27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27073" fill="none" extrusionOk="0">
                    <a:moveTo>
                      <a:pt x="21" y="22564"/>
                    </a:moveTo>
                    <a:cubicBezTo>
                      <a:pt x="7" y="22242"/>
                      <a:pt x="0" y="21921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23446"/>
                      <a:pt x="42963" y="25286"/>
                      <a:pt x="42495" y="27073"/>
                    </a:cubicBezTo>
                  </a:path>
                  <a:path w="43200" h="27073" stroke="0" extrusionOk="0">
                    <a:moveTo>
                      <a:pt x="21" y="22564"/>
                    </a:moveTo>
                    <a:cubicBezTo>
                      <a:pt x="7" y="22242"/>
                      <a:pt x="0" y="21921"/>
                      <a:pt x="0" y="21600"/>
                    </a:cubicBezTo>
                    <a:cubicBezTo>
                      <a:pt x="0" y="9670"/>
                      <a:pt x="9670" y="0"/>
                      <a:pt x="21600" y="0"/>
                    </a:cubicBez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23446"/>
                      <a:pt x="42963" y="25286"/>
                      <a:pt x="42495" y="27073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36000" rIns="0" bIns="3600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cxnSp>
            <p:nvCxnSpPr>
              <p:cNvPr id="2398226" name="AutoShape 18"/>
              <p:cNvCxnSpPr>
                <a:cxnSpLocks noChangeShapeType="1"/>
                <a:stCxn id="2398224" idx="0"/>
                <a:endCxn id="2398225" idx="0"/>
              </p:cNvCxnSpPr>
              <p:nvPr/>
            </p:nvCxnSpPr>
            <p:spPr bwMode="gray">
              <a:xfrm>
                <a:off x="2076" y="2312"/>
                <a:ext cx="188" cy="11"/>
              </a:xfrm>
              <a:prstGeom prst="straightConnector1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398227" name="AutoShape 19"/>
              <p:cNvCxnSpPr>
                <a:cxnSpLocks noChangeShapeType="1"/>
                <a:stCxn id="2398225" idx="1"/>
                <a:endCxn id="2398224" idx="1"/>
              </p:cNvCxnSpPr>
              <p:nvPr/>
            </p:nvCxnSpPr>
            <p:spPr bwMode="gray">
              <a:xfrm flipV="1">
                <a:off x="3462" y="2148"/>
                <a:ext cx="181" cy="50"/>
              </a:xfrm>
              <a:prstGeom prst="straightConnector1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2398228" name="WordArt 20"/>
            <p:cNvSpPr>
              <a:spLocks noChangeArrowheads="1" noChangeShapeType="1" noTextEdit="1"/>
            </p:cNvSpPr>
            <p:nvPr/>
          </p:nvSpPr>
          <p:spPr bwMode="gray">
            <a:xfrm rot="-1127868">
              <a:off x="2378" y="2388"/>
              <a:ext cx="1084" cy="68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spcFirstLastPara="1" wrap="none" fromWordArt="1">
              <a:prstTxWarp prst="textArchDown">
                <a:avLst>
                  <a:gd name="adj" fmla="val 199884"/>
                </a:avLst>
              </a:prstTxWarp>
            </a:bodyPr>
            <a:lstStyle/>
            <a:p>
              <a:endParaRPr lang="en-US" sz="800" kern="10" dirty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98229" name="Oval 21"/>
            <p:cNvSpPr>
              <a:spLocks noChangeArrowheads="1"/>
            </p:cNvSpPr>
            <p:nvPr/>
          </p:nvSpPr>
          <p:spPr bwMode="gray">
            <a:xfrm>
              <a:off x="1795" y="2010"/>
              <a:ext cx="125" cy="125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r>
                <a:rPr lang="en-US" sz="1200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6</a:t>
              </a:r>
            </a:p>
          </p:txBody>
        </p:sp>
        <p:sp>
          <p:nvSpPr>
            <p:cNvPr id="2398230" name="Oval 22"/>
            <p:cNvSpPr>
              <a:spLocks noChangeArrowheads="1"/>
            </p:cNvSpPr>
            <p:nvPr/>
          </p:nvSpPr>
          <p:spPr bwMode="gray">
            <a:xfrm>
              <a:off x="1894" y="2985"/>
              <a:ext cx="125" cy="125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r>
                <a:rPr lang="en-US" sz="12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5</a:t>
              </a:r>
            </a:p>
          </p:txBody>
        </p:sp>
        <p:sp>
          <p:nvSpPr>
            <p:cNvPr id="2398231" name="Oval 23"/>
            <p:cNvSpPr>
              <a:spLocks noChangeArrowheads="1"/>
            </p:cNvSpPr>
            <p:nvPr/>
          </p:nvSpPr>
          <p:spPr bwMode="gray">
            <a:xfrm>
              <a:off x="2650" y="3441"/>
              <a:ext cx="125" cy="125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r>
                <a:rPr lang="en-US" sz="12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4</a:t>
              </a:r>
            </a:p>
          </p:txBody>
        </p:sp>
        <p:sp>
          <p:nvSpPr>
            <p:cNvPr id="2398232" name="Oval 24"/>
            <p:cNvSpPr>
              <a:spLocks noChangeArrowheads="1"/>
            </p:cNvSpPr>
            <p:nvPr/>
          </p:nvSpPr>
          <p:spPr bwMode="gray">
            <a:xfrm>
              <a:off x="3499" y="3137"/>
              <a:ext cx="125" cy="126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r>
                <a:rPr lang="en-US" sz="12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3</a:t>
              </a:r>
            </a:p>
          </p:txBody>
        </p:sp>
        <p:sp>
          <p:nvSpPr>
            <p:cNvPr id="2398233" name="Oval 25"/>
            <p:cNvSpPr>
              <a:spLocks noChangeArrowheads="1"/>
            </p:cNvSpPr>
            <p:nvPr/>
          </p:nvSpPr>
          <p:spPr bwMode="gray">
            <a:xfrm>
              <a:off x="3328" y="1475"/>
              <a:ext cx="125" cy="125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r>
                <a:rPr lang="en-US" sz="12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1</a:t>
              </a:r>
            </a:p>
          </p:txBody>
        </p:sp>
        <p:sp>
          <p:nvSpPr>
            <p:cNvPr id="2398234" name="Oval 26"/>
            <p:cNvSpPr>
              <a:spLocks noChangeArrowheads="1"/>
            </p:cNvSpPr>
            <p:nvPr/>
          </p:nvSpPr>
          <p:spPr bwMode="gray">
            <a:xfrm>
              <a:off x="3793" y="2229"/>
              <a:ext cx="136" cy="136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r>
                <a:rPr lang="en-US" sz="12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2</a:t>
              </a:r>
            </a:p>
          </p:txBody>
        </p:sp>
        <p:sp>
          <p:nvSpPr>
            <p:cNvPr id="2398235" name="Rectangle 27"/>
            <p:cNvSpPr>
              <a:spLocks noChangeArrowheads="1"/>
            </p:cNvSpPr>
            <p:nvPr/>
          </p:nvSpPr>
          <p:spPr bwMode="gray">
            <a:xfrm rot="6925613">
              <a:off x="1782" y="2078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98236" name="Rectangle 28"/>
            <p:cNvSpPr>
              <a:spLocks noChangeArrowheads="1"/>
            </p:cNvSpPr>
            <p:nvPr/>
          </p:nvSpPr>
          <p:spPr bwMode="gray">
            <a:xfrm rot="3165047">
              <a:off x="1872" y="2876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98237" name="Rectangle 29"/>
            <p:cNvSpPr>
              <a:spLocks noChangeArrowheads="1"/>
            </p:cNvSpPr>
            <p:nvPr/>
          </p:nvSpPr>
          <p:spPr bwMode="gray">
            <a:xfrm>
              <a:off x="2478" y="3266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98238" name="Rectangle 30"/>
            <p:cNvSpPr>
              <a:spLocks noChangeArrowheads="1"/>
            </p:cNvSpPr>
            <p:nvPr/>
          </p:nvSpPr>
          <p:spPr bwMode="gray">
            <a:xfrm rot="-2723659">
              <a:off x="3210" y="3020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98239" name="Rectangle 31"/>
            <p:cNvSpPr>
              <a:spLocks noChangeArrowheads="1"/>
            </p:cNvSpPr>
            <p:nvPr/>
          </p:nvSpPr>
          <p:spPr bwMode="gray">
            <a:xfrm rot="26333086">
              <a:off x="3462" y="2258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98240" name="Rectangle 32"/>
            <p:cNvSpPr>
              <a:spLocks noChangeArrowheads="1"/>
            </p:cNvSpPr>
            <p:nvPr/>
          </p:nvSpPr>
          <p:spPr bwMode="gray">
            <a:xfrm rot="24398983">
              <a:off x="3036" y="1592"/>
              <a:ext cx="45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200" b="1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61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2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ycle </a:t>
            </a:r>
            <a:r>
              <a:rPr lang="en-US">
                <a:cs typeface="Arial" pitchFamily="34" charset="0"/>
              </a:rPr>
              <a:t>–</a:t>
            </a:r>
            <a:r>
              <a:rPr lang="en-US"/>
              <a:t> 7 Factors</a:t>
            </a:r>
          </a:p>
        </p:txBody>
      </p:sp>
      <p:grpSp>
        <p:nvGrpSpPr>
          <p:cNvPr id="2402350" name="Group 46"/>
          <p:cNvGrpSpPr>
            <a:grpSpLocks/>
          </p:cNvGrpSpPr>
          <p:nvPr/>
        </p:nvGrpSpPr>
        <p:grpSpPr bwMode="auto">
          <a:xfrm>
            <a:off x="3127376" y="1452563"/>
            <a:ext cx="4576763" cy="4214812"/>
            <a:chOff x="1010" y="915"/>
            <a:chExt cx="2883" cy="2655"/>
          </a:xfrm>
        </p:grpSpPr>
        <p:grpSp>
          <p:nvGrpSpPr>
            <p:cNvPr id="2402349" name="Group 45"/>
            <p:cNvGrpSpPr>
              <a:grpSpLocks/>
            </p:cNvGrpSpPr>
            <p:nvPr/>
          </p:nvGrpSpPr>
          <p:grpSpPr bwMode="auto">
            <a:xfrm>
              <a:off x="1010" y="1985"/>
              <a:ext cx="1786" cy="1585"/>
              <a:chOff x="1010" y="1985"/>
              <a:chExt cx="1786" cy="1585"/>
            </a:xfrm>
          </p:grpSpPr>
          <p:sp>
            <p:nvSpPr>
              <p:cNvPr id="2402308" name="Arc 4"/>
              <p:cNvSpPr>
                <a:spLocks/>
              </p:cNvSpPr>
              <p:nvPr/>
            </p:nvSpPr>
            <p:spPr bwMode="gray">
              <a:xfrm>
                <a:off x="1140" y="1997"/>
                <a:ext cx="1643" cy="1447"/>
              </a:xfrm>
              <a:custGeom>
                <a:avLst/>
                <a:gdLst>
                  <a:gd name="G0" fmla="+- 20995 0 0"/>
                  <a:gd name="G1" fmla="+- 0 0 0"/>
                  <a:gd name="G2" fmla="+- 21600 0 0"/>
                  <a:gd name="T0" fmla="*/ 9900 w 20995"/>
                  <a:gd name="T1" fmla="*/ 18533 h 18533"/>
                  <a:gd name="T2" fmla="*/ 0 w 20995"/>
                  <a:gd name="T3" fmla="*/ 5078 h 18533"/>
                  <a:gd name="T4" fmla="*/ 20995 w 20995"/>
                  <a:gd name="T5" fmla="*/ 0 h 18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995" h="18533" fill="none" extrusionOk="0">
                    <a:moveTo>
                      <a:pt x="9900" y="18532"/>
                    </a:moveTo>
                    <a:cubicBezTo>
                      <a:pt x="4929" y="15556"/>
                      <a:pt x="1362" y="10709"/>
                      <a:pt x="0" y="5077"/>
                    </a:cubicBezTo>
                  </a:path>
                  <a:path w="20995" h="18533" stroke="0" extrusionOk="0">
                    <a:moveTo>
                      <a:pt x="9900" y="18532"/>
                    </a:moveTo>
                    <a:cubicBezTo>
                      <a:pt x="4929" y="15556"/>
                      <a:pt x="1362" y="10709"/>
                      <a:pt x="0" y="5077"/>
                    </a:cubicBezTo>
                    <a:lnTo>
                      <a:pt x="20995" y="0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sz="12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09" name="Arc 5"/>
              <p:cNvSpPr>
                <a:spLocks/>
              </p:cNvSpPr>
              <p:nvPr/>
            </p:nvSpPr>
            <p:spPr bwMode="gray">
              <a:xfrm>
                <a:off x="1689" y="1985"/>
                <a:ext cx="1107" cy="995"/>
              </a:xfrm>
              <a:custGeom>
                <a:avLst/>
                <a:gdLst>
                  <a:gd name="G0" fmla="+- 20999 0 0"/>
                  <a:gd name="G1" fmla="+- 0 0 0"/>
                  <a:gd name="G2" fmla="+- 21600 0 0"/>
                  <a:gd name="T0" fmla="*/ 10588 w 20999"/>
                  <a:gd name="T1" fmla="*/ 18925 h 18925"/>
                  <a:gd name="T2" fmla="*/ 0 w 20999"/>
                  <a:gd name="T3" fmla="*/ 5060 h 18925"/>
                  <a:gd name="T4" fmla="*/ 20999 w 20999"/>
                  <a:gd name="T5" fmla="*/ 0 h 189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999" h="18925" fill="none" extrusionOk="0">
                    <a:moveTo>
                      <a:pt x="10587" y="18925"/>
                    </a:moveTo>
                    <a:cubicBezTo>
                      <a:pt x="5266" y="15997"/>
                      <a:pt x="1422" y="10964"/>
                      <a:pt x="0" y="5059"/>
                    </a:cubicBezTo>
                  </a:path>
                  <a:path w="20999" h="18925" stroke="0" extrusionOk="0">
                    <a:moveTo>
                      <a:pt x="10587" y="18925"/>
                    </a:moveTo>
                    <a:cubicBezTo>
                      <a:pt x="5266" y="15997"/>
                      <a:pt x="1422" y="10964"/>
                      <a:pt x="0" y="5059"/>
                    </a:cubicBezTo>
                    <a:lnTo>
                      <a:pt x="20999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sz="12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17" name="Freeform 13"/>
              <p:cNvSpPr>
                <a:spLocks/>
              </p:cNvSpPr>
              <p:nvPr/>
            </p:nvSpPr>
            <p:spPr bwMode="gray">
              <a:xfrm rot="-17022140">
                <a:off x="1322" y="1872"/>
                <a:ext cx="152" cy="775"/>
              </a:xfrm>
              <a:custGeom>
                <a:avLst/>
                <a:gdLst>
                  <a:gd name="T0" fmla="*/ 198 w 198"/>
                  <a:gd name="T1" fmla="*/ 123 h 915"/>
                  <a:gd name="T2" fmla="*/ 198 w 198"/>
                  <a:gd name="T3" fmla="*/ 0 h 915"/>
                  <a:gd name="T4" fmla="*/ 0 w 198"/>
                  <a:gd name="T5" fmla="*/ 462 h 915"/>
                  <a:gd name="T6" fmla="*/ 195 w 198"/>
                  <a:gd name="T7" fmla="*/ 915 h 915"/>
                  <a:gd name="T8" fmla="*/ 195 w 198"/>
                  <a:gd name="T9" fmla="*/ 780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915">
                    <a:moveTo>
                      <a:pt x="198" y="123"/>
                    </a:moveTo>
                    <a:lnTo>
                      <a:pt x="198" y="0"/>
                    </a:lnTo>
                    <a:lnTo>
                      <a:pt x="0" y="462"/>
                    </a:lnTo>
                    <a:lnTo>
                      <a:pt x="195" y="915"/>
                    </a:lnTo>
                    <a:lnTo>
                      <a:pt x="195" y="780"/>
                    </a:ln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18" name="Freeform 14"/>
              <p:cNvSpPr>
                <a:spLocks/>
              </p:cNvSpPr>
              <p:nvPr/>
            </p:nvSpPr>
            <p:spPr bwMode="gray">
              <a:xfrm rot="3775751">
                <a:off x="1436" y="2214"/>
                <a:ext cx="153" cy="783"/>
              </a:xfrm>
              <a:custGeom>
                <a:avLst/>
                <a:gdLst>
                  <a:gd name="T0" fmla="*/ 198 w 198"/>
                  <a:gd name="T1" fmla="*/ 123 h 915"/>
                  <a:gd name="T2" fmla="*/ 198 w 198"/>
                  <a:gd name="T3" fmla="*/ 0 h 915"/>
                  <a:gd name="T4" fmla="*/ 0 w 198"/>
                  <a:gd name="T5" fmla="*/ 462 h 915"/>
                  <a:gd name="T6" fmla="*/ 195 w 198"/>
                  <a:gd name="T7" fmla="*/ 915 h 915"/>
                  <a:gd name="T8" fmla="*/ 195 w 198"/>
                  <a:gd name="T9" fmla="*/ 780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915">
                    <a:moveTo>
                      <a:pt x="198" y="123"/>
                    </a:moveTo>
                    <a:lnTo>
                      <a:pt x="198" y="0"/>
                    </a:lnTo>
                    <a:lnTo>
                      <a:pt x="0" y="462"/>
                    </a:lnTo>
                    <a:lnTo>
                      <a:pt x="195" y="915"/>
                    </a:lnTo>
                    <a:lnTo>
                      <a:pt x="195" y="780"/>
                    </a:ln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19" name="Freeform 15"/>
              <p:cNvSpPr>
                <a:spLocks/>
              </p:cNvSpPr>
              <p:nvPr/>
            </p:nvSpPr>
            <p:spPr bwMode="gray">
              <a:xfrm rot="3125564">
                <a:off x="1657" y="2532"/>
                <a:ext cx="152" cy="789"/>
              </a:xfrm>
              <a:custGeom>
                <a:avLst/>
                <a:gdLst>
                  <a:gd name="T0" fmla="*/ 198 w 198"/>
                  <a:gd name="T1" fmla="*/ 123 h 915"/>
                  <a:gd name="T2" fmla="*/ 198 w 198"/>
                  <a:gd name="T3" fmla="*/ 0 h 915"/>
                  <a:gd name="T4" fmla="*/ 0 w 198"/>
                  <a:gd name="T5" fmla="*/ 462 h 915"/>
                  <a:gd name="T6" fmla="*/ 195 w 198"/>
                  <a:gd name="T7" fmla="*/ 915 h 915"/>
                  <a:gd name="T8" fmla="*/ 195 w 198"/>
                  <a:gd name="T9" fmla="*/ 780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915">
                    <a:moveTo>
                      <a:pt x="198" y="123"/>
                    </a:moveTo>
                    <a:lnTo>
                      <a:pt x="198" y="0"/>
                    </a:lnTo>
                    <a:lnTo>
                      <a:pt x="0" y="462"/>
                    </a:lnTo>
                    <a:lnTo>
                      <a:pt x="195" y="915"/>
                    </a:lnTo>
                    <a:lnTo>
                      <a:pt x="195" y="780"/>
                    </a:ln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21" name="Freeform 17"/>
              <p:cNvSpPr>
                <a:spLocks/>
              </p:cNvSpPr>
              <p:nvPr/>
            </p:nvSpPr>
            <p:spPr bwMode="gray">
              <a:xfrm rot="-19576031">
                <a:off x="1943" y="2792"/>
                <a:ext cx="153" cy="778"/>
              </a:xfrm>
              <a:custGeom>
                <a:avLst/>
                <a:gdLst>
                  <a:gd name="T0" fmla="*/ 198 w 198"/>
                  <a:gd name="T1" fmla="*/ 123 h 915"/>
                  <a:gd name="T2" fmla="*/ 198 w 198"/>
                  <a:gd name="T3" fmla="*/ 0 h 915"/>
                  <a:gd name="T4" fmla="*/ 0 w 198"/>
                  <a:gd name="T5" fmla="*/ 462 h 915"/>
                  <a:gd name="T6" fmla="*/ 195 w 198"/>
                  <a:gd name="T7" fmla="*/ 915 h 915"/>
                  <a:gd name="T8" fmla="*/ 195 w 198"/>
                  <a:gd name="T9" fmla="*/ 780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915">
                    <a:moveTo>
                      <a:pt x="198" y="123"/>
                    </a:moveTo>
                    <a:lnTo>
                      <a:pt x="198" y="0"/>
                    </a:lnTo>
                    <a:lnTo>
                      <a:pt x="0" y="462"/>
                    </a:lnTo>
                    <a:lnTo>
                      <a:pt x="195" y="915"/>
                    </a:lnTo>
                    <a:lnTo>
                      <a:pt x="195" y="780"/>
                    </a:lnTo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chemeClr val="tx1"/>
                </a:solidFill>
                <a:prstDash val="dash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37" name="Rectangle 33"/>
              <p:cNvSpPr>
                <a:spLocks noChangeArrowheads="1"/>
              </p:cNvSpPr>
              <p:nvPr/>
            </p:nvSpPr>
            <p:spPr bwMode="gray">
              <a:xfrm rot="-820951">
                <a:off x="1178" y="2344"/>
                <a:ext cx="457" cy="9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en-US" sz="10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402338" name="Rectangle 34"/>
              <p:cNvSpPr>
                <a:spLocks noChangeArrowheads="1"/>
              </p:cNvSpPr>
              <p:nvPr/>
            </p:nvSpPr>
            <p:spPr bwMode="gray">
              <a:xfrm rot="-1434695">
                <a:off x="1350" y="2678"/>
                <a:ext cx="457" cy="9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en-US" sz="10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402339" name="Rectangle 35"/>
              <p:cNvSpPr>
                <a:spLocks noChangeArrowheads="1"/>
              </p:cNvSpPr>
              <p:nvPr/>
            </p:nvSpPr>
            <p:spPr bwMode="gray">
              <a:xfrm rot="-2555488">
                <a:off x="1590" y="2983"/>
                <a:ext cx="457" cy="9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en-US" sz="1000" b="1" dirty="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</p:grpSp>
        <p:grpSp>
          <p:nvGrpSpPr>
            <p:cNvPr id="2402348" name="Group 44"/>
            <p:cNvGrpSpPr>
              <a:grpSpLocks/>
            </p:cNvGrpSpPr>
            <p:nvPr/>
          </p:nvGrpSpPr>
          <p:grpSpPr bwMode="auto">
            <a:xfrm>
              <a:off x="1879" y="915"/>
              <a:ext cx="2014" cy="2030"/>
              <a:chOff x="1879" y="915"/>
              <a:chExt cx="2014" cy="2030"/>
            </a:xfrm>
          </p:grpSpPr>
          <p:sp>
            <p:nvSpPr>
              <p:cNvPr id="2402310" name="Arc 6"/>
              <p:cNvSpPr>
                <a:spLocks/>
              </p:cNvSpPr>
              <p:nvPr/>
            </p:nvSpPr>
            <p:spPr bwMode="gray">
              <a:xfrm>
                <a:off x="2892" y="1019"/>
                <a:ext cx="725" cy="932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16770"/>
                  <a:gd name="T1" fmla="*/ 0 h 21600"/>
                  <a:gd name="T2" fmla="*/ 16770 w 16770"/>
                  <a:gd name="T3" fmla="*/ 7987 h 21600"/>
                  <a:gd name="T4" fmla="*/ 0 w 1677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770" h="21600" fill="none" extrusionOk="0">
                    <a:moveTo>
                      <a:pt x="-1" y="0"/>
                    </a:moveTo>
                    <a:cubicBezTo>
                      <a:pt x="6507" y="0"/>
                      <a:pt x="12668" y="2934"/>
                      <a:pt x="16770" y="7986"/>
                    </a:cubicBezTo>
                  </a:path>
                  <a:path w="16770" h="21600" stroke="0" extrusionOk="0">
                    <a:moveTo>
                      <a:pt x="-1" y="0"/>
                    </a:moveTo>
                    <a:cubicBezTo>
                      <a:pt x="6507" y="0"/>
                      <a:pt x="12668" y="2934"/>
                      <a:pt x="16770" y="7986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sz="12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11" name="Arc 7"/>
              <p:cNvSpPr>
                <a:spLocks/>
              </p:cNvSpPr>
              <p:nvPr/>
            </p:nvSpPr>
            <p:spPr bwMode="gray">
              <a:xfrm>
                <a:off x="2892" y="1364"/>
                <a:ext cx="934" cy="795"/>
              </a:xfrm>
              <a:custGeom>
                <a:avLst/>
                <a:gdLst>
                  <a:gd name="G0" fmla="+- 0 0 0"/>
                  <a:gd name="G1" fmla="+- 13613 0 0"/>
                  <a:gd name="G2" fmla="+- 21600 0 0"/>
                  <a:gd name="T0" fmla="*/ 16770 w 21600"/>
                  <a:gd name="T1" fmla="*/ 0 h 18445"/>
                  <a:gd name="T2" fmla="*/ 21053 w 21600"/>
                  <a:gd name="T3" fmla="*/ 18445 h 18445"/>
                  <a:gd name="T4" fmla="*/ 0 w 21600"/>
                  <a:gd name="T5" fmla="*/ 13613 h 18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18445" fill="none" extrusionOk="0">
                    <a:moveTo>
                      <a:pt x="16770" y="-1"/>
                    </a:moveTo>
                    <a:cubicBezTo>
                      <a:pt x="19894" y="3848"/>
                      <a:pt x="21600" y="8655"/>
                      <a:pt x="21600" y="13613"/>
                    </a:cubicBezTo>
                    <a:cubicBezTo>
                      <a:pt x="21600" y="15239"/>
                      <a:pt x="21416" y="16860"/>
                      <a:pt x="21052" y="18444"/>
                    </a:cubicBezTo>
                  </a:path>
                  <a:path w="21600" h="18445" stroke="0" extrusionOk="0">
                    <a:moveTo>
                      <a:pt x="16770" y="-1"/>
                    </a:moveTo>
                    <a:cubicBezTo>
                      <a:pt x="19894" y="3848"/>
                      <a:pt x="21600" y="8655"/>
                      <a:pt x="21600" y="13613"/>
                    </a:cubicBezTo>
                    <a:cubicBezTo>
                      <a:pt x="21600" y="15239"/>
                      <a:pt x="21416" y="16860"/>
                      <a:pt x="21052" y="18444"/>
                    </a:cubicBezTo>
                    <a:lnTo>
                      <a:pt x="0" y="136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sz="12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12" name="Arc 8"/>
              <p:cNvSpPr>
                <a:spLocks/>
              </p:cNvSpPr>
              <p:nvPr/>
            </p:nvSpPr>
            <p:spPr bwMode="gray">
              <a:xfrm>
                <a:off x="2892" y="1951"/>
                <a:ext cx="910" cy="836"/>
              </a:xfrm>
              <a:custGeom>
                <a:avLst/>
                <a:gdLst>
                  <a:gd name="G0" fmla="+- 0 0 0"/>
                  <a:gd name="G1" fmla="+- 0 0 0"/>
                  <a:gd name="G2" fmla="+- 21600 0 0"/>
                  <a:gd name="T0" fmla="*/ 21053 w 21053"/>
                  <a:gd name="T1" fmla="*/ 4832 h 19393"/>
                  <a:gd name="T2" fmla="*/ 9511 w 21053"/>
                  <a:gd name="T3" fmla="*/ 19393 h 19393"/>
                  <a:gd name="T4" fmla="*/ 0 w 21053"/>
                  <a:gd name="T5" fmla="*/ 0 h 19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53" h="19393" fill="none" extrusionOk="0">
                    <a:moveTo>
                      <a:pt x="21052" y="4831"/>
                    </a:moveTo>
                    <a:cubicBezTo>
                      <a:pt x="19596" y="11176"/>
                      <a:pt x="15356" y="16526"/>
                      <a:pt x="9511" y="19393"/>
                    </a:cubicBezTo>
                  </a:path>
                  <a:path w="21053" h="19393" stroke="0" extrusionOk="0">
                    <a:moveTo>
                      <a:pt x="21052" y="4831"/>
                    </a:moveTo>
                    <a:cubicBezTo>
                      <a:pt x="19596" y="11176"/>
                      <a:pt x="15356" y="16526"/>
                      <a:pt x="9511" y="19393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sz="12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13" name="Arc 9"/>
              <p:cNvSpPr>
                <a:spLocks/>
              </p:cNvSpPr>
              <p:nvPr/>
            </p:nvSpPr>
            <p:spPr bwMode="gray">
              <a:xfrm>
                <a:off x="2480" y="1951"/>
                <a:ext cx="825" cy="932"/>
              </a:xfrm>
              <a:custGeom>
                <a:avLst/>
                <a:gdLst>
                  <a:gd name="G0" fmla="+- 9525 0 0"/>
                  <a:gd name="G1" fmla="+- 0 0 0"/>
                  <a:gd name="G2" fmla="+- 21600 0 0"/>
                  <a:gd name="T0" fmla="*/ 19036 w 19036"/>
                  <a:gd name="T1" fmla="*/ 19393 h 21600"/>
                  <a:gd name="T2" fmla="*/ 0 w 19036"/>
                  <a:gd name="T3" fmla="*/ 19386 h 21600"/>
                  <a:gd name="T4" fmla="*/ 9525 w 19036"/>
                  <a:gd name="T5" fmla="*/ 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036" h="21600" fill="none" extrusionOk="0">
                    <a:moveTo>
                      <a:pt x="19036" y="19393"/>
                    </a:moveTo>
                    <a:cubicBezTo>
                      <a:pt x="16075" y="20845"/>
                      <a:pt x="12822" y="21599"/>
                      <a:pt x="9525" y="21600"/>
                    </a:cubicBezTo>
                    <a:cubicBezTo>
                      <a:pt x="6222" y="21600"/>
                      <a:pt x="2963" y="20842"/>
                      <a:pt x="-1" y="19386"/>
                    </a:cubicBezTo>
                  </a:path>
                  <a:path w="19036" h="21600" stroke="0" extrusionOk="0">
                    <a:moveTo>
                      <a:pt x="19036" y="19393"/>
                    </a:moveTo>
                    <a:cubicBezTo>
                      <a:pt x="16075" y="20845"/>
                      <a:pt x="12822" y="21599"/>
                      <a:pt x="9525" y="21600"/>
                    </a:cubicBezTo>
                    <a:cubicBezTo>
                      <a:pt x="6222" y="21600"/>
                      <a:pt x="2963" y="20842"/>
                      <a:pt x="-1" y="19386"/>
                    </a:cubicBezTo>
                    <a:lnTo>
                      <a:pt x="952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sz="12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14" name="Arc 10"/>
              <p:cNvSpPr>
                <a:spLocks/>
              </p:cNvSpPr>
              <p:nvPr/>
            </p:nvSpPr>
            <p:spPr bwMode="gray">
              <a:xfrm>
                <a:off x="1982" y="1951"/>
                <a:ext cx="910" cy="836"/>
              </a:xfrm>
              <a:custGeom>
                <a:avLst/>
                <a:gdLst>
                  <a:gd name="G0" fmla="+- 21054 0 0"/>
                  <a:gd name="G1" fmla="+- 0 0 0"/>
                  <a:gd name="G2" fmla="+- 21600 0 0"/>
                  <a:gd name="T0" fmla="*/ 11529 w 21054"/>
                  <a:gd name="T1" fmla="*/ 19386 h 19386"/>
                  <a:gd name="T2" fmla="*/ 0 w 21054"/>
                  <a:gd name="T3" fmla="*/ 4828 h 19386"/>
                  <a:gd name="T4" fmla="*/ 21054 w 21054"/>
                  <a:gd name="T5" fmla="*/ 0 h 19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54" h="19386" fill="none" extrusionOk="0">
                    <a:moveTo>
                      <a:pt x="11528" y="19386"/>
                    </a:moveTo>
                    <a:cubicBezTo>
                      <a:pt x="5689" y="16517"/>
                      <a:pt x="1454" y="11169"/>
                      <a:pt x="0" y="4827"/>
                    </a:cubicBezTo>
                  </a:path>
                  <a:path w="21054" h="19386" stroke="0" extrusionOk="0">
                    <a:moveTo>
                      <a:pt x="11528" y="19386"/>
                    </a:moveTo>
                    <a:cubicBezTo>
                      <a:pt x="5689" y="16517"/>
                      <a:pt x="1454" y="11169"/>
                      <a:pt x="0" y="4827"/>
                    </a:cubicBezTo>
                    <a:lnTo>
                      <a:pt x="21054" y="0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sz="12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15" name="Arc 11"/>
              <p:cNvSpPr>
                <a:spLocks/>
              </p:cNvSpPr>
              <p:nvPr/>
            </p:nvSpPr>
            <p:spPr bwMode="gray">
              <a:xfrm>
                <a:off x="1959" y="1364"/>
                <a:ext cx="933" cy="796"/>
              </a:xfrm>
              <a:custGeom>
                <a:avLst/>
                <a:gdLst>
                  <a:gd name="G0" fmla="+- 21600 0 0"/>
                  <a:gd name="G1" fmla="+- 13605 0 0"/>
                  <a:gd name="G2" fmla="+- 21600 0 0"/>
                  <a:gd name="T0" fmla="*/ 546 w 21600"/>
                  <a:gd name="T1" fmla="*/ 18433 h 18433"/>
                  <a:gd name="T2" fmla="*/ 4823 w 21600"/>
                  <a:gd name="T3" fmla="*/ 0 h 18433"/>
                  <a:gd name="T4" fmla="*/ 21600 w 21600"/>
                  <a:gd name="T5" fmla="*/ 13605 h 18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18433" fill="none" extrusionOk="0">
                    <a:moveTo>
                      <a:pt x="546" y="18432"/>
                    </a:moveTo>
                    <a:cubicBezTo>
                      <a:pt x="183" y="16849"/>
                      <a:pt x="0" y="15229"/>
                      <a:pt x="0" y="13605"/>
                    </a:cubicBezTo>
                    <a:cubicBezTo>
                      <a:pt x="-1" y="8651"/>
                      <a:pt x="1702" y="3847"/>
                      <a:pt x="4823" y="0"/>
                    </a:cubicBezTo>
                  </a:path>
                  <a:path w="21600" h="18433" stroke="0" extrusionOk="0">
                    <a:moveTo>
                      <a:pt x="546" y="18432"/>
                    </a:moveTo>
                    <a:cubicBezTo>
                      <a:pt x="183" y="16849"/>
                      <a:pt x="0" y="15229"/>
                      <a:pt x="0" y="13605"/>
                    </a:cubicBezTo>
                    <a:cubicBezTo>
                      <a:pt x="-1" y="8651"/>
                      <a:pt x="1702" y="3847"/>
                      <a:pt x="4823" y="0"/>
                    </a:cubicBezTo>
                    <a:lnTo>
                      <a:pt x="21600" y="1360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sz="12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16" name="Arc 12"/>
              <p:cNvSpPr>
                <a:spLocks/>
              </p:cNvSpPr>
              <p:nvPr/>
            </p:nvSpPr>
            <p:spPr bwMode="gray">
              <a:xfrm>
                <a:off x="2167" y="1019"/>
                <a:ext cx="725" cy="932"/>
              </a:xfrm>
              <a:custGeom>
                <a:avLst/>
                <a:gdLst>
                  <a:gd name="G0" fmla="+- 16777 0 0"/>
                  <a:gd name="G1" fmla="+- 21600 0 0"/>
                  <a:gd name="G2" fmla="+- 21600 0 0"/>
                  <a:gd name="T0" fmla="*/ 0 w 16777"/>
                  <a:gd name="T1" fmla="*/ 7995 h 21600"/>
                  <a:gd name="T2" fmla="*/ 16777 w 16777"/>
                  <a:gd name="T3" fmla="*/ 0 h 21600"/>
                  <a:gd name="T4" fmla="*/ 16777 w 16777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777" h="21600" fill="none" extrusionOk="0">
                    <a:moveTo>
                      <a:pt x="0" y="7995"/>
                    </a:moveTo>
                    <a:cubicBezTo>
                      <a:pt x="4101" y="2937"/>
                      <a:pt x="10265" y="0"/>
                      <a:pt x="16776" y="0"/>
                    </a:cubicBezTo>
                  </a:path>
                  <a:path w="16777" h="21600" stroke="0" extrusionOk="0">
                    <a:moveTo>
                      <a:pt x="0" y="7995"/>
                    </a:moveTo>
                    <a:cubicBezTo>
                      <a:pt x="4101" y="2937"/>
                      <a:pt x="10265" y="0"/>
                      <a:pt x="16776" y="0"/>
                    </a:cubicBezTo>
                    <a:lnTo>
                      <a:pt x="16777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sz="12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22" name="Rectangle 18"/>
              <p:cNvSpPr>
                <a:spLocks noChangeArrowheads="1"/>
              </p:cNvSpPr>
              <p:nvPr/>
            </p:nvSpPr>
            <p:spPr bwMode="gray">
              <a:xfrm>
                <a:off x="2466" y="1274"/>
                <a:ext cx="457" cy="1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402323" name="Oval 19"/>
              <p:cNvSpPr>
                <a:spLocks noChangeArrowheads="1"/>
              </p:cNvSpPr>
              <p:nvPr/>
            </p:nvSpPr>
            <p:spPr bwMode="gray">
              <a:xfrm>
                <a:off x="2474" y="1543"/>
                <a:ext cx="839" cy="811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>
                  <a:lnSpc>
                    <a:spcPct val="85000"/>
                  </a:lnSpc>
                </a:pPr>
                <a:endParaRPr lang="de-DE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24" name="Freeform 20"/>
              <p:cNvSpPr>
                <a:spLocks/>
              </p:cNvSpPr>
              <p:nvPr/>
            </p:nvSpPr>
            <p:spPr bwMode="gray">
              <a:xfrm rot="-29293136">
                <a:off x="3381" y="1215"/>
                <a:ext cx="152" cy="710"/>
              </a:xfrm>
              <a:custGeom>
                <a:avLst/>
                <a:gdLst>
                  <a:gd name="T0" fmla="*/ 198 w 198"/>
                  <a:gd name="T1" fmla="*/ 123 h 915"/>
                  <a:gd name="T2" fmla="*/ 198 w 198"/>
                  <a:gd name="T3" fmla="*/ 0 h 915"/>
                  <a:gd name="T4" fmla="*/ 0 w 198"/>
                  <a:gd name="T5" fmla="*/ 462 h 915"/>
                  <a:gd name="T6" fmla="*/ 195 w 198"/>
                  <a:gd name="T7" fmla="*/ 915 h 915"/>
                  <a:gd name="T8" fmla="*/ 195 w 198"/>
                  <a:gd name="T9" fmla="*/ 780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915">
                    <a:moveTo>
                      <a:pt x="198" y="123"/>
                    </a:moveTo>
                    <a:lnTo>
                      <a:pt x="198" y="0"/>
                    </a:lnTo>
                    <a:lnTo>
                      <a:pt x="0" y="462"/>
                    </a:lnTo>
                    <a:lnTo>
                      <a:pt x="195" y="915"/>
                    </a:lnTo>
                    <a:lnTo>
                      <a:pt x="195" y="780"/>
                    </a:lnTo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25" name="Freeform 21"/>
              <p:cNvSpPr>
                <a:spLocks/>
              </p:cNvSpPr>
              <p:nvPr/>
            </p:nvSpPr>
            <p:spPr bwMode="gray">
              <a:xfrm rot="-26231635">
                <a:off x="3466" y="1813"/>
                <a:ext cx="152" cy="703"/>
              </a:xfrm>
              <a:custGeom>
                <a:avLst/>
                <a:gdLst>
                  <a:gd name="T0" fmla="*/ 198 w 198"/>
                  <a:gd name="T1" fmla="*/ 123 h 915"/>
                  <a:gd name="T2" fmla="*/ 198 w 198"/>
                  <a:gd name="T3" fmla="*/ 0 h 915"/>
                  <a:gd name="T4" fmla="*/ 0 w 198"/>
                  <a:gd name="T5" fmla="*/ 462 h 915"/>
                  <a:gd name="T6" fmla="*/ 195 w 198"/>
                  <a:gd name="T7" fmla="*/ 915 h 915"/>
                  <a:gd name="T8" fmla="*/ 195 w 198"/>
                  <a:gd name="T9" fmla="*/ 780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915">
                    <a:moveTo>
                      <a:pt x="198" y="123"/>
                    </a:moveTo>
                    <a:lnTo>
                      <a:pt x="198" y="0"/>
                    </a:lnTo>
                    <a:lnTo>
                      <a:pt x="0" y="462"/>
                    </a:lnTo>
                    <a:lnTo>
                      <a:pt x="195" y="915"/>
                    </a:lnTo>
                    <a:lnTo>
                      <a:pt x="195" y="780"/>
                    </a:lnTo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26" name="Freeform 22"/>
              <p:cNvSpPr>
                <a:spLocks/>
              </p:cNvSpPr>
              <p:nvPr/>
            </p:nvSpPr>
            <p:spPr bwMode="gray">
              <a:xfrm rot="-23175623">
                <a:off x="3049" y="2228"/>
                <a:ext cx="154" cy="717"/>
              </a:xfrm>
              <a:custGeom>
                <a:avLst/>
                <a:gdLst>
                  <a:gd name="T0" fmla="*/ 198 w 198"/>
                  <a:gd name="T1" fmla="*/ 123 h 915"/>
                  <a:gd name="T2" fmla="*/ 198 w 198"/>
                  <a:gd name="T3" fmla="*/ 0 h 915"/>
                  <a:gd name="T4" fmla="*/ 0 w 198"/>
                  <a:gd name="T5" fmla="*/ 462 h 915"/>
                  <a:gd name="T6" fmla="*/ 195 w 198"/>
                  <a:gd name="T7" fmla="*/ 915 h 915"/>
                  <a:gd name="T8" fmla="*/ 195 w 198"/>
                  <a:gd name="T9" fmla="*/ 780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915">
                    <a:moveTo>
                      <a:pt x="198" y="123"/>
                    </a:moveTo>
                    <a:lnTo>
                      <a:pt x="198" y="0"/>
                    </a:lnTo>
                    <a:lnTo>
                      <a:pt x="0" y="462"/>
                    </a:lnTo>
                    <a:lnTo>
                      <a:pt x="195" y="915"/>
                    </a:lnTo>
                    <a:lnTo>
                      <a:pt x="195" y="780"/>
                    </a:lnTo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27" name="Freeform 23"/>
              <p:cNvSpPr>
                <a:spLocks/>
              </p:cNvSpPr>
              <p:nvPr/>
            </p:nvSpPr>
            <p:spPr bwMode="gray">
              <a:xfrm rot="-20082761">
                <a:off x="2455" y="2165"/>
                <a:ext cx="153" cy="721"/>
              </a:xfrm>
              <a:custGeom>
                <a:avLst/>
                <a:gdLst>
                  <a:gd name="T0" fmla="*/ 198 w 198"/>
                  <a:gd name="T1" fmla="*/ 123 h 915"/>
                  <a:gd name="T2" fmla="*/ 198 w 198"/>
                  <a:gd name="T3" fmla="*/ 0 h 915"/>
                  <a:gd name="T4" fmla="*/ 0 w 198"/>
                  <a:gd name="T5" fmla="*/ 462 h 915"/>
                  <a:gd name="T6" fmla="*/ 195 w 198"/>
                  <a:gd name="T7" fmla="*/ 915 h 915"/>
                  <a:gd name="T8" fmla="*/ 195 w 198"/>
                  <a:gd name="T9" fmla="*/ 780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915">
                    <a:moveTo>
                      <a:pt x="198" y="123"/>
                    </a:moveTo>
                    <a:lnTo>
                      <a:pt x="198" y="0"/>
                    </a:lnTo>
                    <a:lnTo>
                      <a:pt x="0" y="462"/>
                    </a:lnTo>
                    <a:lnTo>
                      <a:pt x="195" y="915"/>
                    </a:lnTo>
                    <a:lnTo>
                      <a:pt x="195" y="780"/>
                    </a:lnTo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28" name="Freeform 24"/>
              <p:cNvSpPr>
                <a:spLocks/>
              </p:cNvSpPr>
              <p:nvPr/>
            </p:nvSpPr>
            <p:spPr bwMode="gray">
              <a:xfrm>
                <a:off x="1879" y="1962"/>
                <a:ext cx="709" cy="228"/>
              </a:xfrm>
              <a:custGeom>
                <a:avLst/>
                <a:gdLst>
                  <a:gd name="T0" fmla="*/ 661 w 778"/>
                  <a:gd name="T1" fmla="*/ 101 h 259"/>
                  <a:gd name="T2" fmla="*/ 778 w 778"/>
                  <a:gd name="T3" fmla="*/ 72 h 259"/>
                  <a:gd name="T4" fmla="*/ 345 w 778"/>
                  <a:gd name="T5" fmla="*/ 0 h 259"/>
                  <a:gd name="T6" fmla="*/ 0 w 778"/>
                  <a:gd name="T7" fmla="*/ 259 h 259"/>
                  <a:gd name="T8" fmla="*/ 114 w 778"/>
                  <a:gd name="T9" fmla="*/ 231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8" h="259">
                    <a:moveTo>
                      <a:pt x="661" y="101"/>
                    </a:moveTo>
                    <a:lnTo>
                      <a:pt x="778" y="72"/>
                    </a:lnTo>
                    <a:lnTo>
                      <a:pt x="345" y="0"/>
                    </a:lnTo>
                    <a:lnTo>
                      <a:pt x="0" y="259"/>
                    </a:lnTo>
                    <a:lnTo>
                      <a:pt x="114" y="231"/>
                    </a:ln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29" name="Freeform 25"/>
              <p:cNvSpPr>
                <a:spLocks/>
              </p:cNvSpPr>
              <p:nvPr/>
            </p:nvSpPr>
            <p:spPr bwMode="gray">
              <a:xfrm rot="-13845193">
                <a:off x="2333" y="1112"/>
                <a:ext cx="152" cy="715"/>
              </a:xfrm>
              <a:custGeom>
                <a:avLst/>
                <a:gdLst>
                  <a:gd name="T0" fmla="*/ 198 w 198"/>
                  <a:gd name="T1" fmla="*/ 123 h 915"/>
                  <a:gd name="T2" fmla="*/ 198 w 198"/>
                  <a:gd name="T3" fmla="*/ 0 h 915"/>
                  <a:gd name="T4" fmla="*/ 0 w 198"/>
                  <a:gd name="T5" fmla="*/ 462 h 915"/>
                  <a:gd name="T6" fmla="*/ 195 w 198"/>
                  <a:gd name="T7" fmla="*/ 915 h 915"/>
                  <a:gd name="T8" fmla="*/ 195 w 198"/>
                  <a:gd name="T9" fmla="*/ 780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915">
                    <a:moveTo>
                      <a:pt x="198" y="123"/>
                    </a:moveTo>
                    <a:lnTo>
                      <a:pt x="198" y="0"/>
                    </a:lnTo>
                    <a:lnTo>
                      <a:pt x="0" y="462"/>
                    </a:lnTo>
                    <a:lnTo>
                      <a:pt x="195" y="915"/>
                    </a:lnTo>
                    <a:lnTo>
                      <a:pt x="195" y="780"/>
                    </a:lnTo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30" name="Freeform 26"/>
              <p:cNvSpPr>
                <a:spLocks/>
              </p:cNvSpPr>
              <p:nvPr/>
            </p:nvSpPr>
            <p:spPr bwMode="gray">
              <a:xfrm rot="-10854711">
                <a:off x="2881" y="915"/>
                <a:ext cx="154" cy="719"/>
              </a:xfrm>
              <a:custGeom>
                <a:avLst/>
                <a:gdLst>
                  <a:gd name="T0" fmla="*/ 198 w 198"/>
                  <a:gd name="T1" fmla="*/ 123 h 915"/>
                  <a:gd name="T2" fmla="*/ 198 w 198"/>
                  <a:gd name="T3" fmla="*/ 0 h 915"/>
                  <a:gd name="T4" fmla="*/ 0 w 198"/>
                  <a:gd name="T5" fmla="*/ 462 h 915"/>
                  <a:gd name="T6" fmla="*/ 195 w 198"/>
                  <a:gd name="T7" fmla="*/ 915 h 915"/>
                  <a:gd name="T8" fmla="*/ 195 w 198"/>
                  <a:gd name="T9" fmla="*/ 780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915">
                    <a:moveTo>
                      <a:pt x="198" y="123"/>
                    </a:moveTo>
                    <a:lnTo>
                      <a:pt x="198" y="0"/>
                    </a:lnTo>
                    <a:lnTo>
                      <a:pt x="0" y="462"/>
                    </a:lnTo>
                    <a:lnTo>
                      <a:pt x="195" y="915"/>
                    </a:lnTo>
                    <a:lnTo>
                      <a:pt x="195" y="780"/>
                    </a:lnTo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402331" name="Rectangle 27"/>
              <p:cNvSpPr>
                <a:spLocks noChangeArrowheads="1"/>
              </p:cNvSpPr>
              <p:nvPr/>
            </p:nvSpPr>
            <p:spPr bwMode="gray">
              <a:xfrm>
                <a:off x="3330" y="1820"/>
                <a:ext cx="457" cy="1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402332" name="Rectangle 28"/>
              <p:cNvSpPr>
                <a:spLocks noChangeArrowheads="1"/>
              </p:cNvSpPr>
              <p:nvPr/>
            </p:nvSpPr>
            <p:spPr bwMode="gray">
              <a:xfrm>
                <a:off x="3054" y="1328"/>
                <a:ext cx="457" cy="1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402333" name="Rectangle 29"/>
              <p:cNvSpPr>
                <a:spLocks noChangeArrowheads="1"/>
              </p:cNvSpPr>
              <p:nvPr/>
            </p:nvSpPr>
            <p:spPr bwMode="gray">
              <a:xfrm>
                <a:off x="2568" y="2540"/>
                <a:ext cx="457" cy="1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402334" name="Rectangle 30"/>
              <p:cNvSpPr>
                <a:spLocks noChangeArrowheads="1"/>
              </p:cNvSpPr>
              <p:nvPr/>
            </p:nvSpPr>
            <p:spPr bwMode="gray">
              <a:xfrm>
                <a:off x="3132" y="2378"/>
                <a:ext cx="457" cy="1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402335" name="Rectangle 31"/>
              <p:cNvSpPr>
                <a:spLocks noChangeArrowheads="1"/>
              </p:cNvSpPr>
              <p:nvPr/>
            </p:nvSpPr>
            <p:spPr bwMode="gray">
              <a:xfrm>
                <a:off x="2058" y="2264"/>
                <a:ext cx="457" cy="1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en-US" dirty="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402336" name="Rectangle 32"/>
              <p:cNvSpPr>
                <a:spLocks noChangeArrowheads="1"/>
              </p:cNvSpPr>
              <p:nvPr/>
            </p:nvSpPr>
            <p:spPr bwMode="gray">
              <a:xfrm>
                <a:off x="2040" y="1652"/>
                <a:ext cx="457" cy="1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402341" name="Rectangle 37"/>
              <p:cNvSpPr>
                <a:spLocks noChangeArrowheads="1"/>
              </p:cNvSpPr>
              <p:nvPr/>
            </p:nvSpPr>
            <p:spPr bwMode="gray">
              <a:xfrm>
                <a:off x="2560" y="1882"/>
                <a:ext cx="668" cy="1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en-US" b="1">
                    <a:solidFill>
                      <a:schemeClr val="bg1"/>
                    </a:solidFill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</p:grp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77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32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4/4 Factors – Cycle</a:t>
            </a:r>
          </a:p>
        </p:txBody>
      </p:sp>
      <p:grpSp>
        <p:nvGrpSpPr>
          <p:cNvPr id="2443280" name="Group 16"/>
          <p:cNvGrpSpPr>
            <a:grpSpLocks/>
          </p:cNvGrpSpPr>
          <p:nvPr/>
        </p:nvGrpSpPr>
        <p:grpSpPr bwMode="auto">
          <a:xfrm>
            <a:off x="2667000" y="1613388"/>
            <a:ext cx="6783388" cy="4654550"/>
            <a:chOff x="720" y="943"/>
            <a:chExt cx="4273" cy="2932"/>
          </a:xfrm>
        </p:grpSpPr>
        <p:sp>
          <p:nvSpPr>
            <p:cNvPr id="2443268" name="Freeform 4"/>
            <p:cNvSpPr>
              <a:spLocks/>
            </p:cNvSpPr>
            <p:nvPr/>
          </p:nvSpPr>
          <p:spPr bwMode="gray">
            <a:xfrm>
              <a:off x="720" y="943"/>
              <a:ext cx="2278" cy="1350"/>
            </a:xfrm>
            <a:custGeom>
              <a:avLst/>
              <a:gdLst>
                <a:gd name="T0" fmla="*/ 1922 w 1972"/>
                <a:gd name="T1" fmla="*/ 297 h 1150"/>
                <a:gd name="T2" fmla="*/ 1823 w 1972"/>
                <a:gd name="T3" fmla="*/ 294 h 1150"/>
                <a:gd name="T4" fmla="*/ 1724 w 1972"/>
                <a:gd name="T5" fmla="*/ 304 h 1150"/>
                <a:gd name="T6" fmla="*/ 1724 w 1972"/>
                <a:gd name="T7" fmla="*/ 0 h 1150"/>
                <a:gd name="T8" fmla="*/ 0 w 1972"/>
                <a:gd name="T9" fmla="*/ 1149 h 1150"/>
                <a:gd name="T10" fmla="*/ 890 w 1972"/>
                <a:gd name="T11" fmla="*/ 1098 h 1150"/>
                <a:gd name="T12" fmla="*/ 916 w 1972"/>
                <a:gd name="T13" fmla="*/ 997 h 1150"/>
                <a:gd name="T14" fmla="*/ 953 w 1972"/>
                <a:gd name="T15" fmla="*/ 900 h 1150"/>
                <a:gd name="T16" fmla="*/ 1000 w 1972"/>
                <a:gd name="T17" fmla="*/ 808 h 1150"/>
                <a:gd name="T18" fmla="*/ 1057 w 1972"/>
                <a:gd name="T19" fmla="*/ 722 h 1150"/>
                <a:gd name="T20" fmla="*/ 1123 w 1972"/>
                <a:gd name="T21" fmla="*/ 644 h 1150"/>
                <a:gd name="T22" fmla="*/ 1196 w 1972"/>
                <a:gd name="T23" fmla="*/ 574 h 1150"/>
                <a:gd name="T24" fmla="*/ 1277 w 1972"/>
                <a:gd name="T25" fmla="*/ 514 h 1150"/>
                <a:gd name="T26" fmla="*/ 1364 w 1972"/>
                <a:gd name="T27" fmla="*/ 464 h 1150"/>
                <a:gd name="T28" fmla="*/ 1456 w 1972"/>
                <a:gd name="T29" fmla="*/ 425 h 1150"/>
                <a:gd name="T30" fmla="*/ 1487 w 1972"/>
                <a:gd name="T31" fmla="*/ 332 h 1150"/>
                <a:gd name="T32" fmla="*/ 1585 w 1972"/>
                <a:gd name="T33" fmla="*/ 716 h 1150"/>
                <a:gd name="T34" fmla="*/ 1548 w 1972"/>
                <a:gd name="T35" fmla="*/ 630 h 1150"/>
                <a:gd name="T36" fmla="*/ 1515 w 1972"/>
                <a:gd name="T37" fmla="*/ 634 h 1150"/>
                <a:gd name="T38" fmla="*/ 1479 w 1972"/>
                <a:gd name="T39" fmla="*/ 650 h 1150"/>
                <a:gd name="T40" fmla="*/ 1438 w 1972"/>
                <a:gd name="T41" fmla="*/ 675 h 1150"/>
                <a:gd name="T42" fmla="*/ 1397 w 1972"/>
                <a:gd name="T43" fmla="*/ 709 h 1150"/>
                <a:gd name="T44" fmla="*/ 1355 w 1972"/>
                <a:gd name="T45" fmla="*/ 751 h 1150"/>
                <a:gd name="T46" fmla="*/ 1314 w 1972"/>
                <a:gd name="T47" fmla="*/ 800 h 1150"/>
                <a:gd name="T48" fmla="*/ 1276 w 1972"/>
                <a:gd name="T49" fmla="*/ 853 h 1150"/>
                <a:gd name="T50" fmla="*/ 1242 w 1972"/>
                <a:gd name="T51" fmla="*/ 909 h 1150"/>
                <a:gd name="T52" fmla="*/ 1213 w 1972"/>
                <a:gd name="T53" fmla="*/ 967 h 1150"/>
                <a:gd name="T54" fmla="*/ 1190 w 1972"/>
                <a:gd name="T55" fmla="*/ 1024 h 1150"/>
                <a:gd name="T56" fmla="*/ 1174 w 1972"/>
                <a:gd name="T57" fmla="*/ 1078 h 1150"/>
                <a:gd name="T58" fmla="*/ 1165 w 1972"/>
                <a:gd name="T59" fmla="*/ 1127 h 1150"/>
                <a:gd name="T60" fmla="*/ 1308 w 1972"/>
                <a:gd name="T61" fmla="*/ 1149 h 1150"/>
                <a:gd name="T62" fmla="*/ 1724 w 1972"/>
                <a:gd name="T63" fmla="*/ 733 h 1150"/>
                <a:gd name="T64" fmla="*/ 1765 w 1972"/>
                <a:gd name="T65" fmla="*/ 592 h 1150"/>
                <a:gd name="T66" fmla="*/ 1847 w 1972"/>
                <a:gd name="T67" fmla="*/ 582 h 1150"/>
                <a:gd name="T68" fmla="*/ 1930 w 1972"/>
                <a:gd name="T69" fmla="*/ 582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72" h="1150">
                  <a:moveTo>
                    <a:pt x="1971" y="303"/>
                  </a:moveTo>
                  <a:lnTo>
                    <a:pt x="1922" y="297"/>
                  </a:lnTo>
                  <a:lnTo>
                    <a:pt x="1872" y="294"/>
                  </a:lnTo>
                  <a:lnTo>
                    <a:pt x="1823" y="294"/>
                  </a:lnTo>
                  <a:lnTo>
                    <a:pt x="1773" y="298"/>
                  </a:lnTo>
                  <a:lnTo>
                    <a:pt x="1724" y="304"/>
                  </a:lnTo>
                  <a:lnTo>
                    <a:pt x="1724" y="288"/>
                  </a:lnTo>
                  <a:lnTo>
                    <a:pt x="1724" y="0"/>
                  </a:lnTo>
                  <a:lnTo>
                    <a:pt x="0" y="0"/>
                  </a:lnTo>
                  <a:lnTo>
                    <a:pt x="0" y="1149"/>
                  </a:lnTo>
                  <a:lnTo>
                    <a:pt x="881" y="1149"/>
                  </a:lnTo>
                  <a:lnTo>
                    <a:pt x="890" y="1098"/>
                  </a:lnTo>
                  <a:lnTo>
                    <a:pt x="901" y="1047"/>
                  </a:lnTo>
                  <a:lnTo>
                    <a:pt x="916" y="997"/>
                  </a:lnTo>
                  <a:lnTo>
                    <a:pt x="933" y="948"/>
                  </a:lnTo>
                  <a:lnTo>
                    <a:pt x="953" y="900"/>
                  </a:lnTo>
                  <a:lnTo>
                    <a:pt x="975" y="853"/>
                  </a:lnTo>
                  <a:lnTo>
                    <a:pt x="1000" y="808"/>
                  </a:lnTo>
                  <a:lnTo>
                    <a:pt x="1027" y="764"/>
                  </a:lnTo>
                  <a:lnTo>
                    <a:pt x="1057" y="722"/>
                  </a:lnTo>
                  <a:lnTo>
                    <a:pt x="1089" y="682"/>
                  </a:lnTo>
                  <a:lnTo>
                    <a:pt x="1123" y="644"/>
                  </a:lnTo>
                  <a:lnTo>
                    <a:pt x="1158" y="607"/>
                  </a:lnTo>
                  <a:lnTo>
                    <a:pt x="1196" y="574"/>
                  </a:lnTo>
                  <a:lnTo>
                    <a:pt x="1236" y="542"/>
                  </a:lnTo>
                  <a:lnTo>
                    <a:pt x="1277" y="514"/>
                  </a:lnTo>
                  <a:lnTo>
                    <a:pt x="1320" y="488"/>
                  </a:lnTo>
                  <a:lnTo>
                    <a:pt x="1364" y="464"/>
                  </a:lnTo>
                  <a:lnTo>
                    <a:pt x="1410" y="443"/>
                  </a:lnTo>
                  <a:lnTo>
                    <a:pt x="1456" y="425"/>
                  </a:lnTo>
                  <a:lnTo>
                    <a:pt x="1503" y="410"/>
                  </a:lnTo>
                  <a:lnTo>
                    <a:pt x="1487" y="332"/>
                  </a:lnTo>
                  <a:lnTo>
                    <a:pt x="1680" y="462"/>
                  </a:lnTo>
                  <a:lnTo>
                    <a:pt x="1585" y="716"/>
                  </a:lnTo>
                  <a:lnTo>
                    <a:pt x="1563" y="631"/>
                  </a:lnTo>
                  <a:lnTo>
                    <a:pt x="1548" y="630"/>
                  </a:lnTo>
                  <a:lnTo>
                    <a:pt x="1532" y="631"/>
                  </a:lnTo>
                  <a:lnTo>
                    <a:pt x="1515" y="634"/>
                  </a:lnTo>
                  <a:lnTo>
                    <a:pt x="1498" y="641"/>
                  </a:lnTo>
                  <a:lnTo>
                    <a:pt x="1479" y="650"/>
                  </a:lnTo>
                  <a:lnTo>
                    <a:pt x="1459" y="661"/>
                  </a:lnTo>
                  <a:lnTo>
                    <a:pt x="1438" y="675"/>
                  </a:lnTo>
                  <a:lnTo>
                    <a:pt x="1418" y="691"/>
                  </a:lnTo>
                  <a:lnTo>
                    <a:pt x="1397" y="709"/>
                  </a:lnTo>
                  <a:lnTo>
                    <a:pt x="1376" y="729"/>
                  </a:lnTo>
                  <a:lnTo>
                    <a:pt x="1355" y="751"/>
                  </a:lnTo>
                  <a:lnTo>
                    <a:pt x="1334" y="775"/>
                  </a:lnTo>
                  <a:lnTo>
                    <a:pt x="1314" y="800"/>
                  </a:lnTo>
                  <a:lnTo>
                    <a:pt x="1295" y="826"/>
                  </a:lnTo>
                  <a:lnTo>
                    <a:pt x="1276" y="853"/>
                  </a:lnTo>
                  <a:lnTo>
                    <a:pt x="1259" y="881"/>
                  </a:lnTo>
                  <a:lnTo>
                    <a:pt x="1242" y="909"/>
                  </a:lnTo>
                  <a:lnTo>
                    <a:pt x="1227" y="939"/>
                  </a:lnTo>
                  <a:lnTo>
                    <a:pt x="1213" y="967"/>
                  </a:lnTo>
                  <a:lnTo>
                    <a:pt x="1201" y="996"/>
                  </a:lnTo>
                  <a:lnTo>
                    <a:pt x="1190" y="1024"/>
                  </a:lnTo>
                  <a:lnTo>
                    <a:pt x="1181" y="1051"/>
                  </a:lnTo>
                  <a:lnTo>
                    <a:pt x="1174" y="1078"/>
                  </a:lnTo>
                  <a:lnTo>
                    <a:pt x="1169" y="1104"/>
                  </a:lnTo>
                  <a:lnTo>
                    <a:pt x="1165" y="1127"/>
                  </a:lnTo>
                  <a:lnTo>
                    <a:pt x="1164" y="1149"/>
                  </a:lnTo>
                  <a:lnTo>
                    <a:pt x="1308" y="1149"/>
                  </a:lnTo>
                  <a:lnTo>
                    <a:pt x="1724" y="1149"/>
                  </a:lnTo>
                  <a:lnTo>
                    <a:pt x="1724" y="733"/>
                  </a:lnTo>
                  <a:lnTo>
                    <a:pt x="1724" y="600"/>
                  </a:lnTo>
                  <a:lnTo>
                    <a:pt x="1765" y="592"/>
                  </a:lnTo>
                  <a:lnTo>
                    <a:pt x="1806" y="586"/>
                  </a:lnTo>
                  <a:lnTo>
                    <a:pt x="1847" y="582"/>
                  </a:lnTo>
                  <a:lnTo>
                    <a:pt x="1888" y="581"/>
                  </a:lnTo>
                  <a:lnTo>
                    <a:pt x="1930" y="582"/>
                  </a:lnTo>
                  <a:lnTo>
                    <a:pt x="1971" y="585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43269" name="Rectangle 5"/>
            <p:cNvSpPr>
              <a:spLocks noChangeArrowheads="1"/>
            </p:cNvSpPr>
            <p:nvPr/>
          </p:nvSpPr>
          <p:spPr bwMode="gray">
            <a:xfrm>
              <a:off x="741" y="955"/>
              <a:ext cx="1051" cy="12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3600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endParaRPr lang="en-US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43270" name="Freeform 6"/>
            <p:cNvSpPr>
              <a:spLocks/>
            </p:cNvSpPr>
            <p:nvPr/>
          </p:nvSpPr>
          <p:spPr bwMode="gray">
            <a:xfrm>
              <a:off x="2996" y="943"/>
              <a:ext cx="1997" cy="1596"/>
            </a:xfrm>
            <a:custGeom>
              <a:avLst/>
              <a:gdLst>
                <a:gd name="T0" fmla="*/ 845 w 1728"/>
                <a:gd name="T1" fmla="*/ 1358 h 1359"/>
                <a:gd name="T2" fmla="*/ 850 w 1728"/>
                <a:gd name="T3" fmla="*/ 1317 h 1359"/>
                <a:gd name="T4" fmla="*/ 851 w 1728"/>
                <a:gd name="T5" fmla="*/ 1275 h 1359"/>
                <a:gd name="T6" fmla="*/ 851 w 1728"/>
                <a:gd name="T7" fmla="*/ 1233 h 1359"/>
                <a:gd name="T8" fmla="*/ 849 w 1728"/>
                <a:gd name="T9" fmla="*/ 1192 h 1359"/>
                <a:gd name="T10" fmla="*/ 844 w 1728"/>
                <a:gd name="T11" fmla="*/ 1149 h 1359"/>
                <a:gd name="T12" fmla="*/ 894 w 1728"/>
                <a:gd name="T13" fmla="*/ 1149 h 1359"/>
                <a:gd name="T14" fmla="*/ 1727 w 1728"/>
                <a:gd name="T15" fmla="*/ 1149 h 1359"/>
                <a:gd name="T16" fmla="*/ 1727 w 1728"/>
                <a:gd name="T17" fmla="*/ 0 h 1359"/>
                <a:gd name="T18" fmla="*/ 2 w 1728"/>
                <a:gd name="T19" fmla="*/ 0 h 1359"/>
                <a:gd name="T20" fmla="*/ 0 w 1728"/>
                <a:gd name="T21" fmla="*/ 152 h 1359"/>
                <a:gd name="T22" fmla="*/ 0 w 1728"/>
                <a:gd name="T23" fmla="*/ 303 h 1359"/>
                <a:gd name="T24" fmla="*/ 50 w 1728"/>
                <a:gd name="T25" fmla="*/ 313 h 1359"/>
                <a:gd name="T26" fmla="*/ 100 w 1728"/>
                <a:gd name="T27" fmla="*/ 325 h 1359"/>
                <a:gd name="T28" fmla="*/ 148 w 1728"/>
                <a:gd name="T29" fmla="*/ 340 h 1359"/>
                <a:gd name="T30" fmla="*/ 196 w 1728"/>
                <a:gd name="T31" fmla="*/ 358 h 1359"/>
                <a:gd name="T32" fmla="*/ 242 w 1728"/>
                <a:gd name="T33" fmla="*/ 378 h 1359"/>
                <a:gd name="T34" fmla="*/ 288 w 1728"/>
                <a:gd name="T35" fmla="*/ 401 h 1359"/>
                <a:gd name="T36" fmla="*/ 331 w 1728"/>
                <a:gd name="T37" fmla="*/ 425 h 1359"/>
                <a:gd name="T38" fmla="*/ 374 w 1728"/>
                <a:gd name="T39" fmla="*/ 453 h 1359"/>
                <a:gd name="T40" fmla="*/ 415 w 1728"/>
                <a:gd name="T41" fmla="*/ 482 h 1359"/>
                <a:gd name="T42" fmla="*/ 453 w 1728"/>
                <a:gd name="T43" fmla="*/ 513 h 1359"/>
                <a:gd name="T44" fmla="*/ 490 w 1728"/>
                <a:gd name="T45" fmla="*/ 547 h 1359"/>
                <a:gd name="T46" fmla="*/ 525 w 1728"/>
                <a:gd name="T47" fmla="*/ 582 h 1359"/>
                <a:gd name="T48" fmla="*/ 557 w 1728"/>
                <a:gd name="T49" fmla="*/ 619 h 1359"/>
                <a:gd name="T50" fmla="*/ 588 w 1728"/>
                <a:gd name="T51" fmla="*/ 658 h 1359"/>
                <a:gd name="T52" fmla="*/ 616 w 1728"/>
                <a:gd name="T53" fmla="*/ 699 h 1359"/>
                <a:gd name="T54" fmla="*/ 641 w 1728"/>
                <a:gd name="T55" fmla="*/ 741 h 1359"/>
                <a:gd name="T56" fmla="*/ 664 w 1728"/>
                <a:gd name="T57" fmla="*/ 784 h 1359"/>
                <a:gd name="T58" fmla="*/ 685 w 1728"/>
                <a:gd name="T59" fmla="*/ 828 h 1359"/>
                <a:gd name="T60" fmla="*/ 702 w 1728"/>
                <a:gd name="T61" fmla="*/ 874 h 1359"/>
                <a:gd name="T62" fmla="*/ 717 w 1728"/>
                <a:gd name="T63" fmla="*/ 920 h 1359"/>
                <a:gd name="T64" fmla="*/ 795 w 1728"/>
                <a:gd name="T65" fmla="*/ 905 h 1359"/>
                <a:gd name="T66" fmla="*/ 649 w 1728"/>
                <a:gd name="T67" fmla="*/ 1093 h 1359"/>
                <a:gd name="T68" fmla="*/ 412 w 1728"/>
                <a:gd name="T69" fmla="*/ 1002 h 1359"/>
                <a:gd name="T70" fmla="*/ 496 w 1728"/>
                <a:gd name="T71" fmla="*/ 979 h 1359"/>
                <a:gd name="T72" fmla="*/ 476 w 1728"/>
                <a:gd name="T73" fmla="*/ 936 h 1359"/>
                <a:gd name="T74" fmla="*/ 453 w 1728"/>
                <a:gd name="T75" fmla="*/ 895 h 1359"/>
                <a:gd name="T76" fmla="*/ 429 w 1728"/>
                <a:gd name="T77" fmla="*/ 856 h 1359"/>
                <a:gd name="T78" fmla="*/ 402 w 1728"/>
                <a:gd name="T79" fmla="*/ 819 h 1359"/>
                <a:gd name="T80" fmla="*/ 374 w 1728"/>
                <a:gd name="T81" fmla="*/ 785 h 1359"/>
                <a:gd name="T82" fmla="*/ 343 w 1728"/>
                <a:gd name="T83" fmla="*/ 753 h 1359"/>
                <a:gd name="T84" fmla="*/ 312 w 1728"/>
                <a:gd name="T85" fmla="*/ 724 h 1359"/>
                <a:gd name="T86" fmla="*/ 278 w 1728"/>
                <a:gd name="T87" fmla="*/ 697 h 1359"/>
                <a:gd name="T88" fmla="*/ 242 w 1728"/>
                <a:gd name="T89" fmla="*/ 673 h 1359"/>
                <a:gd name="T90" fmla="*/ 206 w 1728"/>
                <a:gd name="T91" fmla="*/ 652 h 1359"/>
                <a:gd name="T92" fmla="*/ 167 w 1728"/>
                <a:gd name="T93" fmla="*/ 633 h 1359"/>
                <a:gd name="T94" fmla="*/ 128 w 1728"/>
                <a:gd name="T95" fmla="*/ 617 h 1359"/>
                <a:gd name="T96" fmla="*/ 87 w 1728"/>
                <a:gd name="T97" fmla="*/ 604 h 1359"/>
                <a:gd name="T98" fmla="*/ 45 w 1728"/>
                <a:gd name="T99" fmla="*/ 594 h 1359"/>
                <a:gd name="T100" fmla="*/ 1 w 1728"/>
                <a:gd name="T101" fmla="*/ 586 h 1359"/>
                <a:gd name="T102" fmla="*/ 2 w 1728"/>
                <a:gd name="T103" fmla="*/ 1149 h 1359"/>
                <a:gd name="T104" fmla="*/ 478 w 1728"/>
                <a:gd name="T105" fmla="*/ 1149 h 1359"/>
                <a:gd name="T106" fmla="*/ 556 w 1728"/>
                <a:gd name="T107" fmla="*/ 1149 h 1359"/>
                <a:gd name="T108" fmla="*/ 561 w 1728"/>
                <a:gd name="T109" fmla="*/ 1202 h 1359"/>
                <a:gd name="T110" fmla="*/ 564 w 1728"/>
                <a:gd name="T111" fmla="*/ 1254 h 1359"/>
                <a:gd name="T112" fmla="*/ 564 w 1728"/>
                <a:gd name="T113" fmla="*/ 1306 h 1359"/>
                <a:gd name="T114" fmla="*/ 561 w 1728"/>
                <a:gd name="T115" fmla="*/ 1358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28" h="1359">
                  <a:moveTo>
                    <a:pt x="845" y="1358"/>
                  </a:moveTo>
                  <a:lnTo>
                    <a:pt x="850" y="1317"/>
                  </a:lnTo>
                  <a:lnTo>
                    <a:pt x="851" y="1275"/>
                  </a:lnTo>
                  <a:lnTo>
                    <a:pt x="851" y="1233"/>
                  </a:lnTo>
                  <a:lnTo>
                    <a:pt x="849" y="1192"/>
                  </a:lnTo>
                  <a:lnTo>
                    <a:pt x="844" y="1149"/>
                  </a:lnTo>
                  <a:lnTo>
                    <a:pt x="894" y="1149"/>
                  </a:lnTo>
                  <a:lnTo>
                    <a:pt x="1727" y="1149"/>
                  </a:lnTo>
                  <a:lnTo>
                    <a:pt x="1727" y="0"/>
                  </a:lnTo>
                  <a:lnTo>
                    <a:pt x="2" y="0"/>
                  </a:lnTo>
                  <a:lnTo>
                    <a:pt x="0" y="152"/>
                  </a:lnTo>
                  <a:lnTo>
                    <a:pt x="0" y="303"/>
                  </a:lnTo>
                  <a:lnTo>
                    <a:pt x="50" y="313"/>
                  </a:lnTo>
                  <a:lnTo>
                    <a:pt x="100" y="325"/>
                  </a:lnTo>
                  <a:lnTo>
                    <a:pt x="148" y="340"/>
                  </a:lnTo>
                  <a:lnTo>
                    <a:pt x="196" y="358"/>
                  </a:lnTo>
                  <a:lnTo>
                    <a:pt x="242" y="378"/>
                  </a:lnTo>
                  <a:lnTo>
                    <a:pt x="288" y="401"/>
                  </a:lnTo>
                  <a:lnTo>
                    <a:pt x="331" y="425"/>
                  </a:lnTo>
                  <a:lnTo>
                    <a:pt x="374" y="453"/>
                  </a:lnTo>
                  <a:lnTo>
                    <a:pt x="415" y="482"/>
                  </a:lnTo>
                  <a:lnTo>
                    <a:pt x="453" y="513"/>
                  </a:lnTo>
                  <a:lnTo>
                    <a:pt x="490" y="547"/>
                  </a:lnTo>
                  <a:lnTo>
                    <a:pt x="525" y="582"/>
                  </a:lnTo>
                  <a:lnTo>
                    <a:pt x="557" y="619"/>
                  </a:lnTo>
                  <a:lnTo>
                    <a:pt x="588" y="658"/>
                  </a:lnTo>
                  <a:lnTo>
                    <a:pt x="616" y="699"/>
                  </a:lnTo>
                  <a:lnTo>
                    <a:pt x="641" y="741"/>
                  </a:lnTo>
                  <a:lnTo>
                    <a:pt x="664" y="784"/>
                  </a:lnTo>
                  <a:lnTo>
                    <a:pt x="685" y="828"/>
                  </a:lnTo>
                  <a:lnTo>
                    <a:pt x="702" y="874"/>
                  </a:lnTo>
                  <a:lnTo>
                    <a:pt x="717" y="920"/>
                  </a:lnTo>
                  <a:lnTo>
                    <a:pt x="795" y="905"/>
                  </a:lnTo>
                  <a:lnTo>
                    <a:pt x="649" y="1093"/>
                  </a:lnTo>
                  <a:lnTo>
                    <a:pt x="412" y="1002"/>
                  </a:lnTo>
                  <a:lnTo>
                    <a:pt x="496" y="979"/>
                  </a:lnTo>
                  <a:lnTo>
                    <a:pt x="476" y="936"/>
                  </a:lnTo>
                  <a:lnTo>
                    <a:pt x="453" y="895"/>
                  </a:lnTo>
                  <a:lnTo>
                    <a:pt x="429" y="856"/>
                  </a:lnTo>
                  <a:lnTo>
                    <a:pt x="402" y="819"/>
                  </a:lnTo>
                  <a:lnTo>
                    <a:pt x="374" y="785"/>
                  </a:lnTo>
                  <a:lnTo>
                    <a:pt x="343" y="753"/>
                  </a:lnTo>
                  <a:lnTo>
                    <a:pt x="312" y="724"/>
                  </a:lnTo>
                  <a:lnTo>
                    <a:pt x="278" y="697"/>
                  </a:lnTo>
                  <a:lnTo>
                    <a:pt x="242" y="673"/>
                  </a:lnTo>
                  <a:lnTo>
                    <a:pt x="206" y="652"/>
                  </a:lnTo>
                  <a:lnTo>
                    <a:pt x="167" y="633"/>
                  </a:lnTo>
                  <a:lnTo>
                    <a:pt x="128" y="617"/>
                  </a:lnTo>
                  <a:lnTo>
                    <a:pt x="87" y="604"/>
                  </a:lnTo>
                  <a:lnTo>
                    <a:pt x="45" y="594"/>
                  </a:lnTo>
                  <a:lnTo>
                    <a:pt x="1" y="586"/>
                  </a:lnTo>
                  <a:lnTo>
                    <a:pt x="2" y="1149"/>
                  </a:lnTo>
                  <a:lnTo>
                    <a:pt x="478" y="1149"/>
                  </a:lnTo>
                  <a:lnTo>
                    <a:pt x="556" y="1149"/>
                  </a:lnTo>
                  <a:lnTo>
                    <a:pt x="561" y="1202"/>
                  </a:lnTo>
                  <a:lnTo>
                    <a:pt x="564" y="1254"/>
                  </a:lnTo>
                  <a:lnTo>
                    <a:pt x="564" y="1306"/>
                  </a:lnTo>
                  <a:lnTo>
                    <a:pt x="561" y="1358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43271" name="Rectangle 7"/>
            <p:cNvSpPr>
              <a:spLocks noChangeArrowheads="1"/>
            </p:cNvSpPr>
            <p:nvPr/>
          </p:nvSpPr>
          <p:spPr bwMode="gray">
            <a:xfrm>
              <a:off x="3831" y="955"/>
              <a:ext cx="1051" cy="12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36000" rIns="0" bIns="0"/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443272" name="Freeform 8"/>
            <p:cNvSpPr>
              <a:spLocks/>
            </p:cNvSpPr>
            <p:nvPr/>
          </p:nvSpPr>
          <p:spPr bwMode="gray">
            <a:xfrm>
              <a:off x="720" y="2290"/>
              <a:ext cx="1992" cy="1585"/>
            </a:xfrm>
            <a:custGeom>
              <a:avLst/>
              <a:gdLst>
                <a:gd name="T0" fmla="*/ 881 w 1725"/>
                <a:gd name="T1" fmla="*/ 2 h 1351"/>
                <a:gd name="T2" fmla="*/ 877 w 1725"/>
                <a:gd name="T3" fmla="*/ 53 h 1351"/>
                <a:gd name="T4" fmla="*/ 875 w 1725"/>
                <a:gd name="T5" fmla="*/ 102 h 1351"/>
                <a:gd name="T6" fmla="*/ 878 w 1725"/>
                <a:gd name="T7" fmla="*/ 152 h 1351"/>
                <a:gd name="T8" fmla="*/ 882 w 1725"/>
                <a:gd name="T9" fmla="*/ 201 h 1351"/>
                <a:gd name="T10" fmla="*/ 813 w 1725"/>
                <a:gd name="T11" fmla="*/ 201 h 1351"/>
                <a:gd name="T12" fmla="*/ 0 w 1725"/>
                <a:gd name="T13" fmla="*/ 201 h 1351"/>
                <a:gd name="T14" fmla="*/ 0 w 1725"/>
                <a:gd name="T15" fmla="*/ 1350 h 1351"/>
                <a:gd name="T16" fmla="*/ 1724 w 1725"/>
                <a:gd name="T17" fmla="*/ 1350 h 1351"/>
                <a:gd name="T18" fmla="*/ 1724 w 1725"/>
                <a:gd name="T19" fmla="*/ 1049 h 1351"/>
                <a:gd name="T20" fmla="*/ 1674 w 1725"/>
                <a:gd name="T21" fmla="*/ 1039 h 1351"/>
                <a:gd name="T22" fmla="*/ 1625 w 1725"/>
                <a:gd name="T23" fmla="*/ 1027 h 1351"/>
                <a:gd name="T24" fmla="*/ 1576 w 1725"/>
                <a:gd name="T25" fmla="*/ 1012 h 1351"/>
                <a:gd name="T26" fmla="*/ 1528 w 1725"/>
                <a:gd name="T27" fmla="*/ 994 h 1351"/>
                <a:gd name="T28" fmla="*/ 1483 w 1725"/>
                <a:gd name="T29" fmla="*/ 974 h 1351"/>
                <a:gd name="T30" fmla="*/ 1437 w 1725"/>
                <a:gd name="T31" fmla="*/ 951 h 1351"/>
                <a:gd name="T32" fmla="*/ 1394 w 1725"/>
                <a:gd name="T33" fmla="*/ 926 h 1351"/>
                <a:gd name="T34" fmla="*/ 1351 w 1725"/>
                <a:gd name="T35" fmla="*/ 899 h 1351"/>
                <a:gd name="T36" fmla="*/ 1310 w 1725"/>
                <a:gd name="T37" fmla="*/ 869 h 1351"/>
                <a:gd name="T38" fmla="*/ 1272 w 1725"/>
                <a:gd name="T39" fmla="*/ 838 h 1351"/>
                <a:gd name="T40" fmla="*/ 1235 w 1725"/>
                <a:gd name="T41" fmla="*/ 804 h 1351"/>
                <a:gd name="T42" fmla="*/ 1201 w 1725"/>
                <a:gd name="T43" fmla="*/ 768 h 1351"/>
                <a:gd name="T44" fmla="*/ 1169 w 1725"/>
                <a:gd name="T45" fmla="*/ 731 h 1351"/>
                <a:gd name="T46" fmla="*/ 1139 w 1725"/>
                <a:gd name="T47" fmla="*/ 692 h 1351"/>
                <a:gd name="T48" fmla="*/ 1110 w 1725"/>
                <a:gd name="T49" fmla="*/ 652 h 1351"/>
                <a:gd name="T50" fmla="*/ 1085 w 1725"/>
                <a:gd name="T51" fmla="*/ 610 h 1351"/>
                <a:gd name="T52" fmla="*/ 1062 w 1725"/>
                <a:gd name="T53" fmla="*/ 567 h 1351"/>
                <a:gd name="T54" fmla="*/ 1042 w 1725"/>
                <a:gd name="T55" fmla="*/ 523 h 1351"/>
                <a:gd name="T56" fmla="*/ 1024 w 1725"/>
                <a:gd name="T57" fmla="*/ 477 h 1351"/>
                <a:gd name="T58" fmla="*/ 1009 w 1725"/>
                <a:gd name="T59" fmla="*/ 431 h 1351"/>
                <a:gd name="T60" fmla="*/ 932 w 1725"/>
                <a:gd name="T61" fmla="*/ 447 h 1351"/>
                <a:gd name="T62" fmla="*/ 1078 w 1725"/>
                <a:gd name="T63" fmla="*/ 258 h 1351"/>
                <a:gd name="T64" fmla="*/ 1316 w 1725"/>
                <a:gd name="T65" fmla="*/ 349 h 1351"/>
                <a:gd name="T66" fmla="*/ 1230 w 1725"/>
                <a:gd name="T67" fmla="*/ 372 h 1351"/>
                <a:gd name="T68" fmla="*/ 1251 w 1725"/>
                <a:gd name="T69" fmla="*/ 416 h 1351"/>
                <a:gd name="T70" fmla="*/ 1273 w 1725"/>
                <a:gd name="T71" fmla="*/ 457 h 1351"/>
                <a:gd name="T72" fmla="*/ 1298 w 1725"/>
                <a:gd name="T73" fmla="*/ 496 h 1351"/>
                <a:gd name="T74" fmla="*/ 1324 w 1725"/>
                <a:gd name="T75" fmla="*/ 533 h 1351"/>
                <a:gd name="T76" fmla="*/ 1352 w 1725"/>
                <a:gd name="T77" fmla="*/ 568 h 1351"/>
                <a:gd name="T78" fmla="*/ 1382 w 1725"/>
                <a:gd name="T79" fmla="*/ 600 h 1351"/>
                <a:gd name="T80" fmla="*/ 1414 w 1725"/>
                <a:gd name="T81" fmla="*/ 629 h 1351"/>
                <a:gd name="T82" fmla="*/ 1448 w 1725"/>
                <a:gd name="T83" fmla="*/ 657 h 1351"/>
                <a:gd name="T84" fmla="*/ 1483 w 1725"/>
                <a:gd name="T85" fmla="*/ 681 h 1351"/>
                <a:gd name="T86" fmla="*/ 1520 w 1725"/>
                <a:gd name="T87" fmla="*/ 703 h 1351"/>
                <a:gd name="T88" fmla="*/ 1558 w 1725"/>
                <a:gd name="T89" fmla="*/ 722 h 1351"/>
                <a:gd name="T90" fmla="*/ 1597 w 1725"/>
                <a:gd name="T91" fmla="*/ 738 h 1351"/>
                <a:gd name="T92" fmla="*/ 1639 w 1725"/>
                <a:gd name="T93" fmla="*/ 752 h 1351"/>
                <a:gd name="T94" fmla="*/ 1681 w 1725"/>
                <a:gd name="T95" fmla="*/ 763 h 1351"/>
                <a:gd name="T96" fmla="*/ 1724 w 1725"/>
                <a:gd name="T97" fmla="*/ 771 h 1351"/>
                <a:gd name="T98" fmla="*/ 1724 w 1725"/>
                <a:gd name="T99" fmla="*/ 201 h 1351"/>
                <a:gd name="T100" fmla="*/ 1209 w 1725"/>
                <a:gd name="T101" fmla="*/ 201 h 1351"/>
                <a:gd name="T102" fmla="*/ 1165 w 1725"/>
                <a:gd name="T103" fmla="*/ 201 h 1351"/>
                <a:gd name="T104" fmla="*/ 1161 w 1725"/>
                <a:gd name="T105" fmla="*/ 151 h 1351"/>
                <a:gd name="T106" fmla="*/ 1160 w 1725"/>
                <a:gd name="T107" fmla="*/ 100 h 1351"/>
                <a:gd name="T108" fmla="*/ 1161 w 1725"/>
                <a:gd name="T109" fmla="*/ 50 h 1351"/>
                <a:gd name="T110" fmla="*/ 1165 w 1725"/>
                <a:gd name="T111" fmla="*/ 0 h 1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25" h="1351">
                  <a:moveTo>
                    <a:pt x="881" y="2"/>
                  </a:moveTo>
                  <a:lnTo>
                    <a:pt x="877" y="53"/>
                  </a:lnTo>
                  <a:lnTo>
                    <a:pt x="875" y="102"/>
                  </a:lnTo>
                  <a:lnTo>
                    <a:pt x="878" y="152"/>
                  </a:lnTo>
                  <a:lnTo>
                    <a:pt x="882" y="201"/>
                  </a:lnTo>
                  <a:lnTo>
                    <a:pt x="813" y="201"/>
                  </a:lnTo>
                  <a:lnTo>
                    <a:pt x="0" y="201"/>
                  </a:lnTo>
                  <a:lnTo>
                    <a:pt x="0" y="1350"/>
                  </a:lnTo>
                  <a:lnTo>
                    <a:pt x="1724" y="1350"/>
                  </a:lnTo>
                  <a:lnTo>
                    <a:pt x="1724" y="1049"/>
                  </a:lnTo>
                  <a:lnTo>
                    <a:pt x="1674" y="1039"/>
                  </a:lnTo>
                  <a:lnTo>
                    <a:pt x="1625" y="1027"/>
                  </a:lnTo>
                  <a:lnTo>
                    <a:pt x="1576" y="1012"/>
                  </a:lnTo>
                  <a:lnTo>
                    <a:pt x="1528" y="994"/>
                  </a:lnTo>
                  <a:lnTo>
                    <a:pt x="1483" y="974"/>
                  </a:lnTo>
                  <a:lnTo>
                    <a:pt x="1437" y="951"/>
                  </a:lnTo>
                  <a:lnTo>
                    <a:pt x="1394" y="926"/>
                  </a:lnTo>
                  <a:lnTo>
                    <a:pt x="1351" y="899"/>
                  </a:lnTo>
                  <a:lnTo>
                    <a:pt x="1310" y="869"/>
                  </a:lnTo>
                  <a:lnTo>
                    <a:pt x="1272" y="838"/>
                  </a:lnTo>
                  <a:lnTo>
                    <a:pt x="1235" y="804"/>
                  </a:lnTo>
                  <a:lnTo>
                    <a:pt x="1201" y="768"/>
                  </a:lnTo>
                  <a:lnTo>
                    <a:pt x="1169" y="731"/>
                  </a:lnTo>
                  <a:lnTo>
                    <a:pt x="1139" y="692"/>
                  </a:lnTo>
                  <a:lnTo>
                    <a:pt x="1110" y="652"/>
                  </a:lnTo>
                  <a:lnTo>
                    <a:pt x="1085" y="610"/>
                  </a:lnTo>
                  <a:lnTo>
                    <a:pt x="1062" y="567"/>
                  </a:lnTo>
                  <a:lnTo>
                    <a:pt x="1042" y="523"/>
                  </a:lnTo>
                  <a:lnTo>
                    <a:pt x="1024" y="477"/>
                  </a:lnTo>
                  <a:lnTo>
                    <a:pt x="1009" y="431"/>
                  </a:lnTo>
                  <a:lnTo>
                    <a:pt x="932" y="447"/>
                  </a:lnTo>
                  <a:lnTo>
                    <a:pt x="1078" y="258"/>
                  </a:lnTo>
                  <a:lnTo>
                    <a:pt x="1316" y="349"/>
                  </a:lnTo>
                  <a:lnTo>
                    <a:pt x="1230" y="372"/>
                  </a:lnTo>
                  <a:lnTo>
                    <a:pt x="1251" y="416"/>
                  </a:lnTo>
                  <a:lnTo>
                    <a:pt x="1273" y="457"/>
                  </a:lnTo>
                  <a:lnTo>
                    <a:pt x="1298" y="496"/>
                  </a:lnTo>
                  <a:lnTo>
                    <a:pt x="1324" y="533"/>
                  </a:lnTo>
                  <a:lnTo>
                    <a:pt x="1352" y="568"/>
                  </a:lnTo>
                  <a:lnTo>
                    <a:pt x="1382" y="600"/>
                  </a:lnTo>
                  <a:lnTo>
                    <a:pt x="1414" y="629"/>
                  </a:lnTo>
                  <a:lnTo>
                    <a:pt x="1448" y="657"/>
                  </a:lnTo>
                  <a:lnTo>
                    <a:pt x="1483" y="681"/>
                  </a:lnTo>
                  <a:lnTo>
                    <a:pt x="1520" y="703"/>
                  </a:lnTo>
                  <a:lnTo>
                    <a:pt x="1558" y="722"/>
                  </a:lnTo>
                  <a:lnTo>
                    <a:pt x="1597" y="738"/>
                  </a:lnTo>
                  <a:lnTo>
                    <a:pt x="1639" y="752"/>
                  </a:lnTo>
                  <a:lnTo>
                    <a:pt x="1681" y="763"/>
                  </a:lnTo>
                  <a:lnTo>
                    <a:pt x="1724" y="771"/>
                  </a:lnTo>
                  <a:lnTo>
                    <a:pt x="1724" y="201"/>
                  </a:lnTo>
                  <a:lnTo>
                    <a:pt x="1209" y="201"/>
                  </a:lnTo>
                  <a:lnTo>
                    <a:pt x="1165" y="201"/>
                  </a:lnTo>
                  <a:lnTo>
                    <a:pt x="1161" y="151"/>
                  </a:lnTo>
                  <a:lnTo>
                    <a:pt x="1160" y="100"/>
                  </a:lnTo>
                  <a:lnTo>
                    <a:pt x="1161" y="50"/>
                  </a:lnTo>
                  <a:lnTo>
                    <a:pt x="1165" y="0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43273" name="Rectangle 9"/>
            <p:cNvSpPr>
              <a:spLocks noChangeArrowheads="1"/>
            </p:cNvSpPr>
            <p:nvPr/>
          </p:nvSpPr>
          <p:spPr bwMode="gray">
            <a:xfrm>
              <a:off x="741" y="2557"/>
              <a:ext cx="1051" cy="1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3600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443274" name="Freeform 10"/>
            <p:cNvSpPr>
              <a:spLocks/>
            </p:cNvSpPr>
            <p:nvPr/>
          </p:nvSpPr>
          <p:spPr bwMode="gray">
            <a:xfrm>
              <a:off x="2710" y="2537"/>
              <a:ext cx="2283" cy="1338"/>
            </a:xfrm>
            <a:custGeom>
              <a:avLst/>
              <a:gdLst>
                <a:gd name="T0" fmla="*/ 41 w 1975"/>
                <a:gd name="T1" fmla="*/ 844 h 1140"/>
                <a:gd name="T2" fmla="*/ 124 w 1975"/>
                <a:gd name="T3" fmla="*/ 849 h 1140"/>
                <a:gd name="T4" fmla="*/ 207 w 1975"/>
                <a:gd name="T5" fmla="*/ 843 h 1140"/>
                <a:gd name="T6" fmla="*/ 249 w 1975"/>
                <a:gd name="T7" fmla="*/ 862 h 1140"/>
                <a:gd name="T8" fmla="*/ 1974 w 1975"/>
                <a:gd name="T9" fmla="*/ 1139 h 1140"/>
                <a:gd name="T10" fmla="*/ 1093 w 1975"/>
                <a:gd name="T11" fmla="*/ 0 h 1140"/>
                <a:gd name="T12" fmla="*/ 1072 w 1975"/>
                <a:gd name="T13" fmla="*/ 101 h 1140"/>
                <a:gd name="T14" fmla="*/ 1040 w 1975"/>
                <a:gd name="T15" fmla="*/ 201 h 1140"/>
                <a:gd name="T16" fmla="*/ 999 w 1975"/>
                <a:gd name="T17" fmla="*/ 294 h 1140"/>
                <a:gd name="T18" fmla="*/ 947 w 1975"/>
                <a:gd name="T19" fmla="*/ 383 h 1140"/>
                <a:gd name="T20" fmla="*/ 885 w 1975"/>
                <a:gd name="T21" fmla="*/ 464 h 1140"/>
                <a:gd name="T22" fmla="*/ 815 w 1975"/>
                <a:gd name="T23" fmla="*/ 538 h 1140"/>
                <a:gd name="T24" fmla="*/ 738 w 1975"/>
                <a:gd name="T25" fmla="*/ 602 h 1140"/>
                <a:gd name="T26" fmla="*/ 654 w 1975"/>
                <a:gd name="T27" fmla="*/ 656 h 1140"/>
                <a:gd name="T28" fmla="*/ 564 w 1975"/>
                <a:gd name="T29" fmla="*/ 701 h 1140"/>
                <a:gd name="T30" fmla="*/ 470 w 1975"/>
                <a:gd name="T31" fmla="*/ 733 h 1140"/>
                <a:gd name="T32" fmla="*/ 294 w 1975"/>
                <a:gd name="T33" fmla="*/ 682 h 1140"/>
                <a:gd name="T34" fmla="*/ 411 w 1975"/>
                <a:gd name="T35" fmla="*/ 515 h 1140"/>
                <a:gd name="T36" fmla="*/ 440 w 1975"/>
                <a:gd name="T37" fmla="*/ 517 h 1140"/>
                <a:gd name="T38" fmla="*/ 474 w 1975"/>
                <a:gd name="T39" fmla="*/ 508 h 1140"/>
                <a:gd name="T40" fmla="*/ 512 w 1975"/>
                <a:gd name="T41" fmla="*/ 489 h 1140"/>
                <a:gd name="T42" fmla="*/ 553 w 1975"/>
                <a:gd name="T43" fmla="*/ 460 h 1140"/>
                <a:gd name="T44" fmla="*/ 594 w 1975"/>
                <a:gd name="T45" fmla="*/ 422 h 1140"/>
                <a:gd name="T46" fmla="*/ 636 w 1975"/>
                <a:gd name="T47" fmla="*/ 377 h 1140"/>
                <a:gd name="T48" fmla="*/ 675 w 1975"/>
                <a:gd name="T49" fmla="*/ 326 h 1140"/>
                <a:gd name="T50" fmla="*/ 712 w 1975"/>
                <a:gd name="T51" fmla="*/ 270 h 1140"/>
                <a:gd name="T52" fmla="*/ 743 w 1975"/>
                <a:gd name="T53" fmla="*/ 213 h 1140"/>
                <a:gd name="T54" fmla="*/ 769 w 1975"/>
                <a:gd name="T55" fmla="*/ 155 h 1140"/>
                <a:gd name="T56" fmla="*/ 790 w 1975"/>
                <a:gd name="T57" fmla="*/ 99 h 1140"/>
                <a:gd name="T58" fmla="*/ 803 w 1975"/>
                <a:gd name="T59" fmla="*/ 47 h 1140"/>
                <a:gd name="T60" fmla="*/ 808 w 1975"/>
                <a:gd name="T61" fmla="*/ 0 h 1140"/>
                <a:gd name="T62" fmla="*/ 249 w 1975"/>
                <a:gd name="T63" fmla="*/ 461 h 1140"/>
                <a:gd name="T64" fmla="*/ 214 w 1975"/>
                <a:gd name="T65" fmla="*/ 549 h 1140"/>
                <a:gd name="T66" fmla="*/ 143 w 1975"/>
                <a:gd name="T67" fmla="*/ 563 h 1140"/>
                <a:gd name="T68" fmla="*/ 71 w 1975"/>
                <a:gd name="T69" fmla="*/ 566 h 1140"/>
                <a:gd name="T70" fmla="*/ 0 w 1975"/>
                <a:gd name="T71" fmla="*/ 559 h 1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75" h="1140">
                  <a:moveTo>
                    <a:pt x="0" y="838"/>
                  </a:moveTo>
                  <a:lnTo>
                    <a:pt x="41" y="844"/>
                  </a:lnTo>
                  <a:lnTo>
                    <a:pt x="83" y="848"/>
                  </a:lnTo>
                  <a:lnTo>
                    <a:pt x="124" y="849"/>
                  </a:lnTo>
                  <a:lnTo>
                    <a:pt x="166" y="847"/>
                  </a:lnTo>
                  <a:lnTo>
                    <a:pt x="207" y="843"/>
                  </a:lnTo>
                  <a:lnTo>
                    <a:pt x="249" y="836"/>
                  </a:lnTo>
                  <a:lnTo>
                    <a:pt x="249" y="862"/>
                  </a:lnTo>
                  <a:lnTo>
                    <a:pt x="249" y="1139"/>
                  </a:lnTo>
                  <a:lnTo>
                    <a:pt x="1974" y="1139"/>
                  </a:lnTo>
                  <a:lnTo>
                    <a:pt x="1974" y="0"/>
                  </a:lnTo>
                  <a:lnTo>
                    <a:pt x="1093" y="0"/>
                  </a:lnTo>
                  <a:lnTo>
                    <a:pt x="1084" y="51"/>
                  </a:lnTo>
                  <a:lnTo>
                    <a:pt x="1072" y="101"/>
                  </a:lnTo>
                  <a:lnTo>
                    <a:pt x="1058" y="151"/>
                  </a:lnTo>
                  <a:lnTo>
                    <a:pt x="1040" y="201"/>
                  </a:lnTo>
                  <a:lnTo>
                    <a:pt x="1021" y="248"/>
                  </a:lnTo>
                  <a:lnTo>
                    <a:pt x="999" y="294"/>
                  </a:lnTo>
                  <a:lnTo>
                    <a:pt x="974" y="339"/>
                  </a:lnTo>
                  <a:lnTo>
                    <a:pt x="947" y="383"/>
                  </a:lnTo>
                  <a:lnTo>
                    <a:pt x="917" y="424"/>
                  </a:lnTo>
                  <a:lnTo>
                    <a:pt x="885" y="464"/>
                  </a:lnTo>
                  <a:lnTo>
                    <a:pt x="851" y="502"/>
                  </a:lnTo>
                  <a:lnTo>
                    <a:pt x="815" y="538"/>
                  </a:lnTo>
                  <a:lnTo>
                    <a:pt x="777" y="571"/>
                  </a:lnTo>
                  <a:lnTo>
                    <a:pt x="738" y="602"/>
                  </a:lnTo>
                  <a:lnTo>
                    <a:pt x="697" y="630"/>
                  </a:lnTo>
                  <a:lnTo>
                    <a:pt x="654" y="656"/>
                  </a:lnTo>
                  <a:lnTo>
                    <a:pt x="610" y="680"/>
                  </a:lnTo>
                  <a:lnTo>
                    <a:pt x="564" y="701"/>
                  </a:lnTo>
                  <a:lnTo>
                    <a:pt x="518" y="718"/>
                  </a:lnTo>
                  <a:lnTo>
                    <a:pt x="470" y="733"/>
                  </a:lnTo>
                  <a:lnTo>
                    <a:pt x="486" y="811"/>
                  </a:lnTo>
                  <a:lnTo>
                    <a:pt x="294" y="682"/>
                  </a:lnTo>
                  <a:lnTo>
                    <a:pt x="388" y="430"/>
                  </a:lnTo>
                  <a:lnTo>
                    <a:pt x="411" y="515"/>
                  </a:lnTo>
                  <a:lnTo>
                    <a:pt x="425" y="517"/>
                  </a:lnTo>
                  <a:lnTo>
                    <a:pt x="440" y="517"/>
                  </a:lnTo>
                  <a:lnTo>
                    <a:pt x="457" y="514"/>
                  </a:lnTo>
                  <a:lnTo>
                    <a:pt x="474" y="508"/>
                  </a:lnTo>
                  <a:lnTo>
                    <a:pt x="493" y="500"/>
                  </a:lnTo>
                  <a:lnTo>
                    <a:pt x="512" y="489"/>
                  </a:lnTo>
                  <a:lnTo>
                    <a:pt x="532" y="476"/>
                  </a:lnTo>
                  <a:lnTo>
                    <a:pt x="553" y="460"/>
                  </a:lnTo>
                  <a:lnTo>
                    <a:pt x="574" y="442"/>
                  </a:lnTo>
                  <a:lnTo>
                    <a:pt x="594" y="422"/>
                  </a:lnTo>
                  <a:lnTo>
                    <a:pt x="615" y="400"/>
                  </a:lnTo>
                  <a:lnTo>
                    <a:pt x="636" y="377"/>
                  </a:lnTo>
                  <a:lnTo>
                    <a:pt x="655" y="352"/>
                  </a:lnTo>
                  <a:lnTo>
                    <a:pt x="675" y="326"/>
                  </a:lnTo>
                  <a:lnTo>
                    <a:pt x="693" y="299"/>
                  </a:lnTo>
                  <a:lnTo>
                    <a:pt x="712" y="270"/>
                  </a:lnTo>
                  <a:lnTo>
                    <a:pt x="728" y="242"/>
                  </a:lnTo>
                  <a:lnTo>
                    <a:pt x="743" y="213"/>
                  </a:lnTo>
                  <a:lnTo>
                    <a:pt x="757" y="184"/>
                  </a:lnTo>
                  <a:lnTo>
                    <a:pt x="769" y="155"/>
                  </a:lnTo>
                  <a:lnTo>
                    <a:pt x="780" y="127"/>
                  </a:lnTo>
                  <a:lnTo>
                    <a:pt x="790" y="99"/>
                  </a:lnTo>
                  <a:lnTo>
                    <a:pt x="797" y="72"/>
                  </a:lnTo>
                  <a:lnTo>
                    <a:pt x="803" y="47"/>
                  </a:lnTo>
                  <a:lnTo>
                    <a:pt x="806" y="22"/>
                  </a:lnTo>
                  <a:lnTo>
                    <a:pt x="808" y="0"/>
                  </a:lnTo>
                  <a:lnTo>
                    <a:pt x="249" y="0"/>
                  </a:lnTo>
                  <a:lnTo>
                    <a:pt x="249" y="461"/>
                  </a:lnTo>
                  <a:lnTo>
                    <a:pt x="249" y="540"/>
                  </a:lnTo>
                  <a:lnTo>
                    <a:pt x="214" y="549"/>
                  </a:lnTo>
                  <a:lnTo>
                    <a:pt x="179" y="557"/>
                  </a:lnTo>
                  <a:lnTo>
                    <a:pt x="143" y="563"/>
                  </a:lnTo>
                  <a:lnTo>
                    <a:pt x="107" y="565"/>
                  </a:lnTo>
                  <a:lnTo>
                    <a:pt x="71" y="566"/>
                  </a:lnTo>
                  <a:lnTo>
                    <a:pt x="35" y="564"/>
                  </a:lnTo>
                  <a:lnTo>
                    <a:pt x="0" y="559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43275" name="Rectangle 11"/>
            <p:cNvSpPr>
              <a:spLocks noChangeArrowheads="1"/>
            </p:cNvSpPr>
            <p:nvPr/>
          </p:nvSpPr>
          <p:spPr bwMode="gray">
            <a:xfrm>
              <a:off x="3830" y="2557"/>
              <a:ext cx="1052" cy="1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36000" rIns="0" bIns="0"/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8480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1231" name="Rectangle 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4</a:t>
            </a:r>
          </a:p>
        </p:txBody>
      </p:sp>
      <p:grpSp>
        <p:nvGrpSpPr>
          <p:cNvPr id="2441236" name="Group 20"/>
          <p:cNvGrpSpPr>
            <a:grpSpLocks/>
          </p:cNvGrpSpPr>
          <p:nvPr/>
        </p:nvGrpSpPr>
        <p:grpSpPr bwMode="auto">
          <a:xfrm>
            <a:off x="1903414" y="1532601"/>
            <a:ext cx="8307387" cy="4676775"/>
            <a:chOff x="239" y="934"/>
            <a:chExt cx="5233" cy="2946"/>
          </a:xfrm>
        </p:grpSpPr>
        <p:sp>
          <p:nvSpPr>
            <p:cNvPr id="2441219" name="Freeform 3"/>
            <p:cNvSpPr>
              <a:spLocks/>
            </p:cNvSpPr>
            <p:nvPr/>
          </p:nvSpPr>
          <p:spPr bwMode="gray">
            <a:xfrm>
              <a:off x="241" y="939"/>
              <a:ext cx="2415" cy="1264"/>
            </a:xfrm>
            <a:custGeom>
              <a:avLst/>
              <a:gdLst>
                <a:gd name="T0" fmla="*/ 1728 w 1729"/>
                <a:gd name="T1" fmla="*/ 360 h 865"/>
                <a:gd name="T2" fmla="*/ 1728 w 1729"/>
                <a:gd name="T3" fmla="*/ 0 h 865"/>
                <a:gd name="T4" fmla="*/ 0 w 1729"/>
                <a:gd name="T5" fmla="*/ 0 h 865"/>
                <a:gd name="T6" fmla="*/ 0 w 1729"/>
                <a:gd name="T7" fmla="*/ 864 h 865"/>
                <a:gd name="T8" fmla="*/ 1728 w 1729"/>
                <a:gd name="T9" fmla="*/ 864 h 865"/>
                <a:gd name="T10" fmla="*/ 1728 w 1729"/>
                <a:gd name="T11" fmla="*/ 504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29" h="865">
                  <a:moveTo>
                    <a:pt x="1728" y="360"/>
                  </a:moveTo>
                  <a:lnTo>
                    <a:pt x="1728" y="0"/>
                  </a:lnTo>
                  <a:lnTo>
                    <a:pt x="0" y="0"/>
                  </a:lnTo>
                  <a:lnTo>
                    <a:pt x="0" y="864"/>
                  </a:lnTo>
                  <a:lnTo>
                    <a:pt x="1728" y="864"/>
                  </a:lnTo>
                  <a:lnTo>
                    <a:pt x="1728" y="504"/>
                  </a:lnTo>
                </a:path>
              </a:pathLst>
            </a:custGeom>
            <a:solidFill>
              <a:srgbClr val="FFFFFF"/>
            </a:solidFill>
            <a:ln w="9525" cap="flat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7150" dir="2700000" algn="ctr" rotWithShape="0">
                      <a:srgbClr val="888888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41220" name="Rectangle 4"/>
            <p:cNvSpPr>
              <a:spLocks noChangeArrowheads="1"/>
            </p:cNvSpPr>
            <p:nvPr/>
          </p:nvSpPr>
          <p:spPr bwMode="gray">
            <a:xfrm>
              <a:off x="239" y="936"/>
              <a:ext cx="2407" cy="12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44000" tIns="144000" rIns="144000" bIns="14400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441221" name="Freeform 5"/>
            <p:cNvSpPr>
              <a:spLocks/>
            </p:cNvSpPr>
            <p:nvPr/>
          </p:nvSpPr>
          <p:spPr bwMode="gray">
            <a:xfrm>
              <a:off x="3057" y="939"/>
              <a:ext cx="2415" cy="1264"/>
            </a:xfrm>
            <a:custGeom>
              <a:avLst/>
              <a:gdLst>
                <a:gd name="T0" fmla="*/ 792 w 1729"/>
                <a:gd name="T1" fmla="*/ 864 h 865"/>
                <a:gd name="T2" fmla="*/ 0 w 1729"/>
                <a:gd name="T3" fmla="*/ 864 h 865"/>
                <a:gd name="T4" fmla="*/ 0 w 1729"/>
                <a:gd name="T5" fmla="*/ 0 h 865"/>
                <a:gd name="T6" fmla="*/ 1728 w 1729"/>
                <a:gd name="T7" fmla="*/ 0 h 865"/>
                <a:gd name="T8" fmla="*/ 1728 w 1729"/>
                <a:gd name="T9" fmla="*/ 864 h 865"/>
                <a:gd name="T10" fmla="*/ 936 w 1729"/>
                <a:gd name="T11" fmla="*/ 864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29" h="865">
                  <a:moveTo>
                    <a:pt x="792" y="864"/>
                  </a:moveTo>
                  <a:lnTo>
                    <a:pt x="0" y="864"/>
                  </a:lnTo>
                  <a:lnTo>
                    <a:pt x="0" y="0"/>
                  </a:lnTo>
                  <a:lnTo>
                    <a:pt x="1728" y="0"/>
                  </a:lnTo>
                  <a:lnTo>
                    <a:pt x="1728" y="864"/>
                  </a:lnTo>
                  <a:lnTo>
                    <a:pt x="936" y="864"/>
                  </a:lnTo>
                </a:path>
              </a:pathLst>
            </a:custGeom>
            <a:solidFill>
              <a:srgbClr val="EAEAEA"/>
            </a:solidFill>
            <a:ln w="9525" cap="flat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7150" dir="2700000" algn="ctr" rotWithShape="0">
                      <a:srgbClr val="888888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41223" name="Freeform 7"/>
            <p:cNvSpPr>
              <a:spLocks/>
            </p:cNvSpPr>
            <p:nvPr/>
          </p:nvSpPr>
          <p:spPr bwMode="gray">
            <a:xfrm>
              <a:off x="241" y="2614"/>
              <a:ext cx="2415" cy="1266"/>
            </a:xfrm>
            <a:custGeom>
              <a:avLst/>
              <a:gdLst>
                <a:gd name="T0" fmla="*/ 936 w 1729"/>
                <a:gd name="T1" fmla="*/ 0 h 865"/>
                <a:gd name="T2" fmla="*/ 1728 w 1729"/>
                <a:gd name="T3" fmla="*/ 0 h 865"/>
                <a:gd name="T4" fmla="*/ 1728 w 1729"/>
                <a:gd name="T5" fmla="*/ 864 h 865"/>
                <a:gd name="T6" fmla="*/ 0 w 1729"/>
                <a:gd name="T7" fmla="*/ 864 h 865"/>
                <a:gd name="T8" fmla="*/ 0 w 1729"/>
                <a:gd name="T9" fmla="*/ 0 h 865"/>
                <a:gd name="T10" fmla="*/ 792 w 1729"/>
                <a:gd name="T11" fmla="*/ 0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29" h="865">
                  <a:moveTo>
                    <a:pt x="936" y="0"/>
                  </a:moveTo>
                  <a:lnTo>
                    <a:pt x="1728" y="0"/>
                  </a:lnTo>
                  <a:lnTo>
                    <a:pt x="1728" y="864"/>
                  </a:lnTo>
                  <a:lnTo>
                    <a:pt x="0" y="864"/>
                  </a:lnTo>
                  <a:lnTo>
                    <a:pt x="0" y="0"/>
                  </a:lnTo>
                  <a:lnTo>
                    <a:pt x="792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 cap="flat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7150" dir="2700000" algn="ctr" rotWithShape="0">
                      <a:srgbClr val="888888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41225" name="Freeform 9"/>
            <p:cNvSpPr>
              <a:spLocks/>
            </p:cNvSpPr>
            <p:nvPr/>
          </p:nvSpPr>
          <p:spPr bwMode="gray">
            <a:xfrm>
              <a:off x="3057" y="2614"/>
              <a:ext cx="2415" cy="1266"/>
            </a:xfrm>
            <a:custGeom>
              <a:avLst/>
              <a:gdLst>
                <a:gd name="T0" fmla="*/ 0 w 1729"/>
                <a:gd name="T1" fmla="*/ 360 h 865"/>
                <a:gd name="T2" fmla="*/ 0 w 1729"/>
                <a:gd name="T3" fmla="*/ 0 h 865"/>
                <a:gd name="T4" fmla="*/ 1728 w 1729"/>
                <a:gd name="T5" fmla="*/ 0 h 865"/>
                <a:gd name="T6" fmla="*/ 1728 w 1729"/>
                <a:gd name="T7" fmla="*/ 864 h 865"/>
                <a:gd name="T8" fmla="*/ 0 w 1729"/>
                <a:gd name="T9" fmla="*/ 864 h 865"/>
                <a:gd name="T10" fmla="*/ 0 w 1729"/>
                <a:gd name="T11" fmla="*/ 504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29" h="865">
                  <a:moveTo>
                    <a:pt x="0" y="360"/>
                  </a:moveTo>
                  <a:lnTo>
                    <a:pt x="0" y="0"/>
                  </a:lnTo>
                  <a:lnTo>
                    <a:pt x="1728" y="0"/>
                  </a:lnTo>
                  <a:lnTo>
                    <a:pt x="1728" y="864"/>
                  </a:lnTo>
                  <a:lnTo>
                    <a:pt x="0" y="864"/>
                  </a:lnTo>
                  <a:lnTo>
                    <a:pt x="0" y="504"/>
                  </a:lnTo>
                </a:path>
              </a:pathLst>
            </a:custGeom>
            <a:solidFill>
              <a:srgbClr val="969696"/>
            </a:solidFill>
            <a:ln w="9525" cap="flat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7150" dir="2700000" algn="ctr" rotWithShape="0">
                      <a:srgbClr val="888888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41227" name="Freeform 11"/>
            <p:cNvSpPr>
              <a:spLocks/>
            </p:cNvSpPr>
            <p:nvPr/>
          </p:nvSpPr>
          <p:spPr bwMode="gray">
            <a:xfrm>
              <a:off x="1247" y="1879"/>
              <a:ext cx="403" cy="737"/>
            </a:xfrm>
            <a:custGeom>
              <a:avLst/>
              <a:gdLst>
                <a:gd name="T0" fmla="*/ 72 w 289"/>
                <a:gd name="T1" fmla="*/ 504 h 505"/>
                <a:gd name="T2" fmla="*/ 72 w 289"/>
                <a:gd name="T3" fmla="*/ 144 h 505"/>
                <a:gd name="T4" fmla="*/ 0 w 289"/>
                <a:gd name="T5" fmla="*/ 144 h 505"/>
                <a:gd name="T6" fmla="*/ 144 w 289"/>
                <a:gd name="T7" fmla="*/ 0 h 505"/>
                <a:gd name="T8" fmla="*/ 288 w 289"/>
                <a:gd name="T9" fmla="*/ 144 h 505"/>
                <a:gd name="T10" fmla="*/ 216 w 289"/>
                <a:gd name="T11" fmla="*/ 144 h 505"/>
                <a:gd name="T12" fmla="*/ 216 w 289"/>
                <a:gd name="T13" fmla="*/ 50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9" h="505">
                  <a:moveTo>
                    <a:pt x="72" y="504"/>
                  </a:moveTo>
                  <a:lnTo>
                    <a:pt x="72" y="144"/>
                  </a:lnTo>
                  <a:lnTo>
                    <a:pt x="0" y="144"/>
                  </a:lnTo>
                  <a:lnTo>
                    <a:pt x="144" y="0"/>
                  </a:lnTo>
                  <a:lnTo>
                    <a:pt x="288" y="144"/>
                  </a:lnTo>
                  <a:lnTo>
                    <a:pt x="216" y="144"/>
                  </a:lnTo>
                  <a:lnTo>
                    <a:pt x="216" y="504"/>
                  </a:ln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 cap="flat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7150" dir="2700000" algn="ctr" rotWithShape="0">
                      <a:srgbClr val="888888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41228" name="Freeform 12"/>
            <p:cNvSpPr>
              <a:spLocks/>
            </p:cNvSpPr>
            <p:nvPr/>
          </p:nvSpPr>
          <p:spPr bwMode="gray">
            <a:xfrm>
              <a:off x="2358" y="3036"/>
              <a:ext cx="705" cy="422"/>
            </a:xfrm>
            <a:custGeom>
              <a:avLst/>
              <a:gdLst>
                <a:gd name="T0" fmla="*/ 504 w 505"/>
                <a:gd name="T1" fmla="*/ 72 h 289"/>
                <a:gd name="T2" fmla="*/ 144 w 505"/>
                <a:gd name="T3" fmla="*/ 72 h 289"/>
                <a:gd name="T4" fmla="*/ 144 w 505"/>
                <a:gd name="T5" fmla="*/ 0 h 289"/>
                <a:gd name="T6" fmla="*/ 0 w 505"/>
                <a:gd name="T7" fmla="*/ 144 h 289"/>
                <a:gd name="T8" fmla="*/ 144 w 505"/>
                <a:gd name="T9" fmla="*/ 288 h 289"/>
                <a:gd name="T10" fmla="*/ 144 w 505"/>
                <a:gd name="T11" fmla="*/ 216 h 289"/>
                <a:gd name="T12" fmla="*/ 504 w 505"/>
                <a:gd name="T13" fmla="*/ 216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5" h="289">
                  <a:moveTo>
                    <a:pt x="504" y="72"/>
                  </a:moveTo>
                  <a:lnTo>
                    <a:pt x="144" y="72"/>
                  </a:lnTo>
                  <a:lnTo>
                    <a:pt x="144" y="0"/>
                  </a:lnTo>
                  <a:lnTo>
                    <a:pt x="0" y="144"/>
                  </a:lnTo>
                  <a:lnTo>
                    <a:pt x="144" y="288"/>
                  </a:lnTo>
                  <a:lnTo>
                    <a:pt x="144" y="216"/>
                  </a:lnTo>
                  <a:lnTo>
                    <a:pt x="504" y="216"/>
                  </a:lnTo>
                </a:path>
              </a:pathLst>
            </a:custGeom>
            <a:solidFill>
              <a:srgbClr val="969696"/>
            </a:solidFill>
            <a:ln w="9525" cap="flat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7150" dir="2700000" algn="ctr" rotWithShape="0">
                      <a:srgbClr val="888888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41229" name="Freeform 13"/>
            <p:cNvSpPr>
              <a:spLocks/>
            </p:cNvSpPr>
            <p:nvPr/>
          </p:nvSpPr>
          <p:spPr bwMode="gray">
            <a:xfrm>
              <a:off x="2654" y="1360"/>
              <a:ext cx="705" cy="423"/>
            </a:xfrm>
            <a:custGeom>
              <a:avLst/>
              <a:gdLst>
                <a:gd name="T0" fmla="*/ 0 w 505"/>
                <a:gd name="T1" fmla="*/ 72 h 289"/>
                <a:gd name="T2" fmla="*/ 360 w 505"/>
                <a:gd name="T3" fmla="*/ 72 h 289"/>
                <a:gd name="T4" fmla="*/ 360 w 505"/>
                <a:gd name="T5" fmla="*/ 0 h 289"/>
                <a:gd name="T6" fmla="*/ 504 w 505"/>
                <a:gd name="T7" fmla="*/ 144 h 289"/>
                <a:gd name="T8" fmla="*/ 360 w 505"/>
                <a:gd name="T9" fmla="*/ 288 h 289"/>
                <a:gd name="T10" fmla="*/ 360 w 505"/>
                <a:gd name="T11" fmla="*/ 216 h 289"/>
                <a:gd name="T12" fmla="*/ 0 w 505"/>
                <a:gd name="T13" fmla="*/ 216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5" h="289">
                  <a:moveTo>
                    <a:pt x="0" y="72"/>
                  </a:moveTo>
                  <a:lnTo>
                    <a:pt x="360" y="72"/>
                  </a:lnTo>
                  <a:lnTo>
                    <a:pt x="360" y="0"/>
                  </a:lnTo>
                  <a:lnTo>
                    <a:pt x="504" y="144"/>
                  </a:lnTo>
                  <a:lnTo>
                    <a:pt x="360" y="288"/>
                  </a:lnTo>
                  <a:lnTo>
                    <a:pt x="360" y="216"/>
                  </a:lnTo>
                  <a:lnTo>
                    <a:pt x="0" y="216"/>
                  </a:lnTo>
                </a:path>
              </a:pathLst>
            </a:custGeom>
            <a:solidFill>
              <a:srgbClr val="FFFFFF"/>
            </a:solidFill>
            <a:ln w="9525" cap="flat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7150" dir="2700000" algn="ctr" rotWithShape="0">
                      <a:srgbClr val="888888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41230" name="Freeform 14"/>
            <p:cNvSpPr>
              <a:spLocks/>
            </p:cNvSpPr>
            <p:nvPr/>
          </p:nvSpPr>
          <p:spPr bwMode="gray">
            <a:xfrm>
              <a:off x="4063" y="2195"/>
              <a:ext cx="403" cy="736"/>
            </a:xfrm>
            <a:custGeom>
              <a:avLst/>
              <a:gdLst>
                <a:gd name="T0" fmla="*/ 72 w 289"/>
                <a:gd name="T1" fmla="*/ 0 h 505"/>
                <a:gd name="T2" fmla="*/ 72 w 289"/>
                <a:gd name="T3" fmla="*/ 360 h 505"/>
                <a:gd name="T4" fmla="*/ 0 w 289"/>
                <a:gd name="T5" fmla="*/ 360 h 505"/>
                <a:gd name="T6" fmla="*/ 144 w 289"/>
                <a:gd name="T7" fmla="*/ 504 h 505"/>
                <a:gd name="T8" fmla="*/ 288 w 289"/>
                <a:gd name="T9" fmla="*/ 360 h 505"/>
                <a:gd name="T10" fmla="*/ 216 w 289"/>
                <a:gd name="T11" fmla="*/ 360 h 505"/>
                <a:gd name="T12" fmla="*/ 216 w 289"/>
                <a:gd name="T13" fmla="*/ 0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9" h="505">
                  <a:moveTo>
                    <a:pt x="72" y="0"/>
                  </a:moveTo>
                  <a:lnTo>
                    <a:pt x="72" y="360"/>
                  </a:lnTo>
                  <a:lnTo>
                    <a:pt x="0" y="360"/>
                  </a:lnTo>
                  <a:lnTo>
                    <a:pt x="144" y="504"/>
                  </a:lnTo>
                  <a:lnTo>
                    <a:pt x="288" y="360"/>
                  </a:lnTo>
                  <a:lnTo>
                    <a:pt x="216" y="360"/>
                  </a:lnTo>
                  <a:lnTo>
                    <a:pt x="216" y="0"/>
                  </a:lnTo>
                </a:path>
              </a:pathLst>
            </a:custGeom>
            <a:solidFill>
              <a:srgbClr val="EAEAEA"/>
            </a:solidFill>
            <a:ln w="9525" cap="flat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7150" dir="2700000" algn="ctr" rotWithShape="0">
                      <a:srgbClr val="888888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441232" name="Rectangle 16"/>
            <p:cNvSpPr>
              <a:spLocks noChangeArrowheads="1"/>
            </p:cNvSpPr>
            <p:nvPr/>
          </p:nvSpPr>
          <p:spPr bwMode="gray">
            <a:xfrm>
              <a:off x="3353" y="934"/>
              <a:ext cx="2108" cy="12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44000" tIns="144000" rIns="144000" bIns="14400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441233" name="Rectangle 17"/>
            <p:cNvSpPr>
              <a:spLocks noChangeArrowheads="1"/>
            </p:cNvSpPr>
            <p:nvPr/>
          </p:nvSpPr>
          <p:spPr bwMode="gray">
            <a:xfrm>
              <a:off x="3357" y="2930"/>
              <a:ext cx="2108" cy="9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44000" tIns="144000" rIns="144000" bIns="14400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441234" name="Rectangle 18"/>
            <p:cNvSpPr>
              <a:spLocks noChangeArrowheads="1"/>
            </p:cNvSpPr>
            <p:nvPr/>
          </p:nvSpPr>
          <p:spPr bwMode="gray">
            <a:xfrm>
              <a:off x="239" y="2616"/>
              <a:ext cx="2108" cy="12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44000" tIns="144000" rIns="144000" bIns="14400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855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5012" name="Oval 4"/>
          <p:cNvSpPr>
            <a:spLocks noChangeArrowheads="1"/>
          </p:cNvSpPr>
          <p:nvPr/>
        </p:nvSpPr>
        <p:spPr bwMode="gray">
          <a:xfrm>
            <a:off x="912380" y="631598"/>
            <a:ext cx="2211568" cy="86558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4000" b="1" dirty="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  <a:t>Filter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910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38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lter I</a:t>
            </a:r>
          </a:p>
        </p:txBody>
      </p:sp>
      <p:grpSp>
        <p:nvGrpSpPr>
          <p:cNvPr id="2893848" name="Group 24"/>
          <p:cNvGrpSpPr>
            <a:grpSpLocks/>
          </p:cNvGrpSpPr>
          <p:nvPr/>
        </p:nvGrpSpPr>
        <p:grpSpPr bwMode="auto">
          <a:xfrm>
            <a:off x="1908176" y="1492250"/>
            <a:ext cx="8316913" cy="4002088"/>
            <a:chOff x="242" y="940"/>
            <a:chExt cx="5239" cy="2521"/>
          </a:xfrm>
        </p:grpSpPr>
        <p:grpSp>
          <p:nvGrpSpPr>
            <p:cNvPr id="2893847" name="Group 23"/>
            <p:cNvGrpSpPr>
              <a:grpSpLocks/>
            </p:cNvGrpSpPr>
            <p:nvPr/>
          </p:nvGrpSpPr>
          <p:grpSpPr bwMode="auto">
            <a:xfrm>
              <a:off x="1745" y="1291"/>
              <a:ext cx="1710" cy="2170"/>
              <a:chOff x="1745" y="1291"/>
              <a:chExt cx="1710" cy="2170"/>
            </a:xfrm>
          </p:grpSpPr>
          <p:sp>
            <p:nvSpPr>
              <p:cNvPr id="2893829" name="AutoShape 5"/>
              <p:cNvSpPr>
                <a:spLocks noChangeArrowheads="1"/>
              </p:cNvSpPr>
              <p:nvPr/>
            </p:nvSpPr>
            <p:spPr bwMode="gray">
              <a:xfrm>
                <a:off x="1745" y="1788"/>
                <a:ext cx="156" cy="156"/>
              </a:xfrm>
              <a:prstGeom prst="flowChartConnector">
                <a:avLst/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3830" name="AutoShape 6"/>
              <p:cNvSpPr>
                <a:spLocks noChangeArrowheads="1"/>
              </p:cNvSpPr>
              <p:nvPr/>
            </p:nvSpPr>
            <p:spPr bwMode="gray">
              <a:xfrm>
                <a:off x="3299" y="2447"/>
                <a:ext cx="156" cy="156"/>
              </a:xfrm>
              <a:prstGeom prst="flowChartConnector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CC00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3831" name="AutoShape 7"/>
              <p:cNvSpPr>
                <a:spLocks noChangeArrowheads="1"/>
              </p:cNvSpPr>
              <p:nvPr/>
            </p:nvSpPr>
            <p:spPr bwMode="gray">
              <a:xfrm>
                <a:off x="3148" y="2091"/>
                <a:ext cx="156" cy="156"/>
              </a:xfrm>
              <a:prstGeom prst="flowChartConnector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CC00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3832" name="AutoShape 8"/>
              <p:cNvSpPr>
                <a:spLocks noChangeArrowheads="1"/>
              </p:cNvSpPr>
              <p:nvPr/>
            </p:nvSpPr>
            <p:spPr bwMode="gray">
              <a:xfrm>
                <a:off x="2174" y="2145"/>
                <a:ext cx="156" cy="156"/>
              </a:xfrm>
              <a:prstGeom prst="flowChartConnector">
                <a:avLst/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3833" name="AutoShape 9"/>
              <p:cNvSpPr>
                <a:spLocks noChangeArrowheads="1"/>
              </p:cNvSpPr>
              <p:nvPr/>
            </p:nvSpPr>
            <p:spPr bwMode="gray">
              <a:xfrm>
                <a:off x="2209" y="1734"/>
                <a:ext cx="156" cy="156"/>
              </a:xfrm>
              <a:prstGeom prst="flowChartConnector">
                <a:avLst/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3834" name="AutoShape 10"/>
              <p:cNvSpPr>
                <a:spLocks noChangeArrowheads="1"/>
              </p:cNvSpPr>
              <p:nvPr/>
            </p:nvSpPr>
            <p:spPr bwMode="gray">
              <a:xfrm>
                <a:off x="2360" y="2447"/>
                <a:ext cx="156" cy="156"/>
              </a:xfrm>
              <a:prstGeom prst="flowChartConnector">
                <a:avLst/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3835" name="AutoShape 11"/>
              <p:cNvSpPr>
                <a:spLocks noChangeArrowheads="1"/>
              </p:cNvSpPr>
              <p:nvPr/>
            </p:nvSpPr>
            <p:spPr bwMode="gray">
              <a:xfrm>
                <a:off x="2740" y="1835"/>
                <a:ext cx="156" cy="156"/>
              </a:xfrm>
              <a:prstGeom prst="flowChartConnector">
                <a:avLst/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3836" name="AutoShape 12"/>
              <p:cNvSpPr>
                <a:spLocks noChangeArrowheads="1"/>
              </p:cNvSpPr>
              <p:nvPr/>
            </p:nvSpPr>
            <p:spPr bwMode="gray">
              <a:xfrm>
                <a:off x="2453" y="1990"/>
                <a:ext cx="156" cy="156"/>
              </a:xfrm>
              <a:prstGeom prst="flowChartConnector">
                <a:avLst/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3837" name="AutoShape 13"/>
              <p:cNvSpPr>
                <a:spLocks noChangeArrowheads="1"/>
              </p:cNvSpPr>
              <p:nvPr/>
            </p:nvSpPr>
            <p:spPr bwMode="gray">
              <a:xfrm>
                <a:off x="2639" y="2838"/>
                <a:ext cx="156" cy="156"/>
              </a:xfrm>
              <a:prstGeom prst="flowChartConnector">
                <a:avLst/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3838" name="AutoShape 14"/>
              <p:cNvSpPr>
                <a:spLocks noChangeArrowheads="1"/>
              </p:cNvSpPr>
              <p:nvPr/>
            </p:nvSpPr>
            <p:spPr bwMode="gray">
              <a:xfrm>
                <a:off x="2639" y="2246"/>
                <a:ext cx="156" cy="156"/>
              </a:xfrm>
              <a:prstGeom prst="flowChartConnector">
                <a:avLst/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3839" name="AutoShape 15"/>
              <p:cNvSpPr>
                <a:spLocks noChangeArrowheads="1"/>
              </p:cNvSpPr>
              <p:nvPr/>
            </p:nvSpPr>
            <p:spPr bwMode="gray">
              <a:xfrm>
                <a:off x="3040" y="2603"/>
                <a:ext cx="156" cy="156"/>
              </a:xfrm>
              <a:prstGeom prst="flowChartConnector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CC00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3840" name="AutoShape 16"/>
              <p:cNvSpPr>
                <a:spLocks noChangeArrowheads="1"/>
              </p:cNvSpPr>
              <p:nvPr/>
            </p:nvSpPr>
            <p:spPr bwMode="gray">
              <a:xfrm>
                <a:off x="3081" y="2896"/>
                <a:ext cx="156" cy="156"/>
              </a:xfrm>
              <a:prstGeom prst="flowChartConnector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CC00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3841" name="AutoShape 17"/>
              <p:cNvSpPr>
                <a:spLocks noChangeArrowheads="1"/>
              </p:cNvSpPr>
              <p:nvPr/>
            </p:nvSpPr>
            <p:spPr bwMode="gray">
              <a:xfrm>
                <a:off x="1894" y="2044"/>
                <a:ext cx="156" cy="156"/>
              </a:xfrm>
              <a:prstGeom prst="flowChartConnector">
                <a:avLst/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3842" name="AutoShape 18"/>
              <p:cNvSpPr>
                <a:spLocks noChangeArrowheads="1"/>
              </p:cNvSpPr>
              <p:nvPr/>
            </p:nvSpPr>
            <p:spPr bwMode="gray">
              <a:xfrm>
                <a:off x="1931" y="2401"/>
                <a:ext cx="156" cy="156"/>
              </a:xfrm>
              <a:prstGeom prst="flowChartConnector">
                <a:avLst/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3843" name="AutoShape 19"/>
              <p:cNvSpPr>
                <a:spLocks noChangeArrowheads="1"/>
              </p:cNvSpPr>
              <p:nvPr/>
            </p:nvSpPr>
            <p:spPr bwMode="gray">
              <a:xfrm>
                <a:off x="2209" y="2758"/>
                <a:ext cx="156" cy="156"/>
              </a:xfrm>
              <a:prstGeom prst="flowChartConnector">
                <a:avLst/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3844" name="Rectangle 20"/>
              <p:cNvSpPr>
                <a:spLocks noChangeArrowheads="1"/>
              </p:cNvSpPr>
              <p:nvPr/>
            </p:nvSpPr>
            <p:spPr bwMode="gray">
              <a:xfrm>
                <a:off x="2819" y="1291"/>
                <a:ext cx="100" cy="2170"/>
              </a:xfrm>
              <a:prstGeom prst="rect">
                <a:avLst/>
              </a:prstGeom>
              <a:solidFill>
                <a:srgbClr val="7030A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sp>
          <p:nvSpPr>
            <p:cNvPr id="2893845" name="Rectangle 21"/>
            <p:cNvSpPr>
              <a:spLocks noChangeArrowheads="1"/>
            </p:cNvSpPr>
            <p:nvPr/>
          </p:nvSpPr>
          <p:spPr bwMode="gray">
            <a:xfrm>
              <a:off x="242" y="940"/>
              <a:ext cx="2520" cy="26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93846" name="Rectangle 22"/>
            <p:cNvSpPr>
              <a:spLocks noChangeArrowheads="1"/>
            </p:cNvSpPr>
            <p:nvPr/>
          </p:nvSpPr>
          <p:spPr bwMode="gray">
            <a:xfrm>
              <a:off x="2961" y="940"/>
              <a:ext cx="2520" cy="26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148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58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lter II</a:t>
            </a:r>
          </a:p>
        </p:txBody>
      </p:sp>
      <p:grpSp>
        <p:nvGrpSpPr>
          <p:cNvPr id="2895893" name="Group 21"/>
          <p:cNvGrpSpPr>
            <a:grpSpLocks/>
          </p:cNvGrpSpPr>
          <p:nvPr/>
        </p:nvGrpSpPr>
        <p:grpSpPr bwMode="auto">
          <a:xfrm>
            <a:off x="1908175" y="1581151"/>
            <a:ext cx="8299450" cy="4562475"/>
            <a:chOff x="248" y="996"/>
            <a:chExt cx="5228" cy="2874"/>
          </a:xfrm>
        </p:grpSpPr>
        <p:grpSp>
          <p:nvGrpSpPr>
            <p:cNvPr id="2895876" name="Group 4"/>
            <p:cNvGrpSpPr>
              <a:grpSpLocks/>
            </p:cNvGrpSpPr>
            <p:nvPr/>
          </p:nvGrpSpPr>
          <p:grpSpPr bwMode="auto">
            <a:xfrm>
              <a:off x="2146" y="1795"/>
              <a:ext cx="1433" cy="1640"/>
              <a:chOff x="2146" y="1795"/>
              <a:chExt cx="1433" cy="1640"/>
            </a:xfrm>
          </p:grpSpPr>
          <p:sp>
            <p:nvSpPr>
              <p:cNvPr id="2895877" name="AutoShape 5"/>
              <p:cNvSpPr>
                <a:spLocks noChangeArrowheads="1"/>
              </p:cNvSpPr>
              <p:nvPr/>
            </p:nvSpPr>
            <p:spPr bwMode="gray">
              <a:xfrm>
                <a:off x="3150" y="3210"/>
                <a:ext cx="200" cy="225"/>
              </a:xfrm>
              <a:prstGeom prst="rightArrow">
                <a:avLst>
                  <a:gd name="adj1" fmla="val 49463"/>
                  <a:gd name="adj2" fmla="val 39917"/>
                </a:avLst>
              </a:prstGeom>
              <a:solidFill>
                <a:srgbClr val="5F5F5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5878" name="AutoShape 6"/>
              <p:cNvSpPr>
                <a:spLocks noChangeArrowheads="1"/>
              </p:cNvSpPr>
              <p:nvPr/>
            </p:nvSpPr>
            <p:spPr bwMode="gray">
              <a:xfrm>
                <a:off x="3204" y="2291"/>
                <a:ext cx="198" cy="579"/>
              </a:xfrm>
              <a:prstGeom prst="rightArrow">
                <a:avLst>
                  <a:gd name="adj1" fmla="val 49463"/>
                  <a:gd name="adj2" fmla="val 39917"/>
                </a:avLst>
              </a:prstGeom>
              <a:solidFill>
                <a:srgbClr val="5F5F5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5879" name="AutoShape 7"/>
              <p:cNvSpPr>
                <a:spLocks noChangeArrowheads="1"/>
              </p:cNvSpPr>
              <p:nvPr/>
            </p:nvSpPr>
            <p:spPr bwMode="gray">
              <a:xfrm>
                <a:off x="2978" y="1841"/>
                <a:ext cx="407" cy="131"/>
              </a:xfrm>
              <a:prstGeom prst="doubleWave">
                <a:avLst>
                  <a:gd name="adj1" fmla="val 6500"/>
                  <a:gd name="adj2" fmla="val 0"/>
                </a:avLst>
              </a:prstGeom>
              <a:solidFill>
                <a:srgbClr val="5F5F5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5880" name="Freeform 8"/>
              <p:cNvSpPr>
                <a:spLocks/>
              </p:cNvSpPr>
              <p:nvPr/>
            </p:nvSpPr>
            <p:spPr bwMode="gray">
              <a:xfrm>
                <a:off x="2470" y="2525"/>
                <a:ext cx="757" cy="174"/>
              </a:xfrm>
              <a:custGeom>
                <a:avLst/>
                <a:gdLst>
                  <a:gd name="T0" fmla="*/ 900 w 900"/>
                  <a:gd name="T1" fmla="*/ 1776 h 1875"/>
                  <a:gd name="T2" fmla="*/ 900 w 900"/>
                  <a:gd name="T3" fmla="*/ 248 h 1875"/>
                  <a:gd name="T4" fmla="*/ 590 w 900"/>
                  <a:gd name="T5" fmla="*/ 272 h 1875"/>
                  <a:gd name="T6" fmla="*/ 328 w 900"/>
                  <a:gd name="T7" fmla="*/ 104 h 1875"/>
                  <a:gd name="T8" fmla="*/ 3 w 900"/>
                  <a:gd name="T9" fmla="*/ 88 h 1875"/>
                  <a:gd name="T10" fmla="*/ 3 w 900"/>
                  <a:gd name="T11" fmla="*/ 1648 h 1875"/>
                  <a:gd name="T12" fmla="*/ 256 w 900"/>
                  <a:gd name="T13" fmla="*/ 1632 h 1875"/>
                  <a:gd name="T14" fmla="*/ 602 w 900"/>
                  <a:gd name="T15" fmla="*/ 1874 h 1875"/>
                  <a:gd name="T16" fmla="*/ 900 w 900"/>
                  <a:gd name="T17" fmla="*/ 1776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00" h="1875">
                    <a:moveTo>
                      <a:pt x="900" y="1776"/>
                    </a:moveTo>
                    <a:cubicBezTo>
                      <a:pt x="900" y="1480"/>
                      <a:pt x="900" y="248"/>
                      <a:pt x="900" y="248"/>
                    </a:cubicBezTo>
                    <a:cubicBezTo>
                      <a:pt x="800" y="192"/>
                      <a:pt x="689" y="299"/>
                      <a:pt x="590" y="272"/>
                    </a:cubicBezTo>
                    <a:cubicBezTo>
                      <a:pt x="491" y="245"/>
                      <a:pt x="421" y="175"/>
                      <a:pt x="328" y="104"/>
                    </a:cubicBezTo>
                    <a:cubicBezTo>
                      <a:pt x="234" y="33"/>
                      <a:pt x="103" y="0"/>
                      <a:pt x="3" y="88"/>
                    </a:cubicBezTo>
                    <a:cubicBezTo>
                      <a:pt x="3" y="200"/>
                      <a:pt x="0" y="1600"/>
                      <a:pt x="3" y="1648"/>
                    </a:cubicBezTo>
                    <a:cubicBezTo>
                      <a:pt x="79" y="1664"/>
                      <a:pt x="146" y="1589"/>
                      <a:pt x="256" y="1632"/>
                    </a:cubicBezTo>
                    <a:cubicBezTo>
                      <a:pt x="360" y="1680"/>
                      <a:pt x="502" y="1875"/>
                      <a:pt x="602" y="1874"/>
                    </a:cubicBezTo>
                    <a:cubicBezTo>
                      <a:pt x="702" y="1873"/>
                      <a:pt x="899" y="1848"/>
                      <a:pt x="900" y="1776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5881" name="AutoShape 9"/>
              <p:cNvSpPr>
                <a:spLocks noChangeArrowheads="1"/>
              </p:cNvSpPr>
              <p:nvPr/>
            </p:nvSpPr>
            <p:spPr bwMode="gray">
              <a:xfrm>
                <a:off x="2205" y="1838"/>
                <a:ext cx="579" cy="130"/>
              </a:xfrm>
              <a:prstGeom prst="doubleWave">
                <a:avLst>
                  <a:gd name="adj1" fmla="val 6500"/>
                  <a:gd name="adj2" fmla="val 0"/>
                </a:avLst>
              </a:prstGeom>
              <a:solidFill>
                <a:srgbClr val="5F5F5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5882" name="AutoShape 10"/>
              <p:cNvSpPr>
                <a:spLocks noChangeArrowheads="1"/>
              </p:cNvSpPr>
              <p:nvPr/>
            </p:nvSpPr>
            <p:spPr bwMode="gray">
              <a:xfrm>
                <a:off x="3380" y="1795"/>
                <a:ext cx="199" cy="226"/>
              </a:xfrm>
              <a:prstGeom prst="rightArrow">
                <a:avLst>
                  <a:gd name="adj1" fmla="val 49463"/>
                  <a:gd name="adj2" fmla="val 39917"/>
                </a:avLst>
              </a:prstGeom>
              <a:solidFill>
                <a:srgbClr val="5F5F5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5883" name="AutoShape 11"/>
              <p:cNvSpPr>
                <a:spLocks noChangeArrowheads="1"/>
              </p:cNvSpPr>
              <p:nvPr/>
            </p:nvSpPr>
            <p:spPr bwMode="gray">
              <a:xfrm>
                <a:off x="2407" y="2072"/>
                <a:ext cx="579" cy="184"/>
              </a:xfrm>
              <a:prstGeom prst="doubleWave">
                <a:avLst>
                  <a:gd name="adj1" fmla="val 6500"/>
                  <a:gd name="adj2" fmla="val 0"/>
                </a:avLst>
              </a:prstGeom>
              <a:solidFill>
                <a:srgbClr val="5F5F5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5884" name="AutoShape 12"/>
              <p:cNvSpPr>
                <a:spLocks noChangeArrowheads="1"/>
              </p:cNvSpPr>
              <p:nvPr/>
            </p:nvSpPr>
            <p:spPr bwMode="gray">
              <a:xfrm rot="5400000">
                <a:off x="2856" y="2119"/>
                <a:ext cx="326" cy="83"/>
              </a:xfrm>
              <a:prstGeom prst="triangle">
                <a:avLst>
                  <a:gd name="adj" fmla="val 50000"/>
                </a:avLst>
              </a:prstGeom>
              <a:solidFill>
                <a:srgbClr val="5F5F5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5885" name="AutoShape 13"/>
              <p:cNvSpPr>
                <a:spLocks noChangeArrowheads="1"/>
              </p:cNvSpPr>
              <p:nvPr/>
            </p:nvSpPr>
            <p:spPr bwMode="gray">
              <a:xfrm>
                <a:off x="2297" y="2414"/>
                <a:ext cx="580" cy="323"/>
              </a:xfrm>
              <a:prstGeom prst="doubleWave">
                <a:avLst>
                  <a:gd name="adj1" fmla="val 6500"/>
                  <a:gd name="adj2" fmla="val 0"/>
                </a:avLst>
              </a:prstGeom>
              <a:solidFill>
                <a:srgbClr val="5F5F5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5886" name="AutoShape 14"/>
              <p:cNvSpPr>
                <a:spLocks noChangeArrowheads="1"/>
              </p:cNvSpPr>
              <p:nvPr/>
            </p:nvSpPr>
            <p:spPr bwMode="gray">
              <a:xfrm>
                <a:off x="2146" y="2898"/>
                <a:ext cx="579" cy="185"/>
              </a:xfrm>
              <a:prstGeom prst="doubleWave">
                <a:avLst>
                  <a:gd name="adj1" fmla="val 6500"/>
                  <a:gd name="adj2" fmla="val 0"/>
                </a:avLst>
              </a:prstGeom>
              <a:solidFill>
                <a:srgbClr val="5F5F5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5887" name="AutoShape 15"/>
              <p:cNvSpPr>
                <a:spLocks noChangeArrowheads="1"/>
              </p:cNvSpPr>
              <p:nvPr/>
            </p:nvSpPr>
            <p:spPr bwMode="gray">
              <a:xfrm rot="5400000">
                <a:off x="2595" y="2946"/>
                <a:ext cx="327" cy="83"/>
              </a:xfrm>
              <a:prstGeom prst="triangle">
                <a:avLst>
                  <a:gd name="adj" fmla="val 50000"/>
                </a:avLst>
              </a:prstGeom>
              <a:solidFill>
                <a:srgbClr val="5F5F5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895888" name="AutoShape 16"/>
              <p:cNvSpPr>
                <a:spLocks noChangeArrowheads="1"/>
              </p:cNvSpPr>
              <p:nvPr/>
            </p:nvSpPr>
            <p:spPr bwMode="gray">
              <a:xfrm>
                <a:off x="2340" y="3256"/>
                <a:ext cx="730" cy="130"/>
              </a:xfrm>
              <a:prstGeom prst="doubleWave">
                <a:avLst>
                  <a:gd name="adj1" fmla="val 6500"/>
                  <a:gd name="adj2" fmla="val 0"/>
                </a:avLst>
              </a:prstGeom>
              <a:solidFill>
                <a:srgbClr val="5F5F5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sp>
          <p:nvSpPr>
            <p:cNvPr id="2895889" name="Rectangle 17"/>
            <p:cNvSpPr>
              <a:spLocks noChangeArrowheads="1"/>
            </p:cNvSpPr>
            <p:nvPr/>
          </p:nvSpPr>
          <p:spPr bwMode="gray">
            <a:xfrm>
              <a:off x="248" y="996"/>
              <a:ext cx="1790" cy="254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95890" name="Rectangle 18"/>
            <p:cNvSpPr>
              <a:spLocks noChangeArrowheads="1"/>
            </p:cNvSpPr>
            <p:nvPr/>
          </p:nvSpPr>
          <p:spPr bwMode="gray">
            <a:xfrm>
              <a:off x="3686" y="996"/>
              <a:ext cx="1790" cy="254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95891" name="Rectangle 19"/>
            <p:cNvSpPr>
              <a:spLocks noChangeArrowheads="1"/>
            </p:cNvSpPr>
            <p:nvPr/>
          </p:nvSpPr>
          <p:spPr bwMode="gray">
            <a:xfrm>
              <a:off x="248" y="1354"/>
              <a:ext cx="1790" cy="2516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95892" name="Rectangle 20"/>
            <p:cNvSpPr>
              <a:spLocks noChangeArrowheads="1"/>
            </p:cNvSpPr>
            <p:nvPr/>
          </p:nvSpPr>
          <p:spPr bwMode="gray">
            <a:xfrm>
              <a:off x="3686" y="1354"/>
              <a:ext cx="1790" cy="2516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2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77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formation Flows</a:t>
            </a:r>
          </a:p>
        </p:txBody>
      </p:sp>
      <p:sp>
        <p:nvSpPr>
          <p:cNvPr id="3017732" name="Rectangle 4"/>
          <p:cNvSpPr>
            <a:spLocks noChangeArrowheads="1"/>
          </p:cNvSpPr>
          <p:nvPr/>
        </p:nvSpPr>
        <p:spPr bwMode="gray">
          <a:xfrm>
            <a:off x="1909763" y="1489075"/>
            <a:ext cx="1974850" cy="4654550"/>
          </a:xfrm>
          <a:prstGeom prst="rect">
            <a:avLst/>
          </a:prstGeom>
          <a:solidFill>
            <a:srgbClr val="C0C0C0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de-DE"/>
          </a:p>
        </p:txBody>
      </p:sp>
      <p:grpSp>
        <p:nvGrpSpPr>
          <p:cNvPr id="3017733" name="Group 5"/>
          <p:cNvGrpSpPr>
            <a:grpSpLocks/>
          </p:cNvGrpSpPr>
          <p:nvPr/>
        </p:nvGrpSpPr>
        <p:grpSpPr bwMode="auto">
          <a:xfrm>
            <a:off x="2119313" y="1833563"/>
            <a:ext cx="1555750" cy="2457450"/>
            <a:chOff x="244" y="945"/>
            <a:chExt cx="866" cy="1368"/>
          </a:xfrm>
        </p:grpSpPr>
        <p:sp>
          <p:nvSpPr>
            <p:cNvPr id="3017734" name="Freeform 6"/>
            <p:cNvSpPr>
              <a:spLocks/>
            </p:cNvSpPr>
            <p:nvPr/>
          </p:nvSpPr>
          <p:spPr bwMode="gray">
            <a:xfrm>
              <a:off x="244" y="945"/>
              <a:ext cx="866" cy="1038"/>
            </a:xfrm>
            <a:custGeom>
              <a:avLst/>
              <a:gdLst>
                <a:gd name="T0" fmla="*/ 222 w 554"/>
                <a:gd name="T1" fmla="*/ 632 h 664"/>
                <a:gd name="T2" fmla="*/ 225 w 554"/>
                <a:gd name="T3" fmla="*/ 588 h 664"/>
                <a:gd name="T4" fmla="*/ 232 w 554"/>
                <a:gd name="T5" fmla="*/ 549 h 664"/>
                <a:gd name="T6" fmla="*/ 243 w 554"/>
                <a:gd name="T7" fmla="*/ 517 h 664"/>
                <a:gd name="T8" fmla="*/ 257 w 554"/>
                <a:gd name="T9" fmla="*/ 491 h 664"/>
                <a:gd name="T10" fmla="*/ 275 w 554"/>
                <a:gd name="T11" fmla="*/ 465 h 664"/>
                <a:gd name="T12" fmla="*/ 295 w 554"/>
                <a:gd name="T13" fmla="*/ 443 h 664"/>
                <a:gd name="T14" fmla="*/ 358 w 554"/>
                <a:gd name="T15" fmla="*/ 382 h 664"/>
                <a:gd name="T16" fmla="*/ 394 w 554"/>
                <a:gd name="T17" fmla="*/ 349 h 664"/>
                <a:gd name="T18" fmla="*/ 419 w 554"/>
                <a:gd name="T19" fmla="*/ 321 h 664"/>
                <a:gd name="T20" fmla="*/ 433 w 554"/>
                <a:gd name="T21" fmla="*/ 298 h 664"/>
                <a:gd name="T22" fmla="*/ 442 w 554"/>
                <a:gd name="T23" fmla="*/ 275 h 664"/>
                <a:gd name="T24" fmla="*/ 446 w 554"/>
                <a:gd name="T25" fmla="*/ 251 h 664"/>
                <a:gd name="T26" fmla="*/ 445 w 554"/>
                <a:gd name="T27" fmla="*/ 227 h 664"/>
                <a:gd name="T28" fmla="*/ 439 w 554"/>
                <a:gd name="T29" fmla="*/ 198 h 664"/>
                <a:gd name="T30" fmla="*/ 431 w 554"/>
                <a:gd name="T31" fmla="*/ 177 h 664"/>
                <a:gd name="T32" fmla="*/ 419 w 554"/>
                <a:gd name="T33" fmla="*/ 158 h 664"/>
                <a:gd name="T34" fmla="*/ 392 w 554"/>
                <a:gd name="T35" fmla="*/ 128 h 664"/>
                <a:gd name="T36" fmla="*/ 373 w 554"/>
                <a:gd name="T37" fmla="*/ 113 h 664"/>
                <a:gd name="T38" fmla="*/ 352 w 554"/>
                <a:gd name="T39" fmla="*/ 102 h 664"/>
                <a:gd name="T40" fmla="*/ 330 w 554"/>
                <a:gd name="T41" fmla="*/ 93 h 664"/>
                <a:gd name="T42" fmla="*/ 306 w 554"/>
                <a:gd name="T43" fmla="*/ 88 h 664"/>
                <a:gd name="T44" fmla="*/ 263 w 554"/>
                <a:gd name="T45" fmla="*/ 87 h 664"/>
                <a:gd name="T46" fmla="*/ 232 w 554"/>
                <a:gd name="T47" fmla="*/ 93 h 664"/>
                <a:gd name="T48" fmla="*/ 211 w 554"/>
                <a:gd name="T49" fmla="*/ 100 h 664"/>
                <a:gd name="T50" fmla="*/ 185 w 554"/>
                <a:gd name="T51" fmla="*/ 115 h 664"/>
                <a:gd name="T52" fmla="*/ 167 w 554"/>
                <a:gd name="T53" fmla="*/ 129 h 664"/>
                <a:gd name="T54" fmla="*/ 151 w 554"/>
                <a:gd name="T55" fmla="*/ 147 h 664"/>
                <a:gd name="T56" fmla="*/ 130 w 554"/>
                <a:gd name="T57" fmla="*/ 184 h 664"/>
                <a:gd name="T58" fmla="*/ 117 w 554"/>
                <a:gd name="T59" fmla="*/ 220 h 664"/>
                <a:gd name="T60" fmla="*/ 0 w 554"/>
                <a:gd name="T61" fmla="*/ 249 h 664"/>
                <a:gd name="T62" fmla="*/ 7 w 554"/>
                <a:gd name="T63" fmla="*/ 206 h 664"/>
                <a:gd name="T64" fmla="*/ 19 w 554"/>
                <a:gd name="T65" fmla="*/ 166 h 664"/>
                <a:gd name="T66" fmla="*/ 34 w 554"/>
                <a:gd name="T67" fmla="*/ 131 h 664"/>
                <a:gd name="T68" fmla="*/ 54 w 554"/>
                <a:gd name="T69" fmla="*/ 100 h 664"/>
                <a:gd name="T70" fmla="*/ 78 w 554"/>
                <a:gd name="T71" fmla="*/ 73 h 664"/>
                <a:gd name="T72" fmla="*/ 105 w 554"/>
                <a:gd name="T73" fmla="*/ 49 h 664"/>
                <a:gd name="T74" fmla="*/ 136 w 554"/>
                <a:gd name="T75" fmla="*/ 31 h 664"/>
                <a:gd name="T76" fmla="*/ 170 w 554"/>
                <a:gd name="T77" fmla="*/ 16 h 664"/>
                <a:gd name="T78" fmla="*/ 208 w 554"/>
                <a:gd name="T79" fmla="*/ 7 h 664"/>
                <a:gd name="T80" fmla="*/ 249 w 554"/>
                <a:gd name="T81" fmla="*/ 1 h 664"/>
                <a:gd name="T82" fmla="*/ 294 w 554"/>
                <a:gd name="T83" fmla="*/ 1 h 664"/>
                <a:gd name="T84" fmla="*/ 338 w 554"/>
                <a:gd name="T85" fmla="*/ 5 h 664"/>
                <a:gd name="T86" fmla="*/ 379 w 554"/>
                <a:gd name="T87" fmla="*/ 13 h 664"/>
                <a:gd name="T88" fmla="*/ 416 w 554"/>
                <a:gd name="T89" fmla="*/ 27 h 664"/>
                <a:gd name="T90" fmla="*/ 449 w 554"/>
                <a:gd name="T91" fmla="*/ 46 h 664"/>
                <a:gd name="T92" fmla="*/ 479 w 554"/>
                <a:gd name="T93" fmla="*/ 69 h 664"/>
                <a:gd name="T94" fmla="*/ 505 w 554"/>
                <a:gd name="T95" fmla="*/ 96 h 664"/>
                <a:gd name="T96" fmla="*/ 525 w 554"/>
                <a:gd name="T97" fmla="*/ 125 h 664"/>
                <a:gd name="T98" fmla="*/ 540 w 554"/>
                <a:gd name="T99" fmla="*/ 155 h 664"/>
                <a:gd name="T100" fmla="*/ 547 w 554"/>
                <a:gd name="T101" fmla="*/ 177 h 664"/>
                <a:gd name="T102" fmla="*/ 553 w 554"/>
                <a:gd name="T103" fmla="*/ 211 h 664"/>
                <a:gd name="T104" fmla="*/ 554 w 554"/>
                <a:gd name="T105" fmla="*/ 249 h 664"/>
                <a:gd name="T106" fmla="*/ 547 w 554"/>
                <a:gd name="T107" fmla="*/ 289 h 664"/>
                <a:gd name="T108" fmla="*/ 534 w 554"/>
                <a:gd name="T109" fmla="*/ 327 h 664"/>
                <a:gd name="T110" fmla="*/ 511 w 554"/>
                <a:gd name="T111" fmla="*/ 364 h 664"/>
                <a:gd name="T112" fmla="*/ 475 w 554"/>
                <a:gd name="T113" fmla="*/ 406 h 664"/>
                <a:gd name="T114" fmla="*/ 424 w 554"/>
                <a:gd name="T115" fmla="*/ 455 h 664"/>
                <a:gd name="T116" fmla="*/ 367 w 554"/>
                <a:gd name="T117" fmla="*/ 510 h 664"/>
                <a:gd name="T118" fmla="*/ 353 w 554"/>
                <a:gd name="T119" fmla="*/ 528 h 664"/>
                <a:gd name="T120" fmla="*/ 338 w 554"/>
                <a:gd name="T121" fmla="*/ 559 h 664"/>
                <a:gd name="T122" fmla="*/ 330 w 554"/>
                <a:gd name="T123" fmla="*/ 589 h 664"/>
                <a:gd name="T124" fmla="*/ 325 w 554"/>
                <a:gd name="T125" fmla="*/ 664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4" h="664">
                  <a:moveTo>
                    <a:pt x="223" y="664"/>
                  </a:moveTo>
                  <a:lnTo>
                    <a:pt x="223" y="645"/>
                  </a:lnTo>
                  <a:lnTo>
                    <a:pt x="222" y="632"/>
                  </a:lnTo>
                  <a:lnTo>
                    <a:pt x="223" y="617"/>
                  </a:lnTo>
                  <a:lnTo>
                    <a:pt x="223" y="602"/>
                  </a:lnTo>
                  <a:lnTo>
                    <a:pt x="225" y="588"/>
                  </a:lnTo>
                  <a:lnTo>
                    <a:pt x="227" y="574"/>
                  </a:lnTo>
                  <a:lnTo>
                    <a:pt x="229" y="561"/>
                  </a:lnTo>
                  <a:lnTo>
                    <a:pt x="232" y="549"/>
                  </a:lnTo>
                  <a:lnTo>
                    <a:pt x="236" y="537"/>
                  </a:lnTo>
                  <a:lnTo>
                    <a:pt x="240" y="525"/>
                  </a:lnTo>
                  <a:lnTo>
                    <a:pt x="243" y="517"/>
                  </a:lnTo>
                  <a:lnTo>
                    <a:pt x="247" y="508"/>
                  </a:lnTo>
                  <a:lnTo>
                    <a:pt x="252" y="500"/>
                  </a:lnTo>
                  <a:lnTo>
                    <a:pt x="257" y="491"/>
                  </a:lnTo>
                  <a:lnTo>
                    <a:pt x="262" y="482"/>
                  </a:lnTo>
                  <a:lnTo>
                    <a:pt x="268" y="474"/>
                  </a:lnTo>
                  <a:lnTo>
                    <a:pt x="275" y="465"/>
                  </a:lnTo>
                  <a:lnTo>
                    <a:pt x="283" y="457"/>
                  </a:lnTo>
                  <a:lnTo>
                    <a:pt x="288" y="450"/>
                  </a:lnTo>
                  <a:lnTo>
                    <a:pt x="295" y="443"/>
                  </a:lnTo>
                  <a:lnTo>
                    <a:pt x="312" y="425"/>
                  </a:lnTo>
                  <a:lnTo>
                    <a:pt x="333" y="405"/>
                  </a:lnTo>
                  <a:lnTo>
                    <a:pt x="358" y="382"/>
                  </a:lnTo>
                  <a:lnTo>
                    <a:pt x="372" y="370"/>
                  </a:lnTo>
                  <a:lnTo>
                    <a:pt x="383" y="359"/>
                  </a:lnTo>
                  <a:lnTo>
                    <a:pt x="394" y="349"/>
                  </a:lnTo>
                  <a:lnTo>
                    <a:pt x="404" y="339"/>
                  </a:lnTo>
                  <a:lnTo>
                    <a:pt x="412" y="329"/>
                  </a:lnTo>
                  <a:lnTo>
                    <a:pt x="419" y="321"/>
                  </a:lnTo>
                  <a:lnTo>
                    <a:pt x="425" y="313"/>
                  </a:lnTo>
                  <a:lnTo>
                    <a:pt x="430" y="305"/>
                  </a:lnTo>
                  <a:lnTo>
                    <a:pt x="433" y="298"/>
                  </a:lnTo>
                  <a:lnTo>
                    <a:pt x="437" y="290"/>
                  </a:lnTo>
                  <a:lnTo>
                    <a:pt x="440" y="283"/>
                  </a:lnTo>
                  <a:lnTo>
                    <a:pt x="442" y="275"/>
                  </a:lnTo>
                  <a:lnTo>
                    <a:pt x="444" y="267"/>
                  </a:lnTo>
                  <a:lnTo>
                    <a:pt x="445" y="259"/>
                  </a:lnTo>
                  <a:lnTo>
                    <a:pt x="446" y="251"/>
                  </a:lnTo>
                  <a:lnTo>
                    <a:pt x="446" y="242"/>
                  </a:lnTo>
                  <a:lnTo>
                    <a:pt x="446" y="234"/>
                  </a:lnTo>
                  <a:lnTo>
                    <a:pt x="445" y="227"/>
                  </a:lnTo>
                  <a:lnTo>
                    <a:pt x="444" y="219"/>
                  </a:lnTo>
                  <a:lnTo>
                    <a:pt x="443" y="212"/>
                  </a:lnTo>
                  <a:lnTo>
                    <a:pt x="439" y="198"/>
                  </a:lnTo>
                  <a:lnTo>
                    <a:pt x="437" y="191"/>
                  </a:lnTo>
                  <a:lnTo>
                    <a:pt x="434" y="184"/>
                  </a:lnTo>
                  <a:lnTo>
                    <a:pt x="431" y="177"/>
                  </a:lnTo>
                  <a:lnTo>
                    <a:pt x="427" y="171"/>
                  </a:lnTo>
                  <a:lnTo>
                    <a:pt x="423" y="164"/>
                  </a:lnTo>
                  <a:lnTo>
                    <a:pt x="419" y="158"/>
                  </a:lnTo>
                  <a:lnTo>
                    <a:pt x="409" y="145"/>
                  </a:lnTo>
                  <a:lnTo>
                    <a:pt x="398" y="134"/>
                  </a:lnTo>
                  <a:lnTo>
                    <a:pt x="392" y="128"/>
                  </a:lnTo>
                  <a:lnTo>
                    <a:pt x="386" y="123"/>
                  </a:lnTo>
                  <a:lnTo>
                    <a:pt x="379" y="118"/>
                  </a:lnTo>
                  <a:lnTo>
                    <a:pt x="373" y="113"/>
                  </a:lnTo>
                  <a:lnTo>
                    <a:pt x="366" y="109"/>
                  </a:lnTo>
                  <a:lnTo>
                    <a:pt x="359" y="105"/>
                  </a:lnTo>
                  <a:lnTo>
                    <a:pt x="352" y="102"/>
                  </a:lnTo>
                  <a:lnTo>
                    <a:pt x="345" y="98"/>
                  </a:lnTo>
                  <a:lnTo>
                    <a:pt x="337" y="96"/>
                  </a:lnTo>
                  <a:lnTo>
                    <a:pt x="330" y="93"/>
                  </a:lnTo>
                  <a:lnTo>
                    <a:pt x="322" y="91"/>
                  </a:lnTo>
                  <a:lnTo>
                    <a:pt x="314" y="90"/>
                  </a:lnTo>
                  <a:lnTo>
                    <a:pt x="306" y="88"/>
                  </a:lnTo>
                  <a:lnTo>
                    <a:pt x="297" y="87"/>
                  </a:lnTo>
                  <a:lnTo>
                    <a:pt x="280" y="87"/>
                  </a:lnTo>
                  <a:lnTo>
                    <a:pt x="263" y="87"/>
                  </a:lnTo>
                  <a:lnTo>
                    <a:pt x="255" y="88"/>
                  </a:lnTo>
                  <a:lnTo>
                    <a:pt x="247" y="89"/>
                  </a:lnTo>
                  <a:lnTo>
                    <a:pt x="232" y="93"/>
                  </a:lnTo>
                  <a:lnTo>
                    <a:pt x="225" y="95"/>
                  </a:lnTo>
                  <a:lnTo>
                    <a:pt x="218" y="97"/>
                  </a:lnTo>
                  <a:lnTo>
                    <a:pt x="211" y="100"/>
                  </a:lnTo>
                  <a:lnTo>
                    <a:pt x="204" y="103"/>
                  </a:lnTo>
                  <a:lnTo>
                    <a:pt x="191" y="111"/>
                  </a:lnTo>
                  <a:lnTo>
                    <a:pt x="185" y="115"/>
                  </a:lnTo>
                  <a:lnTo>
                    <a:pt x="179" y="119"/>
                  </a:lnTo>
                  <a:lnTo>
                    <a:pt x="173" y="124"/>
                  </a:lnTo>
                  <a:lnTo>
                    <a:pt x="167" y="129"/>
                  </a:lnTo>
                  <a:lnTo>
                    <a:pt x="161" y="135"/>
                  </a:lnTo>
                  <a:lnTo>
                    <a:pt x="156" y="141"/>
                  </a:lnTo>
                  <a:lnTo>
                    <a:pt x="151" y="147"/>
                  </a:lnTo>
                  <a:lnTo>
                    <a:pt x="146" y="153"/>
                  </a:lnTo>
                  <a:lnTo>
                    <a:pt x="137" y="168"/>
                  </a:lnTo>
                  <a:lnTo>
                    <a:pt x="130" y="184"/>
                  </a:lnTo>
                  <a:lnTo>
                    <a:pt x="123" y="201"/>
                  </a:lnTo>
                  <a:lnTo>
                    <a:pt x="120" y="210"/>
                  </a:lnTo>
                  <a:lnTo>
                    <a:pt x="117" y="220"/>
                  </a:lnTo>
                  <a:lnTo>
                    <a:pt x="112" y="240"/>
                  </a:lnTo>
                  <a:lnTo>
                    <a:pt x="108" y="262"/>
                  </a:lnTo>
                  <a:lnTo>
                    <a:pt x="0" y="249"/>
                  </a:lnTo>
                  <a:lnTo>
                    <a:pt x="2" y="234"/>
                  </a:lnTo>
                  <a:lnTo>
                    <a:pt x="4" y="220"/>
                  </a:lnTo>
                  <a:lnTo>
                    <a:pt x="7" y="206"/>
                  </a:lnTo>
                  <a:lnTo>
                    <a:pt x="11" y="192"/>
                  </a:lnTo>
                  <a:lnTo>
                    <a:pt x="15" y="179"/>
                  </a:lnTo>
                  <a:lnTo>
                    <a:pt x="19" y="166"/>
                  </a:lnTo>
                  <a:lnTo>
                    <a:pt x="24" y="154"/>
                  </a:lnTo>
                  <a:lnTo>
                    <a:pt x="29" y="142"/>
                  </a:lnTo>
                  <a:lnTo>
                    <a:pt x="34" y="131"/>
                  </a:lnTo>
                  <a:lnTo>
                    <a:pt x="41" y="120"/>
                  </a:lnTo>
                  <a:lnTo>
                    <a:pt x="47" y="110"/>
                  </a:lnTo>
                  <a:lnTo>
                    <a:pt x="54" y="100"/>
                  </a:lnTo>
                  <a:lnTo>
                    <a:pt x="62" y="90"/>
                  </a:lnTo>
                  <a:lnTo>
                    <a:pt x="69" y="81"/>
                  </a:lnTo>
                  <a:lnTo>
                    <a:pt x="78" y="73"/>
                  </a:lnTo>
                  <a:lnTo>
                    <a:pt x="87" y="64"/>
                  </a:lnTo>
                  <a:lnTo>
                    <a:pt x="96" y="57"/>
                  </a:lnTo>
                  <a:lnTo>
                    <a:pt x="105" y="49"/>
                  </a:lnTo>
                  <a:lnTo>
                    <a:pt x="115" y="43"/>
                  </a:lnTo>
                  <a:lnTo>
                    <a:pt x="126" y="36"/>
                  </a:lnTo>
                  <a:lnTo>
                    <a:pt x="136" y="31"/>
                  </a:lnTo>
                  <a:lnTo>
                    <a:pt x="147" y="25"/>
                  </a:lnTo>
                  <a:lnTo>
                    <a:pt x="159" y="21"/>
                  </a:lnTo>
                  <a:lnTo>
                    <a:pt x="170" y="16"/>
                  </a:lnTo>
                  <a:lnTo>
                    <a:pt x="183" y="13"/>
                  </a:lnTo>
                  <a:lnTo>
                    <a:pt x="195" y="9"/>
                  </a:lnTo>
                  <a:lnTo>
                    <a:pt x="208" y="7"/>
                  </a:lnTo>
                  <a:lnTo>
                    <a:pt x="221" y="4"/>
                  </a:lnTo>
                  <a:lnTo>
                    <a:pt x="235" y="3"/>
                  </a:lnTo>
                  <a:lnTo>
                    <a:pt x="249" y="1"/>
                  </a:lnTo>
                  <a:lnTo>
                    <a:pt x="263" y="1"/>
                  </a:lnTo>
                  <a:lnTo>
                    <a:pt x="278" y="0"/>
                  </a:lnTo>
                  <a:lnTo>
                    <a:pt x="294" y="1"/>
                  </a:lnTo>
                  <a:lnTo>
                    <a:pt x="309" y="1"/>
                  </a:lnTo>
                  <a:lnTo>
                    <a:pt x="324" y="3"/>
                  </a:lnTo>
                  <a:lnTo>
                    <a:pt x="338" y="5"/>
                  </a:lnTo>
                  <a:lnTo>
                    <a:pt x="352" y="7"/>
                  </a:lnTo>
                  <a:lnTo>
                    <a:pt x="366" y="10"/>
                  </a:lnTo>
                  <a:lnTo>
                    <a:pt x="379" y="13"/>
                  </a:lnTo>
                  <a:lnTo>
                    <a:pt x="392" y="18"/>
                  </a:lnTo>
                  <a:lnTo>
                    <a:pt x="404" y="22"/>
                  </a:lnTo>
                  <a:lnTo>
                    <a:pt x="416" y="27"/>
                  </a:lnTo>
                  <a:lnTo>
                    <a:pt x="427" y="33"/>
                  </a:lnTo>
                  <a:lnTo>
                    <a:pt x="439" y="39"/>
                  </a:lnTo>
                  <a:lnTo>
                    <a:pt x="449" y="46"/>
                  </a:lnTo>
                  <a:lnTo>
                    <a:pt x="460" y="53"/>
                  </a:lnTo>
                  <a:lnTo>
                    <a:pt x="470" y="61"/>
                  </a:lnTo>
                  <a:lnTo>
                    <a:pt x="479" y="69"/>
                  </a:lnTo>
                  <a:lnTo>
                    <a:pt x="488" y="78"/>
                  </a:lnTo>
                  <a:lnTo>
                    <a:pt x="497" y="87"/>
                  </a:lnTo>
                  <a:lnTo>
                    <a:pt x="505" y="96"/>
                  </a:lnTo>
                  <a:lnTo>
                    <a:pt x="512" y="105"/>
                  </a:lnTo>
                  <a:lnTo>
                    <a:pt x="519" y="115"/>
                  </a:lnTo>
                  <a:lnTo>
                    <a:pt x="525" y="125"/>
                  </a:lnTo>
                  <a:lnTo>
                    <a:pt x="530" y="135"/>
                  </a:lnTo>
                  <a:lnTo>
                    <a:pt x="535" y="145"/>
                  </a:lnTo>
                  <a:lnTo>
                    <a:pt x="540" y="155"/>
                  </a:lnTo>
                  <a:lnTo>
                    <a:pt x="542" y="161"/>
                  </a:lnTo>
                  <a:lnTo>
                    <a:pt x="543" y="166"/>
                  </a:lnTo>
                  <a:lnTo>
                    <a:pt x="547" y="177"/>
                  </a:lnTo>
                  <a:lnTo>
                    <a:pt x="549" y="188"/>
                  </a:lnTo>
                  <a:lnTo>
                    <a:pt x="551" y="200"/>
                  </a:lnTo>
                  <a:lnTo>
                    <a:pt x="553" y="211"/>
                  </a:lnTo>
                  <a:lnTo>
                    <a:pt x="554" y="223"/>
                  </a:lnTo>
                  <a:lnTo>
                    <a:pt x="554" y="235"/>
                  </a:lnTo>
                  <a:lnTo>
                    <a:pt x="554" y="249"/>
                  </a:lnTo>
                  <a:lnTo>
                    <a:pt x="552" y="263"/>
                  </a:lnTo>
                  <a:lnTo>
                    <a:pt x="550" y="276"/>
                  </a:lnTo>
                  <a:lnTo>
                    <a:pt x="547" y="289"/>
                  </a:lnTo>
                  <a:lnTo>
                    <a:pt x="544" y="302"/>
                  </a:lnTo>
                  <a:lnTo>
                    <a:pt x="539" y="315"/>
                  </a:lnTo>
                  <a:lnTo>
                    <a:pt x="534" y="327"/>
                  </a:lnTo>
                  <a:lnTo>
                    <a:pt x="528" y="339"/>
                  </a:lnTo>
                  <a:lnTo>
                    <a:pt x="520" y="351"/>
                  </a:lnTo>
                  <a:lnTo>
                    <a:pt x="511" y="364"/>
                  </a:lnTo>
                  <a:lnTo>
                    <a:pt x="501" y="378"/>
                  </a:lnTo>
                  <a:lnTo>
                    <a:pt x="489" y="392"/>
                  </a:lnTo>
                  <a:lnTo>
                    <a:pt x="475" y="406"/>
                  </a:lnTo>
                  <a:lnTo>
                    <a:pt x="460" y="422"/>
                  </a:lnTo>
                  <a:lnTo>
                    <a:pt x="443" y="439"/>
                  </a:lnTo>
                  <a:lnTo>
                    <a:pt x="424" y="455"/>
                  </a:lnTo>
                  <a:lnTo>
                    <a:pt x="401" y="477"/>
                  </a:lnTo>
                  <a:lnTo>
                    <a:pt x="382" y="495"/>
                  </a:lnTo>
                  <a:lnTo>
                    <a:pt x="367" y="510"/>
                  </a:lnTo>
                  <a:lnTo>
                    <a:pt x="362" y="517"/>
                  </a:lnTo>
                  <a:lnTo>
                    <a:pt x="357" y="523"/>
                  </a:lnTo>
                  <a:lnTo>
                    <a:pt x="353" y="528"/>
                  </a:lnTo>
                  <a:lnTo>
                    <a:pt x="350" y="534"/>
                  </a:lnTo>
                  <a:lnTo>
                    <a:pt x="343" y="546"/>
                  </a:lnTo>
                  <a:lnTo>
                    <a:pt x="338" y="559"/>
                  </a:lnTo>
                  <a:lnTo>
                    <a:pt x="334" y="572"/>
                  </a:lnTo>
                  <a:lnTo>
                    <a:pt x="332" y="580"/>
                  </a:lnTo>
                  <a:lnTo>
                    <a:pt x="330" y="589"/>
                  </a:lnTo>
                  <a:lnTo>
                    <a:pt x="328" y="609"/>
                  </a:lnTo>
                  <a:lnTo>
                    <a:pt x="326" y="634"/>
                  </a:lnTo>
                  <a:lnTo>
                    <a:pt x="325" y="664"/>
                  </a:lnTo>
                  <a:lnTo>
                    <a:pt x="223" y="664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17735" name="Rectangle 7"/>
            <p:cNvSpPr>
              <a:spLocks noChangeArrowheads="1"/>
            </p:cNvSpPr>
            <p:nvPr/>
          </p:nvSpPr>
          <p:spPr bwMode="gray">
            <a:xfrm>
              <a:off x="575" y="2125"/>
              <a:ext cx="190" cy="18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017736" name="Rectangle 8"/>
          <p:cNvSpPr>
            <a:spLocks noGrp="1" noChangeArrowheads="1"/>
          </p:cNvSpPr>
          <p:nvPr>
            <p:ph type="body" idx="4294967295"/>
          </p:nvPr>
        </p:nvSpPr>
        <p:spPr>
          <a:xfrm>
            <a:off x="3884613" y="1690688"/>
            <a:ext cx="5786437" cy="9794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pPr lvl="1"/>
            <a:r>
              <a:rPr lang="de-DE"/>
              <a:t>Text</a:t>
            </a:r>
          </a:p>
          <a:p>
            <a:pPr lvl="1"/>
            <a:r>
              <a:rPr lang="de-DE" dirty="0"/>
              <a:t>Text</a:t>
            </a:r>
            <a:endParaRPr lang="en-US" dirty="0"/>
          </a:p>
          <a:p>
            <a:pPr lvl="1"/>
            <a:r>
              <a:rPr lang="de-DE" dirty="0"/>
              <a:t>Text</a:t>
            </a:r>
            <a:endParaRPr lang="en-US" dirty="0"/>
          </a:p>
          <a:p>
            <a:pPr lvl="1"/>
            <a:r>
              <a:rPr lang="de-DE" dirty="0"/>
              <a:t>Text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9621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79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lter III</a:t>
            </a:r>
          </a:p>
        </p:txBody>
      </p:sp>
      <p:grpSp>
        <p:nvGrpSpPr>
          <p:cNvPr id="2897937" name="Group 17"/>
          <p:cNvGrpSpPr>
            <a:grpSpLocks/>
          </p:cNvGrpSpPr>
          <p:nvPr/>
        </p:nvGrpSpPr>
        <p:grpSpPr bwMode="auto">
          <a:xfrm>
            <a:off x="3471864" y="1490663"/>
            <a:ext cx="5165726" cy="4108450"/>
            <a:chOff x="1131" y="945"/>
            <a:chExt cx="3254" cy="2588"/>
          </a:xfrm>
        </p:grpSpPr>
        <p:sp>
          <p:nvSpPr>
            <p:cNvPr id="2897924" name="Freeform 4"/>
            <p:cNvSpPr>
              <a:spLocks/>
            </p:cNvSpPr>
            <p:nvPr/>
          </p:nvSpPr>
          <p:spPr bwMode="gray">
            <a:xfrm>
              <a:off x="1769" y="1433"/>
              <a:ext cx="2616" cy="2100"/>
            </a:xfrm>
            <a:custGeom>
              <a:avLst/>
              <a:gdLst>
                <a:gd name="T0" fmla="*/ 0 w 2834"/>
                <a:gd name="T1" fmla="*/ 0 h 2100"/>
                <a:gd name="T2" fmla="*/ 407 w 2834"/>
                <a:gd name="T3" fmla="*/ 1160 h 2100"/>
                <a:gd name="T4" fmla="*/ 407 w 2834"/>
                <a:gd name="T5" fmla="*/ 2100 h 2100"/>
                <a:gd name="T6" fmla="*/ 2420 w 2834"/>
                <a:gd name="T7" fmla="*/ 2100 h 2100"/>
                <a:gd name="T8" fmla="*/ 2421 w 2834"/>
                <a:gd name="T9" fmla="*/ 1167 h 2100"/>
                <a:gd name="T10" fmla="*/ 2834 w 2834"/>
                <a:gd name="T11" fmla="*/ 0 h 2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34" h="2100">
                  <a:moveTo>
                    <a:pt x="0" y="0"/>
                  </a:moveTo>
                  <a:lnTo>
                    <a:pt x="407" y="1160"/>
                  </a:lnTo>
                  <a:lnTo>
                    <a:pt x="407" y="2100"/>
                  </a:lnTo>
                  <a:lnTo>
                    <a:pt x="2420" y="2100"/>
                  </a:lnTo>
                  <a:lnTo>
                    <a:pt x="2421" y="1167"/>
                  </a:lnTo>
                  <a:lnTo>
                    <a:pt x="2834" y="0"/>
                  </a:ln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97925" name="Line 5"/>
            <p:cNvSpPr>
              <a:spLocks noChangeShapeType="1"/>
            </p:cNvSpPr>
            <p:nvPr/>
          </p:nvSpPr>
          <p:spPr bwMode="gray">
            <a:xfrm>
              <a:off x="2154" y="2601"/>
              <a:ext cx="1847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97926" name="Line 6"/>
            <p:cNvSpPr>
              <a:spLocks noChangeShapeType="1"/>
            </p:cNvSpPr>
            <p:nvPr/>
          </p:nvSpPr>
          <p:spPr bwMode="gray">
            <a:xfrm>
              <a:off x="2010" y="2173"/>
              <a:ext cx="213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97927" name="Line 7"/>
            <p:cNvSpPr>
              <a:spLocks noChangeShapeType="1"/>
            </p:cNvSpPr>
            <p:nvPr/>
          </p:nvSpPr>
          <p:spPr bwMode="gray">
            <a:xfrm>
              <a:off x="1866" y="1733"/>
              <a:ext cx="241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97928" name="AutoShape 8"/>
            <p:cNvSpPr>
              <a:spLocks noChangeArrowheads="1"/>
            </p:cNvSpPr>
            <p:nvPr/>
          </p:nvSpPr>
          <p:spPr bwMode="gray">
            <a:xfrm flipV="1">
              <a:off x="2549" y="1375"/>
              <a:ext cx="1056" cy="128"/>
            </a:xfrm>
            <a:prstGeom prst="triangle">
              <a:avLst>
                <a:gd name="adj" fmla="val 50000"/>
              </a:avLst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97929" name="AutoShape 9"/>
            <p:cNvSpPr>
              <a:spLocks noChangeArrowheads="1"/>
            </p:cNvSpPr>
            <p:nvPr/>
          </p:nvSpPr>
          <p:spPr bwMode="gray">
            <a:xfrm>
              <a:off x="1471" y="1625"/>
              <a:ext cx="339" cy="216"/>
            </a:xfrm>
            <a:prstGeom prst="rightArrow">
              <a:avLst>
                <a:gd name="adj1" fmla="val 50000"/>
                <a:gd name="adj2" fmla="val 39236"/>
              </a:avLst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97930" name="AutoShape 10"/>
            <p:cNvSpPr>
              <a:spLocks noChangeArrowheads="1"/>
            </p:cNvSpPr>
            <p:nvPr/>
          </p:nvSpPr>
          <p:spPr bwMode="gray">
            <a:xfrm>
              <a:off x="1613" y="2071"/>
              <a:ext cx="338" cy="216"/>
            </a:xfrm>
            <a:prstGeom prst="rightArrow">
              <a:avLst>
                <a:gd name="adj1" fmla="val 50000"/>
                <a:gd name="adj2" fmla="val 39120"/>
              </a:avLst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97931" name="AutoShape 11"/>
            <p:cNvSpPr>
              <a:spLocks noChangeArrowheads="1"/>
            </p:cNvSpPr>
            <p:nvPr/>
          </p:nvSpPr>
          <p:spPr bwMode="gray">
            <a:xfrm>
              <a:off x="1747" y="2497"/>
              <a:ext cx="341" cy="216"/>
            </a:xfrm>
            <a:prstGeom prst="rightArrow">
              <a:avLst>
                <a:gd name="adj1" fmla="val 50000"/>
                <a:gd name="adj2" fmla="val 39468"/>
              </a:avLst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97932" name="Rectangle 12"/>
            <p:cNvSpPr>
              <a:spLocks noChangeArrowheads="1"/>
            </p:cNvSpPr>
            <p:nvPr/>
          </p:nvSpPr>
          <p:spPr bwMode="gray">
            <a:xfrm>
              <a:off x="1131" y="1644"/>
              <a:ext cx="294" cy="1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97933" name="Rectangle 13"/>
            <p:cNvSpPr>
              <a:spLocks noChangeArrowheads="1"/>
            </p:cNvSpPr>
            <p:nvPr/>
          </p:nvSpPr>
          <p:spPr bwMode="gray">
            <a:xfrm>
              <a:off x="1275" y="2082"/>
              <a:ext cx="294" cy="1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97934" name="Rectangle 14"/>
            <p:cNvSpPr>
              <a:spLocks noChangeArrowheads="1"/>
            </p:cNvSpPr>
            <p:nvPr/>
          </p:nvSpPr>
          <p:spPr bwMode="gray">
            <a:xfrm>
              <a:off x="1407" y="2514"/>
              <a:ext cx="294" cy="1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97935" name="AutoShape 15"/>
            <p:cNvSpPr>
              <a:spLocks noChangeArrowheads="1"/>
            </p:cNvSpPr>
            <p:nvPr/>
          </p:nvSpPr>
          <p:spPr bwMode="gray">
            <a:xfrm>
              <a:off x="1292" y="2913"/>
              <a:ext cx="795" cy="446"/>
            </a:xfrm>
            <a:prstGeom prst="homePlate">
              <a:avLst>
                <a:gd name="adj" fmla="val 22265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Result</a:t>
              </a:r>
            </a:p>
          </p:txBody>
        </p:sp>
        <p:sp>
          <p:nvSpPr>
            <p:cNvPr id="2897936" name="Oval 16"/>
            <p:cNvSpPr>
              <a:spLocks noChangeArrowheads="1"/>
            </p:cNvSpPr>
            <p:nvPr/>
          </p:nvSpPr>
          <p:spPr bwMode="gray">
            <a:xfrm>
              <a:off x="2366" y="945"/>
              <a:ext cx="1532" cy="338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Initial Situation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084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2019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lter Panel 2</a:t>
            </a:r>
          </a:p>
        </p:txBody>
      </p:sp>
      <p:grpSp>
        <p:nvGrpSpPr>
          <p:cNvPr id="2902038" name="Group 22"/>
          <p:cNvGrpSpPr>
            <a:grpSpLocks/>
          </p:cNvGrpSpPr>
          <p:nvPr/>
        </p:nvGrpSpPr>
        <p:grpSpPr bwMode="auto">
          <a:xfrm>
            <a:off x="1908175" y="1876426"/>
            <a:ext cx="8305800" cy="3006725"/>
            <a:chOff x="242" y="1408"/>
            <a:chExt cx="5232" cy="1894"/>
          </a:xfrm>
        </p:grpSpPr>
        <p:grpSp>
          <p:nvGrpSpPr>
            <p:cNvPr id="2902020" name="Group 4"/>
            <p:cNvGrpSpPr>
              <a:grpSpLocks/>
            </p:cNvGrpSpPr>
            <p:nvPr/>
          </p:nvGrpSpPr>
          <p:grpSpPr bwMode="auto">
            <a:xfrm>
              <a:off x="1897" y="1408"/>
              <a:ext cx="3577" cy="1894"/>
              <a:chOff x="1903" y="1408"/>
              <a:chExt cx="3577" cy="1894"/>
            </a:xfrm>
          </p:grpSpPr>
          <p:sp>
            <p:nvSpPr>
              <p:cNvPr id="2902021" name="Freeform 5"/>
              <p:cNvSpPr>
                <a:spLocks/>
              </p:cNvSpPr>
              <p:nvPr/>
            </p:nvSpPr>
            <p:spPr bwMode="gray">
              <a:xfrm>
                <a:off x="3207" y="1917"/>
                <a:ext cx="116" cy="233"/>
              </a:xfrm>
              <a:custGeom>
                <a:avLst/>
                <a:gdLst>
                  <a:gd name="T0" fmla="*/ 0 w 631"/>
                  <a:gd name="T1" fmla="*/ 63 h 316"/>
                  <a:gd name="T2" fmla="*/ 473 w 631"/>
                  <a:gd name="T3" fmla="*/ 63 h 316"/>
                  <a:gd name="T4" fmla="*/ 473 w 631"/>
                  <a:gd name="T5" fmla="*/ 0 h 316"/>
                  <a:gd name="T6" fmla="*/ 630 w 631"/>
                  <a:gd name="T7" fmla="*/ 158 h 316"/>
                  <a:gd name="T8" fmla="*/ 473 w 631"/>
                  <a:gd name="T9" fmla="*/ 315 h 316"/>
                  <a:gd name="T10" fmla="*/ 473 w 631"/>
                  <a:gd name="T11" fmla="*/ 252 h 316"/>
                  <a:gd name="T12" fmla="*/ 0 w 631"/>
                  <a:gd name="T13" fmla="*/ 252 h 316"/>
                  <a:gd name="T14" fmla="*/ 0 w 631"/>
                  <a:gd name="T15" fmla="*/ 252 h 316"/>
                  <a:gd name="T16" fmla="*/ 0 w 631"/>
                  <a:gd name="T17" fmla="*/ 158 h 316"/>
                  <a:gd name="T18" fmla="*/ 0 w 631"/>
                  <a:gd name="T19" fmla="*/ 63 h 316"/>
                  <a:gd name="T20" fmla="*/ 0 w 631"/>
                  <a:gd name="T21" fmla="*/ 63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1" h="316">
                    <a:moveTo>
                      <a:pt x="0" y="63"/>
                    </a:moveTo>
                    <a:lnTo>
                      <a:pt x="473" y="63"/>
                    </a:lnTo>
                    <a:lnTo>
                      <a:pt x="473" y="0"/>
                    </a:lnTo>
                    <a:lnTo>
                      <a:pt x="630" y="158"/>
                    </a:lnTo>
                    <a:lnTo>
                      <a:pt x="473" y="315"/>
                    </a:lnTo>
                    <a:lnTo>
                      <a:pt x="473" y="252"/>
                    </a:lnTo>
                    <a:lnTo>
                      <a:pt x="0" y="252"/>
                    </a:lnTo>
                    <a:lnTo>
                      <a:pt x="0" y="158"/>
                    </a:lnTo>
                    <a:lnTo>
                      <a:pt x="0" y="6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7150" dir="8100000" algn="ctr" rotWithShape="0">
                        <a:srgbClr val="888888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02022" name="Freeform 6"/>
              <p:cNvSpPr>
                <a:spLocks/>
              </p:cNvSpPr>
              <p:nvPr/>
            </p:nvSpPr>
            <p:spPr bwMode="gray">
              <a:xfrm>
                <a:off x="3207" y="2568"/>
                <a:ext cx="116" cy="233"/>
              </a:xfrm>
              <a:custGeom>
                <a:avLst/>
                <a:gdLst>
                  <a:gd name="T0" fmla="*/ 0 w 631"/>
                  <a:gd name="T1" fmla="*/ 63 h 317"/>
                  <a:gd name="T2" fmla="*/ 473 w 631"/>
                  <a:gd name="T3" fmla="*/ 63 h 317"/>
                  <a:gd name="T4" fmla="*/ 473 w 631"/>
                  <a:gd name="T5" fmla="*/ 0 h 317"/>
                  <a:gd name="T6" fmla="*/ 630 w 631"/>
                  <a:gd name="T7" fmla="*/ 158 h 317"/>
                  <a:gd name="T8" fmla="*/ 473 w 631"/>
                  <a:gd name="T9" fmla="*/ 316 h 317"/>
                  <a:gd name="T10" fmla="*/ 473 w 631"/>
                  <a:gd name="T11" fmla="*/ 253 h 317"/>
                  <a:gd name="T12" fmla="*/ 0 w 631"/>
                  <a:gd name="T13" fmla="*/ 253 h 317"/>
                  <a:gd name="T14" fmla="*/ 0 w 631"/>
                  <a:gd name="T15" fmla="*/ 253 h 317"/>
                  <a:gd name="T16" fmla="*/ 0 w 631"/>
                  <a:gd name="T17" fmla="*/ 158 h 317"/>
                  <a:gd name="T18" fmla="*/ 0 w 631"/>
                  <a:gd name="T19" fmla="*/ 63 h 317"/>
                  <a:gd name="T20" fmla="*/ 0 w 631"/>
                  <a:gd name="T21" fmla="*/ 63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1" h="317">
                    <a:moveTo>
                      <a:pt x="0" y="63"/>
                    </a:moveTo>
                    <a:lnTo>
                      <a:pt x="473" y="63"/>
                    </a:lnTo>
                    <a:lnTo>
                      <a:pt x="473" y="0"/>
                    </a:lnTo>
                    <a:lnTo>
                      <a:pt x="630" y="158"/>
                    </a:lnTo>
                    <a:lnTo>
                      <a:pt x="473" y="316"/>
                    </a:lnTo>
                    <a:lnTo>
                      <a:pt x="473" y="253"/>
                    </a:lnTo>
                    <a:lnTo>
                      <a:pt x="0" y="253"/>
                    </a:lnTo>
                    <a:lnTo>
                      <a:pt x="0" y="158"/>
                    </a:lnTo>
                    <a:lnTo>
                      <a:pt x="0" y="6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7150" dir="8100000" algn="ctr" rotWithShape="0">
                        <a:srgbClr val="888888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grpSp>
            <p:nvGrpSpPr>
              <p:cNvPr id="2902023" name="Group 7"/>
              <p:cNvGrpSpPr>
                <a:grpSpLocks/>
              </p:cNvGrpSpPr>
              <p:nvPr/>
            </p:nvGrpSpPr>
            <p:grpSpPr bwMode="auto">
              <a:xfrm>
                <a:off x="1903" y="1408"/>
                <a:ext cx="1213" cy="1894"/>
                <a:chOff x="1903" y="1408"/>
                <a:chExt cx="1213" cy="1894"/>
              </a:xfrm>
            </p:grpSpPr>
            <p:sp>
              <p:nvSpPr>
                <p:cNvPr id="2902024" name="Rectangle 8"/>
                <p:cNvSpPr>
                  <a:spLocks noChangeArrowheads="1"/>
                </p:cNvSpPr>
                <p:nvPr/>
              </p:nvSpPr>
              <p:spPr bwMode="gray">
                <a:xfrm>
                  <a:off x="2938" y="1408"/>
                  <a:ext cx="178" cy="1894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sp>
              <p:nvSpPr>
                <p:cNvPr id="2902025" name="Freeform 9"/>
                <p:cNvSpPr>
                  <a:spLocks/>
                </p:cNvSpPr>
                <p:nvPr/>
              </p:nvSpPr>
              <p:spPr bwMode="gray">
                <a:xfrm>
                  <a:off x="2225" y="2239"/>
                  <a:ext cx="116" cy="233"/>
                </a:xfrm>
                <a:custGeom>
                  <a:avLst/>
                  <a:gdLst>
                    <a:gd name="T0" fmla="*/ 630 w 631"/>
                    <a:gd name="T1" fmla="*/ 0 h 1576"/>
                    <a:gd name="T2" fmla="*/ 0 w 631"/>
                    <a:gd name="T3" fmla="*/ 236 h 1576"/>
                    <a:gd name="T4" fmla="*/ 0 w 631"/>
                    <a:gd name="T5" fmla="*/ 1339 h 1576"/>
                    <a:gd name="T6" fmla="*/ 630 w 631"/>
                    <a:gd name="T7" fmla="*/ 1575 h 1576"/>
                    <a:gd name="T8" fmla="*/ 630 w 631"/>
                    <a:gd name="T9" fmla="*/ 0 h 15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1" h="1576">
                      <a:moveTo>
                        <a:pt x="630" y="0"/>
                      </a:moveTo>
                      <a:lnTo>
                        <a:pt x="0" y="236"/>
                      </a:lnTo>
                      <a:lnTo>
                        <a:pt x="0" y="1339"/>
                      </a:lnTo>
                      <a:lnTo>
                        <a:pt x="630" y="1575"/>
                      </a:lnTo>
                      <a:lnTo>
                        <a:pt x="630" y="0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spAutoFit/>
                </a:bodyPr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sp>
              <p:nvSpPr>
                <p:cNvPr id="2902026" name="Freeform 10"/>
                <p:cNvSpPr>
                  <a:spLocks/>
                </p:cNvSpPr>
                <p:nvPr/>
              </p:nvSpPr>
              <p:spPr bwMode="gray">
                <a:xfrm>
                  <a:off x="2313" y="1956"/>
                  <a:ext cx="116" cy="233"/>
                </a:xfrm>
                <a:custGeom>
                  <a:avLst/>
                  <a:gdLst>
                    <a:gd name="T0" fmla="*/ 0 w 394"/>
                    <a:gd name="T1" fmla="*/ 31 h 158"/>
                    <a:gd name="T2" fmla="*/ 315 w 394"/>
                    <a:gd name="T3" fmla="*/ 31 h 158"/>
                    <a:gd name="T4" fmla="*/ 315 w 394"/>
                    <a:gd name="T5" fmla="*/ 0 h 158"/>
                    <a:gd name="T6" fmla="*/ 393 w 394"/>
                    <a:gd name="T7" fmla="*/ 78 h 158"/>
                    <a:gd name="T8" fmla="*/ 315 w 394"/>
                    <a:gd name="T9" fmla="*/ 157 h 158"/>
                    <a:gd name="T10" fmla="*/ 315 w 394"/>
                    <a:gd name="T11" fmla="*/ 126 h 158"/>
                    <a:gd name="T12" fmla="*/ 0 w 394"/>
                    <a:gd name="T13" fmla="*/ 126 h 158"/>
                    <a:gd name="T14" fmla="*/ 0 w 394"/>
                    <a:gd name="T15" fmla="*/ 126 h 158"/>
                    <a:gd name="T16" fmla="*/ 0 w 394"/>
                    <a:gd name="T17" fmla="*/ 78 h 158"/>
                    <a:gd name="T18" fmla="*/ 0 w 394"/>
                    <a:gd name="T19" fmla="*/ 31 h 158"/>
                    <a:gd name="T20" fmla="*/ 0 w 394"/>
                    <a:gd name="T21" fmla="*/ 31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94" h="158">
                      <a:moveTo>
                        <a:pt x="0" y="31"/>
                      </a:moveTo>
                      <a:lnTo>
                        <a:pt x="315" y="31"/>
                      </a:lnTo>
                      <a:lnTo>
                        <a:pt x="315" y="0"/>
                      </a:lnTo>
                      <a:lnTo>
                        <a:pt x="393" y="78"/>
                      </a:lnTo>
                      <a:lnTo>
                        <a:pt x="315" y="157"/>
                      </a:lnTo>
                      <a:lnTo>
                        <a:pt x="315" y="126"/>
                      </a:lnTo>
                      <a:lnTo>
                        <a:pt x="0" y="126"/>
                      </a:lnTo>
                      <a:lnTo>
                        <a:pt x="0" y="78"/>
                      </a:lnTo>
                      <a:lnTo>
                        <a:pt x="0" y="31"/>
                      </a:lnTo>
                      <a:close/>
                    </a:path>
                  </a:pathLst>
                </a:custGeom>
                <a:solidFill>
                  <a:srgbClr val="EAEAEA"/>
                </a:solidFill>
                <a:ln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57150" dir="8100000" algn="ctr" rotWithShape="0">
                          <a:srgbClr val="888888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spAutoFit/>
                </a:bodyPr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sp>
              <p:nvSpPr>
                <p:cNvPr id="2902027" name="Freeform 11"/>
                <p:cNvSpPr>
                  <a:spLocks/>
                </p:cNvSpPr>
                <p:nvPr/>
              </p:nvSpPr>
              <p:spPr bwMode="gray">
                <a:xfrm>
                  <a:off x="2403" y="2240"/>
                  <a:ext cx="116" cy="233"/>
                </a:xfrm>
                <a:custGeom>
                  <a:avLst/>
                  <a:gdLst>
                    <a:gd name="T0" fmla="*/ 0 w 395"/>
                    <a:gd name="T1" fmla="*/ 31 h 159"/>
                    <a:gd name="T2" fmla="*/ 315 w 395"/>
                    <a:gd name="T3" fmla="*/ 31 h 159"/>
                    <a:gd name="T4" fmla="*/ 315 w 395"/>
                    <a:gd name="T5" fmla="*/ 0 h 159"/>
                    <a:gd name="T6" fmla="*/ 394 w 395"/>
                    <a:gd name="T7" fmla="*/ 79 h 159"/>
                    <a:gd name="T8" fmla="*/ 315 w 395"/>
                    <a:gd name="T9" fmla="*/ 158 h 159"/>
                    <a:gd name="T10" fmla="*/ 315 w 395"/>
                    <a:gd name="T11" fmla="*/ 126 h 159"/>
                    <a:gd name="T12" fmla="*/ 0 w 395"/>
                    <a:gd name="T13" fmla="*/ 126 h 159"/>
                    <a:gd name="T14" fmla="*/ 0 w 395"/>
                    <a:gd name="T15" fmla="*/ 126 h 159"/>
                    <a:gd name="T16" fmla="*/ 0 w 395"/>
                    <a:gd name="T17" fmla="*/ 79 h 159"/>
                    <a:gd name="T18" fmla="*/ 0 w 395"/>
                    <a:gd name="T19" fmla="*/ 31 h 159"/>
                    <a:gd name="T20" fmla="*/ 0 w 395"/>
                    <a:gd name="T21" fmla="*/ 31 h 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95" h="159">
                      <a:moveTo>
                        <a:pt x="0" y="31"/>
                      </a:moveTo>
                      <a:lnTo>
                        <a:pt x="315" y="31"/>
                      </a:lnTo>
                      <a:lnTo>
                        <a:pt x="315" y="0"/>
                      </a:lnTo>
                      <a:lnTo>
                        <a:pt x="394" y="79"/>
                      </a:lnTo>
                      <a:lnTo>
                        <a:pt x="315" y="158"/>
                      </a:lnTo>
                      <a:lnTo>
                        <a:pt x="315" y="126"/>
                      </a:lnTo>
                      <a:lnTo>
                        <a:pt x="0" y="126"/>
                      </a:lnTo>
                      <a:lnTo>
                        <a:pt x="0" y="79"/>
                      </a:lnTo>
                      <a:lnTo>
                        <a:pt x="0" y="31"/>
                      </a:lnTo>
                      <a:close/>
                    </a:path>
                  </a:pathLst>
                </a:custGeom>
                <a:solidFill>
                  <a:srgbClr val="EAEAEA"/>
                </a:solidFill>
                <a:ln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57150" dir="8100000" algn="ctr" rotWithShape="0">
                          <a:srgbClr val="888888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spAutoFit/>
                </a:bodyPr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sp>
              <p:nvSpPr>
                <p:cNvPr id="2902028" name="Freeform 12"/>
                <p:cNvSpPr>
                  <a:spLocks/>
                </p:cNvSpPr>
                <p:nvPr/>
              </p:nvSpPr>
              <p:spPr bwMode="gray">
                <a:xfrm>
                  <a:off x="1959" y="2713"/>
                  <a:ext cx="116" cy="233"/>
                </a:xfrm>
                <a:custGeom>
                  <a:avLst/>
                  <a:gdLst>
                    <a:gd name="T0" fmla="*/ 0 w 394"/>
                    <a:gd name="T1" fmla="*/ 31 h 158"/>
                    <a:gd name="T2" fmla="*/ 315 w 394"/>
                    <a:gd name="T3" fmla="*/ 31 h 158"/>
                    <a:gd name="T4" fmla="*/ 315 w 394"/>
                    <a:gd name="T5" fmla="*/ 0 h 158"/>
                    <a:gd name="T6" fmla="*/ 393 w 394"/>
                    <a:gd name="T7" fmla="*/ 78 h 158"/>
                    <a:gd name="T8" fmla="*/ 315 w 394"/>
                    <a:gd name="T9" fmla="*/ 157 h 158"/>
                    <a:gd name="T10" fmla="*/ 315 w 394"/>
                    <a:gd name="T11" fmla="*/ 126 h 158"/>
                    <a:gd name="T12" fmla="*/ 0 w 394"/>
                    <a:gd name="T13" fmla="*/ 126 h 158"/>
                    <a:gd name="T14" fmla="*/ 0 w 394"/>
                    <a:gd name="T15" fmla="*/ 126 h 158"/>
                    <a:gd name="T16" fmla="*/ 0 w 394"/>
                    <a:gd name="T17" fmla="*/ 78 h 158"/>
                    <a:gd name="T18" fmla="*/ 0 w 394"/>
                    <a:gd name="T19" fmla="*/ 31 h 158"/>
                    <a:gd name="T20" fmla="*/ 0 w 394"/>
                    <a:gd name="T21" fmla="*/ 31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94" h="158">
                      <a:moveTo>
                        <a:pt x="0" y="31"/>
                      </a:moveTo>
                      <a:lnTo>
                        <a:pt x="315" y="31"/>
                      </a:lnTo>
                      <a:lnTo>
                        <a:pt x="315" y="0"/>
                      </a:lnTo>
                      <a:lnTo>
                        <a:pt x="393" y="78"/>
                      </a:lnTo>
                      <a:lnTo>
                        <a:pt x="315" y="157"/>
                      </a:lnTo>
                      <a:lnTo>
                        <a:pt x="315" y="126"/>
                      </a:lnTo>
                      <a:lnTo>
                        <a:pt x="0" y="126"/>
                      </a:lnTo>
                      <a:lnTo>
                        <a:pt x="0" y="78"/>
                      </a:lnTo>
                      <a:lnTo>
                        <a:pt x="0" y="31"/>
                      </a:lnTo>
                      <a:close/>
                    </a:path>
                  </a:pathLst>
                </a:custGeom>
                <a:solidFill>
                  <a:srgbClr val="EAEAEA"/>
                </a:solidFill>
                <a:ln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57150" dir="8100000" algn="ctr" rotWithShape="0">
                          <a:srgbClr val="888888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spAutoFit/>
                </a:bodyPr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sp>
              <p:nvSpPr>
                <p:cNvPr id="2902029" name="Freeform 13"/>
                <p:cNvSpPr>
                  <a:spLocks/>
                </p:cNvSpPr>
                <p:nvPr/>
              </p:nvSpPr>
              <p:spPr bwMode="gray">
                <a:xfrm>
                  <a:off x="2403" y="1671"/>
                  <a:ext cx="116" cy="233"/>
                </a:xfrm>
                <a:custGeom>
                  <a:avLst/>
                  <a:gdLst>
                    <a:gd name="T0" fmla="*/ 0 w 395"/>
                    <a:gd name="T1" fmla="*/ 32 h 159"/>
                    <a:gd name="T2" fmla="*/ 315 w 395"/>
                    <a:gd name="T3" fmla="*/ 32 h 159"/>
                    <a:gd name="T4" fmla="*/ 315 w 395"/>
                    <a:gd name="T5" fmla="*/ 0 h 159"/>
                    <a:gd name="T6" fmla="*/ 394 w 395"/>
                    <a:gd name="T7" fmla="*/ 79 h 159"/>
                    <a:gd name="T8" fmla="*/ 315 w 395"/>
                    <a:gd name="T9" fmla="*/ 158 h 159"/>
                    <a:gd name="T10" fmla="*/ 315 w 395"/>
                    <a:gd name="T11" fmla="*/ 127 h 159"/>
                    <a:gd name="T12" fmla="*/ 0 w 395"/>
                    <a:gd name="T13" fmla="*/ 127 h 159"/>
                    <a:gd name="T14" fmla="*/ 0 w 395"/>
                    <a:gd name="T15" fmla="*/ 127 h 159"/>
                    <a:gd name="T16" fmla="*/ 0 w 395"/>
                    <a:gd name="T17" fmla="*/ 79 h 159"/>
                    <a:gd name="T18" fmla="*/ 0 w 395"/>
                    <a:gd name="T19" fmla="*/ 32 h 159"/>
                    <a:gd name="T20" fmla="*/ 0 w 395"/>
                    <a:gd name="T21" fmla="*/ 32 h 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95" h="159">
                      <a:moveTo>
                        <a:pt x="0" y="32"/>
                      </a:moveTo>
                      <a:lnTo>
                        <a:pt x="315" y="32"/>
                      </a:lnTo>
                      <a:lnTo>
                        <a:pt x="315" y="0"/>
                      </a:lnTo>
                      <a:lnTo>
                        <a:pt x="394" y="79"/>
                      </a:lnTo>
                      <a:lnTo>
                        <a:pt x="315" y="158"/>
                      </a:lnTo>
                      <a:lnTo>
                        <a:pt x="315" y="127"/>
                      </a:lnTo>
                      <a:lnTo>
                        <a:pt x="0" y="127"/>
                      </a:lnTo>
                      <a:lnTo>
                        <a:pt x="0" y="79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solidFill>
                  <a:srgbClr val="EAEAEA"/>
                </a:solidFill>
                <a:ln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57150" dir="8100000" algn="ctr" rotWithShape="0">
                          <a:srgbClr val="888888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spAutoFit/>
                </a:bodyPr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sp>
              <p:nvSpPr>
                <p:cNvPr id="2902030" name="Freeform 14"/>
                <p:cNvSpPr>
                  <a:spLocks/>
                </p:cNvSpPr>
                <p:nvPr/>
              </p:nvSpPr>
              <p:spPr bwMode="gray">
                <a:xfrm>
                  <a:off x="2313" y="2523"/>
                  <a:ext cx="116" cy="233"/>
                </a:xfrm>
                <a:custGeom>
                  <a:avLst/>
                  <a:gdLst>
                    <a:gd name="T0" fmla="*/ 0 w 394"/>
                    <a:gd name="T1" fmla="*/ 32 h 159"/>
                    <a:gd name="T2" fmla="*/ 315 w 394"/>
                    <a:gd name="T3" fmla="*/ 32 h 159"/>
                    <a:gd name="T4" fmla="*/ 315 w 394"/>
                    <a:gd name="T5" fmla="*/ 0 h 159"/>
                    <a:gd name="T6" fmla="*/ 393 w 394"/>
                    <a:gd name="T7" fmla="*/ 79 h 159"/>
                    <a:gd name="T8" fmla="*/ 315 w 394"/>
                    <a:gd name="T9" fmla="*/ 158 h 159"/>
                    <a:gd name="T10" fmla="*/ 315 w 394"/>
                    <a:gd name="T11" fmla="*/ 126 h 159"/>
                    <a:gd name="T12" fmla="*/ 0 w 394"/>
                    <a:gd name="T13" fmla="*/ 126 h 159"/>
                    <a:gd name="T14" fmla="*/ 0 w 394"/>
                    <a:gd name="T15" fmla="*/ 126 h 159"/>
                    <a:gd name="T16" fmla="*/ 0 w 394"/>
                    <a:gd name="T17" fmla="*/ 79 h 159"/>
                    <a:gd name="T18" fmla="*/ 0 w 394"/>
                    <a:gd name="T19" fmla="*/ 32 h 159"/>
                    <a:gd name="T20" fmla="*/ 0 w 394"/>
                    <a:gd name="T21" fmla="*/ 32 h 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94" h="159">
                      <a:moveTo>
                        <a:pt x="0" y="32"/>
                      </a:moveTo>
                      <a:lnTo>
                        <a:pt x="315" y="32"/>
                      </a:lnTo>
                      <a:lnTo>
                        <a:pt x="315" y="0"/>
                      </a:lnTo>
                      <a:lnTo>
                        <a:pt x="393" y="79"/>
                      </a:lnTo>
                      <a:lnTo>
                        <a:pt x="315" y="158"/>
                      </a:lnTo>
                      <a:lnTo>
                        <a:pt x="315" y="126"/>
                      </a:lnTo>
                      <a:lnTo>
                        <a:pt x="0" y="126"/>
                      </a:lnTo>
                      <a:lnTo>
                        <a:pt x="0" y="79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solidFill>
                  <a:srgbClr val="EAEAEA"/>
                </a:solidFill>
                <a:ln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57150" dir="8100000" algn="ctr" rotWithShape="0">
                          <a:srgbClr val="888888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spAutoFit/>
                </a:bodyPr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sp>
              <p:nvSpPr>
                <p:cNvPr id="2902031" name="Freeform 15"/>
                <p:cNvSpPr>
                  <a:spLocks/>
                </p:cNvSpPr>
                <p:nvPr/>
              </p:nvSpPr>
              <p:spPr bwMode="gray">
                <a:xfrm>
                  <a:off x="1903" y="2144"/>
                  <a:ext cx="116" cy="233"/>
                </a:xfrm>
                <a:custGeom>
                  <a:avLst/>
                  <a:gdLst>
                    <a:gd name="T0" fmla="*/ 0 w 395"/>
                    <a:gd name="T1" fmla="*/ 32 h 159"/>
                    <a:gd name="T2" fmla="*/ 315 w 395"/>
                    <a:gd name="T3" fmla="*/ 32 h 159"/>
                    <a:gd name="T4" fmla="*/ 315 w 395"/>
                    <a:gd name="T5" fmla="*/ 0 h 159"/>
                    <a:gd name="T6" fmla="*/ 394 w 395"/>
                    <a:gd name="T7" fmla="*/ 79 h 159"/>
                    <a:gd name="T8" fmla="*/ 315 w 395"/>
                    <a:gd name="T9" fmla="*/ 158 h 159"/>
                    <a:gd name="T10" fmla="*/ 315 w 395"/>
                    <a:gd name="T11" fmla="*/ 126 h 159"/>
                    <a:gd name="T12" fmla="*/ 0 w 395"/>
                    <a:gd name="T13" fmla="*/ 126 h 159"/>
                    <a:gd name="T14" fmla="*/ 0 w 395"/>
                    <a:gd name="T15" fmla="*/ 126 h 159"/>
                    <a:gd name="T16" fmla="*/ 0 w 395"/>
                    <a:gd name="T17" fmla="*/ 79 h 159"/>
                    <a:gd name="T18" fmla="*/ 0 w 395"/>
                    <a:gd name="T19" fmla="*/ 32 h 159"/>
                    <a:gd name="T20" fmla="*/ 0 w 395"/>
                    <a:gd name="T21" fmla="*/ 32 h 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95" h="159">
                      <a:moveTo>
                        <a:pt x="0" y="32"/>
                      </a:moveTo>
                      <a:lnTo>
                        <a:pt x="315" y="32"/>
                      </a:lnTo>
                      <a:lnTo>
                        <a:pt x="315" y="0"/>
                      </a:lnTo>
                      <a:lnTo>
                        <a:pt x="394" y="79"/>
                      </a:lnTo>
                      <a:lnTo>
                        <a:pt x="315" y="158"/>
                      </a:lnTo>
                      <a:lnTo>
                        <a:pt x="315" y="126"/>
                      </a:lnTo>
                      <a:lnTo>
                        <a:pt x="0" y="126"/>
                      </a:lnTo>
                      <a:lnTo>
                        <a:pt x="0" y="79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solidFill>
                  <a:srgbClr val="EAEAEA"/>
                </a:solidFill>
                <a:ln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57150" dir="8100000" algn="ctr" rotWithShape="0">
                          <a:srgbClr val="888888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spAutoFit/>
                </a:bodyPr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sp>
              <p:nvSpPr>
                <p:cNvPr id="2902032" name="Freeform 16"/>
                <p:cNvSpPr>
                  <a:spLocks/>
                </p:cNvSpPr>
                <p:nvPr/>
              </p:nvSpPr>
              <p:spPr bwMode="gray">
                <a:xfrm>
                  <a:off x="2403" y="2807"/>
                  <a:ext cx="116" cy="233"/>
                </a:xfrm>
                <a:custGeom>
                  <a:avLst/>
                  <a:gdLst>
                    <a:gd name="T0" fmla="*/ 0 w 395"/>
                    <a:gd name="T1" fmla="*/ 32 h 159"/>
                    <a:gd name="T2" fmla="*/ 315 w 395"/>
                    <a:gd name="T3" fmla="*/ 32 h 159"/>
                    <a:gd name="T4" fmla="*/ 315 w 395"/>
                    <a:gd name="T5" fmla="*/ 0 h 159"/>
                    <a:gd name="T6" fmla="*/ 394 w 395"/>
                    <a:gd name="T7" fmla="*/ 79 h 159"/>
                    <a:gd name="T8" fmla="*/ 315 w 395"/>
                    <a:gd name="T9" fmla="*/ 158 h 159"/>
                    <a:gd name="T10" fmla="*/ 315 w 395"/>
                    <a:gd name="T11" fmla="*/ 127 h 159"/>
                    <a:gd name="T12" fmla="*/ 0 w 395"/>
                    <a:gd name="T13" fmla="*/ 127 h 159"/>
                    <a:gd name="T14" fmla="*/ 0 w 395"/>
                    <a:gd name="T15" fmla="*/ 127 h 159"/>
                    <a:gd name="T16" fmla="*/ 0 w 395"/>
                    <a:gd name="T17" fmla="*/ 79 h 159"/>
                    <a:gd name="T18" fmla="*/ 0 w 395"/>
                    <a:gd name="T19" fmla="*/ 32 h 159"/>
                    <a:gd name="T20" fmla="*/ 0 w 395"/>
                    <a:gd name="T21" fmla="*/ 32 h 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95" h="159">
                      <a:moveTo>
                        <a:pt x="0" y="32"/>
                      </a:moveTo>
                      <a:lnTo>
                        <a:pt x="315" y="32"/>
                      </a:lnTo>
                      <a:lnTo>
                        <a:pt x="315" y="0"/>
                      </a:lnTo>
                      <a:lnTo>
                        <a:pt x="394" y="79"/>
                      </a:lnTo>
                      <a:lnTo>
                        <a:pt x="315" y="158"/>
                      </a:lnTo>
                      <a:lnTo>
                        <a:pt x="315" y="127"/>
                      </a:lnTo>
                      <a:lnTo>
                        <a:pt x="0" y="127"/>
                      </a:lnTo>
                      <a:lnTo>
                        <a:pt x="0" y="79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solidFill>
                  <a:srgbClr val="EAEAEA"/>
                </a:solidFill>
                <a:ln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57150" dir="8100000" algn="ctr" rotWithShape="0">
                          <a:srgbClr val="888888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spAutoFit/>
                </a:bodyPr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sp>
              <p:nvSpPr>
                <p:cNvPr id="2902033" name="Freeform 17"/>
                <p:cNvSpPr>
                  <a:spLocks/>
                </p:cNvSpPr>
                <p:nvPr/>
              </p:nvSpPr>
              <p:spPr bwMode="gray">
                <a:xfrm>
                  <a:off x="1959" y="1766"/>
                  <a:ext cx="116" cy="233"/>
                </a:xfrm>
                <a:custGeom>
                  <a:avLst/>
                  <a:gdLst>
                    <a:gd name="T0" fmla="*/ 0 w 394"/>
                    <a:gd name="T1" fmla="*/ 32 h 159"/>
                    <a:gd name="T2" fmla="*/ 315 w 394"/>
                    <a:gd name="T3" fmla="*/ 32 h 159"/>
                    <a:gd name="T4" fmla="*/ 315 w 394"/>
                    <a:gd name="T5" fmla="*/ 0 h 159"/>
                    <a:gd name="T6" fmla="*/ 393 w 394"/>
                    <a:gd name="T7" fmla="*/ 79 h 159"/>
                    <a:gd name="T8" fmla="*/ 315 w 394"/>
                    <a:gd name="T9" fmla="*/ 158 h 159"/>
                    <a:gd name="T10" fmla="*/ 315 w 394"/>
                    <a:gd name="T11" fmla="*/ 126 h 159"/>
                    <a:gd name="T12" fmla="*/ 0 w 394"/>
                    <a:gd name="T13" fmla="*/ 126 h 159"/>
                    <a:gd name="T14" fmla="*/ 0 w 394"/>
                    <a:gd name="T15" fmla="*/ 126 h 159"/>
                    <a:gd name="T16" fmla="*/ 0 w 394"/>
                    <a:gd name="T17" fmla="*/ 79 h 159"/>
                    <a:gd name="T18" fmla="*/ 0 w 394"/>
                    <a:gd name="T19" fmla="*/ 32 h 159"/>
                    <a:gd name="T20" fmla="*/ 0 w 394"/>
                    <a:gd name="T21" fmla="*/ 32 h 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94" h="159">
                      <a:moveTo>
                        <a:pt x="0" y="32"/>
                      </a:moveTo>
                      <a:lnTo>
                        <a:pt x="315" y="32"/>
                      </a:lnTo>
                      <a:lnTo>
                        <a:pt x="315" y="0"/>
                      </a:lnTo>
                      <a:lnTo>
                        <a:pt x="393" y="79"/>
                      </a:lnTo>
                      <a:lnTo>
                        <a:pt x="315" y="158"/>
                      </a:lnTo>
                      <a:lnTo>
                        <a:pt x="315" y="126"/>
                      </a:lnTo>
                      <a:lnTo>
                        <a:pt x="0" y="126"/>
                      </a:lnTo>
                      <a:lnTo>
                        <a:pt x="0" y="79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solidFill>
                  <a:srgbClr val="EAEAEA"/>
                </a:solidFill>
                <a:ln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57150" dir="8100000" algn="ctr" rotWithShape="0">
                          <a:srgbClr val="888888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spAutoFit/>
                </a:bodyPr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sp>
              <p:nvSpPr>
                <p:cNvPr id="2902034" name="Freeform 18"/>
                <p:cNvSpPr>
                  <a:spLocks/>
                </p:cNvSpPr>
                <p:nvPr/>
              </p:nvSpPr>
              <p:spPr bwMode="gray">
                <a:xfrm>
                  <a:off x="1959" y="2334"/>
                  <a:ext cx="116" cy="233"/>
                </a:xfrm>
                <a:custGeom>
                  <a:avLst/>
                  <a:gdLst>
                    <a:gd name="T0" fmla="*/ 0 w 394"/>
                    <a:gd name="T1" fmla="*/ 31 h 158"/>
                    <a:gd name="T2" fmla="*/ 315 w 394"/>
                    <a:gd name="T3" fmla="*/ 31 h 158"/>
                    <a:gd name="T4" fmla="*/ 315 w 394"/>
                    <a:gd name="T5" fmla="*/ 0 h 158"/>
                    <a:gd name="T6" fmla="*/ 393 w 394"/>
                    <a:gd name="T7" fmla="*/ 78 h 158"/>
                    <a:gd name="T8" fmla="*/ 315 w 394"/>
                    <a:gd name="T9" fmla="*/ 157 h 158"/>
                    <a:gd name="T10" fmla="*/ 315 w 394"/>
                    <a:gd name="T11" fmla="*/ 126 h 158"/>
                    <a:gd name="T12" fmla="*/ 0 w 394"/>
                    <a:gd name="T13" fmla="*/ 126 h 158"/>
                    <a:gd name="T14" fmla="*/ 0 w 394"/>
                    <a:gd name="T15" fmla="*/ 126 h 158"/>
                    <a:gd name="T16" fmla="*/ 0 w 394"/>
                    <a:gd name="T17" fmla="*/ 78 h 158"/>
                    <a:gd name="T18" fmla="*/ 0 w 394"/>
                    <a:gd name="T19" fmla="*/ 31 h 158"/>
                    <a:gd name="T20" fmla="*/ 0 w 394"/>
                    <a:gd name="T21" fmla="*/ 31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94" h="158">
                      <a:moveTo>
                        <a:pt x="0" y="31"/>
                      </a:moveTo>
                      <a:lnTo>
                        <a:pt x="315" y="31"/>
                      </a:lnTo>
                      <a:lnTo>
                        <a:pt x="315" y="0"/>
                      </a:lnTo>
                      <a:lnTo>
                        <a:pt x="393" y="78"/>
                      </a:lnTo>
                      <a:lnTo>
                        <a:pt x="315" y="157"/>
                      </a:lnTo>
                      <a:lnTo>
                        <a:pt x="315" y="126"/>
                      </a:lnTo>
                      <a:lnTo>
                        <a:pt x="0" y="126"/>
                      </a:lnTo>
                      <a:lnTo>
                        <a:pt x="0" y="78"/>
                      </a:lnTo>
                      <a:lnTo>
                        <a:pt x="0" y="31"/>
                      </a:lnTo>
                      <a:close/>
                    </a:path>
                  </a:pathLst>
                </a:custGeom>
                <a:solidFill>
                  <a:srgbClr val="EAEAEA"/>
                </a:solidFill>
                <a:ln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57150" dir="8100000" algn="ctr" rotWithShape="0">
                          <a:srgbClr val="888888"/>
                        </a:outerShdw>
                      </a:effectLst>
                    </a14:hiddenEffects>
                  </a:ext>
                </a:extLst>
              </p:spPr>
              <p:txBody>
                <a:bodyPr wrap="none" anchor="ctr">
                  <a:spAutoFit/>
                </a:bodyPr>
                <a:lstStyle/>
                <a:p>
                  <a:endParaRPr lang="en-US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</p:grpSp>
          <p:sp>
            <p:nvSpPr>
              <p:cNvPr id="2902035" name="Rectangle 19"/>
              <p:cNvSpPr>
                <a:spLocks noChangeArrowheads="1"/>
              </p:cNvSpPr>
              <p:nvPr/>
            </p:nvSpPr>
            <p:spPr bwMode="gray">
              <a:xfrm>
                <a:off x="3998" y="1636"/>
                <a:ext cx="1482" cy="698"/>
              </a:xfrm>
              <a:prstGeom prst="rect">
                <a:avLst/>
              </a:prstGeom>
              <a:noFill/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383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72000" tIns="72000" rIns="72000" bIns="72000"/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342900" lvl="2" indent="-166688" defTabSz="912813">
                  <a:buFontTx/>
                  <a:buChar char="–"/>
                </a:pPr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902036" name="Rectangle 20"/>
              <p:cNvSpPr>
                <a:spLocks noChangeArrowheads="1"/>
              </p:cNvSpPr>
              <p:nvPr/>
            </p:nvSpPr>
            <p:spPr bwMode="gray">
              <a:xfrm>
                <a:off x="3998" y="2392"/>
                <a:ext cx="1482" cy="698"/>
              </a:xfrm>
              <a:prstGeom prst="rect">
                <a:avLst/>
              </a:prstGeom>
              <a:noFill/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383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72000" tIns="72000" rIns="72000" bIns="72000"/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342900" lvl="2" indent="-166688" defTabSz="912813">
                  <a:buFontTx/>
                  <a:buChar char="–"/>
                </a:pPr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</p:grpSp>
        <p:sp>
          <p:nvSpPr>
            <p:cNvPr id="2902037" name="Rectangle 21"/>
            <p:cNvSpPr>
              <a:spLocks noChangeArrowheads="1"/>
            </p:cNvSpPr>
            <p:nvPr/>
          </p:nvSpPr>
          <p:spPr bwMode="gray">
            <a:xfrm>
              <a:off x="242" y="1636"/>
              <a:ext cx="1532" cy="1466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631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98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lter and Puzzle</a:t>
            </a:r>
          </a:p>
        </p:txBody>
      </p:sp>
      <p:grpSp>
        <p:nvGrpSpPr>
          <p:cNvPr id="2639922" name="Group 50"/>
          <p:cNvGrpSpPr>
            <a:grpSpLocks/>
          </p:cNvGrpSpPr>
          <p:nvPr/>
        </p:nvGrpSpPr>
        <p:grpSpPr bwMode="auto">
          <a:xfrm>
            <a:off x="1905000" y="1450976"/>
            <a:ext cx="8237538" cy="3273425"/>
            <a:chOff x="240" y="914"/>
            <a:chExt cx="5189" cy="2062"/>
          </a:xfrm>
        </p:grpSpPr>
        <p:sp>
          <p:nvSpPr>
            <p:cNvPr id="2639877" name="Rectangle 5"/>
            <p:cNvSpPr>
              <a:spLocks noChangeArrowheads="1"/>
            </p:cNvSpPr>
            <p:nvPr/>
          </p:nvSpPr>
          <p:spPr bwMode="gray">
            <a:xfrm>
              <a:off x="240" y="1690"/>
              <a:ext cx="1490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Strategic Goal Setting</a:t>
              </a:r>
            </a:p>
          </p:txBody>
        </p:sp>
        <p:sp>
          <p:nvSpPr>
            <p:cNvPr id="2639878" name="Rectangle 6"/>
            <p:cNvSpPr>
              <a:spLocks noChangeArrowheads="1"/>
            </p:cNvSpPr>
            <p:nvPr/>
          </p:nvSpPr>
          <p:spPr bwMode="gray">
            <a:xfrm>
              <a:off x="240" y="2163"/>
              <a:ext cx="1223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Strategic Analysis</a:t>
              </a:r>
            </a:p>
          </p:txBody>
        </p:sp>
        <p:sp>
          <p:nvSpPr>
            <p:cNvPr id="2639879" name="Rectangle 7"/>
            <p:cNvSpPr>
              <a:spLocks noChangeArrowheads="1"/>
            </p:cNvSpPr>
            <p:nvPr/>
          </p:nvSpPr>
          <p:spPr bwMode="gray">
            <a:xfrm>
              <a:off x="240" y="2726"/>
              <a:ext cx="123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Strategic Crafting</a:t>
              </a:r>
            </a:p>
          </p:txBody>
        </p:sp>
        <p:sp>
          <p:nvSpPr>
            <p:cNvPr id="2639880" name="Rectangle 8"/>
            <p:cNvSpPr>
              <a:spLocks noChangeArrowheads="1"/>
            </p:cNvSpPr>
            <p:nvPr/>
          </p:nvSpPr>
          <p:spPr bwMode="gray">
            <a:xfrm>
              <a:off x="4811" y="914"/>
              <a:ext cx="421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Options</a:t>
              </a:r>
            </a:p>
          </p:txBody>
        </p:sp>
        <p:sp>
          <p:nvSpPr>
            <p:cNvPr id="2639881" name="Rectangle 9"/>
            <p:cNvSpPr>
              <a:spLocks noChangeArrowheads="1"/>
            </p:cNvSpPr>
            <p:nvPr/>
          </p:nvSpPr>
          <p:spPr bwMode="gray">
            <a:xfrm>
              <a:off x="3552" y="914"/>
              <a:ext cx="632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Hypotheses</a:t>
              </a:r>
            </a:p>
          </p:txBody>
        </p:sp>
        <p:sp>
          <p:nvSpPr>
            <p:cNvPr id="2639882" name="Rectangle 10"/>
            <p:cNvSpPr>
              <a:spLocks noChangeArrowheads="1"/>
            </p:cNvSpPr>
            <p:nvPr/>
          </p:nvSpPr>
          <p:spPr bwMode="gray">
            <a:xfrm>
              <a:off x="2413" y="914"/>
              <a:ext cx="545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Questions</a:t>
              </a:r>
            </a:p>
          </p:txBody>
        </p:sp>
        <p:sp>
          <p:nvSpPr>
            <p:cNvPr id="2639883" name="Rectangle 11"/>
            <p:cNvSpPr>
              <a:spLocks noChangeArrowheads="1"/>
            </p:cNvSpPr>
            <p:nvPr/>
          </p:nvSpPr>
          <p:spPr bwMode="gray">
            <a:xfrm>
              <a:off x="1537" y="914"/>
              <a:ext cx="285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Ideas</a:t>
              </a:r>
            </a:p>
          </p:txBody>
        </p:sp>
        <p:sp>
          <p:nvSpPr>
            <p:cNvPr id="2639884" name="Freeform 12"/>
            <p:cNvSpPr>
              <a:spLocks/>
            </p:cNvSpPr>
            <p:nvPr/>
          </p:nvSpPr>
          <p:spPr bwMode="gray">
            <a:xfrm>
              <a:off x="1571" y="1641"/>
              <a:ext cx="3600" cy="1308"/>
            </a:xfrm>
            <a:custGeom>
              <a:avLst/>
              <a:gdLst>
                <a:gd name="T0" fmla="*/ 0 w 910"/>
                <a:gd name="T1" fmla="*/ 0 h 658"/>
                <a:gd name="T2" fmla="*/ 412 w 910"/>
                <a:gd name="T3" fmla="*/ 657 h 658"/>
                <a:gd name="T4" fmla="*/ 499 w 910"/>
                <a:gd name="T5" fmla="*/ 657 h 658"/>
                <a:gd name="T6" fmla="*/ 909 w 910"/>
                <a:gd name="T7" fmla="*/ 0 h 658"/>
                <a:gd name="T8" fmla="*/ 0 w 910"/>
                <a:gd name="T9" fmla="*/ 0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0" h="658">
                  <a:moveTo>
                    <a:pt x="0" y="0"/>
                  </a:moveTo>
                  <a:lnTo>
                    <a:pt x="412" y="657"/>
                  </a:lnTo>
                  <a:lnTo>
                    <a:pt x="499" y="657"/>
                  </a:lnTo>
                  <a:lnTo>
                    <a:pt x="909" y="0"/>
                  </a:lnTo>
                  <a:lnTo>
                    <a:pt x="0" y="0"/>
                  </a:lnTo>
                </a:path>
              </a:pathLst>
            </a:custGeom>
            <a:solidFill>
              <a:srgbClr val="DDDDDD"/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885" name="Line 13"/>
            <p:cNvSpPr>
              <a:spLocks noChangeShapeType="1"/>
            </p:cNvSpPr>
            <p:nvPr/>
          </p:nvSpPr>
          <p:spPr bwMode="gray">
            <a:xfrm>
              <a:off x="1671" y="1360"/>
              <a:ext cx="0" cy="9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886" name="Line 14"/>
            <p:cNvSpPr>
              <a:spLocks noChangeShapeType="1"/>
            </p:cNvSpPr>
            <p:nvPr/>
          </p:nvSpPr>
          <p:spPr bwMode="gray">
            <a:xfrm>
              <a:off x="5135" y="1360"/>
              <a:ext cx="0" cy="9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887" name="Line 15"/>
            <p:cNvSpPr>
              <a:spLocks noChangeShapeType="1"/>
            </p:cNvSpPr>
            <p:nvPr/>
          </p:nvSpPr>
          <p:spPr bwMode="gray">
            <a:xfrm>
              <a:off x="1671" y="1459"/>
              <a:ext cx="346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888" name="Line 16"/>
            <p:cNvSpPr>
              <a:spLocks noChangeShapeType="1"/>
            </p:cNvSpPr>
            <p:nvPr/>
          </p:nvSpPr>
          <p:spPr bwMode="gray">
            <a:xfrm>
              <a:off x="1575" y="1541"/>
              <a:ext cx="3608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889" name="Line 17"/>
            <p:cNvSpPr>
              <a:spLocks noChangeShapeType="1"/>
            </p:cNvSpPr>
            <p:nvPr/>
          </p:nvSpPr>
          <p:spPr bwMode="gray">
            <a:xfrm flipV="1">
              <a:off x="1575" y="1453"/>
              <a:ext cx="96" cy="88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890" name="Line 18"/>
            <p:cNvSpPr>
              <a:spLocks noChangeShapeType="1"/>
            </p:cNvSpPr>
            <p:nvPr/>
          </p:nvSpPr>
          <p:spPr bwMode="gray">
            <a:xfrm flipH="1" flipV="1">
              <a:off x="5131" y="1461"/>
              <a:ext cx="40" cy="8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891" name="Line 19"/>
            <p:cNvSpPr>
              <a:spLocks noChangeShapeType="1"/>
            </p:cNvSpPr>
            <p:nvPr/>
          </p:nvSpPr>
          <p:spPr bwMode="gray">
            <a:xfrm>
              <a:off x="5179" y="1541"/>
              <a:ext cx="0" cy="9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892" name="Line 20"/>
            <p:cNvSpPr>
              <a:spLocks noChangeShapeType="1"/>
            </p:cNvSpPr>
            <p:nvPr/>
          </p:nvSpPr>
          <p:spPr bwMode="gray">
            <a:xfrm>
              <a:off x="1570" y="1541"/>
              <a:ext cx="0" cy="9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893" name="Oval 21"/>
            <p:cNvSpPr>
              <a:spLocks noChangeArrowheads="1"/>
            </p:cNvSpPr>
            <p:nvPr/>
          </p:nvSpPr>
          <p:spPr bwMode="gray">
            <a:xfrm>
              <a:off x="3206" y="2918"/>
              <a:ext cx="335" cy="58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894" name="Line 22"/>
            <p:cNvSpPr>
              <a:spLocks noChangeShapeType="1"/>
            </p:cNvSpPr>
            <p:nvPr/>
          </p:nvSpPr>
          <p:spPr bwMode="gray">
            <a:xfrm flipH="1">
              <a:off x="3549" y="1710"/>
              <a:ext cx="1086" cy="99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895" name="Line 23"/>
            <p:cNvSpPr>
              <a:spLocks noChangeShapeType="1"/>
            </p:cNvSpPr>
            <p:nvPr/>
          </p:nvSpPr>
          <p:spPr bwMode="gray">
            <a:xfrm flipH="1">
              <a:off x="3539" y="1710"/>
              <a:ext cx="904" cy="805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896" name="Line 24"/>
            <p:cNvSpPr>
              <a:spLocks noChangeShapeType="1"/>
            </p:cNvSpPr>
            <p:nvPr/>
          </p:nvSpPr>
          <p:spPr bwMode="gray">
            <a:xfrm>
              <a:off x="1522" y="1260"/>
              <a:ext cx="3682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897" name="Arc 25"/>
            <p:cNvSpPr>
              <a:spLocks/>
            </p:cNvSpPr>
            <p:nvPr/>
          </p:nvSpPr>
          <p:spPr bwMode="gray">
            <a:xfrm>
              <a:off x="1321" y="1259"/>
              <a:ext cx="214" cy="51"/>
            </a:xfrm>
            <a:custGeom>
              <a:avLst/>
              <a:gdLst>
                <a:gd name="G0" fmla="+- 21593 0 0"/>
                <a:gd name="G1" fmla="+- 21597 0 0"/>
                <a:gd name="G2" fmla="+- 21600 0 0"/>
                <a:gd name="T0" fmla="*/ 0 w 21593"/>
                <a:gd name="T1" fmla="*/ 21041 h 21597"/>
                <a:gd name="T2" fmla="*/ 21209 w 21593"/>
                <a:gd name="T3" fmla="*/ 0 h 21597"/>
                <a:gd name="T4" fmla="*/ 21593 w 21593"/>
                <a:gd name="T5" fmla="*/ 21597 h 21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593" h="21597" fill="none" extrusionOk="0">
                  <a:moveTo>
                    <a:pt x="0" y="21041"/>
                  </a:moveTo>
                  <a:cubicBezTo>
                    <a:pt x="297" y="9480"/>
                    <a:pt x="9646" y="205"/>
                    <a:pt x="21209" y="0"/>
                  </a:cubicBezTo>
                </a:path>
                <a:path w="21593" h="21597" stroke="0" extrusionOk="0">
                  <a:moveTo>
                    <a:pt x="0" y="21041"/>
                  </a:moveTo>
                  <a:cubicBezTo>
                    <a:pt x="297" y="9480"/>
                    <a:pt x="9646" y="205"/>
                    <a:pt x="21209" y="0"/>
                  </a:cubicBezTo>
                  <a:lnTo>
                    <a:pt x="21593" y="21597"/>
                  </a:lnTo>
                  <a:close/>
                </a:path>
              </a:pathLst>
            </a:custGeom>
            <a:noFill/>
            <a:ln w="9525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898" name="Arc 26"/>
            <p:cNvSpPr>
              <a:spLocks/>
            </p:cNvSpPr>
            <p:nvPr/>
          </p:nvSpPr>
          <p:spPr bwMode="gray">
            <a:xfrm>
              <a:off x="1321" y="1309"/>
              <a:ext cx="217" cy="51"/>
            </a:xfrm>
            <a:custGeom>
              <a:avLst/>
              <a:gdLst>
                <a:gd name="G0" fmla="+- 21600 0 0"/>
                <a:gd name="G1" fmla="+- 556 0 0"/>
                <a:gd name="G2" fmla="+- 21600 0 0"/>
                <a:gd name="T0" fmla="*/ 21206 w 21600"/>
                <a:gd name="T1" fmla="*/ 22152 h 22152"/>
                <a:gd name="T2" fmla="*/ 7 w 21600"/>
                <a:gd name="T3" fmla="*/ 0 h 22152"/>
                <a:gd name="T4" fmla="*/ 21600 w 21600"/>
                <a:gd name="T5" fmla="*/ 556 h 22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2152" fill="none" extrusionOk="0">
                  <a:moveTo>
                    <a:pt x="21205" y="22152"/>
                  </a:moveTo>
                  <a:cubicBezTo>
                    <a:pt x="9432" y="21937"/>
                    <a:pt x="0" y="12331"/>
                    <a:pt x="0" y="556"/>
                  </a:cubicBezTo>
                  <a:cubicBezTo>
                    <a:pt x="-1" y="370"/>
                    <a:pt x="2" y="185"/>
                    <a:pt x="7" y="0"/>
                  </a:cubicBezTo>
                </a:path>
                <a:path w="21600" h="22152" stroke="0" extrusionOk="0">
                  <a:moveTo>
                    <a:pt x="21205" y="22152"/>
                  </a:moveTo>
                  <a:cubicBezTo>
                    <a:pt x="9432" y="21937"/>
                    <a:pt x="0" y="12331"/>
                    <a:pt x="0" y="556"/>
                  </a:cubicBezTo>
                  <a:cubicBezTo>
                    <a:pt x="-1" y="370"/>
                    <a:pt x="2" y="185"/>
                    <a:pt x="7" y="0"/>
                  </a:cubicBezTo>
                  <a:lnTo>
                    <a:pt x="21600" y="556"/>
                  </a:lnTo>
                  <a:close/>
                </a:path>
              </a:pathLst>
            </a:custGeom>
            <a:noFill/>
            <a:ln w="9525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899" name="Arc 27"/>
            <p:cNvSpPr>
              <a:spLocks/>
            </p:cNvSpPr>
            <p:nvPr/>
          </p:nvSpPr>
          <p:spPr bwMode="gray">
            <a:xfrm>
              <a:off x="5192" y="1259"/>
              <a:ext cx="237" cy="51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9525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900" name="Arc 28"/>
            <p:cNvSpPr>
              <a:spLocks/>
            </p:cNvSpPr>
            <p:nvPr/>
          </p:nvSpPr>
          <p:spPr bwMode="gray">
            <a:xfrm>
              <a:off x="5192" y="1309"/>
              <a:ext cx="237" cy="51"/>
            </a:xfrm>
            <a:custGeom>
              <a:avLst/>
              <a:gdLst>
                <a:gd name="G0" fmla="+- 0 0 0"/>
                <a:gd name="G1" fmla="+- 0 0 0"/>
                <a:gd name="G2" fmla="+- 21600 0 0"/>
                <a:gd name="T0" fmla="*/ 21600 w 21600"/>
                <a:gd name="T1" fmla="*/ 0 h 21600"/>
                <a:gd name="T2" fmla="*/ 0 w 21600"/>
                <a:gd name="T3" fmla="*/ 21600 h 21600"/>
                <a:gd name="T4" fmla="*/ 0 w 21600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600"/>
                  </a:cubicBezTo>
                </a:path>
                <a:path w="21600" h="21600" stroke="0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60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9525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901" name="Line 29"/>
            <p:cNvSpPr>
              <a:spLocks noChangeShapeType="1"/>
            </p:cNvSpPr>
            <p:nvPr/>
          </p:nvSpPr>
          <p:spPr bwMode="gray">
            <a:xfrm>
              <a:off x="1522" y="1361"/>
              <a:ext cx="3682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902" name="Rectangle 30"/>
            <p:cNvSpPr>
              <a:spLocks noChangeArrowheads="1"/>
            </p:cNvSpPr>
            <p:nvPr/>
          </p:nvSpPr>
          <p:spPr bwMode="gray">
            <a:xfrm>
              <a:off x="3347" y="1274"/>
              <a:ext cx="134" cy="11"/>
            </a:xfrm>
            <a:prstGeom prst="rect">
              <a:avLst/>
            </a:prstGeom>
            <a:solidFill>
              <a:srgbClr val="EAEAEA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903" name="Arc 31"/>
            <p:cNvSpPr>
              <a:spLocks/>
            </p:cNvSpPr>
            <p:nvPr/>
          </p:nvSpPr>
          <p:spPr bwMode="gray">
            <a:xfrm rot="16200000" flipH="1">
              <a:off x="3263" y="1598"/>
              <a:ext cx="175" cy="1776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989 w 43200"/>
                <a:gd name="T1" fmla="*/ 28062 h 43200"/>
                <a:gd name="T2" fmla="*/ 19016 w 43200"/>
                <a:gd name="T3" fmla="*/ 43045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989" y="28061"/>
                  </a:moveTo>
                  <a:cubicBezTo>
                    <a:pt x="333" y="25970"/>
                    <a:pt x="0" y="23791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20736" y="43200"/>
                    <a:pt x="19873" y="43148"/>
                    <a:pt x="19016" y="43044"/>
                  </a:cubicBezTo>
                </a:path>
                <a:path w="43200" h="43200" stroke="0" extrusionOk="0">
                  <a:moveTo>
                    <a:pt x="989" y="28061"/>
                  </a:moveTo>
                  <a:cubicBezTo>
                    <a:pt x="333" y="25970"/>
                    <a:pt x="0" y="23791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20736" y="43200"/>
                    <a:pt x="19873" y="43148"/>
                    <a:pt x="19016" y="43044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lIns="36000" tIns="36000" rIns="36000" bIns="3600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904" name="Arc 32"/>
            <p:cNvSpPr>
              <a:spLocks/>
            </p:cNvSpPr>
            <p:nvPr/>
          </p:nvSpPr>
          <p:spPr bwMode="gray">
            <a:xfrm rot="16200000" flipH="1">
              <a:off x="3280" y="598"/>
              <a:ext cx="155" cy="2876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989 w 43200"/>
                <a:gd name="T1" fmla="*/ 28062 h 43200"/>
                <a:gd name="T2" fmla="*/ 19016 w 43200"/>
                <a:gd name="T3" fmla="*/ 43045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989" y="28061"/>
                  </a:moveTo>
                  <a:cubicBezTo>
                    <a:pt x="333" y="25970"/>
                    <a:pt x="0" y="23791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20736" y="43200"/>
                    <a:pt x="19873" y="43148"/>
                    <a:pt x="19016" y="43044"/>
                  </a:cubicBezTo>
                </a:path>
                <a:path w="43200" h="43200" stroke="0" extrusionOk="0">
                  <a:moveTo>
                    <a:pt x="989" y="28061"/>
                  </a:moveTo>
                  <a:cubicBezTo>
                    <a:pt x="333" y="25970"/>
                    <a:pt x="0" y="23791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20736" y="43200"/>
                    <a:pt x="19873" y="43148"/>
                    <a:pt x="19016" y="43044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lIns="36000" tIns="36000" rIns="36000" bIns="3600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905" name="AutoShape 33"/>
            <p:cNvSpPr>
              <a:spLocks noChangeArrowheads="1"/>
            </p:cNvSpPr>
            <p:nvPr/>
          </p:nvSpPr>
          <p:spPr bwMode="gray">
            <a:xfrm>
              <a:off x="1632" y="1073"/>
              <a:ext cx="96" cy="160"/>
            </a:xfrm>
            <a:prstGeom prst="downArrow">
              <a:avLst>
                <a:gd name="adj1" fmla="val 50000"/>
                <a:gd name="adj2" fmla="val 41667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906" name="AutoShape 34"/>
            <p:cNvSpPr>
              <a:spLocks noChangeArrowheads="1"/>
            </p:cNvSpPr>
            <p:nvPr/>
          </p:nvSpPr>
          <p:spPr bwMode="gray">
            <a:xfrm>
              <a:off x="2598" y="1073"/>
              <a:ext cx="96" cy="160"/>
            </a:xfrm>
            <a:prstGeom prst="downArrow">
              <a:avLst>
                <a:gd name="adj1" fmla="val 50000"/>
                <a:gd name="adj2" fmla="val 41667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907" name="AutoShape 35"/>
            <p:cNvSpPr>
              <a:spLocks noChangeArrowheads="1"/>
            </p:cNvSpPr>
            <p:nvPr/>
          </p:nvSpPr>
          <p:spPr bwMode="gray">
            <a:xfrm>
              <a:off x="3787" y="1073"/>
              <a:ext cx="96" cy="160"/>
            </a:xfrm>
            <a:prstGeom prst="downArrow">
              <a:avLst>
                <a:gd name="adj1" fmla="val 50000"/>
                <a:gd name="adj2" fmla="val 41667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908" name="AutoShape 36"/>
            <p:cNvSpPr>
              <a:spLocks noChangeArrowheads="1"/>
            </p:cNvSpPr>
            <p:nvPr/>
          </p:nvSpPr>
          <p:spPr bwMode="gray">
            <a:xfrm>
              <a:off x="4946" y="1073"/>
              <a:ext cx="96" cy="160"/>
            </a:xfrm>
            <a:prstGeom prst="downArrow">
              <a:avLst>
                <a:gd name="adj1" fmla="val 50000"/>
                <a:gd name="adj2" fmla="val 41667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911" name="Line 39"/>
            <p:cNvSpPr>
              <a:spLocks noChangeShapeType="1"/>
            </p:cNvSpPr>
            <p:nvPr/>
          </p:nvSpPr>
          <p:spPr bwMode="gray">
            <a:xfrm>
              <a:off x="282" y="2490"/>
              <a:ext cx="2334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912" name="Line 40"/>
            <p:cNvSpPr>
              <a:spLocks noChangeShapeType="1"/>
            </p:cNvSpPr>
            <p:nvPr/>
          </p:nvSpPr>
          <p:spPr bwMode="gray">
            <a:xfrm>
              <a:off x="282" y="2035"/>
              <a:ext cx="1729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grpSp>
        <p:nvGrpSpPr>
          <p:cNvPr id="2639921" name="Group 49"/>
          <p:cNvGrpSpPr>
            <a:grpSpLocks/>
          </p:cNvGrpSpPr>
          <p:nvPr/>
        </p:nvGrpSpPr>
        <p:grpSpPr bwMode="auto">
          <a:xfrm>
            <a:off x="6126163" y="4751389"/>
            <a:ext cx="1485900" cy="1398587"/>
            <a:chOff x="2899" y="2999"/>
            <a:chExt cx="936" cy="881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2639909" name="Rectangle 37"/>
            <p:cNvSpPr>
              <a:spLocks noChangeArrowheads="1"/>
            </p:cNvSpPr>
            <p:nvPr/>
          </p:nvSpPr>
          <p:spPr bwMode="gray">
            <a:xfrm>
              <a:off x="2899" y="2999"/>
              <a:ext cx="936" cy="881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910" name="Text Box 38"/>
            <p:cNvSpPr txBox="1">
              <a:spLocks noChangeArrowheads="1"/>
            </p:cNvSpPr>
            <p:nvPr/>
          </p:nvSpPr>
          <p:spPr bwMode="gray">
            <a:xfrm>
              <a:off x="2915" y="3036"/>
              <a:ext cx="906" cy="180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>
              <a:lvl1pPr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290513" indent="-288925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2921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4351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lvl="1" algn="ctr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Implementation</a:t>
              </a:r>
              <a:endParaRPr lang="en-US" sz="160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913" name="Puzzle3"/>
            <p:cNvSpPr>
              <a:spLocks noEditPoints="1" noChangeArrowheads="1"/>
            </p:cNvSpPr>
            <p:nvPr/>
          </p:nvSpPr>
          <p:spPr bwMode="gray">
            <a:xfrm rot="1435756">
              <a:off x="3425" y="3290"/>
              <a:ext cx="162" cy="220"/>
            </a:xfrm>
            <a:custGeom>
              <a:avLst/>
              <a:gdLst>
                <a:gd name="T0" fmla="*/ 10391 w 21600"/>
                <a:gd name="T1" fmla="*/ 15806 h 21600"/>
                <a:gd name="T2" fmla="*/ 20551 w 21600"/>
                <a:gd name="T3" fmla="*/ 21088 h 21600"/>
                <a:gd name="T4" fmla="*/ 13180 w 21600"/>
                <a:gd name="T5" fmla="*/ 13801 h 21600"/>
                <a:gd name="T6" fmla="*/ 20551 w 21600"/>
                <a:gd name="T7" fmla="*/ 7025 h 21600"/>
                <a:gd name="T8" fmla="*/ 10500 w 21600"/>
                <a:gd name="T9" fmla="*/ 52 h 21600"/>
                <a:gd name="T10" fmla="*/ 692 w 21600"/>
                <a:gd name="T11" fmla="*/ 6802 h 21600"/>
                <a:gd name="T12" fmla="*/ 8064 w 21600"/>
                <a:gd name="T13" fmla="*/ 13526 h 21600"/>
                <a:gd name="T14" fmla="*/ 692 w 21600"/>
                <a:gd name="T15" fmla="*/ 21088 h 21600"/>
                <a:gd name="T16" fmla="*/ 2273 w 21600"/>
                <a:gd name="T17" fmla="*/ 7719 h 21600"/>
                <a:gd name="T18" fmla="*/ 19149 w 21600"/>
                <a:gd name="T19" fmla="*/ 202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6625" y="20892"/>
                  </a:moveTo>
                  <a:lnTo>
                    <a:pt x="7105" y="21023"/>
                  </a:lnTo>
                  <a:lnTo>
                    <a:pt x="7513" y="21088"/>
                  </a:lnTo>
                  <a:lnTo>
                    <a:pt x="7922" y="21115"/>
                  </a:lnTo>
                  <a:lnTo>
                    <a:pt x="8242" y="21115"/>
                  </a:lnTo>
                  <a:lnTo>
                    <a:pt x="8544" y="21062"/>
                  </a:lnTo>
                  <a:lnTo>
                    <a:pt x="8810" y="20997"/>
                  </a:lnTo>
                  <a:lnTo>
                    <a:pt x="9023" y="20892"/>
                  </a:lnTo>
                  <a:lnTo>
                    <a:pt x="9148" y="20761"/>
                  </a:lnTo>
                  <a:lnTo>
                    <a:pt x="9290" y="20616"/>
                  </a:lnTo>
                  <a:lnTo>
                    <a:pt x="9361" y="20459"/>
                  </a:lnTo>
                  <a:lnTo>
                    <a:pt x="9396" y="20289"/>
                  </a:lnTo>
                  <a:lnTo>
                    <a:pt x="9396" y="20092"/>
                  </a:lnTo>
                  <a:lnTo>
                    <a:pt x="9325" y="19909"/>
                  </a:lnTo>
                  <a:lnTo>
                    <a:pt x="9219" y="19738"/>
                  </a:lnTo>
                  <a:lnTo>
                    <a:pt x="9094" y="19555"/>
                  </a:lnTo>
                  <a:lnTo>
                    <a:pt x="8917" y="19384"/>
                  </a:lnTo>
                  <a:lnTo>
                    <a:pt x="8650" y="19162"/>
                  </a:lnTo>
                  <a:lnTo>
                    <a:pt x="8437" y="18900"/>
                  </a:lnTo>
                  <a:lnTo>
                    <a:pt x="8277" y="18624"/>
                  </a:lnTo>
                  <a:lnTo>
                    <a:pt x="8135" y="18349"/>
                  </a:lnTo>
                  <a:lnTo>
                    <a:pt x="8028" y="18048"/>
                  </a:lnTo>
                  <a:lnTo>
                    <a:pt x="7993" y="17746"/>
                  </a:lnTo>
                  <a:lnTo>
                    <a:pt x="7993" y="17471"/>
                  </a:lnTo>
                  <a:lnTo>
                    <a:pt x="8028" y="17169"/>
                  </a:lnTo>
                  <a:lnTo>
                    <a:pt x="8135" y="16920"/>
                  </a:lnTo>
                  <a:lnTo>
                    <a:pt x="8277" y="16671"/>
                  </a:lnTo>
                  <a:lnTo>
                    <a:pt x="8366" y="16540"/>
                  </a:lnTo>
                  <a:lnTo>
                    <a:pt x="8473" y="16409"/>
                  </a:lnTo>
                  <a:lnTo>
                    <a:pt x="8615" y="16317"/>
                  </a:lnTo>
                  <a:lnTo>
                    <a:pt x="8739" y="16213"/>
                  </a:lnTo>
                  <a:lnTo>
                    <a:pt x="8881" y="16134"/>
                  </a:lnTo>
                  <a:lnTo>
                    <a:pt x="9059" y="16055"/>
                  </a:lnTo>
                  <a:lnTo>
                    <a:pt x="9254" y="15990"/>
                  </a:lnTo>
                  <a:lnTo>
                    <a:pt x="9432" y="15911"/>
                  </a:lnTo>
                  <a:lnTo>
                    <a:pt x="9663" y="15885"/>
                  </a:lnTo>
                  <a:lnTo>
                    <a:pt x="9876" y="15833"/>
                  </a:lnTo>
                  <a:lnTo>
                    <a:pt x="10142" y="15806"/>
                  </a:lnTo>
                  <a:lnTo>
                    <a:pt x="10391" y="15806"/>
                  </a:lnTo>
                  <a:lnTo>
                    <a:pt x="10728" y="15806"/>
                  </a:lnTo>
                  <a:lnTo>
                    <a:pt x="10995" y="15806"/>
                  </a:lnTo>
                  <a:lnTo>
                    <a:pt x="11279" y="15833"/>
                  </a:lnTo>
                  <a:lnTo>
                    <a:pt x="11546" y="15885"/>
                  </a:lnTo>
                  <a:lnTo>
                    <a:pt x="11776" y="15937"/>
                  </a:lnTo>
                  <a:lnTo>
                    <a:pt x="12025" y="15990"/>
                  </a:lnTo>
                  <a:lnTo>
                    <a:pt x="12221" y="16055"/>
                  </a:lnTo>
                  <a:lnTo>
                    <a:pt x="12434" y="16134"/>
                  </a:lnTo>
                  <a:lnTo>
                    <a:pt x="12611" y="16213"/>
                  </a:lnTo>
                  <a:lnTo>
                    <a:pt x="12771" y="16317"/>
                  </a:lnTo>
                  <a:lnTo>
                    <a:pt x="12913" y="16409"/>
                  </a:lnTo>
                  <a:lnTo>
                    <a:pt x="13038" y="16514"/>
                  </a:lnTo>
                  <a:lnTo>
                    <a:pt x="13251" y="16737"/>
                  </a:lnTo>
                  <a:lnTo>
                    <a:pt x="13428" y="16986"/>
                  </a:lnTo>
                  <a:lnTo>
                    <a:pt x="13517" y="17248"/>
                  </a:lnTo>
                  <a:lnTo>
                    <a:pt x="13588" y="17523"/>
                  </a:lnTo>
                  <a:lnTo>
                    <a:pt x="13588" y="17799"/>
                  </a:lnTo>
                  <a:lnTo>
                    <a:pt x="13517" y="18074"/>
                  </a:lnTo>
                  <a:lnTo>
                    <a:pt x="13428" y="18323"/>
                  </a:lnTo>
                  <a:lnTo>
                    <a:pt x="13286" y="18572"/>
                  </a:lnTo>
                  <a:lnTo>
                    <a:pt x="13109" y="18808"/>
                  </a:lnTo>
                  <a:lnTo>
                    <a:pt x="12878" y="19031"/>
                  </a:lnTo>
                  <a:lnTo>
                    <a:pt x="12434" y="19411"/>
                  </a:lnTo>
                  <a:lnTo>
                    <a:pt x="12132" y="19738"/>
                  </a:lnTo>
                  <a:lnTo>
                    <a:pt x="12025" y="19856"/>
                  </a:lnTo>
                  <a:lnTo>
                    <a:pt x="11919" y="20014"/>
                  </a:lnTo>
                  <a:lnTo>
                    <a:pt x="11883" y="20132"/>
                  </a:lnTo>
                  <a:lnTo>
                    <a:pt x="11883" y="20263"/>
                  </a:lnTo>
                  <a:lnTo>
                    <a:pt x="11883" y="20394"/>
                  </a:lnTo>
                  <a:lnTo>
                    <a:pt x="11954" y="20485"/>
                  </a:lnTo>
                  <a:lnTo>
                    <a:pt x="12061" y="20590"/>
                  </a:lnTo>
                  <a:lnTo>
                    <a:pt x="12185" y="20695"/>
                  </a:lnTo>
                  <a:lnTo>
                    <a:pt x="12327" y="20787"/>
                  </a:lnTo>
                  <a:lnTo>
                    <a:pt x="12540" y="20892"/>
                  </a:lnTo>
                  <a:lnTo>
                    <a:pt x="12771" y="20997"/>
                  </a:lnTo>
                  <a:lnTo>
                    <a:pt x="13073" y="21088"/>
                  </a:lnTo>
                  <a:lnTo>
                    <a:pt x="13428" y="21193"/>
                  </a:lnTo>
                  <a:lnTo>
                    <a:pt x="13873" y="21298"/>
                  </a:lnTo>
                  <a:lnTo>
                    <a:pt x="14317" y="21390"/>
                  </a:lnTo>
                  <a:lnTo>
                    <a:pt x="14778" y="21468"/>
                  </a:lnTo>
                  <a:lnTo>
                    <a:pt x="15294" y="21547"/>
                  </a:lnTo>
                  <a:lnTo>
                    <a:pt x="15809" y="21600"/>
                  </a:lnTo>
                  <a:lnTo>
                    <a:pt x="16359" y="21652"/>
                  </a:lnTo>
                  <a:lnTo>
                    <a:pt x="16875" y="21678"/>
                  </a:lnTo>
                  <a:lnTo>
                    <a:pt x="17407" y="21678"/>
                  </a:lnTo>
                  <a:lnTo>
                    <a:pt x="17958" y="21678"/>
                  </a:lnTo>
                  <a:lnTo>
                    <a:pt x="18473" y="21652"/>
                  </a:lnTo>
                  <a:lnTo>
                    <a:pt x="18953" y="21573"/>
                  </a:lnTo>
                  <a:lnTo>
                    <a:pt x="19397" y="21495"/>
                  </a:lnTo>
                  <a:lnTo>
                    <a:pt x="19841" y="21390"/>
                  </a:lnTo>
                  <a:lnTo>
                    <a:pt x="20214" y="21272"/>
                  </a:lnTo>
                  <a:lnTo>
                    <a:pt x="20551" y="21088"/>
                  </a:lnTo>
                  <a:lnTo>
                    <a:pt x="20480" y="20787"/>
                  </a:lnTo>
                  <a:lnTo>
                    <a:pt x="20409" y="20485"/>
                  </a:lnTo>
                  <a:lnTo>
                    <a:pt x="20356" y="20158"/>
                  </a:lnTo>
                  <a:lnTo>
                    <a:pt x="20356" y="19804"/>
                  </a:lnTo>
                  <a:lnTo>
                    <a:pt x="20321" y="19083"/>
                  </a:lnTo>
                  <a:lnTo>
                    <a:pt x="20356" y="18349"/>
                  </a:lnTo>
                  <a:lnTo>
                    <a:pt x="20409" y="17641"/>
                  </a:lnTo>
                  <a:lnTo>
                    <a:pt x="20480" y="17012"/>
                  </a:lnTo>
                  <a:lnTo>
                    <a:pt x="20551" y="16488"/>
                  </a:lnTo>
                  <a:lnTo>
                    <a:pt x="20551" y="16055"/>
                  </a:lnTo>
                  <a:lnTo>
                    <a:pt x="20551" y="15911"/>
                  </a:lnTo>
                  <a:lnTo>
                    <a:pt x="20445" y="15754"/>
                  </a:lnTo>
                  <a:lnTo>
                    <a:pt x="20356" y="15610"/>
                  </a:lnTo>
                  <a:lnTo>
                    <a:pt x="20178" y="15452"/>
                  </a:lnTo>
                  <a:lnTo>
                    <a:pt x="20001" y="15334"/>
                  </a:lnTo>
                  <a:lnTo>
                    <a:pt x="19770" y="15230"/>
                  </a:lnTo>
                  <a:lnTo>
                    <a:pt x="19521" y="15125"/>
                  </a:lnTo>
                  <a:lnTo>
                    <a:pt x="19290" y="15059"/>
                  </a:lnTo>
                  <a:lnTo>
                    <a:pt x="19024" y="15007"/>
                  </a:lnTo>
                  <a:lnTo>
                    <a:pt x="18740" y="14954"/>
                  </a:lnTo>
                  <a:lnTo>
                    <a:pt x="18509" y="14954"/>
                  </a:lnTo>
                  <a:lnTo>
                    <a:pt x="18225" y="14954"/>
                  </a:lnTo>
                  <a:lnTo>
                    <a:pt x="17994" y="15007"/>
                  </a:lnTo>
                  <a:lnTo>
                    <a:pt x="17763" y="15085"/>
                  </a:lnTo>
                  <a:lnTo>
                    <a:pt x="17550" y="15177"/>
                  </a:lnTo>
                  <a:lnTo>
                    <a:pt x="17372" y="15308"/>
                  </a:lnTo>
                  <a:lnTo>
                    <a:pt x="17176" y="15426"/>
                  </a:lnTo>
                  <a:lnTo>
                    <a:pt x="16928" y="15557"/>
                  </a:lnTo>
                  <a:lnTo>
                    <a:pt x="16661" y="15636"/>
                  </a:lnTo>
                  <a:lnTo>
                    <a:pt x="16359" y="15688"/>
                  </a:lnTo>
                  <a:lnTo>
                    <a:pt x="16022" y="15715"/>
                  </a:lnTo>
                  <a:lnTo>
                    <a:pt x="15667" y="15688"/>
                  </a:lnTo>
                  <a:lnTo>
                    <a:pt x="15294" y="15662"/>
                  </a:lnTo>
                  <a:lnTo>
                    <a:pt x="14956" y="15583"/>
                  </a:lnTo>
                  <a:lnTo>
                    <a:pt x="14619" y="15479"/>
                  </a:lnTo>
                  <a:lnTo>
                    <a:pt x="14281" y="15334"/>
                  </a:lnTo>
                  <a:lnTo>
                    <a:pt x="13961" y="15177"/>
                  </a:lnTo>
                  <a:lnTo>
                    <a:pt x="13695" y="14981"/>
                  </a:lnTo>
                  <a:lnTo>
                    <a:pt x="13588" y="14850"/>
                  </a:lnTo>
                  <a:lnTo>
                    <a:pt x="13482" y="14732"/>
                  </a:lnTo>
                  <a:lnTo>
                    <a:pt x="13393" y="14600"/>
                  </a:lnTo>
                  <a:lnTo>
                    <a:pt x="13322" y="14456"/>
                  </a:lnTo>
                  <a:lnTo>
                    <a:pt x="13251" y="14299"/>
                  </a:lnTo>
                  <a:lnTo>
                    <a:pt x="13215" y="14155"/>
                  </a:lnTo>
                  <a:lnTo>
                    <a:pt x="13180" y="13971"/>
                  </a:lnTo>
                  <a:lnTo>
                    <a:pt x="13180" y="13801"/>
                  </a:lnTo>
                  <a:lnTo>
                    <a:pt x="13180" y="13591"/>
                  </a:lnTo>
                  <a:lnTo>
                    <a:pt x="13215" y="13395"/>
                  </a:lnTo>
                  <a:lnTo>
                    <a:pt x="13251" y="13198"/>
                  </a:lnTo>
                  <a:lnTo>
                    <a:pt x="13322" y="13015"/>
                  </a:lnTo>
                  <a:lnTo>
                    <a:pt x="13393" y="12870"/>
                  </a:lnTo>
                  <a:lnTo>
                    <a:pt x="13482" y="12713"/>
                  </a:lnTo>
                  <a:lnTo>
                    <a:pt x="13588" y="12569"/>
                  </a:lnTo>
                  <a:lnTo>
                    <a:pt x="13730" y="12438"/>
                  </a:lnTo>
                  <a:lnTo>
                    <a:pt x="13997" y="12215"/>
                  </a:lnTo>
                  <a:lnTo>
                    <a:pt x="14334" y="12005"/>
                  </a:lnTo>
                  <a:lnTo>
                    <a:pt x="14690" y="11861"/>
                  </a:lnTo>
                  <a:lnTo>
                    <a:pt x="15063" y="11756"/>
                  </a:lnTo>
                  <a:lnTo>
                    <a:pt x="15436" y="11678"/>
                  </a:lnTo>
                  <a:lnTo>
                    <a:pt x="15809" y="11638"/>
                  </a:lnTo>
                  <a:lnTo>
                    <a:pt x="16182" y="11638"/>
                  </a:lnTo>
                  <a:lnTo>
                    <a:pt x="16555" y="11678"/>
                  </a:lnTo>
                  <a:lnTo>
                    <a:pt x="16910" y="11730"/>
                  </a:lnTo>
                  <a:lnTo>
                    <a:pt x="17248" y="11835"/>
                  </a:lnTo>
                  <a:lnTo>
                    <a:pt x="17514" y="11966"/>
                  </a:lnTo>
                  <a:lnTo>
                    <a:pt x="17763" y="12110"/>
                  </a:lnTo>
                  <a:lnTo>
                    <a:pt x="17887" y="12215"/>
                  </a:lnTo>
                  <a:lnTo>
                    <a:pt x="18065" y="12307"/>
                  </a:lnTo>
                  <a:lnTo>
                    <a:pt x="18260" y="12412"/>
                  </a:lnTo>
                  <a:lnTo>
                    <a:pt x="18438" y="12464"/>
                  </a:lnTo>
                  <a:lnTo>
                    <a:pt x="18669" y="12543"/>
                  </a:lnTo>
                  <a:lnTo>
                    <a:pt x="18882" y="12569"/>
                  </a:lnTo>
                  <a:lnTo>
                    <a:pt x="19113" y="12595"/>
                  </a:lnTo>
                  <a:lnTo>
                    <a:pt x="19361" y="12608"/>
                  </a:lnTo>
                  <a:lnTo>
                    <a:pt x="19592" y="12608"/>
                  </a:lnTo>
                  <a:lnTo>
                    <a:pt x="19841" y="12595"/>
                  </a:lnTo>
                  <a:lnTo>
                    <a:pt x="20072" y="12543"/>
                  </a:lnTo>
                  <a:lnTo>
                    <a:pt x="20321" y="12490"/>
                  </a:lnTo>
                  <a:lnTo>
                    <a:pt x="20551" y="12438"/>
                  </a:lnTo>
                  <a:lnTo>
                    <a:pt x="20800" y="12333"/>
                  </a:lnTo>
                  <a:lnTo>
                    <a:pt x="20996" y="12241"/>
                  </a:lnTo>
                  <a:lnTo>
                    <a:pt x="21244" y="12110"/>
                  </a:lnTo>
                  <a:lnTo>
                    <a:pt x="21298" y="12032"/>
                  </a:lnTo>
                  <a:lnTo>
                    <a:pt x="21404" y="11966"/>
                  </a:lnTo>
                  <a:lnTo>
                    <a:pt x="21475" y="11861"/>
                  </a:lnTo>
                  <a:lnTo>
                    <a:pt x="21511" y="11730"/>
                  </a:lnTo>
                  <a:lnTo>
                    <a:pt x="21617" y="11481"/>
                  </a:lnTo>
                  <a:lnTo>
                    <a:pt x="21653" y="11180"/>
                  </a:lnTo>
                  <a:lnTo>
                    <a:pt x="21653" y="10826"/>
                  </a:lnTo>
                  <a:lnTo>
                    <a:pt x="21653" y="10472"/>
                  </a:lnTo>
                  <a:lnTo>
                    <a:pt x="21582" y="10092"/>
                  </a:lnTo>
                  <a:lnTo>
                    <a:pt x="21511" y="9725"/>
                  </a:lnTo>
                  <a:lnTo>
                    <a:pt x="21298" y="8912"/>
                  </a:lnTo>
                  <a:lnTo>
                    <a:pt x="21067" y="8191"/>
                  </a:lnTo>
                  <a:lnTo>
                    <a:pt x="20800" y="7536"/>
                  </a:lnTo>
                  <a:lnTo>
                    <a:pt x="20551" y="7025"/>
                  </a:lnTo>
                  <a:lnTo>
                    <a:pt x="20001" y="7103"/>
                  </a:lnTo>
                  <a:lnTo>
                    <a:pt x="19432" y="7156"/>
                  </a:lnTo>
                  <a:lnTo>
                    <a:pt x="18846" y="7208"/>
                  </a:lnTo>
                  <a:lnTo>
                    <a:pt x="18225" y="7208"/>
                  </a:lnTo>
                  <a:lnTo>
                    <a:pt x="17656" y="7208"/>
                  </a:lnTo>
                  <a:lnTo>
                    <a:pt x="17070" y="7182"/>
                  </a:lnTo>
                  <a:lnTo>
                    <a:pt x="16484" y="7156"/>
                  </a:lnTo>
                  <a:lnTo>
                    <a:pt x="15986" y="7103"/>
                  </a:lnTo>
                  <a:lnTo>
                    <a:pt x="14992" y="6999"/>
                  </a:lnTo>
                  <a:lnTo>
                    <a:pt x="14210" y="6907"/>
                  </a:lnTo>
                  <a:lnTo>
                    <a:pt x="13695" y="6828"/>
                  </a:lnTo>
                  <a:lnTo>
                    <a:pt x="13517" y="6802"/>
                  </a:lnTo>
                  <a:lnTo>
                    <a:pt x="13073" y="6645"/>
                  </a:lnTo>
                  <a:lnTo>
                    <a:pt x="12700" y="6474"/>
                  </a:lnTo>
                  <a:lnTo>
                    <a:pt x="12363" y="6304"/>
                  </a:lnTo>
                  <a:lnTo>
                    <a:pt x="12132" y="6094"/>
                  </a:lnTo>
                  <a:lnTo>
                    <a:pt x="11919" y="5871"/>
                  </a:lnTo>
                  <a:lnTo>
                    <a:pt x="11776" y="5649"/>
                  </a:lnTo>
                  <a:lnTo>
                    <a:pt x="11688" y="5413"/>
                  </a:lnTo>
                  <a:lnTo>
                    <a:pt x="11617" y="5190"/>
                  </a:lnTo>
                  <a:lnTo>
                    <a:pt x="11617" y="4941"/>
                  </a:lnTo>
                  <a:lnTo>
                    <a:pt x="11652" y="4718"/>
                  </a:lnTo>
                  <a:lnTo>
                    <a:pt x="11723" y="4482"/>
                  </a:lnTo>
                  <a:lnTo>
                    <a:pt x="11812" y="4285"/>
                  </a:lnTo>
                  <a:lnTo>
                    <a:pt x="11919" y="4089"/>
                  </a:lnTo>
                  <a:lnTo>
                    <a:pt x="12096" y="3905"/>
                  </a:lnTo>
                  <a:lnTo>
                    <a:pt x="12292" y="3735"/>
                  </a:lnTo>
                  <a:lnTo>
                    <a:pt x="12505" y="3604"/>
                  </a:lnTo>
                  <a:lnTo>
                    <a:pt x="12700" y="3460"/>
                  </a:lnTo>
                  <a:lnTo>
                    <a:pt x="12878" y="3250"/>
                  </a:lnTo>
                  <a:lnTo>
                    <a:pt x="13038" y="3027"/>
                  </a:lnTo>
                  <a:lnTo>
                    <a:pt x="13180" y="2752"/>
                  </a:lnTo>
                  <a:lnTo>
                    <a:pt x="13286" y="2477"/>
                  </a:lnTo>
                  <a:lnTo>
                    <a:pt x="13322" y="2175"/>
                  </a:lnTo>
                  <a:lnTo>
                    <a:pt x="13357" y="1874"/>
                  </a:lnTo>
                  <a:lnTo>
                    <a:pt x="13286" y="1572"/>
                  </a:lnTo>
                  <a:lnTo>
                    <a:pt x="13180" y="1271"/>
                  </a:lnTo>
                  <a:lnTo>
                    <a:pt x="13038" y="983"/>
                  </a:lnTo>
                  <a:lnTo>
                    <a:pt x="12949" y="865"/>
                  </a:lnTo>
                  <a:lnTo>
                    <a:pt x="12807" y="733"/>
                  </a:lnTo>
                  <a:lnTo>
                    <a:pt x="12665" y="616"/>
                  </a:lnTo>
                  <a:lnTo>
                    <a:pt x="12505" y="511"/>
                  </a:lnTo>
                  <a:lnTo>
                    <a:pt x="12327" y="406"/>
                  </a:lnTo>
                  <a:lnTo>
                    <a:pt x="12132" y="314"/>
                  </a:lnTo>
                  <a:lnTo>
                    <a:pt x="11883" y="235"/>
                  </a:lnTo>
                  <a:lnTo>
                    <a:pt x="11652" y="183"/>
                  </a:lnTo>
                  <a:lnTo>
                    <a:pt x="11368" y="104"/>
                  </a:lnTo>
                  <a:lnTo>
                    <a:pt x="11101" y="78"/>
                  </a:lnTo>
                  <a:lnTo>
                    <a:pt x="10800" y="52"/>
                  </a:lnTo>
                  <a:lnTo>
                    <a:pt x="10444" y="52"/>
                  </a:lnTo>
                  <a:lnTo>
                    <a:pt x="10142" y="52"/>
                  </a:lnTo>
                  <a:lnTo>
                    <a:pt x="9840" y="78"/>
                  </a:lnTo>
                  <a:lnTo>
                    <a:pt x="9574" y="104"/>
                  </a:lnTo>
                  <a:lnTo>
                    <a:pt x="9325" y="157"/>
                  </a:lnTo>
                  <a:lnTo>
                    <a:pt x="9094" y="209"/>
                  </a:lnTo>
                  <a:lnTo>
                    <a:pt x="8846" y="262"/>
                  </a:lnTo>
                  <a:lnTo>
                    <a:pt x="8650" y="340"/>
                  </a:lnTo>
                  <a:lnTo>
                    <a:pt x="8437" y="432"/>
                  </a:lnTo>
                  <a:lnTo>
                    <a:pt x="8277" y="511"/>
                  </a:lnTo>
                  <a:lnTo>
                    <a:pt x="8100" y="616"/>
                  </a:lnTo>
                  <a:lnTo>
                    <a:pt x="7957" y="707"/>
                  </a:lnTo>
                  <a:lnTo>
                    <a:pt x="7833" y="838"/>
                  </a:lnTo>
                  <a:lnTo>
                    <a:pt x="7620" y="1061"/>
                  </a:lnTo>
                  <a:lnTo>
                    <a:pt x="7442" y="1336"/>
                  </a:lnTo>
                  <a:lnTo>
                    <a:pt x="7353" y="1599"/>
                  </a:lnTo>
                  <a:lnTo>
                    <a:pt x="7318" y="1900"/>
                  </a:lnTo>
                  <a:lnTo>
                    <a:pt x="7318" y="2175"/>
                  </a:lnTo>
                  <a:lnTo>
                    <a:pt x="7353" y="2450"/>
                  </a:lnTo>
                  <a:lnTo>
                    <a:pt x="7442" y="2726"/>
                  </a:lnTo>
                  <a:lnTo>
                    <a:pt x="7620" y="2975"/>
                  </a:lnTo>
                  <a:lnTo>
                    <a:pt x="7833" y="3198"/>
                  </a:lnTo>
                  <a:lnTo>
                    <a:pt x="8064" y="3433"/>
                  </a:lnTo>
                  <a:lnTo>
                    <a:pt x="8295" y="3630"/>
                  </a:lnTo>
                  <a:lnTo>
                    <a:pt x="8508" y="3853"/>
                  </a:lnTo>
                  <a:lnTo>
                    <a:pt x="8686" y="4089"/>
                  </a:lnTo>
                  <a:lnTo>
                    <a:pt x="8775" y="4312"/>
                  </a:lnTo>
                  <a:lnTo>
                    <a:pt x="8846" y="4561"/>
                  </a:lnTo>
                  <a:lnTo>
                    <a:pt x="8846" y="4810"/>
                  </a:lnTo>
                  <a:lnTo>
                    <a:pt x="8810" y="5059"/>
                  </a:lnTo>
                  <a:lnTo>
                    <a:pt x="8721" y="5295"/>
                  </a:lnTo>
                  <a:lnTo>
                    <a:pt x="8579" y="5544"/>
                  </a:lnTo>
                  <a:lnTo>
                    <a:pt x="8366" y="5766"/>
                  </a:lnTo>
                  <a:lnTo>
                    <a:pt x="8135" y="5976"/>
                  </a:lnTo>
                  <a:lnTo>
                    <a:pt x="7833" y="6199"/>
                  </a:lnTo>
                  <a:lnTo>
                    <a:pt x="7478" y="6369"/>
                  </a:lnTo>
                  <a:lnTo>
                    <a:pt x="7069" y="6527"/>
                  </a:lnTo>
                  <a:lnTo>
                    <a:pt x="6590" y="6671"/>
                  </a:lnTo>
                  <a:lnTo>
                    <a:pt x="6092" y="6802"/>
                  </a:lnTo>
                  <a:lnTo>
                    <a:pt x="5684" y="6802"/>
                  </a:lnTo>
                  <a:lnTo>
                    <a:pt x="5133" y="6802"/>
                  </a:lnTo>
                  <a:lnTo>
                    <a:pt x="4547" y="6802"/>
                  </a:lnTo>
                  <a:lnTo>
                    <a:pt x="3872" y="6802"/>
                  </a:lnTo>
                  <a:lnTo>
                    <a:pt x="3144" y="6802"/>
                  </a:lnTo>
                  <a:lnTo>
                    <a:pt x="2362" y="6802"/>
                  </a:lnTo>
                  <a:lnTo>
                    <a:pt x="1545" y="6802"/>
                  </a:lnTo>
                  <a:lnTo>
                    <a:pt x="692" y="6802"/>
                  </a:lnTo>
                  <a:lnTo>
                    <a:pt x="586" y="7234"/>
                  </a:lnTo>
                  <a:lnTo>
                    <a:pt x="461" y="7837"/>
                  </a:lnTo>
                  <a:lnTo>
                    <a:pt x="355" y="8493"/>
                  </a:lnTo>
                  <a:lnTo>
                    <a:pt x="248" y="9187"/>
                  </a:lnTo>
                  <a:lnTo>
                    <a:pt x="142" y="9869"/>
                  </a:lnTo>
                  <a:lnTo>
                    <a:pt x="106" y="10498"/>
                  </a:lnTo>
                  <a:lnTo>
                    <a:pt x="106" y="10983"/>
                  </a:lnTo>
                  <a:lnTo>
                    <a:pt x="106" y="11311"/>
                  </a:lnTo>
                  <a:lnTo>
                    <a:pt x="213" y="11481"/>
                  </a:lnTo>
                  <a:lnTo>
                    <a:pt x="319" y="11651"/>
                  </a:lnTo>
                  <a:lnTo>
                    <a:pt x="497" y="11783"/>
                  </a:lnTo>
                  <a:lnTo>
                    <a:pt x="692" y="11914"/>
                  </a:lnTo>
                  <a:lnTo>
                    <a:pt x="941" y="12032"/>
                  </a:lnTo>
                  <a:lnTo>
                    <a:pt x="1207" y="12110"/>
                  </a:lnTo>
                  <a:lnTo>
                    <a:pt x="1509" y="12189"/>
                  </a:lnTo>
                  <a:lnTo>
                    <a:pt x="1794" y="12241"/>
                  </a:lnTo>
                  <a:lnTo>
                    <a:pt x="2131" y="12267"/>
                  </a:lnTo>
                  <a:lnTo>
                    <a:pt x="2433" y="12281"/>
                  </a:lnTo>
                  <a:lnTo>
                    <a:pt x="2735" y="12267"/>
                  </a:lnTo>
                  <a:lnTo>
                    <a:pt x="3055" y="12241"/>
                  </a:lnTo>
                  <a:lnTo>
                    <a:pt x="3357" y="12189"/>
                  </a:lnTo>
                  <a:lnTo>
                    <a:pt x="3623" y="12084"/>
                  </a:lnTo>
                  <a:lnTo>
                    <a:pt x="3872" y="11979"/>
                  </a:lnTo>
                  <a:lnTo>
                    <a:pt x="4103" y="11861"/>
                  </a:lnTo>
                  <a:lnTo>
                    <a:pt x="4316" y="11704"/>
                  </a:lnTo>
                  <a:lnTo>
                    <a:pt x="4582" y="11612"/>
                  </a:lnTo>
                  <a:lnTo>
                    <a:pt x="4849" y="11533"/>
                  </a:lnTo>
                  <a:lnTo>
                    <a:pt x="5169" y="11507"/>
                  </a:lnTo>
                  <a:lnTo>
                    <a:pt x="5506" y="11481"/>
                  </a:lnTo>
                  <a:lnTo>
                    <a:pt x="5808" y="11507"/>
                  </a:lnTo>
                  <a:lnTo>
                    <a:pt x="6146" y="11560"/>
                  </a:lnTo>
                  <a:lnTo>
                    <a:pt x="6501" y="11651"/>
                  </a:lnTo>
                  <a:lnTo>
                    <a:pt x="6803" y="11783"/>
                  </a:lnTo>
                  <a:lnTo>
                    <a:pt x="7105" y="11940"/>
                  </a:lnTo>
                  <a:lnTo>
                    <a:pt x="7353" y="12110"/>
                  </a:lnTo>
                  <a:lnTo>
                    <a:pt x="7584" y="12333"/>
                  </a:lnTo>
                  <a:lnTo>
                    <a:pt x="7798" y="12595"/>
                  </a:lnTo>
                  <a:lnTo>
                    <a:pt x="7922" y="12870"/>
                  </a:lnTo>
                  <a:lnTo>
                    <a:pt x="8028" y="13198"/>
                  </a:lnTo>
                  <a:lnTo>
                    <a:pt x="8064" y="13526"/>
                  </a:lnTo>
                  <a:lnTo>
                    <a:pt x="8028" y="13775"/>
                  </a:lnTo>
                  <a:lnTo>
                    <a:pt x="7922" y="13998"/>
                  </a:lnTo>
                  <a:lnTo>
                    <a:pt x="7798" y="14220"/>
                  </a:lnTo>
                  <a:lnTo>
                    <a:pt x="7584" y="14404"/>
                  </a:lnTo>
                  <a:lnTo>
                    <a:pt x="7353" y="14574"/>
                  </a:lnTo>
                  <a:lnTo>
                    <a:pt x="7105" y="14732"/>
                  </a:lnTo>
                  <a:lnTo>
                    <a:pt x="6803" y="14850"/>
                  </a:lnTo>
                  <a:lnTo>
                    <a:pt x="6501" y="14954"/>
                  </a:lnTo>
                  <a:lnTo>
                    <a:pt x="6146" y="15033"/>
                  </a:lnTo>
                  <a:lnTo>
                    <a:pt x="5808" y="15085"/>
                  </a:lnTo>
                  <a:lnTo>
                    <a:pt x="5506" y="15085"/>
                  </a:lnTo>
                  <a:lnTo>
                    <a:pt x="5169" y="15059"/>
                  </a:lnTo>
                  <a:lnTo>
                    <a:pt x="4849" y="15007"/>
                  </a:lnTo>
                  <a:lnTo>
                    <a:pt x="4582" y="14902"/>
                  </a:lnTo>
                  <a:lnTo>
                    <a:pt x="4316" y="14784"/>
                  </a:lnTo>
                  <a:lnTo>
                    <a:pt x="4103" y="14600"/>
                  </a:lnTo>
                  <a:lnTo>
                    <a:pt x="3907" y="14430"/>
                  </a:lnTo>
                  <a:lnTo>
                    <a:pt x="3659" y="14299"/>
                  </a:lnTo>
                  <a:lnTo>
                    <a:pt x="3428" y="14194"/>
                  </a:lnTo>
                  <a:lnTo>
                    <a:pt x="3179" y="14129"/>
                  </a:lnTo>
                  <a:lnTo>
                    <a:pt x="2913" y="14102"/>
                  </a:lnTo>
                  <a:lnTo>
                    <a:pt x="2646" y="14102"/>
                  </a:lnTo>
                  <a:lnTo>
                    <a:pt x="2362" y="14129"/>
                  </a:lnTo>
                  <a:lnTo>
                    <a:pt x="2096" y="14168"/>
                  </a:lnTo>
                  <a:lnTo>
                    <a:pt x="1811" y="14273"/>
                  </a:lnTo>
                  <a:lnTo>
                    <a:pt x="1545" y="14378"/>
                  </a:lnTo>
                  <a:lnTo>
                    <a:pt x="1314" y="14496"/>
                  </a:lnTo>
                  <a:lnTo>
                    <a:pt x="1065" y="14653"/>
                  </a:lnTo>
                  <a:lnTo>
                    <a:pt x="870" y="14797"/>
                  </a:lnTo>
                  <a:lnTo>
                    <a:pt x="657" y="14981"/>
                  </a:lnTo>
                  <a:lnTo>
                    <a:pt x="497" y="15177"/>
                  </a:lnTo>
                  <a:lnTo>
                    <a:pt x="390" y="15413"/>
                  </a:lnTo>
                  <a:lnTo>
                    <a:pt x="284" y="15636"/>
                  </a:lnTo>
                  <a:lnTo>
                    <a:pt x="248" y="15911"/>
                  </a:lnTo>
                  <a:lnTo>
                    <a:pt x="284" y="16239"/>
                  </a:lnTo>
                  <a:lnTo>
                    <a:pt x="319" y="16566"/>
                  </a:lnTo>
                  <a:lnTo>
                    <a:pt x="497" y="17340"/>
                  </a:lnTo>
                  <a:lnTo>
                    <a:pt x="692" y="18152"/>
                  </a:lnTo>
                  <a:lnTo>
                    <a:pt x="799" y="18559"/>
                  </a:lnTo>
                  <a:lnTo>
                    <a:pt x="905" y="18978"/>
                  </a:lnTo>
                  <a:lnTo>
                    <a:pt x="959" y="19384"/>
                  </a:lnTo>
                  <a:lnTo>
                    <a:pt x="994" y="19791"/>
                  </a:lnTo>
                  <a:lnTo>
                    <a:pt x="994" y="20132"/>
                  </a:lnTo>
                  <a:lnTo>
                    <a:pt x="959" y="20485"/>
                  </a:lnTo>
                  <a:lnTo>
                    <a:pt x="941" y="20669"/>
                  </a:lnTo>
                  <a:lnTo>
                    <a:pt x="870" y="20813"/>
                  </a:lnTo>
                  <a:lnTo>
                    <a:pt x="799" y="20970"/>
                  </a:lnTo>
                  <a:lnTo>
                    <a:pt x="692" y="21088"/>
                  </a:lnTo>
                  <a:lnTo>
                    <a:pt x="1474" y="20997"/>
                  </a:lnTo>
                  <a:lnTo>
                    <a:pt x="2291" y="20866"/>
                  </a:lnTo>
                  <a:lnTo>
                    <a:pt x="3108" y="20787"/>
                  </a:lnTo>
                  <a:lnTo>
                    <a:pt x="3907" y="20721"/>
                  </a:lnTo>
                  <a:lnTo>
                    <a:pt x="4653" y="20695"/>
                  </a:lnTo>
                  <a:lnTo>
                    <a:pt x="5364" y="20695"/>
                  </a:lnTo>
                  <a:lnTo>
                    <a:pt x="5701" y="20721"/>
                  </a:lnTo>
                  <a:lnTo>
                    <a:pt x="6057" y="20761"/>
                  </a:lnTo>
                  <a:lnTo>
                    <a:pt x="6323" y="20813"/>
                  </a:lnTo>
                  <a:lnTo>
                    <a:pt x="6625" y="20892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39914" name="Puzzle2"/>
            <p:cNvSpPr>
              <a:spLocks noEditPoints="1" noChangeArrowheads="1"/>
            </p:cNvSpPr>
            <p:nvPr/>
          </p:nvSpPr>
          <p:spPr bwMode="gray">
            <a:xfrm rot="2706343">
              <a:off x="3450" y="3509"/>
              <a:ext cx="258" cy="200"/>
            </a:xfrm>
            <a:custGeom>
              <a:avLst/>
              <a:gdLst>
                <a:gd name="T0" fmla="*/ 11 w 21600"/>
                <a:gd name="T1" fmla="*/ 13386 h 21600"/>
                <a:gd name="T2" fmla="*/ 4202 w 21600"/>
                <a:gd name="T3" fmla="*/ 21161 h 21600"/>
                <a:gd name="T4" fmla="*/ 10400 w 21600"/>
                <a:gd name="T5" fmla="*/ 13909 h 21600"/>
                <a:gd name="T6" fmla="*/ 16821 w 21600"/>
                <a:gd name="T7" fmla="*/ 21190 h 21600"/>
                <a:gd name="T8" fmla="*/ 21600 w 21600"/>
                <a:gd name="T9" fmla="*/ 15083 h 21600"/>
                <a:gd name="T10" fmla="*/ 16889 w 21600"/>
                <a:gd name="T11" fmla="*/ 5739 h 21600"/>
                <a:gd name="T12" fmla="*/ 10800 w 21600"/>
                <a:gd name="T13" fmla="*/ 28 h 21600"/>
                <a:gd name="T14" fmla="*/ 4202 w 21600"/>
                <a:gd name="T15" fmla="*/ 5894 h 21600"/>
                <a:gd name="T16" fmla="*/ 5388 w 21600"/>
                <a:gd name="T17" fmla="*/ 6742 h 21600"/>
                <a:gd name="T18" fmla="*/ 16177 w 21600"/>
                <a:gd name="T19" fmla="*/ 20441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4247" y="12354"/>
                  </a:moveTo>
                  <a:lnTo>
                    <a:pt x="4134" y="12468"/>
                  </a:lnTo>
                  <a:lnTo>
                    <a:pt x="4010" y="12581"/>
                  </a:lnTo>
                  <a:lnTo>
                    <a:pt x="3897" y="12637"/>
                  </a:lnTo>
                  <a:lnTo>
                    <a:pt x="3773" y="12694"/>
                  </a:lnTo>
                  <a:lnTo>
                    <a:pt x="3637" y="12694"/>
                  </a:lnTo>
                  <a:lnTo>
                    <a:pt x="3524" y="12694"/>
                  </a:lnTo>
                  <a:lnTo>
                    <a:pt x="3400" y="12665"/>
                  </a:lnTo>
                  <a:lnTo>
                    <a:pt x="3287" y="12609"/>
                  </a:lnTo>
                  <a:lnTo>
                    <a:pt x="3027" y="12496"/>
                  </a:lnTo>
                  <a:lnTo>
                    <a:pt x="2790" y="12340"/>
                  </a:lnTo>
                  <a:lnTo>
                    <a:pt x="2530" y="12142"/>
                  </a:lnTo>
                  <a:lnTo>
                    <a:pt x="2293" y="11987"/>
                  </a:lnTo>
                  <a:lnTo>
                    <a:pt x="2033" y="11817"/>
                  </a:lnTo>
                  <a:lnTo>
                    <a:pt x="1773" y="11676"/>
                  </a:lnTo>
                  <a:lnTo>
                    <a:pt x="1638" y="11662"/>
                  </a:lnTo>
                  <a:lnTo>
                    <a:pt x="1513" y="11634"/>
                  </a:lnTo>
                  <a:lnTo>
                    <a:pt x="1378" y="11634"/>
                  </a:lnTo>
                  <a:lnTo>
                    <a:pt x="1253" y="11634"/>
                  </a:lnTo>
                  <a:lnTo>
                    <a:pt x="1118" y="11662"/>
                  </a:lnTo>
                  <a:lnTo>
                    <a:pt x="971" y="11732"/>
                  </a:lnTo>
                  <a:lnTo>
                    <a:pt x="835" y="11817"/>
                  </a:lnTo>
                  <a:lnTo>
                    <a:pt x="711" y="11959"/>
                  </a:lnTo>
                  <a:lnTo>
                    <a:pt x="553" y="12086"/>
                  </a:lnTo>
                  <a:lnTo>
                    <a:pt x="429" y="12284"/>
                  </a:lnTo>
                  <a:lnTo>
                    <a:pt x="271" y="12524"/>
                  </a:lnTo>
                  <a:lnTo>
                    <a:pt x="146" y="12793"/>
                  </a:lnTo>
                  <a:lnTo>
                    <a:pt x="79" y="12962"/>
                  </a:lnTo>
                  <a:lnTo>
                    <a:pt x="33" y="13146"/>
                  </a:lnTo>
                  <a:lnTo>
                    <a:pt x="11" y="13386"/>
                  </a:lnTo>
                  <a:lnTo>
                    <a:pt x="11" y="13641"/>
                  </a:lnTo>
                  <a:lnTo>
                    <a:pt x="33" y="13881"/>
                  </a:lnTo>
                  <a:lnTo>
                    <a:pt x="101" y="14150"/>
                  </a:lnTo>
                  <a:lnTo>
                    <a:pt x="192" y="14404"/>
                  </a:lnTo>
                  <a:lnTo>
                    <a:pt x="293" y="14645"/>
                  </a:lnTo>
                  <a:lnTo>
                    <a:pt x="451" y="14857"/>
                  </a:lnTo>
                  <a:lnTo>
                    <a:pt x="621" y="15054"/>
                  </a:lnTo>
                  <a:lnTo>
                    <a:pt x="734" y="15125"/>
                  </a:lnTo>
                  <a:lnTo>
                    <a:pt x="835" y="15210"/>
                  </a:lnTo>
                  <a:lnTo>
                    <a:pt x="948" y="15267"/>
                  </a:lnTo>
                  <a:lnTo>
                    <a:pt x="1084" y="15323"/>
                  </a:lnTo>
                  <a:lnTo>
                    <a:pt x="1208" y="15351"/>
                  </a:lnTo>
                  <a:lnTo>
                    <a:pt x="1355" y="15380"/>
                  </a:lnTo>
                  <a:lnTo>
                    <a:pt x="1513" y="15380"/>
                  </a:lnTo>
                  <a:lnTo>
                    <a:pt x="1683" y="15380"/>
                  </a:lnTo>
                  <a:lnTo>
                    <a:pt x="1864" y="15351"/>
                  </a:lnTo>
                  <a:lnTo>
                    <a:pt x="2033" y="15323"/>
                  </a:lnTo>
                  <a:lnTo>
                    <a:pt x="2225" y="15238"/>
                  </a:lnTo>
                  <a:lnTo>
                    <a:pt x="2428" y="15153"/>
                  </a:lnTo>
                  <a:lnTo>
                    <a:pt x="2745" y="15026"/>
                  </a:lnTo>
                  <a:lnTo>
                    <a:pt x="3005" y="14913"/>
                  </a:lnTo>
                  <a:lnTo>
                    <a:pt x="3264" y="14828"/>
                  </a:lnTo>
                  <a:lnTo>
                    <a:pt x="3513" y="14800"/>
                  </a:lnTo>
                  <a:lnTo>
                    <a:pt x="3615" y="14828"/>
                  </a:lnTo>
                  <a:lnTo>
                    <a:pt x="3728" y="14857"/>
                  </a:lnTo>
                  <a:lnTo>
                    <a:pt x="3807" y="14913"/>
                  </a:lnTo>
                  <a:lnTo>
                    <a:pt x="3920" y="14998"/>
                  </a:lnTo>
                  <a:lnTo>
                    <a:pt x="4010" y="15097"/>
                  </a:lnTo>
                  <a:lnTo>
                    <a:pt x="4089" y="15238"/>
                  </a:lnTo>
                  <a:lnTo>
                    <a:pt x="4179" y="15408"/>
                  </a:lnTo>
                  <a:lnTo>
                    <a:pt x="4247" y="15620"/>
                  </a:lnTo>
                  <a:lnTo>
                    <a:pt x="4326" y="15860"/>
                  </a:lnTo>
                  <a:lnTo>
                    <a:pt x="4394" y="16129"/>
                  </a:lnTo>
                  <a:lnTo>
                    <a:pt x="4439" y="16440"/>
                  </a:lnTo>
                  <a:lnTo>
                    <a:pt x="4507" y="16737"/>
                  </a:lnTo>
                  <a:lnTo>
                    <a:pt x="4552" y="17090"/>
                  </a:lnTo>
                  <a:lnTo>
                    <a:pt x="4575" y="17443"/>
                  </a:lnTo>
                  <a:lnTo>
                    <a:pt x="4586" y="17825"/>
                  </a:lnTo>
                  <a:lnTo>
                    <a:pt x="4586" y="18193"/>
                  </a:lnTo>
                  <a:lnTo>
                    <a:pt x="4586" y="18574"/>
                  </a:lnTo>
                  <a:lnTo>
                    <a:pt x="4586" y="18984"/>
                  </a:lnTo>
                  <a:lnTo>
                    <a:pt x="4552" y="19366"/>
                  </a:lnTo>
                  <a:lnTo>
                    <a:pt x="4507" y="19748"/>
                  </a:lnTo>
                  <a:lnTo>
                    <a:pt x="4462" y="20129"/>
                  </a:lnTo>
                  <a:lnTo>
                    <a:pt x="4371" y="20483"/>
                  </a:lnTo>
                  <a:lnTo>
                    <a:pt x="4292" y="20836"/>
                  </a:lnTo>
                  <a:lnTo>
                    <a:pt x="4202" y="21161"/>
                  </a:lnTo>
                  <a:lnTo>
                    <a:pt x="4744" y="21161"/>
                  </a:lnTo>
                  <a:lnTo>
                    <a:pt x="5264" y="21161"/>
                  </a:lnTo>
                  <a:lnTo>
                    <a:pt x="5784" y="21161"/>
                  </a:lnTo>
                  <a:lnTo>
                    <a:pt x="6235" y="21161"/>
                  </a:lnTo>
                  <a:lnTo>
                    <a:pt x="6676" y="21161"/>
                  </a:lnTo>
                  <a:lnTo>
                    <a:pt x="7060" y="21161"/>
                  </a:lnTo>
                  <a:lnTo>
                    <a:pt x="7410" y="21161"/>
                  </a:lnTo>
                  <a:lnTo>
                    <a:pt x="7670" y="21161"/>
                  </a:lnTo>
                  <a:lnTo>
                    <a:pt x="8020" y="21020"/>
                  </a:lnTo>
                  <a:lnTo>
                    <a:pt x="8303" y="20893"/>
                  </a:lnTo>
                  <a:lnTo>
                    <a:pt x="8563" y="20695"/>
                  </a:lnTo>
                  <a:lnTo>
                    <a:pt x="8800" y="20511"/>
                  </a:lnTo>
                  <a:lnTo>
                    <a:pt x="8969" y="20285"/>
                  </a:lnTo>
                  <a:lnTo>
                    <a:pt x="9150" y="20045"/>
                  </a:lnTo>
                  <a:lnTo>
                    <a:pt x="9252" y="19804"/>
                  </a:lnTo>
                  <a:lnTo>
                    <a:pt x="9342" y="19550"/>
                  </a:lnTo>
                  <a:lnTo>
                    <a:pt x="9410" y="19281"/>
                  </a:lnTo>
                  <a:lnTo>
                    <a:pt x="9433" y="19013"/>
                  </a:lnTo>
                  <a:lnTo>
                    <a:pt x="9433" y="18744"/>
                  </a:lnTo>
                  <a:lnTo>
                    <a:pt x="9387" y="18504"/>
                  </a:lnTo>
                  <a:lnTo>
                    <a:pt x="9320" y="18221"/>
                  </a:lnTo>
                  <a:lnTo>
                    <a:pt x="9207" y="17981"/>
                  </a:lnTo>
                  <a:lnTo>
                    <a:pt x="9105" y="17740"/>
                  </a:lnTo>
                  <a:lnTo>
                    <a:pt x="8924" y="17514"/>
                  </a:lnTo>
                  <a:lnTo>
                    <a:pt x="8777" y="17274"/>
                  </a:lnTo>
                  <a:lnTo>
                    <a:pt x="8642" y="17034"/>
                  </a:lnTo>
                  <a:lnTo>
                    <a:pt x="8563" y="16765"/>
                  </a:lnTo>
                  <a:lnTo>
                    <a:pt x="8472" y="16468"/>
                  </a:lnTo>
                  <a:lnTo>
                    <a:pt x="8450" y="16157"/>
                  </a:lnTo>
                  <a:lnTo>
                    <a:pt x="8450" y="15860"/>
                  </a:lnTo>
                  <a:lnTo>
                    <a:pt x="8472" y="15563"/>
                  </a:lnTo>
                  <a:lnTo>
                    <a:pt x="8540" y="15267"/>
                  </a:lnTo>
                  <a:lnTo>
                    <a:pt x="8642" y="14998"/>
                  </a:lnTo>
                  <a:lnTo>
                    <a:pt x="8777" y="14729"/>
                  </a:lnTo>
                  <a:lnTo>
                    <a:pt x="8868" y="14616"/>
                  </a:lnTo>
                  <a:lnTo>
                    <a:pt x="8969" y="14475"/>
                  </a:lnTo>
                  <a:lnTo>
                    <a:pt x="9060" y="14376"/>
                  </a:lnTo>
                  <a:lnTo>
                    <a:pt x="9184" y="14291"/>
                  </a:lnTo>
                  <a:lnTo>
                    <a:pt x="9297" y="14206"/>
                  </a:lnTo>
                  <a:lnTo>
                    <a:pt x="9433" y="14121"/>
                  </a:lnTo>
                  <a:lnTo>
                    <a:pt x="9579" y="14051"/>
                  </a:lnTo>
                  <a:lnTo>
                    <a:pt x="9726" y="13994"/>
                  </a:lnTo>
                  <a:lnTo>
                    <a:pt x="9884" y="13938"/>
                  </a:lnTo>
                  <a:lnTo>
                    <a:pt x="10054" y="13909"/>
                  </a:lnTo>
                  <a:lnTo>
                    <a:pt x="10257" y="13881"/>
                  </a:lnTo>
                  <a:lnTo>
                    <a:pt x="10449" y="13881"/>
                  </a:lnTo>
                  <a:lnTo>
                    <a:pt x="10664" y="13881"/>
                  </a:lnTo>
                  <a:lnTo>
                    <a:pt x="10856" y="13909"/>
                  </a:lnTo>
                  <a:lnTo>
                    <a:pt x="11037" y="13966"/>
                  </a:lnTo>
                  <a:lnTo>
                    <a:pt x="11206" y="14023"/>
                  </a:lnTo>
                  <a:lnTo>
                    <a:pt x="11353" y="14093"/>
                  </a:lnTo>
                  <a:lnTo>
                    <a:pt x="11511" y="14178"/>
                  </a:lnTo>
                  <a:lnTo>
                    <a:pt x="11635" y="14263"/>
                  </a:lnTo>
                  <a:lnTo>
                    <a:pt x="11748" y="14376"/>
                  </a:lnTo>
                  <a:lnTo>
                    <a:pt x="11861" y="14475"/>
                  </a:lnTo>
                  <a:lnTo>
                    <a:pt x="11941" y="14616"/>
                  </a:lnTo>
                  <a:lnTo>
                    <a:pt x="12031" y="14758"/>
                  </a:lnTo>
                  <a:lnTo>
                    <a:pt x="12099" y="14885"/>
                  </a:lnTo>
                  <a:lnTo>
                    <a:pt x="12200" y="15210"/>
                  </a:lnTo>
                  <a:lnTo>
                    <a:pt x="12268" y="15507"/>
                  </a:lnTo>
                  <a:lnTo>
                    <a:pt x="12291" y="15832"/>
                  </a:lnTo>
                  <a:lnTo>
                    <a:pt x="12291" y="16157"/>
                  </a:lnTo>
                  <a:lnTo>
                    <a:pt x="12246" y="16482"/>
                  </a:lnTo>
                  <a:lnTo>
                    <a:pt x="12178" y="16807"/>
                  </a:lnTo>
                  <a:lnTo>
                    <a:pt x="12099" y="17090"/>
                  </a:lnTo>
                  <a:lnTo>
                    <a:pt x="12008" y="17330"/>
                  </a:lnTo>
                  <a:lnTo>
                    <a:pt x="11884" y="17542"/>
                  </a:lnTo>
                  <a:lnTo>
                    <a:pt x="11748" y="17712"/>
                  </a:lnTo>
                  <a:lnTo>
                    <a:pt x="11613" y="17839"/>
                  </a:lnTo>
                  <a:lnTo>
                    <a:pt x="11489" y="18037"/>
                  </a:lnTo>
                  <a:lnTo>
                    <a:pt x="11398" y="18221"/>
                  </a:lnTo>
                  <a:lnTo>
                    <a:pt x="11319" y="18447"/>
                  </a:lnTo>
                  <a:lnTo>
                    <a:pt x="11251" y="18659"/>
                  </a:lnTo>
                  <a:lnTo>
                    <a:pt x="11206" y="18900"/>
                  </a:lnTo>
                  <a:lnTo>
                    <a:pt x="11184" y="19154"/>
                  </a:lnTo>
                  <a:lnTo>
                    <a:pt x="11184" y="19423"/>
                  </a:lnTo>
                  <a:lnTo>
                    <a:pt x="11229" y="19663"/>
                  </a:lnTo>
                  <a:lnTo>
                    <a:pt x="11297" y="19903"/>
                  </a:lnTo>
                  <a:lnTo>
                    <a:pt x="11376" y="20158"/>
                  </a:lnTo>
                  <a:lnTo>
                    <a:pt x="11511" y="20398"/>
                  </a:lnTo>
                  <a:lnTo>
                    <a:pt x="11681" y="20610"/>
                  </a:lnTo>
                  <a:lnTo>
                    <a:pt x="11884" y="20808"/>
                  </a:lnTo>
                  <a:lnTo>
                    <a:pt x="12121" y="20992"/>
                  </a:lnTo>
                  <a:lnTo>
                    <a:pt x="12404" y="21161"/>
                  </a:lnTo>
                  <a:lnTo>
                    <a:pt x="12528" y="21190"/>
                  </a:lnTo>
                  <a:lnTo>
                    <a:pt x="12856" y="21274"/>
                  </a:lnTo>
                  <a:lnTo>
                    <a:pt x="13330" y="21373"/>
                  </a:lnTo>
                  <a:lnTo>
                    <a:pt x="13963" y="21486"/>
                  </a:lnTo>
                  <a:lnTo>
                    <a:pt x="14313" y="21543"/>
                  </a:lnTo>
                  <a:lnTo>
                    <a:pt x="14652" y="21571"/>
                  </a:lnTo>
                  <a:lnTo>
                    <a:pt x="15025" y="21600"/>
                  </a:lnTo>
                  <a:lnTo>
                    <a:pt x="15409" y="21600"/>
                  </a:lnTo>
                  <a:lnTo>
                    <a:pt x="15782" y="21600"/>
                  </a:lnTo>
                  <a:lnTo>
                    <a:pt x="16177" y="21571"/>
                  </a:lnTo>
                  <a:lnTo>
                    <a:pt x="16516" y="21486"/>
                  </a:lnTo>
                  <a:lnTo>
                    <a:pt x="16889" y="21402"/>
                  </a:lnTo>
                  <a:lnTo>
                    <a:pt x="16821" y="21190"/>
                  </a:lnTo>
                  <a:lnTo>
                    <a:pt x="16776" y="20935"/>
                  </a:lnTo>
                  <a:lnTo>
                    <a:pt x="16742" y="20667"/>
                  </a:lnTo>
                  <a:lnTo>
                    <a:pt x="16719" y="20370"/>
                  </a:lnTo>
                  <a:lnTo>
                    <a:pt x="16697" y="19719"/>
                  </a:lnTo>
                  <a:lnTo>
                    <a:pt x="16697" y="19013"/>
                  </a:lnTo>
                  <a:lnTo>
                    <a:pt x="16719" y="18306"/>
                  </a:lnTo>
                  <a:lnTo>
                    <a:pt x="16753" y="17599"/>
                  </a:lnTo>
                  <a:lnTo>
                    <a:pt x="16821" y="16949"/>
                  </a:lnTo>
                  <a:lnTo>
                    <a:pt x="16889" y="16383"/>
                  </a:lnTo>
                  <a:lnTo>
                    <a:pt x="16934" y="16129"/>
                  </a:lnTo>
                  <a:lnTo>
                    <a:pt x="17002" y="15945"/>
                  </a:lnTo>
                  <a:lnTo>
                    <a:pt x="17081" y="15790"/>
                  </a:lnTo>
                  <a:lnTo>
                    <a:pt x="17194" y="15648"/>
                  </a:lnTo>
                  <a:lnTo>
                    <a:pt x="17318" y="15563"/>
                  </a:lnTo>
                  <a:lnTo>
                    <a:pt x="17453" y="15507"/>
                  </a:lnTo>
                  <a:lnTo>
                    <a:pt x="17600" y="15450"/>
                  </a:lnTo>
                  <a:lnTo>
                    <a:pt x="17758" y="15450"/>
                  </a:lnTo>
                  <a:lnTo>
                    <a:pt x="17905" y="15479"/>
                  </a:lnTo>
                  <a:lnTo>
                    <a:pt x="18064" y="15535"/>
                  </a:lnTo>
                  <a:lnTo>
                    <a:pt x="18233" y="15620"/>
                  </a:lnTo>
                  <a:lnTo>
                    <a:pt x="18380" y="15733"/>
                  </a:lnTo>
                  <a:lnTo>
                    <a:pt x="18561" y="15832"/>
                  </a:lnTo>
                  <a:lnTo>
                    <a:pt x="18707" y="15973"/>
                  </a:lnTo>
                  <a:lnTo>
                    <a:pt x="18866" y="16129"/>
                  </a:lnTo>
                  <a:lnTo>
                    <a:pt x="18990" y="16327"/>
                  </a:lnTo>
                  <a:lnTo>
                    <a:pt x="19125" y="16482"/>
                  </a:lnTo>
                  <a:lnTo>
                    <a:pt x="19295" y="16624"/>
                  </a:lnTo>
                  <a:lnTo>
                    <a:pt x="19464" y="16737"/>
                  </a:lnTo>
                  <a:lnTo>
                    <a:pt x="19668" y="16807"/>
                  </a:lnTo>
                  <a:lnTo>
                    <a:pt x="19860" y="16836"/>
                  </a:lnTo>
                  <a:lnTo>
                    <a:pt x="20052" y="16864"/>
                  </a:lnTo>
                  <a:lnTo>
                    <a:pt x="20266" y="16836"/>
                  </a:lnTo>
                  <a:lnTo>
                    <a:pt x="20470" y="16793"/>
                  </a:lnTo>
                  <a:lnTo>
                    <a:pt x="20662" y="16708"/>
                  </a:lnTo>
                  <a:lnTo>
                    <a:pt x="20854" y="16567"/>
                  </a:lnTo>
                  <a:lnTo>
                    <a:pt x="21035" y="16412"/>
                  </a:lnTo>
                  <a:lnTo>
                    <a:pt x="21182" y="16214"/>
                  </a:lnTo>
                  <a:lnTo>
                    <a:pt x="21340" y="16002"/>
                  </a:lnTo>
                  <a:lnTo>
                    <a:pt x="21441" y="15733"/>
                  </a:lnTo>
                  <a:lnTo>
                    <a:pt x="21532" y="15436"/>
                  </a:lnTo>
                  <a:lnTo>
                    <a:pt x="21600" y="15083"/>
                  </a:lnTo>
                  <a:lnTo>
                    <a:pt x="21600" y="14885"/>
                  </a:lnTo>
                  <a:lnTo>
                    <a:pt x="21600" y="14729"/>
                  </a:lnTo>
                  <a:lnTo>
                    <a:pt x="21600" y="14531"/>
                  </a:lnTo>
                  <a:lnTo>
                    <a:pt x="21577" y="14376"/>
                  </a:lnTo>
                  <a:lnTo>
                    <a:pt x="21532" y="14206"/>
                  </a:lnTo>
                  <a:lnTo>
                    <a:pt x="21487" y="14051"/>
                  </a:lnTo>
                  <a:lnTo>
                    <a:pt x="21419" y="13909"/>
                  </a:lnTo>
                  <a:lnTo>
                    <a:pt x="21351" y="13768"/>
                  </a:lnTo>
                  <a:lnTo>
                    <a:pt x="21204" y="13500"/>
                  </a:lnTo>
                  <a:lnTo>
                    <a:pt x="21035" y="13287"/>
                  </a:lnTo>
                  <a:lnTo>
                    <a:pt x="20809" y="13090"/>
                  </a:lnTo>
                  <a:lnTo>
                    <a:pt x="20594" y="12962"/>
                  </a:lnTo>
                  <a:lnTo>
                    <a:pt x="20357" y="12821"/>
                  </a:lnTo>
                  <a:lnTo>
                    <a:pt x="20120" y="12764"/>
                  </a:lnTo>
                  <a:lnTo>
                    <a:pt x="19882" y="12708"/>
                  </a:lnTo>
                  <a:lnTo>
                    <a:pt x="19645" y="12736"/>
                  </a:lnTo>
                  <a:lnTo>
                    <a:pt x="19430" y="12793"/>
                  </a:lnTo>
                  <a:lnTo>
                    <a:pt x="19227" y="12906"/>
                  </a:lnTo>
                  <a:lnTo>
                    <a:pt x="19148" y="12962"/>
                  </a:lnTo>
                  <a:lnTo>
                    <a:pt x="19058" y="13047"/>
                  </a:lnTo>
                  <a:lnTo>
                    <a:pt x="18990" y="13146"/>
                  </a:lnTo>
                  <a:lnTo>
                    <a:pt x="18911" y="13259"/>
                  </a:lnTo>
                  <a:lnTo>
                    <a:pt x="18775" y="13471"/>
                  </a:lnTo>
                  <a:lnTo>
                    <a:pt x="18628" y="13641"/>
                  </a:lnTo>
                  <a:lnTo>
                    <a:pt x="18470" y="13740"/>
                  </a:lnTo>
                  <a:lnTo>
                    <a:pt x="18301" y="13825"/>
                  </a:lnTo>
                  <a:lnTo>
                    <a:pt x="18143" y="13853"/>
                  </a:lnTo>
                  <a:lnTo>
                    <a:pt x="17973" y="13881"/>
                  </a:lnTo>
                  <a:lnTo>
                    <a:pt x="17804" y="13853"/>
                  </a:lnTo>
                  <a:lnTo>
                    <a:pt x="17646" y="13796"/>
                  </a:lnTo>
                  <a:lnTo>
                    <a:pt x="17499" y="13726"/>
                  </a:lnTo>
                  <a:lnTo>
                    <a:pt x="17341" y="13641"/>
                  </a:lnTo>
                  <a:lnTo>
                    <a:pt x="17216" y="13528"/>
                  </a:lnTo>
                  <a:lnTo>
                    <a:pt x="17103" y="13386"/>
                  </a:lnTo>
                  <a:lnTo>
                    <a:pt x="17024" y="13259"/>
                  </a:lnTo>
                  <a:lnTo>
                    <a:pt x="16934" y="13118"/>
                  </a:lnTo>
                  <a:lnTo>
                    <a:pt x="16889" y="12991"/>
                  </a:lnTo>
                  <a:lnTo>
                    <a:pt x="16889" y="12849"/>
                  </a:lnTo>
                  <a:lnTo>
                    <a:pt x="16889" y="12383"/>
                  </a:lnTo>
                  <a:lnTo>
                    <a:pt x="16889" y="11662"/>
                  </a:lnTo>
                  <a:lnTo>
                    <a:pt x="16889" y="10701"/>
                  </a:lnTo>
                  <a:lnTo>
                    <a:pt x="16889" y="9640"/>
                  </a:lnTo>
                  <a:lnTo>
                    <a:pt x="16889" y="8566"/>
                  </a:lnTo>
                  <a:lnTo>
                    <a:pt x="16889" y="7478"/>
                  </a:lnTo>
                  <a:lnTo>
                    <a:pt x="16889" y="6502"/>
                  </a:lnTo>
                  <a:lnTo>
                    <a:pt x="16889" y="5739"/>
                  </a:lnTo>
                  <a:lnTo>
                    <a:pt x="16674" y="5894"/>
                  </a:lnTo>
                  <a:lnTo>
                    <a:pt x="16414" y="6036"/>
                  </a:lnTo>
                  <a:lnTo>
                    <a:pt x="16154" y="6177"/>
                  </a:lnTo>
                  <a:lnTo>
                    <a:pt x="15849" y="6248"/>
                  </a:lnTo>
                  <a:lnTo>
                    <a:pt x="15544" y="6304"/>
                  </a:lnTo>
                  <a:lnTo>
                    <a:pt x="15217" y="6332"/>
                  </a:lnTo>
                  <a:lnTo>
                    <a:pt x="14866" y="6361"/>
                  </a:lnTo>
                  <a:lnTo>
                    <a:pt x="14550" y="6361"/>
                  </a:lnTo>
                  <a:lnTo>
                    <a:pt x="14200" y="6332"/>
                  </a:lnTo>
                  <a:lnTo>
                    <a:pt x="13850" y="6276"/>
                  </a:lnTo>
                  <a:lnTo>
                    <a:pt x="13522" y="6219"/>
                  </a:lnTo>
                  <a:lnTo>
                    <a:pt x="13206" y="6149"/>
                  </a:lnTo>
                  <a:lnTo>
                    <a:pt x="12901" y="6064"/>
                  </a:lnTo>
                  <a:lnTo>
                    <a:pt x="12618" y="5951"/>
                  </a:lnTo>
                  <a:lnTo>
                    <a:pt x="12358" y="5838"/>
                  </a:lnTo>
                  <a:lnTo>
                    <a:pt x="12121" y="5739"/>
                  </a:lnTo>
                  <a:lnTo>
                    <a:pt x="11941" y="5626"/>
                  </a:lnTo>
                  <a:lnTo>
                    <a:pt x="11794" y="5513"/>
                  </a:lnTo>
                  <a:lnTo>
                    <a:pt x="11658" y="5414"/>
                  </a:lnTo>
                  <a:lnTo>
                    <a:pt x="11556" y="5301"/>
                  </a:lnTo>
                  <a:lnTo>
                    <a:pt x="11466" y="5187"/>
                  </a:lnTo>
                  <a:lnTo>
                    <a:pt x="11398" y="5089"/>
                  </a:lnTo>
                  <a:lnTo>
                    <a:pt x="11376" y="4947"/>
                  </a:lnTo>
                  <a:lnTo>
                    <a:pt x="11353" y="4834"/>
                  </a:lnTo>
                  <a:lnTo>
                    <a:pt x="11353" y="4707"/>
                  </a:lnTo>
                  <a:lnTo>
                    <a:pt x="11376" y="4565"/>
                  </a:lnTo>
                  <a:lnTo>
                    <a:pt x="11443" y="4410"/>
                  </a:lnTo>
                  <a:lnTo>
                    <a:pt x="11511" y="4240"/>
                  </a:lnTo>
                  <a:lnTo>
                    <a:pt x="11703" y="3887"/>
                  </a:lnTo>
                  <a:lnTo>
                    <a:pt x="11986" y="3505"/>
                  </a:lnTo>
                  <a:lnTo>
                    <a:pt x="12144" y="3265"/>
                  </a:lnTo>
                  <a:lnTo>
                    <a:pt x="12246" y="3025"/>
                  </a:lnTo>
                  <a:lnTo>
                    <a:pt x="12336" y="2756"/>
                  </a:lnTo>
                  <a:lnTo>
                    <a:pt x="12404" y="2445"/>
                  </a:lnTo>
                  <a:lnTo>
                    <a:pt x="12438" y="2176"/>
                  </a:lnTo>
                  <a:lnTo>
                    <a:pt x="12438" y="1880"/>
                  </a:lnTo>
                  <a:lnTo>
                    <a:pt x="12404" y="1583"/>
                  </a:lnTo>
                  <a:lnTo>
                    <a:pt x="12336" y="1314"/>
                  </a:lnTo>
                  <a:lnTo>
                    <a:pt x="12246" y="1046"/>
                  </a:lnTo>
                  <a:lnTo>
                    <a:pt x="12099" y="791"/>
                  </a:lnTo>
                  <a:lnTo>
                    <a:pt x="12008" y="692"/>
                  </a:lnTo>
                  <a:lnTo>
                    <a:pt x="11918" y="579"/>
                  </a:lnTo>
                  <a:lnTo>
                    <a:pt x="11816" y="466"/>
                  </a:lnTo>
                  <a:lnTo>
                    <a:pt x="11703" y="381"/>
                  </a:lnTo>
                  <a:lnTo>
                    <a:pt x="11579" y="310"/>
                  </a:lnTo>
                  <a:lnTo>
                    <a:pt x="11443" y="226"/>
                  </a:lnTo>
                  <a:lnTo>
                    <a:pt x="11297" y="169"/>
                  </a:lnTo>
                  <a:lnTo>
                    <a:pt x="11138" y="113"/>
                  </a:lnTo>
                  <a:lnTo>
                    <a:pt x="10969" y="56"/>
                  </a:lnTo>
                  <a:lnTo>
                    <a:pt x="10800" y="28"/>
                  </a:lnTo>
                  <a:lnTo>
                    <a:pt x="10619" y="28"/>
                  </a:lnTo>
                  <a:lnTo>
                    <a:pt x="10404" y="28"/>
                  </a:lnTo>
                  <a:lnTo>
                    <a:pt x="10257" y="28"/>
                  </a:lnTo>
                  <a:lnTo>
                    <a:pt x="10076" y="56"/>
                  </a:lnTo>
                  <a:lnTo>
                    <a:pt x="9952" y="84"/>
                  </a:lnTo>
                  <a:lnTo>
                    <a:pt x="9794" y="141"/>
                  </a:lnTo>
                  <a:lnTo>
                    <a:pt x="9692" y="226"/>
                  </a:lnTo>
                  <a:lnTo>
                    <a:pt x="9557" y="282"/>
                  </a:lnTo>
                  <a:lnTo>
                    <a:pt x="9455" y="381"/>
                  </a:lnTo>
                  <a:lnTo>
                    <a:pt x="9365" y="466"/>
                  </a:lnTo>
                  <a:lnTo>
                    <a:pt x="9274" y="579"/>
                  </a:lnTo>
                  <a:lnTo>
                    <a:pt x="9184" y="692"/>
                  </a:lnTo>
                  <a:lnTo>
                    <a:pt x="9128" y="791"/>
                  </a:lnTo>
                  <a:lnTo>
                    <a:pt x="9060" y="932"/>
                  </a:lnTo>
                  <a:lnTo>
                    <a:pt x="8969" y="1201"/>
                  </a:lnTo>
                  <a:lnTo>
                    <a:pt x="8913" y="1498"/>
                  </a:lnTo>
                  <a:lnTo>
                    <a:pt x="8890" y="1795"/>
                  </a:lnTo>
                  <a:lnTo>
                    <a:pt x="8890" y="2120"/>
                  </a:lnTo>
                  <a:lnTo>
                    <a:pt x="8913" y="2445"/>
                  </a:lnTo>
                  <a:lnTo>
                    <a:pt x="8969" y="2756"/>
                  </a:lnTo>
                  <a:lnTo>
                    <a:pt x="9060" y="3081"/>
                  </a:lnTo>
                  <a:lnTo>
                    <a:pt x="9173" y="3378"/>
                  </a:lnTo>
                  <a:lnTo>
                    <a:pt x="9297" y="3647"/>
                  </a:lnTo>
                  <a:lnTo>
                    <a:pt x="9466" y="3887"/>
                  </a:lnTo>
                  <a:lnTo>
                    <a:pt x="9579" y="4085"/>
                  </a:lnTo>
                  <a:lnTo>
                    <a:pt x="9670" y="4269"/>
                  </a:lnTo>
                  <a:lnTo>
                    <a:pt x="9726" y="4467"/>
                  </a:lnTo>
                  <a:lnTo>
                    <a:pt x="9771" y="4650"/>
                  </a:lnTo>
                  <a:lnTo>
                    <a:pt x="9771" y="4834"/>
                  </a:lnTo>
                  <a:lnTo>
                    <a:pt x="9749" y="5032"/>
                  </a:lnTo>
                  <a:lnTo>
                    <a:pt x="9715" y="5216"/>
                  </a:lnTo>
                  <a:lnTo>
                    <a:pt x="9625" y="5385"/>
                  </a:lnTo>
                  <a:lnTo>
                    <a:pt x="9534" y="5513"/>
                  </a:lnTo>
                  <a:lnTo>
                    <a:pt x="9410" y="5626"/>
                  </a:lnTo>
                  <a:lnTo>
                    <a:pt x="9229" y="5710"/>
                  </a:lnTo>
                  <a:lnTo>
                    <a:pt x="9060" y="5767"/>
                  </a:lnTo>
                  <a:lnTo>
                    <a:pt x="8845" y="5767"/>
                  </a:lnTo>
                  <a:lnTo>
                    <a:pt x="8585" y="5739"/>
                  </a:lnTo>
                  <a:lnTo>
                    <a:pt x="8325" y="5654"/>
                  </a:lnTo>
                  <a:lnTo>
                    <a:pt x="8020" y="5513"/>
                  </a:lnTo>
                  <a:lnTo>
                    <a:pt x="7840" y="5442"/>
                  </a:lnTo>
                  <a:lnTo>
                    <a:pt x="7648" y="5385"/>
                  </a:lnTo>
                  <a:lnTo>
                    <a:pt x="7433" y="5329"/>
                  </a:lnTo>
                  <a:lnTo>
                    <a:pt x="7241" y="5301"/>
                  </a:lnTo>
                  <a:lnTo>
                    <a:pt x="6755" y="5301"/>
                  </a:lnTo>
                  <a:lnTo>
                    <a:pt x="6281" y="5329"/>
                  </a:lnTo>
                  <a:lnTo>
                    <a:pt x="5784" y="5385"/>
                  </a:lnTo>
                  <a:lnTo>
                    <a:pt x="5264" y="5498"/>
                  </a:lnTo>
                  <a:lnTo>
                    <a:pt x="4744" y="5597"/>
                  </a:lnTo>
                  <a:lnTo>
                    <a:pt x="4247" y="5739"/>
                  </a:lnTo>
                  <a:lnTo>
                    <a:pt x="4202" y="5894"/>
                  </a:lnTo>
                  <a:lnTo>
                    <a:pt x="4202" y="6191"/>
                  </a:lnTo>
                  <a:lnTo>
                    <a:pt x="4202" y="6545"/>
                  </a:lnTo>
                  <a:lnTo>
                    <a:pt x="4225" y="6954"/>
                  </a:lnTo>
                  <a:lnTo>
                    <a:pt x="4315" y="7930"/>
                  </a:lnTo>
                  <a:lnTo>
                    <a:pt x="4394" y="9018"/>
                  </a:lnTo>
                  <a:lnTo>
                    <a:pt x="4439" y="9570"/>
                  </a:lnTo>
                  <a:lnTo>
                    <a:pt x="4462" y="10107"/>
                  </a:lnTo>
                  <a:lnTo>
                    <a:pt x="4484" y="10630"/>
                  </a:lnTo>
                  <a:lnTo>
                    <a:pt x="4507" y="11082"/>
                  </a:lnTo>
                  <a:lnTo>
                    <a:pt x="4484" y="11520"/>
                  </a:lnTo>
                  <a:lnTo>
                    <a:pt x="4439" y="11874"/>
                  </a:lnTo>
                  <a:lnTo>
                    <a:pt x="4394" y="12029"/>
                  </a:lnTo>
                  <a:lnTo>
                    <a:pt x="4349" y="12171"/>
                  </a:lnTo>
                  <a:lnTo>
                    <a:pt x="4315" y="12284"/>
                  </a:lnTo>
                  <a:lnTo>
                    <a:pt x="4247" y="12354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10800000" vert="eaVert"/>
            <a:lstStyle/>
            <a:p>
              <a:pPr algn="l"/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2639915" name="Group 43"/>
            <p:cNvGrpSpPr>
              <a:grpSpLocks/>
            </p:cNvGrpSpPr>
            <p:nvPr/>
          </p:nvGrpSpPr>
          <p:grpSpPr bwMode="auto">
            <a:xfrm>
              <a:off x="2996" y="3404"/>
              <a:ext cx="363" cy="349"/>
              <a:chOff x="3968" y="2330"/>
              <a:chExt cx="363" cy="349"/>
            </a:xfrm>
            <a:grpFill/>
          </p:grpSpPr>
          <p:sp>
            <p:nvSpPr>
              <p:cNvPr id="2639916" name="Puzzle4"/>
              <p:cNvSpPr>
                <a:spLocks noEditPoints="1" noChangeArrowheads="1"/>
              </p:cNvSpPr>
              <p:nvPr/>
            </p:nvSpPr>
            <p:spPr bwMode="gray">
              <a:xfrm>
                <a:off x="4021" y="2330"/>
                <a:ext cx="156" cy="256"/>
              </a:xfrm>
              <a:custGeom>
                <a:avLst/>
                <a:gdLst>
                  <a:gd name="T0" fmla="*/ 8307 w 21600"/>
                  <a:gd name="T1" fmla="*/ 11593 h 21600"/>
                  <a:gd name="T2" fmla="*/ 453 w 21600"/>
                  <a:gd name="T3" fmla="*/ 16938 h 21600"/>
                  <a:gd name="T4" fmla="*/ 11500 w 21600"/>
                  <a:gd name="T5" fmla="*/ 21600 h 21600"/>
                  <a:gd name="T6" fmla="*/ 20920 w 21600"/>
                  <a:gd name="T7" fmla="*/ 16751 h 21600"/>
                  <a:gd name="T8" fmla="*/ 13972 w 21600"/>
                  <a:gd name="T9" fmla="*/ 10888 h 21600"/>
                  <a:gd name="T10" fmla="*/ 21033 w 21600"/>
                  <a:gd name="T11" fmla="*/ 4716 h 21600"/>
                  <a:gd name="T12" fmla="*/ 11102 w 21600"/>
                  <a:gd name="T13" fmla="*/ 11 h 21600"/>
                  <a:gd name="T14" fmla="*/ 453 w 21600"/>
                  <a:gd name="T15" fmla="*/ 4716 h 21600"/>
                  <a:gd name="T16" fmla="*/ 2076 w 21600"/>
                  <a:gd name="T17" fmla="*/ 5664 h 21600"/>
                  <a:gd name="T18" fmla="*/ 20203 w 21600"/>
                  <a:gd name="T19" fmla="*/ 1598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3813" y="10590"/>
                    </a:moveTo>
                    <a:lnTo>
                      <a:pt x="3927" y="10513"/>
                    </a:lnTo>
                    <a:lnTo>
                      <a:pt x="4078" y="10425"/>
                    </a:lnTo>
                    <a:lnTo>
                      <a:pt x="4210" y="10359"/>
                    </a:lnTo>
                    <a:lnTo>
                      <a:pt x="4361" y="10315"/>
                    </a:lnTo>
                    <a:lnTo>
                      <a:pt x="4682" y="10237"/>
                    </a:lnTo>
                    <a:lnTo>
                      <a:pt x="5041" y="10193"/>
                    </a:lnTo>
                    <a:lnTo>
                      <a:pt x="5456" y="10171"/>
                    </a:lnTo>
                    <a:lnTo>
                      <a:pt x="5853" y="10193"/>
                    </a:lnTo>
                    <a:lnTo>
                      <a:pt x="6249" y="10260"/>
                    </a:lnTo>
                    <a:lnTo>
                      <a:pt x="6646" y="10337"/>
                    </a:lnTo>
                    <a:lnTo>
                      <a:pt x="7004" y="10469"/>
                    </a:lnTo>
                    <a:lnTo>
                      <a:pt x="7363" y="10612"/>
                    </a:lnTo>
                    <a:lnTo>
                      <a:pt x="7665" y="10788"/>
                    </a:lnTo>
                    <a:lnTo>
                      <a:pt x="7911" y="10998"/>
                    </a:lnTo>
                    <a:lnTo>
                      <a:pt x="8024" y="11097"/>
                    </a:lnTo>
                    <a:lnTo>
                      <a:pt x="8137" y="11207"/>
                    </a:lnTo>
                    <a:lnTo>
                      <a:pt x="8194" y="11340"/>
                    </a:lnTo>
                    <a:lnTo>
                      <a:pt x="8269" y="11461"/>
                    </a:lnTo>
                    <a:lnTo>
                      <a:pt x="8307" y="11593"/>
                    </a:lnTo>
                    <a:lnTo>
                      <a:pt x="8307" y="11714"/>
                    </a:lnTo>
                    <a:lnTo>
                      <a:pt x="8307" y="11868"/>
                    </a:lnTo>
                    <a:lnTo>
                      <a:pt x="8307" y="12012"/>
                    </a:lnTo>
                    <a:lnTo>
                      <a:pt x="8194" y="12265"/>
                    </a:lnTo>
                    <a:lnTo>
                      <a:pt x="8062" y="12519"/>
                    </a:lnTo>
                    <a:lnTo>
                      <a:pt x="7873" y="12706"/>
                    </a:lnTo>
                    <a:lnTo>
                      <a:pt x="7627" y="12904"/>
                    </a:lnTo>
                    <a:lnTo>
                      <a:pt x="7363" y="13048"/>
                    </a:lnTo>
                    <a:lnTo>
                      <a:pt x="7080" y="13180"/>
                    </a:lnTo>
                    <a:lnTo>
                      <a:pt x="6759" y="13257"/>
                    </a:lnTo>
                    <a:lnTo>
                      <a:pt x="6419" y="13345"/>
                    </a:lnTo>
                    <a:lnTo>
                      <a:pt x="6098" y="13389"/>
                    </a:lnTo>
                    <a:lnTo>
                      <a:pt x="5739" y="13389"/>
                    </a:lnTo>
                    <a:lnTo>
                      <a:pt x="5418" y="13389"/>
                    </a:lnTo>
                    <a:lnTo>
                      <a:pt x="5079" y="13345"/>
                    </a:lnTo>
                    <a:lnTo>
                      <a:pt x="4758" y="13301"/>
                    </a:lnTo>
                    <a:lnTo>
                      <a:pt x="4474" y="13213"/>
                    </a:lnTo>
                    <a:lnTo>
                      <a:pt x="4172" y="13114"/>
                    </a:lnTo>
                    <a:lnTo>
                      <a:pt x="3965" y="12982"/>
                    </a:lnTo>
                    <a:lnTo>
                      <a:pt x="3738" y="12838"/>
                    </a:lnTo>
                    <a:lnTo>
                      <a:pt x="3493" y="12706"/>
                    </a:lnTo>
                    <a:lnTo>
                      <a:pt x="3228" y="12607"/>
                    </a:lnTo>
                    <a:lnTo>
                      <a:pt x="2945" y="12519"/>
                    </a:lnTo>
                    <a:lnTo>
                      <a:pt x="2700" y="12431"/>
                    </a:lnTo>
                    <a:lnTo>
                      <a:pt x="2397" y="12375"/>
                    </a:lnTo>
                    <a:lnTo>
                      <a:pt x="2152" y="12331"/>
                    </a:lnTo>
                    <a:lnTo>
                      <a:pt x="1888" y="12309"/>
                    </a:lnTo>
                    <a:lnTo>
                      <a:pt x="1642" y="12309"/>
                    </a:lnTo>
                    <a:lnTo>
                      <a:pt x="1397" y="12331"/>
                    </a:lnTo>
                    <a:lnTo>
                      <a:pt x="1170" y="12397"/>
                    </a:lnTo>
                    <a:lnTo>
                      <a:pt x="962" y="12453"/>
                    </a:lnTo>
                    <a:lnTo>
                      <a:pt x="774" y="12563"/>
                    </a:lnTo>
                    <a:lnTo>
                      <a:pt x="623" y="12684"/>
                    </a:lnTo>
                    <a:lnTo>
                      <a:pt x="528" y="12838"/>
                    </a:lnTo>
                    <a:lnTo>
                      <a:pt x="453" y="13026"/>
                    </a:lnTo>
                    <a:lnTo>
                      <a:pt x="339" y="13477"/>
                    </a:lnTo>
                    <a:lnTo>
                      <a:pt x="226" y="13984"/>
                    </a:lnTo>
                    <a:lnTo>
                      <a:pt x="151" y="14535"/>
                    </a:lnTo>
                    <a:lnTo>
                      <a:pt x="113" y="15075"/>
                    </a:lnTo>
                    <a:lnTo>
                      <a:pt x="113" y="15626"/>
                    </a:lnTo>
                    <a:lnTo>
                      <a:pt x="151" y="16133"/>
                    </a:lnTo>
                    <a:lnTo>
                      <a:pt x="188" y="16376"/>
                    </a:lnTo>
                    <a:lnTo>
                      <a:pt x="264" y="16585"/>
                    </a:lnTo>
                    <a:lnTo>
                      <a:pt x="339" y="16773"/>
                    </a:lnTo>
                    <a:lnTo>
                      <a:pt x="453" y="16938"/>
                    </a:lnTo>
                    <a:lnTo>
                      <a:pt x="1095" y="16883"/>
                    </a:lnTo>
                    <a:lnTo>
                      <a:pt x="1963" y="16795"/>
                    </a:lnTo>
                    <a:lnTo>
                      <a:pt x="2945" y="16751"/>
                    </a:lnTo>
                    <a:lnTo>
                      <a:pt x="3965" y="16706"/>
                    </a:lnTo>
                    <a:lnTo>
                      <a:pt x="5022" y="16684"/>
                    </a:lnTo>
                    <a:lnTo>
                      <a:pt x="5947" y="16684"/>
                    </a:lnTo>
                    <a:lnTo>
                      <a:pt x="6759" y="16706"/>
                    </a:lnTo>
                    <a:lnTo>
                      <a:pt x="7363" y="16751"/>
                    </a:lnTo>
                    <a:lnTo>
                      <a:pt x="7948" y="16839"/>
                    </a:lnTo>
                    <a:lnTo>
                      <a:pt x="8458" y="16916"/>
                    </a:lnTo>
                    <a:lnTo>
                      <a:pt x="8893" y="17026"/>
                    </a:lnTo>
                    <a:lnTo>
                      <a:pt x="9289" y="17158"/>
                    </a:lnTo>
                    <a:lnTo>
                      <a:pt x="9572" y="17280"/>
                    </a:lnTo>
                    <a:lnTo>
                      <a:pt x="9799" y="17412"/>
                    </a:lnTo>
                    <a:lnTo>
                      <a:pt x="9969" y="17555"/>
                    </a:lnTo>
                    <a:lnTo>
                      <a:pt x="10120" y="17687"/>
                    </a:lnTo>
                    <a:lnTo>
                      <a:pt x="10158" y="17831"/>
                    </a:lnTo>
                    <a:lnTo>
                      <a:pt x="10195" y="17974"/>
                    </a:lnTo>
                    <a:lnTo>
                      <a:pt x="10158" y="18128"/>
                    </a:lnTo>
                    <a:lnTo>
                      <a:pt x="10082" y="18271"/>
                    </a:lnTo>
                    <a:lnTo>
                      <a:pt x="9969" y="18426"/>
                    </a:lnTo>
                    <a:lnTo>
                      <a:pt x="9837" y="18569"/>
                    </a:lnTo>
                    <a:lnTo>
                      <a:pt x="9648" y="18701"/>
                    </a:lnTo>
                    <a:lnTo>
                      <a:pt x="9440" y="18822"/>
                    </a:lnTo>
                    <a:lnTo>
                      <a:pt x="9213" y="18999"/>
                    </a:lnTo>
                    <a:lnTo>
                      <a:pt x="9044" y="19186"/>
                    </a:lnTo>
                    <a:lnTo>
                      <a:pt x="8893" y="19395"/>
                    </a:lnTo>
                    <a:lnTo>
                      <a:pt x="8817" y="19627"/>
                    </a:lnTo>
                    <a:lnTo>
                      <a:pt x="8779" y="19858"/>
                    </a:lnTo>
                    <a:lnTo>
                      <a:pt x="8779" y="20112"/>
                    </a:lnTo>
                    <a:lnTo>
                      <a:pt x="8855" y="20354"/>
                    </a:lnTo>
                    <a:lnTo>
                      <a:pt x="8968" y="20586"/>
                    </a:lnTo>
                    <a:lnTo>
                      <a:pt x="9138" y="20817"/>
                    </a:lnTo>
                    <a:lnTo>
                      <a:pt x="9365" y="21026"/>
                    </a:lnTo>
                    <a:lnTo>
                      <a:pt x="9610" y="21192"/>
                    </a:lnTo>
                    <a:lnTo>
                      <a:pt x="9950" y="21368"/>
                    </a:lnTo>
                    <a:lnTo>
                      <a:pt x="10120" y="21445"/>
                    </a:lnTo>
                    <a:lnTo>
                      <a:pt x="10346" y="21511"/>
                    </a:lnTo>
                    <a:lnTo>
                      <a:pt x="10516" y="21555"/>
                    </a:lnTo>
                    <a:lnTo>
                      <a:pt x="10743" y="21600"/>
                    </a:lnTo>
                    <a:lnTo>
                      <a:pt x="10988" y="21644"/>
                    </a:lnTo>
                    <a:lnTo>
                      <a:pt x="11215" y="21666"/>
                    </a:lnTo>
                    <a:lnTo>
                      <a:pt x="11498" y="21666"/>
                    </a:lnTo>
                    <a:lnTo>
                      <a:pt x="11762" y="21666"/>
                    </a:lnTo>
                    <a:lnTo>
                      <a:pt x="12253" y="21644"/>
                    </a:lnTo>
                    <a:lnTo>
                      <a:pt x="12763" y="21577"/>
                    </a:lnTo>
                    <a:lnTo>
                      <a:pt x="13197" y="21467"/>
                    </a:lnTo>
                    <a:lnTo>
                      <a:pt x="13556" y="21346"/>
                    </a:lnTo>
                    <a:lnTo>
                      <a:pt x="13896" y="21192"/>
                    </a:lnTo>
                    <a:lnTo>
                      <a:pt x="14179" y="21026"/>
                    </a:lnTo>
                    <a:lnTo>
                      <a:pt x="14444" y="20839"/>
                    </a:lnTo>
                    <a:lnTo>
                      <a:pt x="14576" y="20641"/>
                    </a:lnTo>
                    <a:lnTo>
                      <a:pt x="14727" y="20431"/>
                    </a:lnTo>
                    <a:lnTo>
                      <a:pt x="14765" y="20200"/>
                    </a:lnTo>
                    <a:lnTo>
                      <a:pt x="14802" y="19991"/>
                    </a:lnTo>
                    <a:lnTo>
                      <a:pt x="14727" y="19759"/>
                    </a:lnTo>
                    <a:lnTo>
                      <a:pt x="14613" y="19550"/>
                    </a:lnTo>
                    <a:lnTo>
                      <a:pt x="14444" y="19307"/>
                    </a:lnTo>
                    <a:lnTo>
                      <a:pt x="14217" y="19098"/>
                    </a:lnTo>
                    <a:lnTo>
                      <a:pt x="13934" y="18911"/>
                    </a:lnTo>
                    <a:lnTo>
                      <a:pt x="13669" y="18745"/>
                    </a:lnTo>
                    <a:lnTo>
                      <a:pt x="13462" y="18547"/>
                    </a:lnTo>
                    <a:lnTo>
                      <a:pt x="13311" y="18337"/>
                    </a:lnTo>
                    <a:lnTo>
                      <a:pt x="13197" y="18150"/>
                    </a:lnTo>
                    <a:lnTo>
                      <a:pt x="13122" y="17941"/>
                    </a:lnTo>
                    <a:lnTo>
                      <a:pt x="13122" y="17720"/>
                    </a:lnTo>
                    <a:lnTo>
                      <a:pt x="13122" y="17533"/>
                    </a:lnTo>
                    <a:lnTo>
                      <a:pt x="13197" y="17346"/>
                    </a:lnTo>
                    <a:lnTo>
                      <a:pt x="13273" y="17158"/>
                    </a:lnTo>
                    <a:lnTo>
                      <a:pt x="13386" y="16982"/>
                    </a:lnTo>
                    <a:lnTo>
                      <a:pt x="13537" y="16839"/>
                    </a:lnTo>
                    <a:lnTo>
                      <a:pt x="13707" y="16706"/>
                    </a:lnTo>
                    <a:lnTo>
                      <a:pt x="13896" y="16607"/>
                    </a:lnTo>
                    <a:lnTo>
                      <a:pt x="14104" y="16519"/>
                    </a:lnTo>
                    <a:lnTo>
                      <a:pt x="14330" y="16453"/>
                    </a:lnTo>
                    <a:lnTo>
                      <a:pt x="14538" y="16431"/>
                    </a:lnTo>
                    <a:lnTo>
                      <a:pt x="14897" y="16453"/>
                    </a:lnTo>
                    <a:lnTo>
                      <a:pt x="15406" y="16497"/>
                    </a:lnTo>
                    <a:lnTo>
                      <a:pt x="16105" y="16541"/>
                    </a:lnTo>
                    <a:lnTo>
                      <a:pt x="16898" y="16607"/>
                    </a:lnTo>
                    <a:lnTo>
                      <a:pt x="17804" y="16651"/>
                    </a:lnTo>
                    <a:lnTo>
                      <a:pt x="18786" y="16684"/>
                    </a:lnTo>
                    <a:lnTo>
                      <a:pt x="19844" y="16728"/>
                    </a:lnTo>
                    <a:lnTo>
                      <a:pt x="20920" y="16751"/>
                    </a:lnTo>
                    <a:lnTo>
                      <a:pt x="21109" y="16497"/>
                    </a:lnTo>
                    <a:lnTo>
                      <a:pt x="21241" y="16222"/>
                    </a:lnTo>
                    <a:lnTo>
                      <a:pt x="21392" y="15946"/>
                    </a:lnTo>
                    <a:lnTo>
                      <a:pt x="21467" y="15648"/>
                    </a:lnTo>
                    <a:lnTo>
                      <a:pt x="21543" y="15351"/>
                    </a:lnTo>
                    <a:lnTo>
                      <a:pt x="21618" y="15042"/>
                    </a:lnTo>
                    <a:lnTo>
                      <a:pt x="21618" y="14745"/>
                    </a:lnTo>
                    <a:lnTo>
                      <a:pt x="21618" y="14447"/>
                    </a:lnTo>
                    <a:lnTo>
                      <a:pt x="21618" y="14150"/>
                    </a:lnTo>
                    <a:lnTo>
                      <a:pt x="21581" y="13852"/>
                    </a:lnTo>
                    <a:lnTo>
                      <a:pt x="21505" y="13577"/>
                    </a:lnTo>
                    <a:lnTo>
                      <a:pt x="21430" y="13301"/>
                    </a:lnTo>
                    <a:lnTo>
                      <a:pt x="21354" y="13048"/>
                    </a:lnTo>
                    <a:lnTo>
                      <a:pt x="21241" y="12816"/>
                    </a:lnTo>
                    <a:lnTo>
                      <a:pt x="21146" y="12607"/>
                    </a:lnTo>
                    <a:lnTo>
                      <a:pt x="21033" y="12431"/>
                    </a:lnTo>
                    <a:lnTo>
                      <a:pt x="20920" y="12265"/>
                    </a:lnTo>
                    <a:lnTo>
                      <a:pt x="20769" y="12144"/>
                    </a:lnTo>
                    <a:lnTo>
                      <a:pt x="20637" y="12034"/>
                    </a:lnTo>
                    <a:lnTo>
                      <a:pt x="20486" y="11946"/>
                    </a:lnTo>
                    <a:lnTo>
                      <a:pt x="20297" y="11891"/>
                    </a:lnTo>
                    <a:lnTo>
                      <a:pt x="20165" y="11846"/>
                    </a:lnTo>
                    <a:lnTo>
                      <a:pt x="19976" y="11824"/>
                    </a:lnTo>
                    <a:lnTo>
                      <a:pt x="19806" y="11802"/>
                    </a:lnTo>
                    <a:lnTo>
                      <a:pt x="19390" y="11824"/>
                    </a:lnTo>
                    <a:lnTo>
                      <a:pt x="18956" y="11891"/>
                    </a:lnTo>
                    <a:lnTo>
                      <a:pt x="18503" y="11968"/>
                    </a:lnTo>
                    <a:lnTo>
                      <a:pt x="17993" y="12078"/>
                    </a:lnTo>
                    <a:lnTo>
                      <a:pt x="17653" y="12144"/>
                    </a:lnTo>
                    <a:lnTo>
                      <a:pt x="17332" y="12199"/>
                    </a:lnTo>
                    <a:lnTo>
                      <a:pt x="17049" y="12221"/>
                    </a:lnTo>
                    <a:lnTo>
                      <a:pt x="16747" y="12243"/>
                    </a:lnTo>
                    <a:lnTo>
                      <a:pt x="16464" y="12243"/>
                    </a:lnTo>
                    <a:lnTo>
                      <a:pt x="16218" y="12243"/>
                    </a:lnTo>
                    <a:lnTo>
                      <a:pt x="15992" y="12221"/>
                    </a:lnTo>
                    <a:lnTo>
                      <a:pt x="15746" y="12199"/>
                    </a:lnTo>
                    <a:lnTo>
                      <a:pt x="15520" y="12155"/>
                    </a:lnTo>
                    <a:lnTo>
                      <a:pt x="15350" y="12122"/>
                    </a:lnTo>
                    <a:lnTo>
                      <a:pt x="15161" y="12056"/>
                    </a:lnTo>
                    <a:lnTo>
                      <a:pt x="14972" y="11990"/>
                    </a:lnTo>
                    <a:lnTo>
                      <a:pt x="14689" y="11846"/>
                    </a:lnTo>
                    <a:lnTo>
                      <a:pt x="14444" y="11670"/>
                    </a:lnTo>
                    <a:lnTo>
                      <a:pt x="14255" y="11483"/>
                    </a:lnTo>
                    <a:lnTo>
                      <a:pt x="14104" y="11295"/>
                    </a:lnTo>
                    <a:lnTo>
                      <a:pt x="14028" y="11086"/>
                    </a:lnTo>
                    <a:lnTo>
                      <a:pt x="13972" y="10888"/>
                    </a:lnTo>
                    <a:lnTo>
                      <a:pt x="13972" y="10700"/>
                    </a:lnTo>
                    <a:lnTo>
                      <a:pt x="14009" y="10513"/>
                    </a:lnTo>
                    <a:lnTo>
                      <a:pt x="14066" y="10359"/>
                    </a:lnTo>
                    <a:lnTo>
                      <a:pt x="14179" y="10215"/>
                    </a:lnTo>
                    <a:lnTo>
                      <a:pt x="14406" y="10006"/>
                    </a:lnTo>
                    <a:lnTo>
                      <a:pt x="14651" y="9830"/>
                    </a:lnTo>
                    <a:lnTo>
                      <a:pt x="14878" y="9686"/>
                    </a:lnTo>
                    <a:lnTo>
                      <a:pt x="15123" y="9554"/>
                    </a:lnTo>
                    <a:lnTo>
                      <a:pt x="15350" y="9477"/>
                    </a:lnTo>
                    <a:lnTo>
                      <a:pt x="15558" y="9411"/>
                    </a:lnTo>
                    <a:lnTo>
                      <a:pt x="15803" y="9345"/>
                    </a:lnTo>
                    <a:lnTo>
                      <a:pt x="16030" y="9323"/>
                    </a:lnTo>
                    <a:lnTo>
                      <a:pt x="16256" y="9301"/>
                    </a:lnTo>
                    <a:lnTo>
                      <a:pt x="16464" y="9323"/>
                    </a:lnTo>
                    <a:lnTo>
                      <a:pt x="16690" y="9345"/>
                    </a:lnTo>
                    <a:lnTo>
                      <a:pt x="16898" y="9367"/>
                    </a:lnTo>
                    <a:lnTo>
                      <a:pt x="17332" y="9477"/>
                    </a:lnTo>
                    <a:lnTo>
                      <a:pt x="17767" y="9598"/>
                    </a:lnTo>
                    <a:lnTo>
                      <a:pt x="18163" y="9731"/>
                    </a:lnTo>
                    <a:lnTo>
                      <a:pt x="18597" y="9874"/>
                    </a:lnTo>
                    <a:lnTo>
                      <a:pt x="18994" y="10006"/>
                    </a:lnTo>
                    <a:lnTo>
                      <a:pt x="19428" y="10083"/>
                    </a:lnTo>
                    <a:lnTo>
                      <a:pt x="19617" y="10127"/>
                    </a:lnTo>
                    <a:lnTo>
                      <a:pt x="19844" y="10149"/>
                    </a:lnTo>
                    <a:lnTo>
                      <a:pt x="20013" y="10149"/>
                    </a:lnTo>
                    <a:lnTo>
                      <a:pt x="20240" y="10127"/>
                    </a:lnTo>
                    <a:lnTo>
                      <a:pt x="20410" y="10105"/>
                    </a:lnTo>
                    <a:lnTo>
                      <a:pt x="20637" y="10061"/>
                    </a:lnTo>
                    <a:lnTo>
                      <a:pt x="20844" y="9984"/>
                    </a:lnTo>
                    <a:lnTo>
                      <a:pt x="21033" y="9896"/>
                    </a:lnTo>
                    <a:lnTo>
                      <a:pt x="21146" y="9830"/>
                    </a:lnTo>
                    <a:lnTo>
                      <a:pt x="21203" y="9753"/>
                    </a:lnTo>
                    <a:lnTo>
                      <a:pt x="21279" y="9642"/>
                    </a:lnTo>
                    <a:lnTo>
                      <a:pt x="21354" y="9521"/>
                    </a:lnTo>
                    <a:lnTo>
                      <a:pt x="21430" y="9246"/>
                    </a:lnTo>
                    <a:lnTo>
                      <a:pt x="21430" y="8904"/>
                    </a:lnTo>
                    <a:lnTo>
                      <a:pt x="21430" y="8540"/>
                    </a:lnTo>
                    <a:lnTo>
                      <a:pt x="21392" y="8144"/>
                    </a:lnTo>
                    <a:lnTo>
                      <a:pt x="21354" y="7714"/>
                    </a:lnTo>
                    <a:lnTo>
                      <a:pt x="21279" y="7295"/>
                    </a:lnTo>
                    <a:lnTo>
                      <a:pt x="21146" y="6446"/>
                    </a:lnTo>
                    <a:lnTo>
                      <a:pt x="20995" y="5686"/>
                    </a:lnTo>
                    <a:lnTo>
                      <a:pt x="20958" y="5366"/>
                    </a:lnTo>
                    <a:lnTo>
                      <a:pt x="20958" y="5091"/>
                    </a:lnTo>
                    <a:lnTo>
                      <a:pt x="20958" y="4860"/>
                    </a:lnTo>
                    <a:lnTo>
                      <a:pt x="21033" y="4716"/>
                    </a:lnTo>
                    <a:lnTo>
                      <a:pt x="20637" y="4860"/>
                    </a:lnTo>
                    <a:lnTo>
                      <a:pt x="20127" y="4992"/>
                    </a:lnTo>
                    <a:lnTo>
                      <a:pt x="19617" y="5069"/>
                    </a:lnTo>
                    <a:lnTo>
                      <a:pt x="19032" y="5157"/>
                    </a:lnTo>
                    <a:lnTo>
                      <a:pt x="18465" y="5201"/>
                    </a:lnTo>
                    <a:lnTo>
                      <a:pt x="17842" y="5245"/>
                    </a:lnTo>
                    <a:lnTo>
                      <a:pt x="17219" y="5267"/>
                    </a:lnTo>
                    <a:lnTo>
                      <a:pt x="16615" y="5267"/>
                    </a:lnTo>
                    <a:lnTo>
                      <a:pt x="15992" y="5245"/>
                    </a:lnTo>
                    <a:lnTo>
                      <a:pt x="15369" y="5201"/>
                    </a:lnTo>
                    <a:lnTo>
                      <a:pt x="14840" y="5157"/>
                    </a:lnTo>
                    <a:lnTo>
                      <a:pt x="14293" y="5091"/>
                    </a:lnTo>
                    <a:lnTo>
                      <a:pt x="13783" y="5014"/>
                    </a:lnTo>
                    <a:lnTo>
                      <a:pt x="13386" y="4926"/>
                    </a:lnTo>
                    <a:lnTo>
                      <a:pt x="13027" y="4815"/>
                    </a:lnTo>
                    <a:lnTo>
                      <a:pt x="12725" y="4716"/>
                    </a:lnTo>
                    <a:lnTo>
                      <a:pt x="12480" y="4606"/>
                    </a:lnTo>
                    <a:lnTo>
                      <a:pt x="12291" y="4496"/>
                    </a:lnTo>
                    <a:lnTo>
                      <a:pt x="12197" y="4397"/>
                    </a:lnTo>
                    <a:lnTo>
                      <a:pt x="12083" y="4286"/>
                    </a:lnTo>
                    <a:lnTo>
                      <a:pt x="12046" y="4187"/>
                    </a:lnTo>
                    <a:lnTo>
                      <a:pt x="12008" y="4077"/>
                    </a:lnTo>
                    <a:lnTo>
                      <a:pt x="12046" y="3967"/>
                    </a:lnTo>
                    <a:lnTo>
                      <a:pt x="12121" y="3868"/>
                    </a:lnTo>
                    <a:lnTo>
                      <a:pt x="12197" y="3735"/>
                    </a:lnTo>
                    <a:lnTo>
                      <a:pt x="12291" y="3614"/>
                    </a:lnTo>
                    <a:lnTo>
                      <a:pt x="12442" y="3482"/>
                    </a:lnTo>
                    <a:lnTo>
                      <a:pt x="12631" y="3361"/>
                    </a:lnTo>
                    <a:lnTo>
                      <a:pt x="13065" y="3085"/>
                    </a:lnTo>
                    <a:lnTo>
                      <a:pt x="13537" y="2766"/>
                    </a:lnTo>
                    <a:lnTo>
                      <a:pt x="13783" y="2578"/>
                    </a:lnTo>
                    <a:lnTo>
                      <a:pt x="13934" y="2380"/>
                    </a:lnTo>
                    <a:lnTo>
                      <a:pt x="14028" y="2171"/>
                    </a:lnTo>
                    <a:lnTo>
                      <a:pt x="14104" y="1961"/>
                    </a:lnTo>
                    <a:lnTo>
                      <a:pt x="14104" y="1730"/>
                    </a:lnTo>
                    <a:lnTo>
                      <a:pt x="14066" y="1498"/>
                    </a:lnTo>
                    <a:lnTo>
                      <a:pt x="13972" y="1267"/>
                    </a:lnTo>
                    <a:lnTo>
                      <a:pt x="13820" y="1057"/>
                    </a:lnTo>
                    <a:lnTo>
                      <a:pt x="13594" y="837"/>
                    </a:lnTo>
                    <a:lnTo>
                      <a:pt x="13386" y="628"/>
                    </a:lnTo>
                    <a:lnTo>
                      <a:pt x="13103" y="462"/>
                    </a:lnTo>
                    <a:lnTo>
                      <a:pt x="12763" y="308"/>
                    </a:lnTo>
                    <a:lnTo>
                      <a:pt x="12404" y="187"/>
                    </a:lnTo>
                    <a:lnTo>
                      <a:pt x="12008" y="77"/>
                    </a:lnTo>
                    <a:lnTo>
                      <a:pt x="11574" y="33"/>
                    </a:lnTo>
                    <a:lnTo>
                      <a:pt x="11102" y="11"/>
                    </a:lnTo>
                    <a:lnTo>
                      <a:pt x="10667" y="11"/>
                    </a:lnTo>
                    <a:lnTo>
                      <a:pt x="10233" y="77"/>
                    </a:lnTo>
                    <a:lnTo>
                      <a:pt x="9837" y="187"/>
                    </a:lnTo>
                    <a:lnTo>
                      <a:pt x="9440" y="286"/>
                    </a:lnTo>
                    <a:lnTo>
                      <a:pt x="9062" y="462"/>
                    </a:lnTo>
                    <a:lnTo>
                      <a:pt x="8741" y="628"/>
                    </a:lnTo>
                    <a:lnTo>
                      <a:pt x="8458" y="815"/>
                    </a:lnTo>
                    <a:lnTo>
                      <a:pt x="8232" y="1035"/>
                    </a:lnTo>
                    <a:lnTo>
                      <a:pt x="8062" y="1245"/>
                    </a:lnTo>
                    <a:lnTo>
                      <a:pt x="7911" y="1476"/>
                    </a:lnTo>
                    <a:lnTo>
                      <a:pt x="7835" y="1708"/>
                    </a:lnTo>
                    <a:lnTo>
                      <a:pt x="7797" y="1961"/>
                    </a:lnTo>
                    <a:lnTo>
                      <a:pt x="7835" y="2193"/>
                    </a:lnTo>
                    <a:lnTo>
                      <a:pt x="7948" y="2402"/>
                    </a:lnTo>
                    <a:lnTo>
                      <a:pt x="8062" y="2534"/>
                    </a:lnTo>
                    <a:lnTo>
                      <a:pt x="8175" y="2644"/>
                    </a:lnTo>
                    <a:lnTo>
                      <a:pt x="8269" y="2744"/>
                    </a:lnTo>
                    <a:lnTo>
                      <a:pt x="8420" y="2832"/>
                    </a:lnTo>
                    <a:lnTo>
                      <a:pt x="8704" y="3019"/>
                    </a:lnTo>
                    <a:lnTo>
                      <a:pt x="8968" y="3206"/>
                    </a:lnTo>
                    <a:lnTo>
                      <a:pt x="9138" y="3405"/>
                    </a:lnTo>
                    <a:lnTo>
                      <a:pt x="9327" y="3570"/>
                    </a:lnTo>
                    <a:lnTo>
                      <a:pt x="9440" y="3735"/>
                    </a:lnTo>
                    <a:lnTo>
                      <a:pt x="9516" y="3890"/>
                    </a:lnTo>
                    <a:lnTo>
                      <a:pt x="9534" y="4033"/>
                    </a:lnTo>
                    <a:lnTo>
                      <a:pt x="9534" y="4165"/>
                    </a:lnTo>
                    <a:lnTo>
                      <a:pt x="9516" y="4286"/>
                    </a:lnTo>
                    <a:lnTo>
                      <a:pt x="9440" y="4397"/>
                    </a:lnTo>
                    <a:lnTo>
                      <a:pt x="9327" y="4496"/>
                    </a:lnTo>
                    <a:lnTo>
                      <a:pt x="9176" y="4562"/>
                    </a:lnTo>
                    <a:lnTo>
                      <a:pt x="9006" y="4628"/>
                    </a:lnTo>
                    <a:lnTo>
                      <a:pt x="8779" y="4694"/>
                    </a:lnTo>
                    <a:lnTo>
                      <a:pt x="8534" y="4716"/>
                    </a:lnTo>
                    <a:lnTo>
                      <a:pt x="8232" y="4716"/>
                    </a:lnTo>
                    <a:lnTo>
                      <a:pt x="7118" y="4738"/>
                    </a:lnTo>
                    <a:lnTo>
                      <a:pt x="5947" y="4771"/>
                    </a:lnTo>
                    <a:lnTo>
                      <a:pt x="4795" y="4815"/>
                    </a:lnTo>
                    <a:lnTo>
                      <a:pt x="3681" y="4860"/>
                    </a:lnTo>
                    <a:lnTo>
                      <a:pt x="2662" y="4882"/>
                    </a:lnTo>
                    <a:lnTo>
                      <a:pt x="1755" y="4882"/>
                    </a:lnTo>
                    <a:lnTo>
                      <a:pt x="1359" y="4860"/>
                    </a:lnTo>
                    <a:lnTo>
                      <a:pt x="981" y="4837"/>
                    </a:lnTo>
                    <a:lnTo>
                      <a:pt x="698" y="4771"/>
                    </a:lnTo>
                    <a:lnTo>
                      <a:pt x="453" y="4716"/>
                    </a:lnTo>
                    <a:lnTo>
                      <a:pt x="453" y="5322"/>
                    </a:lnTo>
                    <a:lnTo>
                      <a:pt x="453" y="6083"/>
                    </a:lnTo>
                    <a:lnTo>
                      <a:pt x="453" y="6909"/>
                    </a:lnTo>
                    <a:lnTo>
                      <a:pt x="453" y="7780"/>
                    </a:lnTo>
                    <a:lnTo>
                      <a:pt x="453" y="8606"/>
                    </a:lnTo>
                    <a:lnTo>
                      <a:pt x="453" y="9345"/>
                    </a:lnTo>
                    <a:lnTo>
                      <a:pt x="453" y="9918"/>
                    </a:lnTo>
                    <a:lnTo>
                      <a:pt x="453" y="10282"/>
                    </a:lnTo>
                    <a:lnTo>
                      <a:pt x="490" y="10381"/>
                    </a:lnTo>
                    <a:lnTo>
                      <a:pt x="547" y="10491"/>
                    </a:lnTo>
                    <a:lnTo>
                      <a:pt x="660" y="10590"/>
                    </a:lnTo>
                    <a:lnTo>
                      <a:pt x="811" y="10700"/>
                    </a:lnTo>
                    <a:lnTo>
                      <a:pt x="981" y="10811"/>
                    </a:lnTo>
                    <a:lnTo>
                      <a:pt x="1208" y="10888"/>
                    </a:lnTo>
                    <a:lnTo>
                      <a:pt x="1453" y="10954"/>
                    </a:lnTo>
                    <a:lnTo>
                      <a:pt x="1718" y="11020"/>
                    </a:lnTo>
                    <a:lnTo>
                      <a:pt x="1963" y="11064"/>
                    </a:lnTo>
                    <a:lnTo>
                      <a:pt x="2265" y="11086"/>
                    </a:lnTo>
                    <a:lnTo>
                      <a:pt x="2548" y="11064"/>
                    </a:lnTo>
                    <a:lnTo>
                      <a:pt x="2794" y="11042"/>
                    </a:lnTo>
                    <a:lnTo>
                      <a:pt x="3096" y="10976"/>
                    </a:lnTo>
                    <a:lnTo>
                      <a:pt x="3341" y="10888"/>
                    </a:lnTo>
                    <a:lnTo>
                      <a:pt x="3606" y="10766"/>
                    </a:lnTo>
                    <a:lnTo>
                      <a:pt x="3813" y="10590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639917" name="Puzzle3"/>
              <p:cNvSpPr>
                <a:spLocks noEditPoints="1" noChangeArrowheads="1"/>
              </p:cNvSpPr>
              <p:nvPr/>
            </p:nvSpPr>
            <p:spPr bwMode="gray">
              <a:xfrm>
                <a:off x="4169" y="2459"/>
                <a:ext cx="162" cy="220"/>
              </a:xfrm>
              <a:custGeom>
                <a:avLst/>
                <a:gdLst>
                  <a:gd name="T0" fmla="*/ 10391 w 21600"/>
                  <a:gd name="T1" fmla="*/ 15806 h 21600"/>
                  <a:gd name="T2" fmla="*/ 20551 w 21600"/>
                  <a:gd name="T3" fmla="*/ 21088 h 21600"/>
                  <a:gd name="T4" fmla="*/ 13180 w 21600"/>
                  <a:gd name="T5" fmla="*/ 13801 h 21600"/>
                  <a:gd name="T6" fmla="*/ 20551 w 21600"/>
                  <a:gd name="T7" fmla="*/ 7025 h 21600"/>
                  <a:gd name="T8" fmla="*/ 10500 w 21600"/>
                  <a:gd name="T9" fmla="*/ 52 h 21600"/>
                  <a:gd name="T10" fmla="*/ 692 w 21600"/>
                  <a:gd name="T11" fmla="*/ 6802 h 21600"/>
                  <a:gd name="T12" fmla="*/ 8064 w 21600"/>
                  <a:gd name="T13" fmla="*/ 13526 h 21600"/>
                  <a:gd name="T14" fmla="*/ 692 w 21600"/>
                  <a:gd name="T15" fmla="*/ 21088 h 21600"/>
                  <a:gd name="T16" fmla="*/ 2273 w 21600"/>
                  <a:gd name="T17" fmla="*/ 7719 h 21600"/>
                  <a:gd name="T18" fmla="*/ 19149 w 21600"/>
                  <a:gd name="T19" fmla="*/ 202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6625" y="20892"/>
                    </a:moveTo>
                    <a:lnTo>
                      <a:pt x="7105" y="21023"/>
                    </a:lnTo>
                    <a:lnTo>
                      <a:pt x="7513" y="21088"/>
                    </a:lnTo>
                    <a:lnTo>
                      <a:pt x="7922" y="21115"/>
                    </a:lnTo>
                    <a:lnTo>
                      <a:pt x="8242" y="21115"/>
                    </a:lnTo>
                    <a:lnTo>
                      <a:pt x="8544" y="21062"/>
                    </a:lnTo>
                    <a:lnTo>
                      <a:pt x="8810" y="20997"/>
                    </a:lnTo>
                    <a:lnTo>
                      <a:pt x="9023" y="20892"/>
                    </a:lnTo>
                    <a:lnTo>
                      <a:pt x="9148" y="20761"/>
                    </a:lnTo>
                    <a:lnTo>
                      <a:pt x="9290" y="20616"/>
                    </a:lnTo>
                    <a:lnTo>
                      <a:pt x="9361" y="20459"/>
                    </a:lnTo>
                    <a:lnTo>
                      <a:pt x="9396" y="20289"/>
                    </a:lnTo>
                    <a:lnTo>
                      <a:pt x="9396" y="20092"/>
                    </a:lnTo>
                    <a:lnTo>
                      <a:pt x="9325" y="19909"/>
                    </a:lnTo>
                    <a:lnTo>
                      <a:pt x="9219" y="19738"/>
                    </a:lnTo>
                    <a:lnTo>
                      <a:pt x="9094" y="19555"/>
                    </a:lnTo>
                    <a:lnTo>
                      <a:pt x="8917" y="19384"/>
                    </a:lnTo>
                    <a:lnTo>
                      <a:pt x="8650" y="19162"/>
                    </a:lnTo>
                    <a:lnTo>
                      <a:pt x="8437" y="18900"/>
                    </a:lnTo>
                    <a:lnTo>
                      <a:pt x="8277" y="18624"/>
                    </a:lnTo>
                    <a:lnTo>
                      <a:pt x="8135" y="18349"/>
                    </a:lnTo>
                    <a:lnTo>
                      <a:pt x="8028" y="18048"/>
                    </a:lnTo>
                    <a:lnTo>
                      <a:pt x="7993" y="17746"/>
                    </a:lnTo>
                    <a:lnTo>
                      <a:pt x="7993" y="17471"/>
                    </a:lnTo>
                    <a:lnTo>
                      <a:pt x="8028" y="17169"/>
                    </a:lnTo>
                    <a:lnTo>
                      <a:pt x="8135" y="16920"/>
                    </a:lnTo>
                    <a:lnTo>
                      <a:pt x="8277" y="16671"/>
                    </a:lnTo>
                    <a:lnTo>
                      <a:pt x="8366" y="16540"/>
                    </a:lnTo>
                    <a:lnTo>
                      <a:pt x="8473" y="16409"/>
                    </a:lnTo>
                    <a:lnTo>
                      <a:pt x="8615" y="16317"/>
                    </a:lnTo>
                    <a:lnTo>
                      <a:pt x="8739" y="16213"/>
                    </a:lnTo>
                    <a:lnTo>
                      <a:pt x="8881" y="16134"/>
                    </a:lnTo>
                    <a:lnTo>
                      <a:pt x="9059" y="16055"/>
                    </a:lnTo>
                    <a:lnTo>
                      <a:pt x="9254" y="15990"/>
                    </a:lnTo>
                    <a:lnTo>
                      <a:pt x="9432" y="15911"/>
                    </a:lnTo>
                    <a:lnTo>
                      <a:pt x="9663" y="15885"/>
                    </a:lnTo>
                    <a:lnTo>
                      <a:pt x="9876" y="15833"/>
                    </a:lnTo>
                    <a:lnTo>
                      <a:pt x="10142" y="15806"/>
                    </a:lnTo>
                    <a:lnTo>
                      <a:pt x="10391" y="15806"/>
                    </a:lnTo>
                    <a:lnTo>
                      <a:pt x="10728" y="15806"/>
                    </a:lnTo>
                    <a:lnTo>
                      <a:pt x="10995" y="15806"/>
                    </a:lnTo>
                    <a:lnTo>
                      <a:pt x="11279" y="15833"/>
                    </a:lnTo>
                    <a:lnTo>
                      <a:pt x="11546" y="15885"/>
                    </a:lnTo>
                    <a:lnTo>
                      <a:pt x="11776" y="15937"/>
                    </a:lnTo>
                    <a:lnTo>
                      <a:pt x="12025" y="15990"/>
                    </a:lnTo>
                    <a:lnTo>
                      <a:pt x="12221" y="16055"/>
                    </a:lnTo>
                    <a:lnTo>
                      <a:pt x="12434" y="16134"/>
                    </a:lnTo>
                    <a:lnTo>
                      <a:pt x="12611" y="16213"/>
                    </a:lnTo>
                    <a:lnTo>
                      <a:pt x="12771" y="16317"/>
                    </a:lnTo>
                    <a:lnTo>
                      <a:pt x="12913" y="16409"/>
                    </a:lnTo>
                    <a:lnTo>
                      <a:pt x="13038" y="16514"/>
                    </a:lnTo>
                    <a:lnTo>
                      <a:pt x="13251" y="16737"/>
                    </a:lnTo>
                    <a:lnTo>
                      <a:pt x="13428" y="16986"/>
                    </a:lnTo>
                    <a:lnTo>
                      <a:pt x="13517" y="17248"/>
                    </a:lnTo>
                    <a:lnTo>
                      <a:pt x="13588" y="17523"/>
                    </a:lnTo>
                    <a:lnTo>
                      <a:pt x="13588" y="17799"/>
                    </a:lnTo>
                    <a:lnTo>
                      <a:pt x="13517" y="18074"/>
                    </a:lnTo>
                    <a:lnTo>
                      <a:pt x="13428" y="18323"/>
                    </a:lnTo>
                    <a:lnTo>
                      <a:pt x="13286" y="18572"/>
                    </a:lnTo>
                    <a:lnTo>
                      <a:pt x="13109" y="18808"/>
                    </a:lnTo>
                    <a:lnTo>
                      <a:pt x="12878" y="19031"/>
                    </a:lnTo>
                    <a:lnTo>
                      <a:pt x="12434" y="19411"/>
                    </a:lnTo>
                    <a:lnTo>
                      <a:pt x="12132" y="19738"/>
                    </a:lnTo>
                    <a:lnTo>
                      <a:pt x="12025" y="19856"/>
                    </a:lnTo>
                    <a:lnTo>
                      <a:pt x="11919" y="20014"/>
                    </a:lnTo>
                    <a:lnTo>
                      <a:pt x="11883" y="20132"/>
                    </a:lnTo>
                    <a:lnTo>
                      <a:pt x="11883" y="20263"/>
                    </a:lnTo>
                    <a:lnTo>
                      <a:pt x="11883" y="20394"/>
                    </a:lnTo>
                    <a:lnTo>
                      <a:pt x="11954" y="20485"/>
                    </a:lnTo>
                    <a:lnTo>
                      <a:pt x="12061" y="20590"/>
                    </a:lnTo>
                    <a:lnTo>
                      <a:pt x="12185" y="20695"/>
                    </a:lnTo>
                    <a:lnTo>
                      <a:pt x="12327" y="20787"/>
                    </a:lnTo>
                    <a:lnTo>
                      <a:pt x="12540" y="20892"/>
                    </a:lnTo>
                    <a:lnTo>
                      <a:pt x="12771" y="20997"/>
                    </a:lnTo>
                    <a:lnTo>
                      <a:pt x="13073" y="21088"/>
                    </a:lnTo>
                    <a:lnTo>
                      <a:pt x="13428" y="21193"/>
                    </a:lnTo>
                    <a:lnTo>
                      <a:pt x="13873" y="21298"/>
                    </a:lnTo>
                    <a:lnTo>
                      <a:pt x="14317" y="21390"/>
                    </a:lnTo>
                    <a:lnTo>
                      <a:pt x="14778" y="21468"/>
                    </a:lnTo>
                    <a:lnTo>
                      <a:pt x="15294" y="21547"/>
                    </a:lnTo>
                    <a:lnTo>
                      <a:pt x="15809" y="21600"/>
                    </a:lnTo>
                    <a:lnTo>
                      <a:pt x="16359" y="21652"/>
                    </a:lnTo>
                    <a:lnTo>
                      <a:pt x="16875" y="21678"/>
                    </a:lnTo>
                    <a:lnTo>
                      <a:pt x="17407" y="21678"/>
                    </a:lnTo>
                    <a:lnTo>
                      <a:pt x="17958" y="21678"/>
                    </a:lnTo>
                    <a:lnTo>
                      <a:pt x="18473" y="21652"/>
                    </a:lnTo>
                    <a:lnTo>
                      <a:pt x="18953" y="21573"/>
                    </a:lnTo>
                    <a:lnTo>
                      <a:pt x="19397" y="21495"/>
                    </a:lnTo>
                    <a:lnTo>
                      <a:pt x="19841" y="21390"/>
                    </a:lnTo>
                    <a:lnTo>
                      <a:pt x="20214" y="21272"/>
                    </a:lnTo>
                    <a:lnTo>
                      <a:pt x="20551" y="21088"/>
                    </a:lnTo>
                    <a:lnTo>
                      <a:pt x="20480" y="20787"/>
                    </a:lnTo>
                    <a:lnTo>
                      <a:pt x="20409" y="20485"/>
                    </a:lnTo>
                    <a:lnTo>
                      <a:pt x="20356" y="20158"/>
                    </a:lnTo>
                    <a:lnTo>
                      <a:pt x="20356" y="19804"/>
                    </a:lnTo>
                    <a:lnTo>
                      <a:pt x="20321" y="19083"/>
                    </a:lnTo>
                    <a:lnTo>
                      <a:pt x="20356" y="18349"/>
                    </a:lnTo>
                    <a:lnTo>
                      <a:pt x="20409" y="17641"/>
                    </a:lnTo>
                    <a:lnTo>
                      <a:pt x="20480" y="17012"/>
                    </a:lnTo>
                    <a:lnTo>
                      <a:pt x="20551" y="16488"/>
                    </a:lnTo>
                    <a:lnTo>
                      <a:pt x="20551" y="16055"/>
                    </a:lnTo>
                    <a:lnTo>
                      <a:pt x="20551" y="15911"/>
                    </a:lnTo>
                    <a:lnTo>
                      <a:pt x="20445" y="15754"/>
                    </a:lnTo>
                    <a:lnTo>
                      <a:pt x="20356" y="15610"/>
                    </a:lnTo>
                    <a:lnTo>
                      <a:pt x="20178" y="15452"/>
                    </a:lnTo>
                    <a:lnTo>
                      <a:pt x="20001" y="15334"/>
                    </a:lnTo>
                    <a:lnTo>
                      <a:pt x="19770" y="15230"/>
                    </a:lnTo>
                    <a:lnTo>
                      <a:pt x="19521" y="15125"/>
                    </a:lnTo>
                    <a:lnTo>
                      <a:pt x="19290" y="15059"/>
                    </a:lnTo>
                    <a:lnTo>
                      <a:pt x="19024" y="15007"/>
                    </a:lnTo>
                    <a:lnTo>
                      <a:pt x="18740" y="14954"/>
                    </a:lnTo>
                    <a:lnTo>
                      <a:pt x="18509" y="14954"/>
                    </a:lnTo>
                    <a:lnTo>
                      <a:pt x="18225" y="14954"/>
                    </a:lnTo>
                    <a:lnTo>
                      <a:pt x="17994" y="15007"/>
                    </a:lnTo>
                    <a:lnTo>
                      <a:pt x="17763" y="15085"/>
                    </a:lnTo>
                    <a:lnTo>
                      <a:pt x="17550" y="15177"/>
                    </a:lnTo>
                    <a:lnTo>
                      <a:pt x="17372" y="15308"/>
                    </a:lnTo>
                    <a:lnTo>
                      <a:pt x="17176" y="15426"/>
                    </a:lnTo>
                    <a:lnTo>
                      <a:pt x="16928" y="15557"/>
                    </a:lnTo>
                    <a:lnTo>
                      <a:pt x="16661" y="15636"/>
                    </a:lnTo>
                    <a:lnTo>
                      <a:pt x="16359" y="15688"/>
                    </a:lnTo>
                    <a:lnTo>
                      <a:pt x="16022" y="15715"/>
                    </a:lnTo>
                    <a:lnTo>
                      <a:pt x="15667" y="15688"/>
                    </a:lnTo>
                    <a:lnTo>
                      <a:pt x="15294" y="15662"/>
                    </a:lnTo>
                    <a:lnTo>
                      <a:pt x="14956" y="15583"/>
                    </a:lnTo>
                    <a:lnTo>
                      <a:pt x="14619" y="15479"/>
                    </a:lnTo>
                    <a:lnTo>
                      <a:pt x="14281" y="15334"/>
                    </a:lnTo>
                    <a:lnTo>
                      <a:pt x="13961" y="15177"/>
                    </a:lnTo>
                    <a:lnTo>
                      <a:pt x="13695" y="14981"/>
                    </a:lnTo>
                    <a:lnTo>
                      <a:pt x="13588" y="14850"/>
                    </a:lnTo>
                    <a:lnTo>
                      <a:pt x="13482" y="14732"/>
                    </a:lnTo>
                    <a:lnTo>
                      <a:pt x="13393" y="14600"/>
                    </a:lnTo>
                    <a:lnTo>
                      <a:pt x="13322" y="14456"/>
                    </a:lnTo>
                    <a:lnTo>
                      <a:pt x="13251" y="14299"/>
                    </a:lnTo>
                    <a:lnTo>
                      <a:pt x="13215" y="14155"/>
                    </a:lnTo>
                    <a:lnTo>
                      <a:pt x="13180" y="13971"/>
                    </a:lnTo>
                    <a:lnTo>
                      <a:pt x="13180" y="13801"/>
                    </a:lnTo>
                    <a:lnTo>
                      <a:pt x="13180" y="13591"/>
                    </a:lnTo>
                    <a:lnTo>
                      <a:pt x="13215" y="13395"/>
                    </a:lnTo>
                    <a:lnTo>
                      <a:pt x="13251" y="13198"/>
                    </a:lnTo>
                    <a:lnTo>
                      <a:pt x="13322" y="13015"/>
                    </a:lnTo>
                    <a:lnTo>
                      <a:pt x="13393" y="12870"/>
                    </a:lnTo>
                    <a:lnTo>
                      <a:pt x="13482" y="12713"/>
                    </a:lnTo>
                    <a:lnTo>
                      <a:pt x="13588" y="12569"/>
                    </a:lnTo>
                    <a:lnTo>
                      <a:pt x="13730" y="12438"/>
                    </a:lnTo>
                    <a:lnTo>
                      <a:pt x="13997" y="12215"/>
                    </a:lnTo>
                    <a:lnTo>
                      <a:pt x="14334" y="12005"/>
                    </a:lnTo>
                    <a:lnTo>
                      <a:pt x="14690" y="11861"/>
                    </a:lnTo>
                    <a:lnTo>
                      <a:pt x="15063" y="11756"/>
                    </a:lnTo>
                    <a:lnTo>
                      <a:pt x="15436" y="11678"/>
                    </a:lnTo>
                    <a:lnTo>
                      <a:pt x="15809" y="11638"/>
                    </a:lnTo>
                    <a:lnTo>
                      <a:pt x="16182" y="11638"/>
                    </a:lnTo>
                    <a:lnTo>
                      <a:pt x="16555" y="11678"/>
                    </a:lnTo>
                    <a:lnTo>
                      <a:pt x="16910" y="11730"/>
                    </a:lnTo>
                    <a:lnTo>
                      <a:pt x="17248" y="11835"/>
                    </a:lnTo>
                    <a:lnTo>
                      <a:pt x="17514" y="11966"/>
                    </a:lnTo>
                    <a:lnTo>
                      <a:pt x="17763" y="12110"/>
                    </a:lnTo>
                    <a:lnTo>
                      <a:pt x="17887" y="12215"/>
                    </a:lnTo>
                    <a:lnTo>
                      <a:pt x="18065" y="12307"/>
                    </a:lnTo>
                    <a:lnTo>
                      <a:pt x="18260" y="12412"/>
                    </a:lnTo>
                    <a:lnTo>
                      <a:pt x="18438" y="12464"/>
                    </a:lnTo>
                    <a:lnTo>
                      <a:pt x="18669" y="12543"/>
                    </a:lnTo>
                    <a:lnTo>
                      <a:pt x="18882" y="12569"/>
                    </a:lnTo>
                    <a:lnTo>
                      <a:pt x="19113" y="12595"/>
                    </a:lnTo>
                    <a:lnTo>
                      <a:pt x="19361" y="12608"/>
                    </a:lnTo>
                    <a:lnTo>
                      <a:pt x="19592" y="12608"/>
                    </a:lnTo>
                    <a:lnTo>
                      <a:pt x="19841" y="12595"/>
                    </a:lnTo>
                    <a:lnTo>
                      <a:pt x="20072" y="12543"/>
                    </a:lnTo>
                    <a:lnTo>
                      <a:pt x="20321" y="12490"/>
                    </a:lnTo>
                    <a:lnTo>
                      <a:pt x="20551" y="12438"/>
                    </a:lnTo>
                    <a:lnTo>
                      <a:pt x="20800" y="12333"/>
                    </a:lnTo>
                    <a:lnTo>
                      <a:pt x="20996" y="12241"/>
                    </a:lnTo>
                    <a:lnTo>
                      <a:pt x="21244" y="12110"/>
                    </a:lnTo>
                    <a:lnTo>
                      <a:pt x="21298" y="12032"/>
                    </a:lnTo>
                    <a:lnTo>
                      <a:pt x="21404" y="11966"/>
                    </a:lnTo>
                    <a:lnTo>
                      <a:pt x="21475" y="11861"/>
                    </a:lnTo>
                    <a:lnTo>
                      <a:pt x="21511" y="11730"/>
                    </a:lnTo>
                    <a:lnTo>
                      <a:pt x="21617" y="11481"/>
                    </a:lnTo>
                    <a:lnTo>
                      <a:pt x="21653" y="11180"/>
                    </a:lnTo>
                    <a:lnTo>
                      <a:pt x="21653" y="10826"/>
                    </a:lnTo>
                    <a:lnTo>
                      <a:pt x="21653" y="10472"/>
                    </a:lnTo>
                    <a:lnTo>
                      <a:pt x="21582" y="10092"/>
                    </a:lnTo>
                    <a:lnTo>
                      <a:pt x="21511" y="9725"/>
                    </a:lnTo>
                    <a:lnTo>
                      <a:pt x="21298" y="8912"/>
                    </a:lnTo>
                    <a:lnTo>
                      <a:pt x="21067" y="8191"/>
                    </a:lnTo>
                    <a:lnTo>
                      <a:pt x="20800" y="7536"/>
                    </a:lnTo>
                    <a:lnTo>
                      <a:pt x="20551" y="7025"/>
                    </a:lnTo>
                    <a:lnTo>
                      <a:pt x="20001" y="7103"/>
                    </a:lnTo>
                    <a:lnTo>
                      <a:pt x="19432" y="7156"/>
                    </a:lnTo>
                    <a:lnTo>
                      <a:pt x="18846" y="7208"/>
                    </a:lnTo>
                    <a:lnTo>
                      <a:pt x="18225" y="7208"/>
                    </a:lnTo>
                    <a:lnTo>
                      <a:pt x="17656" y="7208"/>
                    </a:lnTo>
                    <a:lnTo>
                      <a:pt x="17070" y="7182"/>
                    </a:lnTo>
                    <a:lnTo>
                      <a:pt x="16484" y="7156"/>
                    </a:lnTo>
                    <a:lnTo>
                      <a:pt x="15986" y="7103"/>
                    </a:lnTo>
                    <a:lnTo>
                      <a:pt x="14992" y="6999"/>
                    </a:lnTo>
                    <a:lnTo>
                      <a:pt x="14210" y="6907"/>
                    </a:lnTo>
                    <a:lnTo>
                      <a:pt x="13695" y="6828"/>
                    </a:lnTo>
                    <a:lnTo>
                      <a:pt x="13517" y="6802"/>
                    </a:lnTo>
                    <a:lnTo>
                      <a:pt x="13073" y="6645"/>
                    </a:lnTo>
                    <a:lnTo>
                      <a:pt x="12700" y="6474"/>
                    </a:lnTo>
                    <a:lnTo>
                      <a:pt x="12363" y="6304"/>
                    </a:lnTo>
                    <a:lnTo>
                      <a:pt x="12132" y="6094"/>
                    </a:lnTo>
                    <a:lnTo>
                      <a:pt x="11919" y="5871"/>
                    </a:lnTo>
                    <a:lnTo>
                      <a:pt x="11776" y="5649"/>
                    </a:lnTo>
                    <a:lnTo>
                      <a:pt x="11688" y="5413"/>
                    </a:lnTo>
                    <a:lnTo>
                      <a:pt x="11617" y="5190"/>
                    </a:lnTo>
                    <a:lnTo>
                      <a:pt x="11617" y="4941"/>
                    </a:lnTo>
                    <a:lnTo>
                      <a:pt x="11652" y="4718"/>
                    </a:lnTo>
                    <a:lnTo>
                      <a:pt x="11723" y="4482"/>
                    </a:lnTo>
                    <a:lnTo>
                      <a:pt x="11812" y="4285"/>
                    </a:lnTo>
                    <a:lnTo>
                      <a:pt x="11919" y="4089"/>
                    </a:lnTo>
                    <a:lnTo>
                      <a:pt x="12096" y="3905"/>
                    </a:lnTo>
                    <a:lnTo>
                      <a:pt x="12292" y="3735"/>
                    </a:lnTo>
                    <a:lnTo>
                      <a:pt x="12505" y="3604"/>
                    </a:lnTo>
                    <a:lnTo>
                      <a:pt x="12700" y="3460"/>
                    </a:lnTo>
                    <a:lnTo>
                      <a:pt x="12878" y="3250"/>
                    </a:lnTo>
                    <a:lnTo>
                      <a:pt x="13038" y="3027"/>
                    </a:lnTo>
                    <a:lnTo>
                      <a:pt x="13180" y="2752"/>
                    </a:lnTo>
                    <a:lnTo>
                      <a:pt x="13286" y="2477"/>
                    </a:lnTo>
                    <a:lnTo>
                      <a:pt x="13322" y="2175"/>
                    </a:lnTo>
                    <a:lnTo>
                      <a:pt x="13357" y="1874"/>
                    </a:lnTo>
                    <a:lnTo>
                      <a:pt x="13286" y="1572"/>
                    </a:lnTo>
                    <a:lnTo>
                      <a:pt x="13180" y="1271"/>
                    </a:lnTo>
                    <a:lnTo>
                      <a:pt x="13038" y="983"/>
                    </a:lnTo>
                    <a:lnTo>
                      <a:pt x="12949" y="865"/>
                    </a:lnTo>
                    <a:lnTo>
                      <a:pt x="12807" y="733"/>
                    </a:lnTo>
                    <a:lnTo>
                      <a:pt x="12665" y="616"/>
                    </a:lnTo>
                    <a:lnTo>
                      <a:pt x="12505" y="511"/>
                    </a:lnTo>
                    <a:lnTo>
                      <a:pt x="12327" y="406"/>
                    </a:lnTo>
                    <a:lnTo>
                      <a:pt x="12132" y="314"/>
                    </a:lnTo>
                    <a:lnTo>
                      <a:pt x="11883" y="235"/>
                    </a:lnTo>
                    <a:lnTo>
                      <a:pt x="11652" y="183"/>
                    </a:lnTo>
                    <a:lnTo>
                      <a:pt x="11368" y="104"/>
                    </a:lnTo>
                    <a:lnTo>
                      <a:pt x="11101" y="78"/>
                    </a:lnTo>
                    <a:lnTo>
                      <a:pt x="10800" y="52"/>
                    </a:lnTo>
                    <a:lnTo>
                      <a:pt x="10444" y="52"/>
                    </a:lnTo>
                    <a:lnTo>
                      <a:pt x="10142" y="52"/>
                    </a:lnTo>
                    <a:lnTo>
                      <a:pt x="9840" y="78"/>
                    </a:lnTo>
                    <a:lnTo>
                      <a:pt x="9574" y="104"/>
                    </a:lnTo>
                    <a:lnTo>
                      <a:pt x="9325" y="157"/>
                    </a:lnTo>
                    <a:lnTo>
                      <a:pt x="9094" y="209"/>
                    </a:lnTo>
                    <a:lnTo>
                      <a:pt x="8846" y="262"/>
                    </a:lnTo>
                    <a:lnTo>
                      <a:pt x="8650" y="340"/>
                    </a:lnTo>
                    <a:lnTo>
                      <a:pt x="8437" y="432"/>
                    </a:lnTo>
                    <a:lnTo>
                      <a:pt x="8277" y="511"/>
                    </a:lnTo>
                    <a:lnTo>
                      <a:pt x="8100" y="616"/>
                    </a:lnTo>
                    <a:lnTo>
                      <a:pt x="7957" y="707"/>
                    </a:lnTo>
                    <a:lnTo>
                      <a:pt x="7833" y="838"/>
                    </a:lnTo>
                    <a:lnTo>
                      <a:pt x="7620" y="1061"/>
                    </a:lnTo>
                    <a:lnTo>
                      <a:pt x="7442" y="1336"/>
                    </a:lnTo>
                    <a:lnTo>
                      <a:pt x="7353" y="1599"/>
                    </a:lnTo>
                    <a:lnTo>
                      <a:pt x="7318" y="1900"/>
                    </a:lnTo>
                    <a:lnTo>
                      <a:pt x="7318" y="2175"/>
                    </a:lnTo>
                    <a:lnTo>
                      <a:pt x="7353" y="2450"/>
                    </a:lnTo>
                    <a:lnTo>
                      <a:pt x="7442" y="2726"/>
                    </a:lnTo>
                    <a:lnTo>
                      <a:pt x="7620" y="2975"/>
                    </a:lnTo>
                    <a:lnTo>
                      <a:pt x="7833" y="3198"/>
                    </a:lnTo>
                    <a:lnTo>
                      <a:pt x="8064" y="3433"/>
                    </a:lnTo>
                    <a:lnTo>
                      <a:pt x="8295" y="3630"/>
                    </a:lnTo>
                    <a:lnTo>
                      <a:pt x="8508" y="3853"/>
                    </a:lnTo>
                    <a:lnTo>
                      <a:pt x="8686" y="4089"/>
                    </a:lnTo>
                    <a:lnTo>
                      <a:pt x="8775" y="4312"/>
                    </a:lnTo>
                    <a:lnTo>
                      <a:pt x="8846" y="4561"/>
                    </a:lnTo>
                    <a:lnTo>
                      <a:pt x="8846" y="4810"/>
                    </a:lnTo>
                    <a:lnTo>
                      <a:pt x="8810" y="5059"/>
                    </a:lnTo>
                    <a:lnTo>
                      <a:pt x="8721" y="5295"/>
                    </a:lnTo>
                    <a:lnTo>
                      <a:pt x="8579" y="5544"/>
                    </a:lnTo>
                    <a:lnTo>
                      <a:pt x="8366" y="5766"/>
                    </a:lnTo>
                    <a:lnTo>
                      <a:pt x="8135" y="5976"/>
                    </a:lnTo>
                    <a:lnTo>
                      <a:pt x="7833" y="6199"/>
                    </a:lnTo>
                    <a:lnTo>
                      <a:pt x="7478" y="6369"/>
                    </a:lnTo>
                    <a:lnTo>
                      <a:pt x="7069" y="6527"/>
                    </a:lnTo>
                    <a:lnTo>
                      <a:pt x="6590" y="6671"/>
                    </a:lnTo>
                    <a:lnTo>
                      <a:pt x="6092" y="6802"/>
                    </a:lnTo>
                    <a:lnTo>
                      <a:pt x="5684" y="6802"/>
                    </a:lnTo>
                    <a:lnTo>
                      <a:pt x="5133" y="6802"/>
                    </a:lnTo>
                    <a:lnTo>
                      <a:pt x="4547" y="6802"/>
                    </a:lnTo>
                    <a:lnTo>
                      <a:pt x="3872" y="6802"/>
                    </a:lnTo>
                    <a:lnTo>
                      <a:pt x="3144" y="6802"/>
                    </a:lnTo>
                    <a:lnTo>
                      <a:pt x="2362" y="6802"/>
                    </a:lnTo>
                    <a:lnTo>
                      <a:pt x="1545" y="6802"/>
                    </a:lnTo>
                    <a:lnTo>
                      <a:pt x="692" y="6802"/>
                    </a:lnTo>
                    <a:lnTo>
                      <a:pt x="586" y="7234"/>
                    </a:lnTo>
                    <a:lnTo>
                      <a:pt x="461" y="7837"/>
                    </a:lnTo>
                    <a:lnTo>
                      <a:pt x="355" y="8493"/>
                    </a:lnTo>
                    <a:lnTo>
                      <a:pt x="248" y="9187"/>
                    </a:lnTo>
                    <a:lnTo>
                      <a:pt x="142" y="9869"/>
                    </a:lnTo>
                    <a:lnTo>
                      <a:pt x="106" y="10498"/>
                    </a:lnTo>
                    <a:lnTo>
                      <a:pt x="106" y="10983"/>
                    </a:lnTo>
                    <a:lnTo>
                      <a:pt x="106" y="11311"/>
                    </a:lnTo>
                    <a:lnTo>
                      <a:pt x="213" y="11481"/>
                    </a:lnTo>
                    <a:lnTo>
                      <a:pt x="319" y="11651"/>
                    </a:lnTo>
                    <a:lnTo>
                      <a:pt x="497" y="11783"/>
                    </a:lnTo>
                    <a:lnTo>
                      <a:pt x="692" y="11914"/>
                    </a:lnTo>
                    <a:lnTo>
                      <a:pt x="941" y="12032"/>
                    </a:lnTo>
                    <a:lnTo>
                      <a:pt x="1207" y="12110"/>
                    </a:lnTo>
                    <a:lnTo>
                      <a:pt x="1509" y="12189"/>
                    </a:lnTo>
                    <a:lnTo>
                      <a:pt x="1794" y="12241"/>
                    </a:lnTo>
                    <a:lnTo>
                      <a:pt x="2131" y="12267"/>
                    </a:lnTo>
                    <a:lnTo>
                      <a:pt x="2433" y="12281"/>
                    </a:lnTo>
                    <a:lnTo>
                      <a:pt x="2735" y="12267"/>
                    </a:lnTo>
                    <a:lnTo>
                      <a:pt x="3055" y="12241"/>
                    </a:lnTo>
                    <a:lnTo>
                      <a:pt x="3357" y="12189"/>
                    </a:lnTo>
                    <a:lnTo>
                      <a:pt x="3623" y="12084"/>
                    </a:lnTo>
                    <a:lnTo>
                      <a:pt x="3872" y="11979"/>
                    </a:lnTo>
                    <a:lnTo>
                      <a:pt x="4103" y="11861"/>
                    </a:lnTo>
                    <a:lnTo>
                      <a:pt x="4316" y="11704"/>
                    </a:lnTo>
                    <a:lnTo>
                      <a:pt x="4582" y="11612"/>
                    </a:lnTo>
                    <a:lnTo>
                      <a:pt x="4849" y="11533"/>
                    </a:lnTo>
                    <a:lnTo>
                      <a:pt x="5169" y="11507"/>
                    </a:lnTo>
                    <a:lnTo>
                      <a:pt x="5506" y="11481"/>
                    </a:lnTo>
                    <a:lnTo>
                      <a:pt x="5808" y="11507"/>
                    </a:lnTo>
                    <a:lnTo>
                      <a:pt x="6146" y="11560"/>
                    </a:lnTo>
                    <a:lnTo>
                      <a:pt x="6501" y="11651"/>
                    </a:lnTo>
                    <a:lnTo>
                      <a:pt x="6803" y="11783"/>
                    </a:lnTo>
                    <a:lnTo>
                      <a:pt x="7105" y="11940"/>
                    </a:lnTo>
                    <a:lnTo>
                      <a:pt x="7353" y="12110"/>
                    </a:lnTo>
                    <a:lnTo>
                      <a:pt x="7584" y="12333"/>
                    </a:lnTo>
                    <a:lnTo>
                      <a:pt x="7798" y="12595"/>
                    </a:lnTo>
                    <a:lnTo>
                      <a:pt x="7922" y="12870"/>
                    </a:lnTo>
                    <a:lnTo>
                      <a:pt x="8028" y="13198"/>
                    </a:lnTo>
                    <a:lnTo>
                      <a:pt x="8064" y="13526"/>
                    </a:lnTo>
                    <a:lnTo>
                      <a:pt x="8028" y="13775"/>
                    </a:lnTo>
                    <a:lnTo>
                      <a:pt x="7922" y="13998"/>
                    </a:lnTo>
                    <a:lnTo>
                      <a:pt x="7798" y="14220"/>
                    </a:lnTo>
                    <a:lnTo>
                      <a:pt x="7584" y="14404"/>
                    </a:lnTo>
                    <a:lnTo>
                      <a:pt x="7353" y="14574"/>
                    </a:lnTo>
                    <a:lnTo>
                      <a:pt x="7105" y="14732"/>
                    </a:lnTo>
                    <a:lnTo>
                      <a:pt x="6803" y="14850"/>
                    </a:lnTo>
                    <a:lnTo>
                      <a:pt x="6501" y="14954"/>
                    </a:lnTo>
                    <a:lnTo>
                      <a:pt x="6146" y="15033"/>
                    </a:lnTo>
                    <a:lnTo>
                      <a:pt x="5808" y="15085"/>
                    </a:lnTo>
                    <a:lnTo>
                      <a:pt x="5506" y="15085"/>
                    </a:lnTo>
                    <a:lnTo>
                      <a:pt x="5169" y="15059"/>
                    </a:lnTo>
                    <a:lnTo>
                      <a:pt x="4849" y="15007"/>
                    </a:lnTo>
                    <a:lnTo>
                      <a:pt x="4582" y="14902"/>
                    </a:lnTo>
                    <a:lnTo>
                      <a:pt x="4316" y="14784"/>
                    </a:lnTo>
                    <a:lnTo>
                      <a:pt x="4103" y="14600"/>
                    </a:lnTo>
                    <a:lnTo>
                      <a:pt x="3907" y="14430"/>
                    </a:lnTo>
                    <a:lnTo>
                      <a:pt x="3659" y="14299"/>
                    </a:lnTo>
                    <a:lnTo>
                      <a:pt x="3428" y="14194"/>
                    </a:lnTo>
                    <a:lnTo>
                      <a:pt x="3179" y="14129"/>
                    </a:lnTo>
                    <a:lnTo>
                      <a:pt x="2913" y="14102"/>
                    </a:lnTo>
                    <a:lnTo>
                      <a:pt x="2646" y="14102"/>
                    </a:lnTo>
                    <a:lnTo>
                      <a:pt x="2362" y="14129"/>
                    </a:lnTo>
                    <a:lnTo>
                      <a:pt x="2096" y="14168"/>
                    </a:lnTo>
                    <a:lnTo>
                      <a:pt x="1811" y="14273"/>
                    </a:lnTo>
                    <a:lnTo>
                      <a:pt x="1545" y="14378"/>
                    </a:lnTo>
                    <a:lnTo>
                      <a:pt x="1314" y="14496"/>
                    </a:lnTo>
                    <a:lnTo>
                      <a:pt x="1065" y="14653"/>
                    </a:lnTo>
                    <a:lnTo>
                      <a:pt x="870" y="14797"/>
                    </a:lnTo>
                    <a:lnTo>
                      <a:pt x="657" y="14981"/>
                    </a:lnTo>
                    <a:lnTo>
                      <a:pt x="497" y="15177"/>
                    </a:lnTo>
                    <a:lnTo>
                      <a:pt x="390" y="15413"/>
                    </a:lnTo>
                    <a:lnTo>
                      <a:pt x="284" y="15636"/>
                    </a:lnTo>
                    <a:lnTo>
                      <a:pt x="248" y="15911"/>
                    </a:lnTo>
                    <a:lnTo>
                      <a:pt x="284" y="16239"/>
                    </a:lnTo>
                    <a:lnTo>
                      <a:pt x="319" y="16566"/>
                    </a:lnTo>
                    <a:lnTo>
                      <a:pt x="497" y="17340"/>
                    </a:lnTo>
                    <a:lnTo>
                      <a:pt x="692" y="18152"/>
                    </a:lnTo>
                    <a:lnTo>
                      <a:pt x="799" y="18559"/>
                    </a:lnTo>
                    <a:lnTo>
                      <a:pt x="905" y="18978"/>
                    </a:lnTo>
                    <a:lnTo>
                      <a:pt x="959" y="19384"/>
                    </a:lnTo>
                    <a:lnTo>
                      <a:pt x="994" y="19791"/>
                    </a:lnTo>
                    <a:lnTo>
                      <a:pt x="994" y="20132"/>
                    </a:lnTo>
                    <a:lnTo>
                      <a:pt x="959" y="20485"/>
                    </a:lnTo>
                    <a:lnTo>
                      <a:pt x="941" y="20669"/>
                    </a:lnTo>
                    <a:lnTo>
                      <a:pt x="870" y="20813"/>
                    </a:lnTo>
                    <a:lnTo>
                      <a:pt x="799" y="20970"/>
                    </a:lnTo>
                    <a:lnTo>
                      <a:pt x="692" y="21088"/>
                    </a:lnTo>
                    <a:lnTo>
                      <a:pt x="1474" y="20997"/>
                    </a:lnTo>
                    <a:lnTo>
                      <a:pt x="2291" y="20866"/>
                    </a:lnTo>
                    <a:lnTo>
                      <a:pt x="3108" y="20787"/>
                    </a:lnTo>
                    <a:lnTo>
                      <a:pt x="3907" y="20721"/>
                    </a:lnTo>
                    <a:lnTo>
                      <a:pt x="4653" y="20695"/>
                    </a:lnTo>
                    <a:lnTo>
                      <a:pt x="5364" y="20695"/>
                    </a:lnTo>
                    <a:lnTo>
                      <a:pt x="5701" y="20721"/>
                    </a:lnTo>
                    <a:lnTo>
                      <a:pt x="6057" y="20761"/>
                    </a:lnTo>
                    <a:lnTo>
                      <a:pt x="6323" y="20813"/>
                    </a:lnTo>
                    <a:lnTo>
                      <a:pt x="6625" y="20892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639918" name="Puzzle1"/>
              <p:cNvSpPr>
                <a:spLocks noEditPoints="1" noChangeArrowheads="1"/>
              </p:cNvSpPr>
              <p:nvPr/>
            </p:nvSpPr>
            <p:spPr bwMode="gray">
              <a:xfrm>
                <a:off x="3968" y="2526"/>
                <a:ext cx="261" cy="152"/>
              </a:xfrm>
              <a:custGeom>
                <a:avLst/>
                <a:gdLst>
                  <a:gd name="T0" fmla="*/ 16740 w 21600"/>
                  <a:gd name="T1" fmla="*/ 21078 h 21600"/>
                  <a:gd name="T2" fmla="*/ 16976 w 21600"/>
                  <a:gd name="T3" fmla="*/ 521 h 21600"/>
                  <a:gd name="T4" fmla="*/ 4725 w 21600"/>
                  <a:gd name="T5" fmla="*/ 856 h 21600"/>
                  <a:gd name="T6" fmla="*/ 5040 w 21600"/>
                  <a:gd name="T7" fmla="*/ 21004 h 21600"/>
                  <a:gd name="T8" fmla="*/ 10811 w 21600"/>
                  <a:gd name="T9" fmla="*/ 12885 h 21600"/>
                  <a:gd name="T10" fmla="*/ 10845 w 21600"/>
                  <a:gd name="T11" fmla="*/ 8714 h 21600"/>
                  <a:gd name="T12" fmla="*/ 21600 w 21600"/>
                  <a:gd name="T13" fmla="*/ 10000 h 21600"/>
                  <a:gd name="T14" fmla="*/ 56 w 21600"/>
                  <a:gd name="T15" fmla="*/ 10000 h 21600"/>
                  <a:gd name="T16" fmla="*/ 6086 w 21600"/>
                  <a:gd name="T17" fmla="*/ 2569 h 21600"/>
                  <a:gd name="T18" fmla="*/ 16132 w 21600"/>
                  <a:gd name="T19" fmla="*/ 19552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9360" y="20836"/>
                    </a:moveTo>
                    <a:lnTo>
                      <a:pt x="9528" y="20836"/>
                    </a:lnTo>
                    <a:lnTo>
                      <a:pt x="9686" y="20762"/>
                    </a:lnTo>
                    <a:lnTo>
                      <a:pt x="9810" y="20687"/>
                    </a:lnTo>
                    <a:lnTo>
                      <a:pt x="9922" y="20575"/>
                    </a:lnTo>
                    <a:lnTo>
                      <a:pt x="10012" y="20426"/>
                    </a:lnTo>
                    <a:lnTo>
                      <a:pt x="10068" y="20296"/>
                    </a:lnTo>
                    <a:lnTo>
                      <a:pt x="10113" y="20110"/>
                    </a:lnTo>
                    <a:lnTo>
                      <a:pt x="10136" y="19905"/>
                    </a:lnTo>
                    <a:lnTo>
                      <a:pt x="10136" y="19682"/>
                    </a:lnTo>
                    <a:lnTo>
                      <a:pt x="10113" y="19440"/>
                    </a:lnTo>
                    <a:lnTo>
                      <a:pt x="10068" y="19142"/>
                    </a:lnTo>
                    <a:lnTo>
                      <a:pt x="10012" y="18900"/>
                    </a:lnTo>
                    <a:lnTo>
                      <a:pt x="9900" y="18620"/>
                    </a:lnTo>
                    <a:lnTo>
                      <a:pt x="9787" y="18285"/>
                    </a:lnTo>
                    <a:lnTo>
                      <a:pt x="9641" y="17968"/>
                    </a:lnTo>
                    <a:lnTo>
                      <a:pt x="9472" y="17652"/>
                    </a:lnTo>
                    <a:lnTo>
                      <a:pt x="9382" y="17466"/>
                    </a:lnTo>
                    <a:lnTo>
                      <a:pt x="9315" y="17298"/>
                    </a:lnTo>
                    <a:lnTo>
                      <a:pt x="9258" y="17112"/>
                    </a:lnTo>
                    <a:lnTo>
                      <a:pt x="9191" y="16926"/>
                    </a:lnTo>
                    <a:lnTo>
                      <a:pt x="9123" y="16535"/>
                    </a:lnTo>
                    <a:lnTo>
                      <a:pt x="9101" y="16144"/>
                    </a:lnTo>
                    <a:lnTo>
                      <a:pt x="9101" y="15753"/>
                    </a:lnTo>
                    <a:lnTo>
                      <a:pt x="9168" y="15362"/>
                    </a:lnTo>
                    <a:lnTo>
                      <a:pt x="9236" y="14971"/>
                    </a:lnTo>
                    <a:lnTo>
                      <a:pt x="9360" y="14580"/>
                    </a:lnTo>
                    <a:lnTo>
                      <a:pt x="9495" y="14244"/>
                    </a:lnTo>
                    <a:lnTo>
                      <a:pt x="9663" y="13891"/>
                    </a:lnTo>
                    <a:lnTo>
                      <a:pt x="9855" y="13611"/>
                    </a:lnTo>
                    <a:lnTo>
                      <a:pt x="10068" y="13351"/>
                    </a:lnTo>
                    <a:lnTo>
                      <a:pt x="10293" y="13146"/>
                    </a:lnTo>
                    <a:lnTo>
                      <a:pt x="10552" y="12997"/>
                    </a:lnTo>
                    <a:lnTo>
                      <a:pt x="10811" y="12885"/>
                    </a:lnTo>
                    <a:lnTo>
                      <a:pt x="11069" y="12866"/>
                    </a:lnTo>
                    <a:lnTo>
                      <a:pt x="11351" y="12885"/>
                    </a:lnTo>
                    <a:lnTo>
                      <a:pt x="11610" y="12997"/>
                    </a:lnTo>
                    <a:lnTo>
                      <a:pt x="11846" y="13183"/>
                    </a:lnTo>
                    <a:lnTo>
                      <a:pt x="12060" y="13388"/>
                    </a:lnTo>
                    <a:lnTo>
                      <a:pt x="12251" y="13648"/>
                    </a:lnTo>
                    <a:lnTo>
                      <a:pt x="12419" y="13928"/>
                    </a:lnTo>
                    <a:lnTo>
                      <a:pt x="12555" y="14244"/>
                    </a:lnTo>
                    <a:lnTo>
                      <a:pt x="12690" y="14617"/>
                    </a:lnTo>
                    <a:lnTo>
                      <a:pt x="12768" y="15008"/>
                    </a:lnTo>
                    <a:lnTo>
                      <a:pt x="12836" y="15399"/>
                    </a:lnTo>
                    <a:lnTo>
                      <a:pt x="12858" y="15753"/>
                    </a:lnTo>
                    <a:lnTo>
                      <a:pt x="12858" y="16144"/>
                    </a:lnTo>
                    <a:lnTo>
                      <a:pt x="12813" y="16535"/>
                    </a:lnTo>
                    <a:lnTo>
                      <a:pt x="12746" y="16888"/>
                    </a:lnTo>
                    <a:lnTo>
                      <a:pt x="12667" y="17224"/>
                    </a:lnTo>
                    <a:lnTo>
                      <a:pt x="12510" y="17503"/>
                    </a:lnTo>
                    <a:lnTo>
                      <a:pt x="12228" y="18043"/>
                    </a:lnTo>
                    <a:lnTo>
                      <a:pt x="11970" y="18546"/>
                    </a:lnTo>
                    <a:lnTo>
                      <a:pt x="11868" y="18751"/>
                    </a:lnTo>
                    <a:lnTo>
                      <a:pt x="11778" y="18974"/>
                    </a:lnTo>
                    <a:lnTo>
                      <a:pt x="11711" y="19179"/>
                    </a:lnTo>
                    <a:lnTo>
                      <a:pt x="11666" y="19365"/>
                    </a:lnTo>
                    <a:lnTo>
                      <a:pt x="11632" y="19570"/>
                    </a:lnTo>
                    <a:lnTo>
                      <a:pt x="11632" y="19756"/>
                    </a:lnTo>
                    <a:lnTo>
                      <a:pt x="11632" y="19942"/>
                    </a:lnTo>
                    <a:lnTo>
                      <a:pt x="11643" y="20110"/>
                    </a:lnTo>
                    <a:lnTo>
                      <a:pt x="11711" y="20296"/>
                    </a:lnTo>
                    <a:lnTo>
                      <a:pt x="11801" y="20464"/>
                    </a:lnTo>
                    <a:lnTo>
                      <a:pt x="11891" y="20650"/>
                    </a:lnTo>
                    <a:lnTo>
                      <a:pt x="12037" y="20836"/>
                    </a:lnTo>
                    <a:lnTo>
                      <a:pt x="12206" y="21004"/>
                    </a:lnTo>
                    <a:lnTo>
                      <a:pt x="12419" y="21190"/>
                    </a:lnTo>
                    <a:lnTo>
                      <a:pt x="12667" y="21320"/>
                    </a:lnTo>
                    <a:lnTo>
                      <a:pt x="12960" y="21432"/>
                    </a:lnTo>
                    <a:lnTo>
                      <a:pt x="13286" y="21544"/>
                    </a:lnTo>
                    <a:lnTo>
                      <a:pt x="13612" y="21655"/>
                    </a:lnTo>
                    <a:lnTo>
                      <a:pt x="13983" y="21693"/>
                    </a:lnTo>
                    <a:lnTo>
                      <a:pt x="14343" y="21730"/>
                    </a:lnTo>
                    <a:lnTo>
                      <a:pt x="14715" y="21730"/>
                    </a:lnTo>
                    <a:lnTo>
                      <a:pt x="15075" y="21730"/>
                    </a:lnTo>
                    <a:lnTo>
                      <a:pt x="15446" y="21655"/>
                    </a:lnTo>
                    <a:lnTo>
                      <a:pt x="15794" y="21581"/>
                    </a:lnTo>
                    <a:lnTo>
                      <a:pt x="16132" y="21432"/>
                    </a:lnTo>
                    <a:lnTo>
                      <a:pt x="16458" y="21302"/>
                    </a:lnTo>
                    <a:lnTo>
                      <a:pt x="16740" y="21078"/>
                    </a:lnTo>
                    <a:lnTo>
                      <a:pt x="16976" y="20836"/>
                    </a:lnTo>
                    <a:lnTo>
                      <a:pt x="17043" y="20650"/>
                    </a:lnTo>
                    <a:lnTo>
                      <a:pt x="17088" y="20426"/>
                    </a:lnTo>
                    <a:lnTo>
                      <a:pt x="17133" y="20222"/>
                    </a:lnTo>
                    <a:lnTo>
                      <a:pt x="17156" y="19980"/>
                    </a:lnTo>
                    <a:lnTo>
                      <a:pt x="17167" y="19477"/>
                    </a:lnTo>
                    <a:lnTo>
                      <a:pt x="17167" y="18974"/>
                    </a:lnTo>
                    <a:lnTo>
                      <a:pt x="17156" y="18397"/>
                    </a:lnTo>
                    <a:lnTo>
                      <a:pt x="17111" y="17820"/>
                    </a:lnTo>
                    <a:lnTo>
                      <a:pt x="17066" y="17261"/>
                    </a:lnTo>
                    <a:lnTo>
                      <a:pt x="16998" y="16646"/>
                    </a:lnTo>
                    <a:lnTo>
                      <a:pt x="16852" y="15511"/>
                    </a:lnTo>
                    <a:lnTo>
                      <a:pt x="16740" y="14393"/>
                    </a:lnTo>
                    <a:lnTo>
                      <a:pt x="16717" y="13928"/>
                    </a:lnTo>
                    <a:lnTo>
                      <a:pt x="16695" y="13462"/>
                    </a:lnTo>
                    <a:lnTo>
                      <a:pt x="16717" y="13071"/>
                    </a:lnTo>
                    <a:lnTo>
                      <a:pt x="16785" y="12755"/>
                    </a:lnTo>
                    <a:lnTo>
                      <a:pt x="16852" y="12419"/>
                    </a:lnTo>
                    <a:lnTo>
                      <a:pt x="16953" y="12140"/>
                    </a:lnTo>
                    <a:lnTo>
                      <a:pt x="17088" y="11898"/>
                    </a:lnTo>
                    <a:lnTo>
                      <a:pt x="17212" y="11675"/>
                    </a:lnTo>
                    <a:lnTo>
                      <a:pt x="17370" y="11470"/>
                    </a:lnTo>
                    <a:lnTo>
                      <a:pt x="17516" y="11284"/>
                    </a:lnTo>
                    <a:lnTo>
                      <a:pt x="17696" y="11135"/>
                    </a:lnTo>
                    <a:lnTo>
                      <a:pt x="17865" y="11042"/>
                    </a:lnTo>
                    <a:lnTo>
                      <a:pt x="18033" y="10930"/>
                    </a:lnTo>
                    <a:lnTo>
                      <a:pt x="18213" y="10893"/>
                    </a:lnTo>
                    <a:lnTo>
                      <a:pt x="18382" y="10893"/>
                    </a:lnTo>
                    <a:lnTo>
                      <a:pt x="18551" y="10967"/>
                    </a:lnTo>
                    <a:lnTo>
                      <a:pt x="18708" y="11042"/>
                    </a:lnTo>
                    <a:lnTo>
                      <a:pt x="18855" y="11172"/>
                    </a:lnTo>
                    <a:lnTo>
                      <a:pt x="19012" y="11358"/>
                    </a:lnTo>
                    <a:lnTo>
                      <a:pt x="19136" y="11600"/>
                    </a:lnTo>
                    <a:lnTo>
                      <a:pt x="19271" y="11861"/>
                    </a:lnTo>
                    <a:lnTo>
                      <a:pt x="19440" y="12028"/>
                    </a:lnTo>
                    <a:lnTo>
                      <a:pt x="19608" y="12177"/>
                    </a:lnTo>
                    <a:lnTo>
                      <a:pt x="19822" y="12289"/>
                    </a:lnTo>
                    <a:lnTo>
                      <a:pt x="20025" y="12289"/>
                    </a:lnTo>
                    <a:lnTo>
                      <a:pt x="20238" y="12289"/>
                    </a:lnTo>
                    <a:lnTo>
                      <a:pt x="20452" y="12215"/>
                    </a:lnTo>
                    <a:lnTo>
                      <a:pt x="20643" y="12103"/>
                    </a:lnTo>
                    <a:lnTo>
                      <a:pt x="20846" y="11973"/>
                    </a:lnTo>
                    <a:lnTo>
                      <a:pt x="21037" y="11786"/>
                    </a:lnTo>
                    <a:lnTo>
                      <a:pt x="21206" y="11563"/>
                    </a:lnTo>
                    <a:lnTo>
                      <a:pt x="21363" y="11321"/>
                    </a:lnTo>
                    <a:lnTo>
                      <a:pt x="21465" y="11079"/>
                    </a:lnTo>
                    <a:lnTo>
                      <a:pt x="21577" y="10744"/>
                    </a:lnTo>
                    <a:lnTo>
                      <a:pt x="21622" y="10427"/>
                    </a:lnTo>
                    <a:lnTo>
                      <a:pt x="21645" y="10111"/>
                    </a:lnTo>
                    <a:lnTo>
                      <a:pt x="21622" y="9608"/>
                    </a:lnTo>
                    <a:lnTo>
                      <a:pt x="21577" y="9142"/>
                    </a:lnTo>
                    <a:lnTo>
                      <a:pt x="21465" y="8751"/>
                    </a:lnTo>
                    <a:lnTo>
                      <a:pt x="21363" y="8397"/>
                    </a:lnTo>
                    <a:lnTo>
                      <a:pt x="21206" y="8062"/>
                    </a:lnTo>
                    <a:lnTo>
                      <a:pt x="21037" y="7820"/>
                    </a:lnTo>
                    <a:lnTo>
                      <a:pt x="20846" y="7597"/>
                    </a:lnTo>
                    <a:lnTo>
                      <a:pt x="20643" y="7429"/>
                    </a:lnTo>
                    <a:lnTo>
                      <a:pt x="20452" y="7317"/>
                    </a:lnTo>
                    <a:lnTo>
                      <a:pt x="20238" y="7206"/>
                    </a:lnTo>
                    <a:lnTo>
                      <a:pt x="20025" y="7168"/>
                    </a:lnTo>
                    <a:lnTo>
                      <a:pt x="19822" y="7206"/>
                    </a:lnTo>
                    <a:lnTo>
                      <a:pt x="19608" y="7243"/>
                    </a:lnTo>
                    <a:lnTo>
                      <a:pt x="19440" y="7355"/>
                    </a:lnTo>
                    <a:lnTo>
                      <a:pt x="19271" y="7504"/>
                    </a:lnTo>
                    <a:lnTo>
                      <a:pt x="19136" y="7708"/>
                    </a:lnTo>
                    <a:lnTo>
                      <a:pt x="19012" y="7895"/>
                    </a:lnTo>
                    <a:lnTo>
                      <a:pt x="18832" y="8025"/>
                    </a:lnTo>
                    <a:lnTo>
                      <a:pt x="18663" y="8174"/>
                    </a:lnTo>
                    <a:lnTo>
                      <a:pt x="18472" y="8248"/>
                    </a:lnTo>
                    <a:lnTo>
                      <a:pt x="18270" y="8286"/>
                    </a:lnTo>
                    <a:lnTo>
                      <a:pt x="18078" y="8323"/>
                    </a:lnTo>
                    <a:lnTo>
                      <a:pt x="17887" y="8323"/>
                    </a:lnTo>
                    <a:lnTo>
                      <a:pt x="17696" y="8248"/>
                    </a:lnTo>
                    <a:lnTo>
                      <a:pt x="17493" y="8174"/>
                    </a:lnTo>
                    <a:lnTo>
                      <a:pt x="17302" y="8062"/>
                    </a:lnTo>
                    <a:lnTo>
                      <a:pt x="17133" y="7969"/>
                    </a:lnTo>
                    <a:lnTo>
                      <a:pt x="16976" y="7783"/>
                    </a:lnTo>
                    <a:lnTo>
                      <a:pt x="16852" y="7597"/>
                    </a:lnTo>
                    <a:lnTo>
                      <a:pt x="16740" y="7429"/>
                    </a:lnTo>
                    <a:lnTo>
                      <a:pt x="16672" y="7168"/>
                    </a:lnTo>
                    <a:lnTo>
                      <a:pt x="16638" y="6926"/>
                    </a:lnTo>
                    <a:lnTo>
                      <a:pt x="16616" y="6498"/>
                    </a:lnTo>
                    <a:lnTo>
                      <a:pt x="16616" y="5772"/>
                    </a:lnTo>
                    <a:lnTo>
                      <a:pt x="16650" y="4915"/>
                    </a:lnTo>
                    <a:lnTo>
                      <a:pt x="16695" y="3928"/>
                    </a:lnTo>
                    <a:lnTo>
                      <a:pt x="16762" y="2960"/>
                    </a:lnTo>
                    <a:lnTo>
                      <a:pt x="16830" y="1992"/>
                    </a:lnTo>
                    <a:lnTo>
                      <a:pt x="16908" y="1173"/>
                    </a:lnTo>
                    <a:lnTo>
                      <a:pt x="16976" y="521"/>
                    </a:lnTo>
                    <a:lnTo>
                      <a:pt x="16953" y="521"/>
                    </a:lnTo>
                    <a:lnTo>
                      <a:pt x="16931" y="521"/>
                    </a:lnTo>
                    <a:lnTo>
                      <a:pt x="16267" y="484"/>
                    </a:lnTo>
                    <a:lnTo>
                      <a:pt x="15637" y="428"/>
                    </a:lnTo>
                    <a:lnTo>
                      <a:pt x="15063" y="353"/>
                    </a:lnTo>
                    <a:lnTo>
                      <a:pt x="14523" y="279"/>
                    </a:lnTo>
                    <a:lnTo>
                      <a:pt x="14040" y="167"/>
                    </a:lnTo>
                    <a:lnTo>
                      <a:pt x="13635" y="93"/>
                    </a:lnTo>
                    <a:lnTo>
                      <a:pt x="13331" y="18"/>
                    </a:lnTo>
                    <a:lnTo>
                      <a:pt x="13117" y="18"/>
                    </a:lnTo>
                    <a:lnTo>
                      <a:pt x="12982" y="18"/>
                    </a:lnTo>
                    <a:lnTo>
                      <a:pt x="12858" y="130"/>
                    </a:lnTo>
                    <a:lnTo>
                      <a:pt x="12723" y="279"/>
                    </a:lnTo>
                    <a:lnTo>
                      <a:pt x="12622" y="446"/>
                    </a:lnTo>
                    <a:lnTo>
                      <a:pt x="12510" y="670"/>
                    </a:lnTo>
                    <a:lnTo>
                      <a:pt x="12419" y="912"/>
                    </a:lnTo>
                    <a:lnTo>
                      <a:pt x="12363" y="1210"/>
                    </a:lnTo>
                    <a:lnTo>
                      <a:pt x="12318" y="1526"/>
                    </a:lnTo>
                    <a:lnTo>
                      <a:pt x="12273" y="1843"/>
                    </a:lnTo>
                    <a:lnTo>
                      <a:pt x="12251" y="2215"/>
                    </a:lnTo>
                    <a:lnTo>
                      <a:pt x="12273" y="2532"/>
                    </a:lnTo>
                    <a:lnTo>
                      <a:pt x="12318" y="2886"/>
                    </a:lnTo>
                    <a:lnTo>
                      <a:pt x="12386" y="3240"/>
                    </a:lnTo>
                    <a:lnTo>
                      <a:pt x="12464" y="3556"/>
                    </a:lnTo>
                    <a:lnTo>
                      <a:pt x="12577" y="3891"/>
                    </a:lnTo>
                    <a:lnTo>
                      <a:pt x="12746" y="4171"/>
                    </a:lnTo>
                    <a:lnTo>
                      <a:pt x="12926" y="4487"/>
                    </a:lnTo>
                    <a:lnTo>
                      <a:pt x="13050" y="4860"/>
                    </a:lnTo>
                    <a:lnTo>
                      <a:pt x="13162" y="5251"/>
                    </a:lnTo>
                    <a:lnTo>
                      <a:pt x="13218" y="5604"/>
                    </a:lnTo>
                    <a:lnTo>
                      <a:pt x="13263" y="5995"/>
                    </a:lnTo>
                    <a:lnTo>
                      <a:pt x="13241" y="6386"/>
                    </a:lnTo>
                    <a:lnTo>
                      <a:pt x="13218" y="6740"/>
                    </a:lnTo>
                    <a:lnTo>
                      <a:pt x="13139" y="7094"/>
                    </a:lnTo>
                    <a:lnTo>
                      <a:pt x="13050" y="7429"/>
                    </a:lnTo>
                    <a:lnTo>
                      <a:pt x="12903" y="7746"/>
                    </a:lnTo>
                    <a:lnTo>
                      <a:pt x="12723" y="8025"/>
                    </a:lnTo>
                    <a:lnTo>
                      <a:pt x="12532" y="8286"/>
                    </a:lnTo>
                    <a:lnTo>
                      <a:pt x="12318" y="8491"/>
                    </a:lnTo>
                    <a:lnTo>
                      <a:pt x="12060" y="8677"/>
                    </a:lnTo>
                    <a:lnTo>
                      <a:pt x="11756" y="8788"/>
                    </a:lnTo>
                    <a:lnTo>
                      <a:pt x="11452" y="8826"/>
                    </a:lnTo>
                    <a:lnTo>
                      <a:pt x="11283" y="8826"/>
                    </a:lnTo>
                    <a:lnTo>
                      <a:pt x="11126" y="8826"/>
                    </a:lnTo>
                    <a:lnTo>
                      <a:pt x="11002" y="8788"/>
                    </a:lnTo>
                    <a:lnTo>
                      <a:pt x="10845" y="8714"/>
                    </a:lnTo>
                    <a:lnTo>
                      <a:pt x="10721" y="8640"/>
                    </a:lnTo>
                    <a:lnTo>
                      <a:pt x="10608" y="8565"/>
                    </a:lnTo>
                    <a:lnTo>
                      <a:pt x="10485" y="8453"/>
                    </a:lnTo>
                    <a:lnTo>
                      <a:pt x="10372" y="8323"/>
                    </a:lnTo>
                    <a:lnTo>
                      <a:pt x="10181" y="8062"/>
                    </a:lnTo>
                    <a:lnTo>
                      <a:pt x="10035" y="7746"/>
                    </a:lnTo>
                    <a:lnTo>
                      <a:pt x="9900" y="7392"/>
                    </a:lnTo>
                    <a:lnTo>
                      <a:pt x="9787" y="7001"/>
                    </a:lnTo>
                    <a:lnTo>
                      <a:pt x="9731" y="6610"/>
                    </a:lnTo>
                    <a:lnTo>
                      <a:pt x="9686" y="6219"/>
                    </a:lnTo>
                    <a:lnTo>
                      <a:pt x="9663" y="5772"/>
                    </a:lnTo>
                    <a:lnTo>
                      <a:pt x="9686" y="5381"/>
                    </a:lnTo>
                    <a:lnTo>
                      <a:pt x="9753" y="4990"/>
                    </a:lnTo>
                    <a:lnTo>
                      <a:pt x="9832" y="4636"/>
                    </a:lnTo>
                    <a:lnTo>
                      <a:pt x="9945" y="4320"/>
                    </a:lnTo>
                    <a:lnTo>
                      <a:pt x="10068" y="4022"/>
                    </a:lnTo>
                    <a:lnTo>
                      <a:pt x="10203" y="3817"/>
                    </a:lnTo>
                    <a:lnTo>
                      <a:pt x="10316" y="3593"/>
                    </a:lnTo>
                    <a:lnTo>
                      <a:pt x="10395" y="3351"/>
                    </a:lnTo>
                    <a:lnTo>
                      <a:pt x="10462" y="3109"/>
                    </a:lnTo>
                    <a:lnTo>
                      <a:pt x="10507" y="2848"/>
                    </a:lnTo>
                    <a:lnTo>
                      <a:pt x="10530" y="2606"/>
                    </a:lnTo>
                    <a:lnTo>
                      <a:pt x="10507" y="2346"/>
                    </a:lnTo>
                    <a:lnTo>
                      <a:pt x="10462" y="2141"/>
                    </a:lnTo>
                    <a:lnTo>
                      <a:pt x="10395" y="1880"/>
                    </a:lnTo>
                    <a:lnTo>
                      <a:pt x="10293" y="1638"/>
                    </a:lnTo>
                    <a:lnTo>
                      <a:pt x="10158" y="1415"/>
                    </a:lnTo>
                    <a:lnTo>
                      <a:pt x="9967" y="1210"/>
                    </a:lnTo>
                    <a:lnTo>
                      <a:pt x="9753" y="986"/>
                    </a:lnTo>
                    <a:lnTo>
                      <a:pt x="9495" y="819"/>
                    </a:lnTo>
                    <a:lnTo>
                      <a:pt x="9191" y="670"/>
                    </a:lnTo>
                    <a:lnTo>
                      <a:pt x="8842" y="521"/>
                    </a:lnTo>
                    <a:lnTo>
                      <a:pt x="8471" y="446"/>
                    </a:lnTo>
                    <a:lnTo>
                      <a:pt x="7998" y="428"/>
                    </a:lnTo>
                    <a:lnTo>
                      <a:pt x="7413" y="428"/>
                    </a:lnTo>
                    <a:lnTo>
                      <a:pt x="6817" y="446"/>
                    </a:lnTo>
                    <a:lnTo>
                      <a:pt x="6187" y="521"/>
                    </a:lnTo>
                    <a:lnTo>
                      <a:pt x="5602" y="633"/>
                    </a:lnTo>
                    <a:lnTo>
                      <a:pt x="5107" y="744"/>
                    </a:lnTo>
                    <a:lnTo>
                      <a:pt x="4725" y="856"/>
                    </a:lnTo>
                    <a:lnTo>
                      <a:pt x="4848" y="1564"/>
                    </a:lnTo>
                    <a:lnTo>
                      <a:pt x="5028" y="2495"/>
                    </a:lnTo>
                    <a:lnTo>
                      <a:pt x="5175" y="3556"/>
                    </a:lnTo>
                    <a:lnTo>
                      <a:pt x="5298" y="4673"/>
                    </a:lnTo>
                    <a:lnTo>
                      <a:pt x="5343" y="5213"/>
                    </a:lnTo>
                    <a:lnTo>
                      <a:pt x="5388" y="5753"/>
                    </a:lnTo>
                    <a:lnTo>
                      <a:pt x="5411" y="6275"/>
                    </a:lnTo>
                    <a:lnTo>
                      <a:pt x="5411" y="6740"/>
                    </a:lnTo>
                    <a:lnTo>
                      <a:pt x="5366" y="7168"/>
                    </a:lnTo>
                    <a:lnTo>
                      <a:pt x="5321" y="7541"/>
                    </a:lnTo>
                    <a:lnTo>
                      <a:pt x="5287" y="7708"/>
                    </a:lnTo>
                    <a:lnTo>
                      <a:pt x="5242" y="7857"/>
                    </a:lnTo>
                    <a:lnTo>
                      <a:pt x="5197" y="7969"/>
                    </a:lnTo>
                    <a:lnTo>
                      <a:pt x="5130" y="8062"/>
                    </a:lnTo>
                    <a:lnTo>
                      <a:pt x="5006" y="8248"/>
                    </a:lnTo>
                    <a:lnTo>
                      <a:pt x="4848" y="8397"/>
                    </a:lnTo>
                    <a:lnTo>
                      <a:pt x="4725" y="8528"/>
                    </a:lnTo>
                    <a:lnTo>
                      <a:pt x="4567" y="8640"/>
                    </a:lnTo>
                    <a:lnTo>
                      <a:pt x="4421" y="8714"/>
                    </a:lnTo>
                    <a:lnTo>
                      <a:pt x="4263" y="8751"/>
                    </a:lnTo>
                    <a:lnTo>
                      <a:pt x="4095" y="8788"/>
                    </a:lnTo>
                    <a:lnTo>
                      <a:pt x="3948" y="8788"/>
                    </a:lnTo>
                    <a:lnTo>
                      <a:pt x="3791" y="8751"/>
                    </a:lnTo>
                    <a:lnTo>
                      <a:pt x="3667" y="8714"/>
                    </a:lnTo>
                    <a:lnTo>
                      <a:pt x="3510" y="8677"/>
                    </a:lnTo>
                    <a:lnTo>
                      <a:pt x="3386" y="8602"/>
                    </a:lnTo>
                    <a:lnTo>
                      <a:pt x="3251" y="8491"/>
                    </a:lnTo>
                    <a:lnTo>
                      <a:pt x="3127" y="8360"/>
                    </a:lnTo>
                    <a:lnTo>
                      <a:pt x="3015" y="8248"/>
                    </a:lnTo>
                    <a:lnTo>
                      <a:pt x="2925" y="8062"/>
                    </a:lnTo>
                    <a:lnTo>
                      <a:pt x="2778" y="7857"/>
                    </a:lnTo>
                    <a:lnTo>
                      <a:pt x="2610" y="7671"/>
                    </a:lnTo>
                    <a:lnTo>
                      <a:pt x="2407" y="7541"/>
                    </a:lnTo>
                    <a:lnTo>
                      <a:pt x="2171" y="7466"/>
                    </a:lnTo>
                    <a:lnTo>
                      <a:pt x="1957" y="7429"/>
                    </a:lnTo>
                    <a:lnTo>
                      <a:pt x="1698" y="7429"/>
                    </a:lnTo>
                    <a:lnTo>
                      <a:pt x="1462" y="7466"/>
                    </a:lnTo>
                    <a:lnTo>
                      <a:pt x="1226" y="7559"/>
                    </a:lnTo>
                    <a:lnTo>
                      <a:pt x="989" y="7708"/>
                    </a:lnTo>
                    <a:lnTo>
                      <a:pt x="776" y="7932"/>
                    </a:lnTo>
                    <a:lnTo>
                      <a:pt x="551" y="8211"/>
                    </a:lnTo>
                    <a:lnTo>
                      <a:pt x="382" y="8528"/>
                    </a:lnTo>
                    <a:lnTo>
                      <a:pt x="315" y="8714"/>
                    </a:lnTo>
                    <a:lnTo>
                      <a:pt x="236" y="8919"/>
                    </a:lnTo>
                    <a:lnTo>
                      <a:pt x="191" y="9142"/>
                    </a:lnTo>
                    <a:lnTo>
                      <a:pt x="123" y="9347"/>
                    </a:lnTo>
                    <a:lnTo>
                      <a:pt x="78" y="9608"/>
                    </a:lnTo>
                    <a:lnTo>
                      <a:pt x="56" y="9887"/>
                    </a:lnTo>
                    <a:lnTo>
                      <a:pt x="33" y="10185"/>
                    </a:lnTo>
                    <a:lnTo>
                      <a:pt x="33" y="10464"/>
                    </a:lnTo>
                    <a:lnTo>
                      <a:pt x="33" y="10706"/>
                    </a:lnTo>
                    <a:lnTo>
                      <a:pt x="56" y="10967"/>
                    </a:lnTo>
                    <a:lnTo>
                      <a:pt x="78" y="11172"/>
                    </a:lnTo>
                    <a:lnTo>
                      <a:pt x="123" y="11395"/>
                    </a:lnTo>
                    <a:lnTo>
                      <a:pt x="168" y="11600"/>
                    </a:lnTo>
                    <a:lnTo>
                      <a:pt x="236" y="11786"/>
                    </a:lnTo>
                    <a:lnTo>
                      <a:pt x="292" y="11973"/>
                    </a:lnTo>
                    <a:lnTo>
                      <a:pt x="382" y="12140"/>
                    </a:lnTo>
                    <a:lnTo>
                      <a:pt x="540" y="12419"/>
                    </a:lnTo>
                    <a:lnTo>
                      <a:pt x="731" y="12680"/>
                    </a:lnTo>
                    <a:lnTo>
                      <a:pt x="944" y="12866"/>
                    </a:lnTo>
                    <a:lnTo>
                      <a:pt x="1158" y="12997"/>
                    </a:lnTo>
                    <a:lnTo>
                      <a:pt x="1395" y="13108"/>
                    </a:lnTo>
                    <a:lnTo>
                      <a:pt x="1608" y="13183"/>
                    </a:lnTo>
                    <a:lnTo>
                      <a:pt x="1856" y="13183"/>
                    </a:lnTo>
                    <a:lnTo>
                      <a:pt x="2070" y="13146"/>
                    </a:lnTo>
                    <a:lnTo>
                      <a:pt x="2261" y="13071"/>
                    </a:lnTo>
                    <a:lnTo>
                      <a:pt x="2430" y="12960"/>
                    </a:lnTo>
                    <a:lnTo>
                      <a:pt x="2587" y="12792"/>
                    </a:lnTo>
                    <a:lnTo>
                      <a:pt x="2688" y="12606"/>
                    </a:lnTo>
                    <a:lnTo>
                      <a:pt x="2801" y="12419"/>
                    </a:lnTo>
                    <a:lnTo>
                      <a:pt x="2925" y="12289"/>
                    </a:lnTo>
                    <a:lnTo>
                      <a:pt x="3082" y="12177"/>
                    </a:lnTo>
                    <a:lnTo>
                      <a:pt x="3228" y="12103"/>
                    </a:lnTo>
                    <a:lnTo>
                      <a:pt x="3408" y="12103"/>
                    </a:lnTo>
                    <a:lnTo>
                      <a:pt x="3577" y="12103"/>
                    </a:lnTo>
                    <a:lnTo>
                      <a:pt x="3723" y="12177"/>
                    </a:lnTo>
                    <a:lnTo>
                      <a:pt x="3903" y="12252"/>
                    </a:lnTo>
                    <a:lnTo>
                      <a:pt x="4072" y="12364"/>
                    </a:lnTo>
                    <a:lnTo>
                      <a:pt x="4230" y="12494"/>
                    </a:lnTo>
                    <a:lnTo>
                      <a:pt x="4353" y="12643"/>
                    </a:lnTo>
                    <a:lnTo>
                      <a:pt x="4488" y="12829"/>
                    </a:lnTo>
                    <a:lnTo>
                      <a:pt x="4567" y="13034"/>
                    </a:lnTo>
                    <a:lnTo>
                      <a:pt x="4657" y="13257"/>
                    </a:lnTo>
                    <a:lnTo>
                      <a:pt x="4702" y="13462"/>
                    </a:lnTo>
                    <a:lnTo>
                      <a:pt x="4725" y="13686"/>
                    </a:lnTo>
                    <a:lnTo>
                      <a:pt x="4702" y="14282"/>
                    </a:lnTo>
                    <a:lnTo>
                      <a:pt x="4657" y="15045"/>
                    </a:lnTo>
                    <a:lnTo>
                      <a:pt x="4612" y="15976"/>
                    </a:lnTo>
                    <a:lnTo>
                      <a:pt x="4590" y="16926"/>
                    </a:lnTo>
                    <a:lnTo>
                      <a:pt x="4567" y="17968"/>
                    </a:lnTo>
                    <a:lnTo>
                      <a:pt x="4567" y="19011"/>
                    </a:lnTo>
                    <a:lnTo>
                      <a:pt x="4590" y="19514"/>
                    </a:lnTo>
                    <a:lnTo>
                      <a:pt x="4612" y="19980"/>
                    </a:lnTo>
                    <a:lnTo>
                      <a:pt x="4657" y="20426"/>
                    </a:lnTo>
                    <a:lnTo>
                      <a:pt x="4725" y="20836"/>
                    </a:lnTo>
                    <a:lnTo>
                      <a:pt x="4848" y="20929"/>
                    </a:lnTo>
                    <a:lnTo>
                      <a:pt x="5040" y="21004"/>
                    </a:lnTo>
                    <a:lnTo>
                      <a:pt x="5265" y="21078"/>
                    </a:lnTo>
                    <a:lnTo>
                      <a:pt x="5478" y="21115"/>
                    </a:lnTo>
                    <a:lnTo>
                      <a:pt x="6041" y="21115"/>
                    </a:lnTo>
                    <a:lnTo>
                      <a:pt x="6637" y="21078"/>
                    </a:lnTo>
                    <a:lnTo>
                      <a:pt x="7312" y="21004"/>
                    </a:lnTo>
                    <a:lnTo>
                      <a:pt x="7998" y="20929"/>
                    </a:lnTo>
                    <a:lnTo>
                      <a:pt x="8696" y="20855"/>
                    </a:lnTo>
                    <a:lnTo>
                      <a:pt x="9360" y="20836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6AD245-CE23-44AA-B096-4A6180C9AAE6}" type="slidenum">
              <a:rPr lang="en-US" smtClean="0"/>
              <a:pPr/>
              <a:t>1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798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lter and Puzzle</a:t>
            </a:r>
          </a:p>
        </p:txBody>
      </p:sp>
      <p:grpSp>
        <p:nvGrpSpPr>
          <p:cNvPr id="2641939" name="Group 19"/>
          <p:cNvGrpSpPr>
            <a:grpSpLocks/>
          </p:cNvGrpSpPr>
          <p:nvPr/>
        </p:nvGrpSpPr>
        <p:grpSpPr bwMode="auto">
          <a:xfrm>
            <a:off x="1905001" y="1960339"/>
            <a:ext cx="6651625" cy="3533775"/>
            <a:chOff x="240" y="1060"/>
            <a:chExt cx="4190" cy="2226"/>
          </a:xfrm>
        </p:grpSpPr>
        <p:sp>
          <p:nvSpPr>
            <p:cNvPr id="2641925" name="Rectangle 5"/>
            <p:cNvSpPr>
              <a:spLocks noChangeArrowheads="1"/>
            </p:cNvSpPr>
            <p:nvPr/>
          </p:nvSpPr>
          <p:spPr bwMode="gray">
            <a:xfrm>
              <a:off x="240" y="1060"/>
              <a:ext cx="1490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Strategic Goal Setting</a:t>
              </a:r>
            </a:p>
          </p:txBody>
        </p:sp>
        <p:sp>
          <p:nvSpPr>
            <p:cNvPr id="2641926" name="Rectangle 6"/>
            <p:cNvSpPr>
              <a:spLocks noChangeArrowheads="1"/>
            </p:cNvSpPr>
            <p:nvPr/>
          </p:nvSpPr>
          <p:spPr bwMode="gray">
            <a:xfrm>
              <a:off x="240" y="1533"/>
              <a:ext cx="1223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Strategic Analysis</a:t>
              </a:r>
            </a:p>
          </p:txBody>
        </p:sp>
        <p:sp>
          <p:nvSpPr>
            <p:cNvPr id="2641927" name="Rectangle 7"/>
            <p:cNvSpPr>
              <a:spLocks noChangeArrowheads="1"/>
            </p:cNvSpPr>
            <p:nvPr/>
          </p:nvSpPr>
          <p:spPr bwMode="gray">
            <a:xfrm>
              <a:off x="240" y="2096"/>
              <a:ext cx="123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Strategic Crafting</a:t>
              </a:r>
            </a:p>
          </p:txBody>
        </p:sp>
        <p:sp>
          <p:nvSpPr>
            <p:cNvPr id="2641928" name="Rectangle 8"/>
            <p:cNvSpPr>
              <a:spLocks noChangeArrowheads="1"/>
            </p:cNvSpPr>
            <p:nvPr/>
          </p:nvSpPr>
          <p:spPr bwMode="gray">
            <a:xfrm>
              <a:off x="2899" y="2405"/>
              <a:ext cx="936" cy="88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41929" name="Text Box 9"/>
            <p:cNvSpPr txBox="1">
              <a:spLocks noChangeArrowheads="1"/>
            </p:cNvSpPr>
            <p:nvPr/>
          </p:nvSpPr>
          <p:spPr bwMode="gray">
            <a:xfrm>
              <a:off x="2706" y="2474"/>
              <a:ext cx="1321" cy="1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>
              <a:lvl1pPr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290513" indent="-288925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2921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4351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lvl="1" algn="ctr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Implementation</a:t>
              </a:r>
              <a:endParaRPr lang="en-US" sz="160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41930" name="Freeform 10"/>
            <p:cNvSpPr>
              <a:spLocks/>
            </p:cNvSpPr>
            <p:nvPr/>
          </p:nvSpPr>
          <p:spPr bwMode="gray">
            <a:xfrm>
              <a:off x="2400" y="1711"/>
              <a:ext cx="2028" cy="220"/>
            </a:xfrm>
            <a:custGeom>
              <a:avLst/>
              <a:gdLst>
                <a:gd name="T0" fmla="*/ 0 w 1113"/>
                <a:gd name="T1" fmla="*/ 9 h 657"/>
                <a:gd name="T2" fmla="*/ 456 w 1113"/>
                <a:gd name="T3" fmla="*/ 459 h 657"/>
                <a:gd name="T4" fmla="*/ 456 w 1113"/>
                <a:gd name="T5" fmla="*/ 657 h 657"/>
                <a:gd name="T6" fmla="*/ 660 w 1113"/>
                <a:gd name="T7" fmla="*/ 567 h 657"/>
                <a:gd name="T8" fmla="*/ 660 w 1113"/>
                <a:gd name="T9" fmla="*/ 450 h 657"/>
                <a:gd name="T10" fmla="*/ 1113 w 1113"/>
                <a:gd name="T11" fmla="*/ 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3" h="657">
                  <a:moveTo>
                    <a:pt x="0" y="9"/>
                  </a:moveTo>
                  <a:lnTo>
                    <a:pt x="456" y="459"/>
                  </a:lnTo>
                  <a:lnTo>
                    <a:pt x="456" y="657"/>
                  </a:lnTo>
                  <a:lnTo>
                    <a:pt x="660" y="567"/>
                  </a:lnTo>
                  <a:lnTo>
                    <a:pt x="660" y="450"/>
                  </a:lnTo>
                  <a:lnTo>
                    <a:pt x="1113" y="0"/>
                  </a:lnTo>
                </a:path>
              </a:pathLst>
            </a:custGeom>
            <a:gradFill rotWithShape="1">
              <a:gsLst>
                <a:gs pos="0">
                  <a:srgbClr val="C0C0C0"/>
                </a:gs>
                <a:gs pos="50000">
                  <a:schemeClr val="bg1"/>
                </a:gs>
                <a:gs pos="100000">
                  <a:srgbClr val="C0C0C0"/>
                </a:gs>
              </a:gsLst>
              <a:lin ang="0" scaled="1"/>
            </a:gra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41931" name="Oval 11"/>
            <p:cNvSpPr>
              <a:spLocks noChangeArrowheads="1"/>
            </p:cNvSpPr>
            <p:nvPr/>
          </p:nvSpPr>
          <p:spPr bwMode="gray">
            <a:xfrm>
              <a:off x="2394" y="1221"/>
              <a:ext cx="2036" cy="123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36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41932" name="Puzzle3"/>
            <p:cNvSpPr>
              <a:spLocks noEditPoints="1" noChangeArrowheads="1"/>
            </p:cNvSpPr>
            <p:nvPr/>
          </p:nvSpPr>
          <p:spPr bwMode="gray">
            <a:xfrm rot="1435756">
              <a:off x="3425" y="2696"/>
              <a:ext cx="162" cy="220"/>
            </a:xfrm>
            <a:custGeom>
              <a:avLst/>
              <a:gdLst>
                <a:gd name="T0" fmla="*/ 10391 w 21600"/>
                <a:gd name="T1" fmla="*/ 15806 h 21600"/>
                <a:gd name="T2" fmla="*/ 20551 w 21600"/>
                <a:gd name="T3" fmla="*/ 21088 h 21600"/>
                <a:gd name="T4" fmla="*/ 13180 w 21600"/>
                <a:gd name="T5" fmla="*/ 13801 h 21600"/>
                <a:gd name="T6" fmla="*/ 20551 w 21600"/>
                <a:gd name="T7" fmla="*/ 7025 h 21600"/>
                <a:gd name="T8" fmla="*/ 10500 w 21600"/>
                <a:gd name="T9" fmla="*/ 52 h 21600"/>
                <a:gd name="T10" fmla="*/ 692 w 21600"/>
                <a:gd name="T11" fmla="*/ 6802 h 21600"/>
                <a:gd name="T12" fmla="*/ 8064 w 21600"/>
                <a:gd name="T13" fmla="*/ 13526 h 21600"/>
                <a:gd name="T14" fmla="*/ 692 w 21600"/>
                <a:gd name="T15" fmla="*/ 21088 h 21600"/>
                <a:gd name="T16" fmla="*/ 2273 w 21600"/>
                <a:gd name="T17" fmla="*/ 7719 h 21600"/>
                <a:gd name="T18" fmla="*/ 19149 w 21600"/>
                <a:gd name="T19" fmla="*/ 202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6625" y="20892"/>
                  </a:moveTo>
                  <a:lnTo>
                    <a:pt x="7105" y="21023"/>
                  </a:lnTo>
                  <a:lnTo>
                    <a:pt x="7513" y="21088"/>
                  </a:lnTo>
                  <a:lnTo>
                    <a:pt x="7922" y="21115"/>
                  </a:lnTo>
                  <a:lnTo>
                    <a:pt x="8242" y="21115"/>
                  </a:lnTo>
                  <a:lnTo>
                    <a:pt x="8544" y="21062"/>
                  </a:lnTo>
                  <a:lnTo>
                    <a:pt x="8810" y="20997"/>
                  </a:lnTo>
                  <a:lnTo>
                    <a:pt x="9023" y="20892"/>
                  </a:lnTo>
                  <a:lnTo>
                    <a:pt x="9148" y="20761"/>
                  </a:lnTo>
                  <a:lnTo>
                    <a:pt x="9290" y="20616"/>
                  </a:lnTo>
                  <a:lnTo>
                    <a:pt x="9361" y="20459"/>
                  </a:lnTo>
                  <a:lnTo>
                    <a:pt x="9396" y="20289"/>
                  </a:lnTo>
                  <a:lnTo>
                    <a:pt x="9396" y="20092"/>
                  </a:lnTo>
                  <a:lnTo>
                    <a:pt x="9325" y="19909"/>
                  </a:lnTo>
                  <a:lnTo>
                    <a:pt x="9219" y="19738"/>
                  </a:lnTo>
                  <a:lnTo>
                    <a:pt x="9094" y="19555"/>
                  </a:lnTo>
                  <a:lnTo>
                    <a:pt x="8917" y="19384"/>
                  </a:lnTo>
                  <a:lnTo>
                    <a:pt x="8650" y="19162"/>
                  </a:lnTo>
                  <a:lnTo>
                    <a:pt x="8437" y="18900"/>
                  </a:lnTo>
                  <a:lnTo>
                    <a:pt x="8277" y="18624"/>
                  </a:lnTo>
                  <a:lnTo>
                    <a:pt x="8135" y="18349"/>
                  </a:lnTo>
                  <a:lnTo>
                    <a:pt x="8028" y="18048"/>
                  </a:lnTo>
                  <a:lnTo>
                    <a:pt x="7993" y="17746"/>
                  </a:lnTo>
                  <a:lnTo>
                    <a:pt x="7993" y="17471"/>
                  </a:lnTo>
                  <a:lnTo>
                    <a:pt x="8028" y="17169"/>
                  </a:lnTo>
                  <a:lnTo>
                    <a:pt x="8135" y="16920"/>
                  </a:lnTo>
                  <a:lnTo>
                    <a:pt x="8277" y="16671"/>
                  </a:lnTo>
                  <a:lnTo>
                    <a:pt x="8366" y="16540"/>
                  </a:lnTo>
                  <a:lnTo>
                    <a:pt x="8473" y="16409"/>
                  </a:lnTo>
                  <a:lnTo>
                    <a:pt x="8615" y="16317"/>
                  </a:lnTo>
                  <a:lnTo>
                    <a:pt x="8739" y="16213"/>
                  </a:lnTo>
                  <a:lnTo>
                    <a:pt x="8881" y="16134"/>
                  </a:lnTo>
                  <a:lnTo>
                    <a:pt x="9059" y="16055"/>
                  </a:lnTo>
                  <a:lnTo>
                    <a:pt x="9254" y="15990"/>
                  </a:lnTo>
                  <a:lnTo>
                    <a:pt x="9432" y="15911"/>
                  </a:lnTo>
                  <a:lnTo>
                    <a:pt x="9663" y="15885"/>
                  </a:lnTo>
                  <a:lnTo>
                    <a:pt x="9876" y="15833"/>
                  </a:lnTo>
                  <a:lnTo>
                    <a:pt x="10142" y="15806"/>
                  </a:lnTo>
                  <a:lnTo>
                    <a:pt x="10391" y="15806"/>
                  </a:lnTo>
                  <a:lnTo>
                    <a:pt x="10728" y="15806"/>
                  </a:lnTo>
                  <a:lnTo>
                    <a:pt x="10995" y="15806"/>
                  </a:lnTo>
                  <a:lnTo>
                    <a:pt x="11279" y="15833"/>
                  </a:lnTo>
                  <a:lnTo>
                    <a:pt x="11546" y="15885"/>
                  </a:lnTo>
                  <a:lnTo>
                    <a:pt x="11776" y="15937"/>
                  </a:lnTo>
                  <a:lnTo>
                    <a:pt x="12025" y="15990"/>
                  </a:lnTo>
                  <a:lnTo>
                    <a:pt x="12221" y="16055"/>
                  </a:lnTo>
                  <a:lnTo>
                    <a:pt x="12434" y="16134"/>
                  </a:lnTo>
                  <a:lnTo>
                    <a:pt x="12611" y="16213"/>
                  </a:lnTo>
                  <a:lnTo>
                    <a:pt x="12771" y="16317"/>
                  </a:lnTo>
                  <a:lnTo>
                    <a:pt x="12913" y="16409"/>
                  </a:lnTo>
                  <a:lnTo>
                    <a:pt x="13038" y="16514"/>
                  </a:lnTo>
                  <a:lnTo>
                    <a:pt x="13251" y="16737"/>
                  </a:lnTo>
                  <a:lnTo>
                    <a:pt x="13428" y="16986"/>
                  </a:lnTo>
                  <a:lnTo>
                    <a:pt x="13517" y="17248"/>
                  </a:lnTo>
                  <a:lnTo>
                    <a:pt x="13588" y="17523"/>
                  </a:lnTo>
                  <a:lnTo>
                    <a:pt x="13588" y="17799"/>
                  </a:lnTo>
                  <a:lnTo>
                    <a:pt x="13517" y="18074"/>
                  </a:lnTo>
                  <a:lnTo>
                    <a:pt x="13428" y="18323"/>
                  </a:lnTo>
                  <a:lnTo>
                    <a:pt x="13286" y="18572"/>
                  </a:lnTo>
                  <a:lnTo>
                    <a:pt x="13109" y="18808"/>
                  </a:lnTo>
                  <a:lnTo>
                    <a:pt x="12878" y="19031"/>
                  </a:lnTo>
                  <a:lnTo>
                    <a:pt x="12434" y="19411"/>
                  </a:lnTo>
                  <a:lnTo>
                    <a:pt x="12132" y="19738"/>
                  </a:lnTo>
                  <a:lnTo>
                    <a:pt x="12025" y="19856"/>
                  </a:lnTo>
                  <a:lnTo>
                    <a:pt x="11919" y="20014"/>
                  </a:lnTo>
                  <a:lnTo>
                    <a:pt x="11883" y="20132"/>
                  </a:lnTo>
                  <a:lnTo>
                    <a:pt x="11883" y="20263"/>
                  </a:lnTo>
                  <a:lnTo>
                    <a:pt x="11883" y="20394"/>
                  </a:lnTo>
                  <a:lnTo>
                    <a:pt x="11954" y="20485"/>
                  </a:lnTo>
                  <a:lnTo>
                    <a:pt x="12061" y="20590"/>
                  </a:lnTo>
                  <a:lnTo>
                    <a:pt x="12185" y="20695"/>
                  </a:lnTo>
                  <a:lnTo>
                    <a:pt x="12327" y="20787"/>
                  </a:lnTo>
                  <a:lnTo>
                    <a:pt x="12540" y="20892"/>
                  </a:lnTo>
                  <a:lnTo>
                    <a:pt x="12771" y="20997"/>
                  </a:lnTo>
                  <a:lnTo>
                    <a:pt x="13073" y="21088"/>
                  </a:lnTo>
                  <a:lnTo>
                    <a:pt x="13428" y="21193"/>
                  </a:lnTo>
                  <a:lnTo>
                    <a:pt x="13873" y="21298"/>
                  </a:lnTo>
                  <a:lnTo>
                    <a:pt x="14317" y="21390"/>
                  </a:lnTo>
                  <a:lnTo>
                    <a:pt x="14778" y="21468"/>
                  </a:lnTo>
                  <a:lnTo>
                    <a:pt x="15294" y="21547"/>
                  </a:lnTo>
                  <a:lnTo>
                    <a:pt x="15809" y="21600"/>
                  </a:lnTo>
                  <a:lnTo>
                    <a:pt x="16359" y="21652"/>
                  </a:lnTo>
                  <a:lnTo>
                    <a:pt x="16875" y="21678"/>
                  </a:lnTo>
                  <a:lnTo>
                    <a:pt x="17407" y="21678"/>
                  </a:lnTo>
                  <a:lnTo>
                    <a:pt x="17958" y="21678"/>
                  </a:lnTo>
                  <a:lnTo>
                    <a:pt x="18473" y="21652"/>
                  </a:lnTo>
                  <a:lnTo>
                    <a:pt x="18953" y="21573"/>
                  </a:lnTo>
                  <a:lnTo>
                    <a:pt x="19397" y="21495"/>
                  </a:lnTo>
                  <a:lnTo>
                    <a:pt x="19841" y="21390"/>
                  </a:lnTo>
                  <a:lnTo>
                    <a:pt x="20214" y="21272"/>
                  </a:lnTo>
                  <a:lnTo>
                    <a:pt x="20551" y="21088"/>
                  </a:lnTo>
                  <a:lnTo>
                    <a:pt x="20480" y="20787"/>
                  </a:lnTo>
                  <a:lnTo>
                    <a:pt x="20409" y="20485"/>
                  </a:lnTo>
                  <a:lnTo>
                    <a:pt x="20356" y="20158"/>
                  </a:lnTo>
                  <a:lnTo>
                    <a:pt x="20356" y="19804"/>
                  </a:lnTo>
                  <a:lnTo>
                    <a:pt x="20321" y="19083"/>
                  </a:lnTo>
                  <a:lnTo>
                    <a:pt x="20356" y="18349"/>
                  </a:lnTo>
                  <a:lnTo>
                    <a:pt x="20409" y="17641"/>
                  </a:lnTo>
                  <a:lnTo>
                    <a:pt x="20480" y="17012"/>
                  </a:lnTo>
                  <a:lnTo>
                    <a:pt x="20551" y="16488"/>
                  </a:lnTo>
                  <a:lnTo>
                    <a:pt x="20551" y="16055"/>
                  </a:lnTo>
                  <a:lnTo>
                    <a:pt x="20551" y="15911"/>
                  </a:lnTo>
                  <a:lnTo>
                    <a:pt x="20445" y="15754"/>
                  </a:lnTo>
                  <a:lnTo>
                    <a:pt x="20356" y="15610"/>
                  </a:lnTo>
                  <a:lnTo>
                    <a:pt x="20178" y="15452"/>
                  </a:lnTo>
                  <a:lnTo>
                    <a:pt x="20001" y="15334"/>
                  </a:lnTo>
                  <a:lnTo>
                    <a:pt x="19770" y="15230"/>
                  </a:lnTo>
                  <a:lnTo>
                    <a:pt x="19521" y="15125"/>
                  </a:lnTo>
                  <a:lnTo>
                    <a:pt x="19290" y="15059"/>
                  </a:lnTo>
                  <a:lnTo>
                    <a:pt x="19024" y="15007"/>
                  </a:lnTo>
                  <a:lnTo>
                    <a:pt x="18740" y="14954"/>
                  </a:lnTo>
                  <a:lnTo>
                    <a:pt x="18509" y="14954"/>
                  </a:lnTo>
                  <a:lnTo>
                    <a:pt x="18225" y="14954"/>
                  </a:lnTo>
                  <a:lnTo>
                    <a:pt x="17994" y="15007"/>
                  </a:lnTo>
                  <a:lnTo>
                    <a:pt x="17763" y="15085"/>
                  </a:lnTo>
                  <a:lnTo>
                    <a:pt x="17550" y="15177"/>
                  </a:lnTo>
                  <a:lnTo>
                    <a:pt x="17372" y="15308"/>
                  </a:lnTo>
                  <a:lnTo>
                    <a:pt x="17176" y="15426"/>
                  </a:lnTo>
                  <a:lnTo>
                    <a:pt x="16928" y="15557"/>
                  </a:lnTo>
                  <a:lnTo>
                    <a:pt x="16661" y="15636"/>
                  </a:lnTo>
                  <a:lnTo>
                    <a:pt x="16359" y="15688"/>
                  </a:lnTo>
                  <a:lnTo>
                    <a:pt x="16022" y="15715"/>
                  </a:lnTo>
                  <a:lnTo>
                    <a:pt x="15667" y="15688"/>
                  </a:lnTo>
                  <a:lnTo>
                    <a:pt x="15294" y="15662"/>
                  </a:lnTo>
                  <a:lnTo>
                    <a:pt x="14956" y="15583"/>
                  </a:lnTo>
                  <a:lnTo>
                    <a:pt x="14619" y="15479"/>
                  </a:lnTo>
                  <a:lnTo>
                    <a:pt x="14281" y="15334"/>
                  </a:lnTo>
                  <a:lnTo>
                    <a:pt x="13961" y="15177"/>
                  </a:lnTo>
                  <a:lnTo>
                    <a:pt x="13695" y="14981"/>
                  </a:lnTo>
                  <a:lnTo>
                    <a:pt x="13588" y="14850"/>
                  </a:lnTo>
                  <a:lnTo>
                    <a:pt x="13482" y="14732"/>
                  </a:lnTo>
                  <a:lnTo>
                    <a:pt x="13393" y="14600"/>
                  </a:lnTo>
                  <a:lnTo>
                    <a:pt x="13322" y="14456"/>
                  </a:lnTo>
                  <a:lnTo>
                    <a:pt x="13251" y="14299"/>
                  </a:lnTo>
                  <a:lnTo>
                    <a:pt x="13215" y="14155"/>
                  </a:lnTo>
                  <a:lnTo>
                    <a:pt x="13180" y="13971"/>
                  </a:lnTo>
                  <a:lnTo>
                    <a:pt x="13180" y="13801"/>
                  </a:lnTo>
                  <a:lnTo>
                    <a:pt x="13180" y="13591"/>
                  </a:lnTo>
                  <a:lnTo>
                    <a:pt x="13215" y="13395"/>
                  </a:lnTo>
                  <a:lnTo>
                    <a:pt x="13251" y="13198"/>
                  </a:lnTo>
                  <a:lnTo>
                    <a:pt x="13322" y="13015"/>
                  </a:lnTo>
                  <a:lnTo>
                    <a:pt x="13393" y="12870"/>
                  </a:lnTo>
                  <a:lnTo>
                    <a:pt x="13482" y="12713"/>
                  </a:lnTo>
                  <a:lnTo>
                    <a:pt x="13588" y="12569"/>
                  </a:lnTo>
                  <a:lnTo>
                    <a:pt x="13730" y="12438"/>
                  </a:lnTo>
                  <a:lnTo>
                    <a:pt x="13997" y="12215"/>
                  </a:lnTo>
                  <a:lnTo>
                    <a:pt x="14334" y="12005"/>
                  </a:lnTo>
                  <a:lnTo>
                    <a:pt x="14690" y="11861"/>
                  </a:lnTo>
                  <a:lnTo>
                    <a:pt x="15063" y="11756"/>
                  </a:lnTo>
                  <a:lnTo>
                    <a:pt x="15436" y="11678"/>
                  </a:lnTo>
                  <a:lnTo>
                    <a:pt x="15809" y="11638"/>
                  </a:lnTo>
                  <a:lnTo>
                    <a:pt x="16182" y="11638"/>
                  </a:lnTo>
                  <a:lnTo>
                    <a:pt x="16555" y="11678"/>
                  </a:lnTo>
                  <a:lnTo>
                    <a:pt x="16910" y="11730"/>
                  </a:lnTo>
                  <a:lnTo>
                    <a:pt x="17248" y="11835"/>
                  </a:lnTo>
                  <a:lnTo>
                    <a:pt x="17514" y="11966"/>
                  </a:lnTo>
                  <a:lnTo>
                    <a:pt x="17763" y="12110"/>
                  </a:lnTo>
                  <a:lnTo>
                    <a:pt x="17887" y="12215"/>
                  </a:lnTo>
                  <a:lnTo>
                    <a:pt x="18065" y="12307"/>
                  </a:lnTo>
                  <a:lnTo>
                    <a:pt x="18260" y="12412"/>
                  </a:lnTo>
                  <a:lnTo>
                    <a:pt x="18438" y="12464"/>
                  </a:lnTo>
                  <a:lnTo>
                    <a:pt x="18669" y="12543"/>
                  </a:lnTo>
                  <a:lnTo>
                    <a:pt x="18882" y="12569"/>
                  </a:lnTo>
                  <a:lnTo>
                    <a:pt x="19113" y="12595"/>
                  </a:lnTo>
                  <a:lnTo>
                    <a:pt x="19361" y="12608"/>
                  </a:lnTo>
                  <a:lnTo>
                    <a:pt x="19592" y="12608"/>
                  </a:lnTo>
                  <a:lnTo>
                    <a:pt x="19841" y="12595"/>
                  </a:lnTo>
                  <a:lnTo>
                    <a:pt x="20072" y="12543"/>
                  </a:lnTo>
                  <a:lnTo>
                    <a:pt x="20321" y="12490"/>
                  </a:lnTo>
                  <a:lnTo>
                    <a:pt x="20551" y="12438"/>
                  </a:lnTo>
                  <a:lnTo>
                    <a:pt x="20800" y="12333"/>
                  </a:lnTo>
                  <a:lnTo>
                    <a:pt x="20996" y="12241"/>
                  </a:lnTo>
                  <a:lnTo>
                    <a:pt x="21244" y="12110"/>
                  </a:lnTo>
                  <a:lnTo>
                    <a:pt x="21298" y="12032"/>
                  </a:lnTo>
                  <a:lnTo>
                    <a:pt x="21404" y="11966"/>
                  </a:lnTo>
                  <a:lnTo>
                    <a:pt x="21475" y="11861"/>
                  </a:lnTo>
                  <a:lnTo>
                    <a:pt x="21511" y="11730"/>
                  </a:lnTo>
                  <a:lnTo>
                    <a:pt x="21617" y="11481"/>
                  </a:lnTo>
                  <a:lnTo>
                    <a:pt x="21653" y="11180"/>
                  </a:lnTo>
                  <a:lnTo>
                    <a:pt x="21653" y="10826"/>
                  </a:lnTo>
                  <a:lnTo>
                    <a:pt x="21653" y="10472"/>
                  </a:lnTo>
                  <a:lnTo>
                    <a:pt x="21582" y="10092"/>
                  </a:lnTo>
                  <a:lnTo>
                    <a:pt x="21511" y="9725"/>
                  </a:lnTo>
                  <a:lnTo>
                    <a:pt x="21298" y="8912"/>
                  </a:lnTo>
                  <a:lnTo>
                    <a:pt x="21067" y="8191"/>
                  </a:lnTo>
                  <a:lnTo>
                    <a:pt x="20800" y="7536"/>
                  </a:lnTo>
                  <a:lnTo>
                    <a:pt x="20551" y="7025"/>
                  </a:lnTo>
                  <a:lnTo>
                    <a:pt x="20001" y="7103"/>
                  </a:lnTo>
                  <a:lnTo>
                    <a:pt x="19432" y="7156"/>
                  </a:lnTo>
                  <a:lnTo>
                    <a:pt x="18846" y="7208"/>
                  </a:lnTo>
                  <a:lnTo>
                    <a:pt x="18225" y="7208"/>
                  </a:lnTo>
                  <a:lnTo>
                    <a:pt x="17656" y="7208"/>
                  </a:lnTo>
                  <a:lnTo>
                    <a:pt x="17070" y="7182"/>
                  </a:lnTo>
                  <a:lnTo>
                    <a:pt x="16484" y="7156"/>
                  </a:lnTo>
                  <a:lnTo>
                    <a:pt x="15986" y="7103"/>
                  </a:lnTo>
                  <a:lnTo>
                    <a:pt x="14992" y="6999"/>
                  </a:lnTo>
                  <a:lnTo>
                    <a:pt x="14210" y="6907"/>
                  </a:lnTo>
                  <a:lnTo>
                    <a:pt x="13695" y="6828"/>
                  </a:lnTo>
                  <a:lnTo>
                    <a:pt x="13517" y="6802"/>
                  </a:lnTo>
                  <a:lnTo>
                    <a:pt x="13073" y="6645"/>
                  </a:lnTo>
                  <a:lnTo>
                    <a:pt x="12700" y="6474"/>
                  </a:lnTo>
                  <a:lnTo>
                    <a:pt x="12363" y="6304"/>
                  </a:lnTo>
                  <a:lnTo>
                    <a:pt x="12132" y="6094"/>
                  </a:lnTo>
                  <a:lnTo>
                    <a:pt x="11919" y="5871"/>
                  </a:lnTo>
                  <a:lnTo>
                    <a:pt x="11776" y="5649"/>
                  </a:lnTo>
                  <a:lnTo>
                    <a:pt x="11688" y="5413"/>
                  </a:lnTo>
                  <a:lnTo>
                    <a:pt x="11617" y="5190"/>
                  </a:lnTo>
                  <a:lnTo>
                    <a:pt x="11617" y="4941"/>
                  </a:lnTo>
                  <a:lnTo>
                    <a:pt x="11652" y="4718"/>
                  </a:lnTo>
                  <a:lnTo>
                    <a:pt x="11723" y="4482"/>
                  </a:lnTo>
                  <a:lnTo>
                    <a:pt x="11812" y="4285"/>
                  </a:lnTo>
                  <a:lnTo>
                    <a:pt x="11919" y="4089"/>
                  </a:lnTo>
                  <a:lnTo>
                    <a:pt x="12096" y="3905"/>
                  </a:lnTo>
                  <a:lnTo>
                    <a:pt x="12292" y="3735"/>
                  </a:lnTo>
                  <a:lnTo>
                    <a:pt x="12505" y="3604"/>
                  </a:lnTo>
                  <a:lnTo>
                    <a:pt x="12700" y="3460"/>
                  </a:lnTo>
                  <a:lnTo>
                    <a:pt x="12878" y="3250"/>
                  </a:lnTo>
                  <a:lnTo>
                    <a:pt x="13038" y="3027"/>
                  </a:lnTo>
                  <a:lnTo>
                    <a:pt x="13180" y="2752"/>
                  </a:lnTo>
                  <a:lnTo>
                    <a:pt x="13286" y="2477"/>
                  </a:lnTo>
                  <a:lnTo>
                    <a:pt x="13322" y="2175"/>
                  </a:lnTo>
                  <a:lnTo>
                    <a:pt x="13357" y="1874"/>
                  </a:lnTo>
                  <a:lnTo>
                    <a:pt x="13286" y="1572"/>
                  </a:lnTo>
                  <a:lnTo>
                    <a:pt x="13180" y="1271"/>
                  </a:lnTo>
                  <a:lnTo>
                    <a:pt x="13038" y="983"/>
                  </a:lnTo>
                  <a:lnTo>
                    <a:pt x="12949" y="865"/>
                  </a:lnTo>
                  <a:lnTo>
                    <a:pt x="12807" y="733"/>
                  </a:lnTo>
                  <a:lnTo>
                    <a:pt x="12665" y="616"/>
                  </a:lnTo>
                  <a:lnTo>
                    <a:pt x="12505" y="511"/>
                  </a:lnTo>
                  <a:lnTo>
                    <a:pt x="12327" y="406"/>
                  </a:lnTo>
                  <a:lnTo>
                    <a:pt x="12132" y="314"/>
                  </a:lnTo>
                  <a:lnTo>
                    <a:pt x="11883" y="235"/>
                  </a:lnTo>
                  <a:lnTo>
                    <a:pt x="11652" y="183"/>
                  </a:lnTo>
                  <a:lnTo>
                    <a:pt x="11368" y="104"/>
                  </a:lnTo>
                  <a:lnTo>
                    <a:pt x="11101" y="78"/>
                  </a:lnTo>
                  <a:lnTo>
                    <a:pt x="10800" y="52"/>
                  </a:lnTo>
                  <a:lnTo>
                    <a:pt x="10444" y="52"/>
                  </a:lnTo>
                  <a:lnTo>
                    <a:pt x="10142" y="52"/>
                  </a:lnTo>
                  <a:lnTo>
                    <a:pt x="9840" y="78"/>
                  </a:lnTo>
                  <a:lnTo>
                    <a:pt x="9574" y="104"/>
                  </a:lnTo>
                  <a:lnTo>
                    <a:pt x="9325" y="157"/>
                  </a:lnTo>
                  <a:lnTo>
                    <a:pt x="9094" y="209"/>
                  </a:lnTo>
                  <a:lnTo>
                    <a:pt x="8846" y="262"/>
                  </a:lnTo>
                  <a:lnTo>
                    <a:pt x="8650" y="340"/>
                  </a:lnTo>
                  <a:lnTo>
                    <a:pt x="8437" y="432"/>
                  </a:lnTo>
                  <a:lnTo>
                    <a:pt x="8277" y="511"/>
                  </a:lnTo>
                  <a:lnTo>
                    <a:pt x="8100" y="616"/>
                  </a:lnTo>
                  <a:lnTo>
                    <a:pt x="7957" y="707"/>
                  </a:lnTo>
                  <a:lnTo>
                    <a:pt x="7833" y="838"/>
                  </a:lnTo>
                  <a:lnTo>
                    <a:pt x="7620" y="1061"/>
                  </a:lnTo>
                  <a:lnTo>
                    <a:pt x="7442" y="1336"/>
                  </a:lnTo>
                  <a:lnTo>
                    <a:pt x="7353" y="1599"/>
                  </a:lnTo>
                  <a:lnTo>
                    <a:pt x="7318" y="1900"/>
                  </a:lnTo>
                  <a:lnTo>
                    <a:pt x="7318" y="2175"/>
                  </a:lnTo>
                  <a:lnTo>
                    <a:pt x="7353" y="2450"/>
                  </a:lnTo>
                  <a:lnTo>
                    <a:pt x="7442" y="2726"/>
                  </a:lnTo>
                  <a:lnTo>
                    <a:pt x="7620" y="2975"/>
                  </a:lnTo>
                  <a:lnTo>
                    <a:pt x="7833" y="3198"/>
                  </a:lnTo>
                  <a:lnTo>
                    <a:pt x="8064" y="3433"/>
                  </a:lnTo>
                  <a:lnTo>
                    <a:pt x="8295" y="3630"/>
                  </a:lnTo>
                  <a:lnTo>
                    <a:pt x="8508" y="3853"/>
                  </a:lnTo>
                  <a:lnTo>
                    <a:pt x="8686" y="4089"/>
                  </a:lnTo>
                  <a:lnTo>
                    <a:pt x="8775" y="4312"/>
                  </a:lnTo>
                  <a:lnTo>
                    <a:pt x="8846" y="4561"/>
                  </a:lnTo>
                  <a:lnTo>
                    <a:pt x="8846" y="4810"/>
                  </a:lnTo>
                  <a:lnTo>
                    <a:pt x="8810" y="5059"/>
                  </a:lnTo>
                  <a:lnTo>
                    <a:pt x="8721" y="5295"/>
                  </a:lnTo>
                  <a:lnTo>
                    <a:pt x="8579" y="5544"/>
                  </a:lnTo>
                  <a:lnTo>
                    <a:pt x="8366" y="5766"/>
                  </a:lnTo>
                  <a:lnTo>
                    <a:pt x="8135" y="5976"/>
                  </a:lnTo>
                  <a:lnTo>
                    <a:pt x="7833" y="6199"/>
                  </a:lnTo>
                  <a:lnTo>
                    <a:pt x="7478" y="6369"/>
                  </a:lnTo>
                  <a:lnTo>
                    <a:pt x="7069" y="6527"/>
                  </a:lnTo>
                  <a:lnTo>
                    <a:pt x="6590" y="6671"/>
                  </a:lnTo>
                  <a:lnTo>
                    <a:pt x="6092" y="6802"/>
                  </a:lnTo>
                  <a:lnTo>
                    <a:pt x="5684" y="6802"/>
                  </a:lnTo>
                  <a:lnTo>
                    <a:pt x="5133" y="6802"/>
                  </a:lnTo>
                  <a:lnTo>
                    <a:pt x="4547" y="6802"/>
                  </a:lnTo>
                  <a:lnTo>
                    <a:pt x="3872" y="6802"/>
                  </a:lnTo>
                  <a:lnTo>
                    <a:pt x="3144" y="6802"/>
                  </a:lnTo>
                  <a:lnTo>
                    <a:pt x="2362" y="6802"/>
                  </a:lnTo>
                  <a:lnTo>
                    <a:pt x="1545" y="6802"/>
                  </a:lnTo>
                  <a:lnTo>
                    <a:pt x="692" y="6802"/>
                  </a:lnTo>
                  <a:lnTo>
                    <a:pt x="586" y="7234"/>
                  </a:lnTo>
                  <a:lnTo>
                    <a:pt x="461" y="7837"/>
                  </a:lnTo>
                  <a:lnTo>
                    <a:pt x="355" y="8493"/>
                  </a:lnTo>
                  <a:lnTo>
                    <a:pt x="248" y="9187"/>
                  </a:lnTo>
                  <a:lnTo>
                    <a:pt x="142" y="9869"/>
                  </a:lnTo>
                  <a:lnTo>
                    <a:pt x="106" y="10498"/>
                  </a:lnTo>
                  <a:lnTo>
                    <a:pt x="106" y="10983"/>
                  </a:lnTo>
                  <a:lnTo>
                    <a:pt x="106" y="11311"/>
                  </a:lnTo>
                  <a:lnTo>
                    <a:pt x="213" y="11481"/>
                  </a:lnTo>
                  <a:lnTo>
                    <a:pt x="319" y="11651"/>
                  </a:lnTo>
                  <a:lnTo>
                    <a:pt x="497" y="11783"/>
                  </a:lnTo>
                  <a:lnTo>
                    <a:pt x="692" y="11914"/>
                  </a:lnTo>
                  <a:lnTo>
                    <a:pt x="941" y="12032"/>
                  </a:lnTo>
                  <a:lnTo>
                    <a:pt x="1207" y="12110"/>
                  </a:lnTo>
                  <a:lnTo>
                    <a:pt x="1509" y="12189"/>
                  </a:lnTo>
                  <a:lnTo>
                    <a:pt x="1794" y="12241"/>
                  </a:lnTo>
                  <a:lnTo>
                    <a:pt x="2131" y="12267"/>
                  </a:lnTo>
                  <a:lnTo>
                    <a:pt x="2433" y="12281"/>
                  </a:lnTo>
                  <a:lnTo>
                    <a:pt x="2735" y="12267"/>
                  </a:lnTo>
                  <a:lnTo>
                    <a:pt x="3055" y="12241"/>
                  </a:lnTo>
                  <a:lnTo>
                    <a:pt x="3357" y="12189"/>
                  </a:lnTo>
                  <a:lnTo>
                    <a:pt x="3623" y="12084"/>
                  </a:lnTo>
                  <a:lnTo>
                    <a:pt x="3872" y="11979"/>
                  </a:lnTo>
                  <a:lnTo>
                    <a:pt x="4103" y="11861"/>
                  </a:lnTo>
                  <a:lnTo>
                    <a:pt x="4316" y="11704"/>
                  </a:lnTo>
                  <a:lnTo>
                    <a:pt x="4582" y="11612"/>
                  </a:lnTo>
                  <a:lnTo>
                    <a:pt x="4849" y="11533"/>
                  </a:lnTo>
                  <a:lnTo>
                    <a:pt x="5169" y="11507"/>
                  </a:lnTo>
                  <a:lnTo>
                    <a:pt x="5506" y="11481"/>
                  </a:lnTo>
                  <a:lnTo>
                    <a:pt x="5808" y="11507"/>
                  </a:lnTo>
                  <a:lnTo>
                    <a:pt x="6146" y="11560"/>
                  </a:lnTo>
                  <a:lnTo>
                    <a:pt x="6501" y="11651"/>
                  </a:lnTo>
                  <a:lnTo>
                    <a:pt x="6803" y="11783"/>
                  </a:lnTo>
                  <a:lnTo>
                    <a:pt x="7105" y="11940"/>
                  </a:lnTo>
                  <a:lnTo>
                    <a:pt x="7353" y="12110"/>
                  </a:lnTo>
                  <a:lnTo>
                    <a:pt x="7584" y="12333"/>
                  </a:lnTo>
                  <a:lnTo>
                    <a:pt x="7798" y="12595"/>
                  </a:lnTo>
                  <a:lnTo>
                    <a:pt x="7922" y="12870"/>
                  </a:lnTo>
                  <a:lnTo>
                    <a:pt x="8028" y="13198"/>
                  </a:lnTo>
                  <a:lnTo>
                    <a:pt x="8064" y="13526"/>
                  </a:lnTo>
                  <a:lnTo>
                    <a:pt x="8028" y="13775"/>
                  </a:lnTo>
                  <a:lnTo>
                    <a:pt x="7922" y="13998"/>
                  </a:lnTo>
                  <a:lnTo>
                    <a:pt x="7798" y="14220"/>
                  </a:lnTo>
                  <a:lnTo>
                    <a:pt x="7584" y="14404"/>
                  </a:lnTo>
                  <a:lnTo>
                    <a:pt x="7353" y="14574"/>
                  </a:lnTo>
                  <a:lnTo>
                    <a:pt x="7105" y="14732"/>
                  </a:lnTo>
                  <a:lnTo>
                    <a:pt x="6803" y="14850"/>
                  </a:lnTo>
                  <a:lnTo>
                    <a:pt x="6501" y="14954"/>
                  </a:lnTo>
                  <a:lnTo>
                    <a:pt x="6146" y="15033"/>
                  </a:lnTo>
                  <a:lnTo>
                    <a:pt x="5808" y="15085"/>
                  </a:lnTo>
                  <a:lnTo>
                    <a:pt x="5506" y="15085"/>
                  </a:lnTo>
                  <a:lnTo>
                    <a:pt x="5169" y="15059"/>
                  </a:lnTo>
                  <a:lnTo>
                    <a:pt x="4849" y="15007"/>
                  </a:lnTo>
                  <a:lnTo>
                    <a:pt x="4582" y="14902"/>
                  </a:lnTo>
                  <a:lnTo>
                    <a:pt x="4316" y="14784"/>
                  </a:lnTo>
                  <a:lnTo>
                    <a:pt x="4103" y="14600"/>
                  </a:lnTo>
                  <a:lnTo>
                    <a:pt x="3907" y="14430"/>
                  </a:lnTo>
                  <a:lnTo>
                    <a:pt x="3659" y="14299"/>
                  </a:lnTo>
                  <a:lnTo>
                    <a:pt x="3428" y="14194"/>
                  </a:lnTo>
                  <a:lnTo>
                    <a:pt x="3179" y="14129"/>
                  </a:lnTo>
                  <a:lnTo>
                    <a:pt x="2913" y="14102"/>
                  </a:lnTo>
                  <a:lnTo>
                    <a:pt x="2646" y="14102"/>
                  </a:lnTo>
                  <a:lnTo>
                    <a:pt x="2362" y="14129"/>
                  </a:lnTo>
                  <a:lnTo>
                    <a:pt x="2096" y="14168"/>
                  </a:lnTo>
                  <a:lnTo>
                    <a:pt x="1811" y="14273"/>
                  </a:lnTo>
                  <a:lnTo>
                    <a:pt x="1545" y="14378"/>
                  </a:lnTo>
                  <a:lnTo>
                    <a:pt x="1314" y="14496"/>
                  </a:lnTo>
                  <a:lnTo>
                    <a:pt x="1065" y="14653"/>
                  </a:lnTo>
                  <a:lnTo>
                    <a:pt x="870" y="14797"/>
                  </a:lnTo>
                  <a:lnTo>
                    <a:pt x="657" y="14981"/>
                  </a:lnTo>
                  <a:lnTo>
                    <a:pt x="497" y="15177"/>
                  </a:lnTo>
                  <a:lnTo>
                    <a:pt x="390" y="15413"/>
                  </a:lnTo>
                  <a:lnTo>
                    <a:pt x="284" y="15636"/>
                  </a:lnTo>
                  <a:lnTo>
                    <a:pt x="248" y="15911"/>
                  </a:lnTo>
                  <a:lnTo>
                    <a:pt x="284" y="16239"/>
                  </a:lnTo>
                  <a:lnTo>
                    <a:pt x="319" y="16566"/>
                  </a:lnTo>
                  <a:lnTo>
                    <a:pt x="497" y="17340"/>
                  </a:lnTo>
                  <a:lnTo>
                    <a:pt x="692" y="18152"/>
                  </a:lnTo>
                  <a:lnTo>
                    <a:pt x="799" y="18559"/>
                  </a:lnTo>
                  <a:lnTo>
                    <a:pt x="905" y="18978"/>
                  </a:lnTo>
                  <a:lnTo>
                    <a:pt x="959" y="19384"/>
                  </a:lnTo>
                  <a:lnTo>
                    <a:pt x="994" y="19791"/>
                  </a:lnTo>
                  <a:lnTo>
                    <a:pt x="994" y="20132"/>
                  </a:lnTo>
                  <a:lnTo>
                    <a:pt x="959" y="20485"/>
                  </a:lnTo>
                  <a:lnTo>
                    <a:pt x="941" y="20669"/>
                  </a:lnTo>
                  <a:lnTo>
                    <a:pt x="870" y="20813"/>
                  </a:lnTo>
                  <a:lnTo>
                    <a:pt x="799" y="20970"/>
                  </a:lnTo>
                  <a:lnTo>
                    <a:pt x="692" y="21088"/>
                  </a:lnTo>
                  <a:lnTo>
                    <a:pt x="1474" y="20997"/>
                  </a:lnTo>
                  <a:lnTo>
                    <a:pt x="2291" y="20866"/>
                  </a:lnTo>
                  <a:lnTo>
                    <a:pt x="3108" y="20787"/>
                  </a:lnTo>
                  <a:lnTo>
                    <a:pt x="3907" y="20721"/>
                  </a:lnTo>
                  <a:lnTo>
                    <a:pt x="4653" y="20695"/>
                  </a:lnTo>
                  <a:lnTo>
                    <a:pt x="5364" y="20695"/>
                  </a:lnTo>
                  <a:lnTo>
                    <a:pt x="5701" y="20721"/>
                  </a:lnTo>
                  <a:lnTo>
                    <a:pt x="6057" y="20761"/>
                  </a:lnTo>
                  <a:lnTo>
                    <a:pt x="6323" y="20813"/>
                  </a:lnTo>
                  <a:lnTo>
                    <a:pt x="6625" y="20892"/>
                  </a:lnTo>
                  <a:close/>
                </a:path>
              </a:pathLst>
            </a:custGeom>
            <a:solidFill>
              <a:srgbClr val="FFBE7D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41933" name="Puzzle2"/>
            <p:cNvSpPr>
              <a:spLocks noEditPoints="1" noChangeArrowheads="1"/>
            </p:cNvSpPr>
            <p:nvPr/>
          </p:nvSpPr>
          <p:spPr bwMode="gray">
            <a:xfrm rot="2706343">
              <a:off x="3450" y="2939"/>
              <a:ext cx="258" cy="200"/>
            </a:xfrm>
            <a:custGeom>
              <a:avLst/>
              <a:gdLst>
                <a:gd name="T0" fmla="*/ 11 w 21600"/>
                <a:gd name="T1" fmla="*/ 13386 h 21600"/>
                <a:gd name="T2" fmla="*/ 4202 w 21600"/>
                <a:gd name="T3" fmla="*/ 21161 h 21600"/>
                <a:gd name="T4" fmla="*/ 10400 w 21600"/>
                <a:gd name="T5" fmla="*/ 13909 h 21600"/>
                <a:gd name="T6" fmla="*/ 16821 w 21600"/>
                <a:gd name="T7" fmla="*/ 21190 h 21600"/>
                <a:gd name="T8" fmla="*/ 21600 w 21600"/>
                <a:gd name="T9" fmla="*/ 15083 h 21600"/>
                <a:gd name="T10" fmla="*/ 16889 w 21600"/>
                <a:gd name="T11" fmla="*/ 5739 h 21600"/>
                <a:gd name="T12" fmla="*/ 10800 w 21600"/>
                <a:gd name="T13" fmla="*/ 28 h 21600"/>
                <a:gd name="T14" fmla="*/ 4202 w 21600"/>
                <a:gd name="T15" fmla="*/ 5894 h 21600"/>
                <a:gd name="T16" fmla="*/ 5388 w 21600"/>
                <a:gd name="T17" fmla="*/ 6742 h 21600"/>
                <a:gd name="T18" fmla="*/ 16177 w 21600"/>
                <a:gd name="T19" fmla="*/ 20441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4247" y="12354"/>
                  </a:moveTo>
                  <a:lnTo>
                    <a:pt x="4134" y="12468"/>
                  </a:lnTo>
                  <a:lnTo>
                    <a:pt x="4010" y="12581"/>
                  </a:lnTo>
                  <a:lnTo>
                    <a:pt x="3897" y="12637"/>
                  </a:lnTo>
                  <a:lnTo>
                    <a:pt x="3773" y="12694"/>
                  </a:lnTo>
                  <a:lnTo>
                    <a:pt x="3637" y="12694"/>
                  </a:lnTo>
                  <a:lnTo>
                    <a:pt x="3524" y="12694"/>
                  </a:lnTo>
                  <a:lnTo>
                    <a:pt x="3400" y="12665"/>
                  </a:lnTo>
                  <a:lnTo>
                    <a:pt x="3287" y="12609"/>
                  </a:lnTo>
                  <a:lnTo>
                    <a:pt x="3027" y="12496"/>
                  </a:lnTo>
                  <a:lnTo>
                    <a:pt x="2790" y="12340"/>
                  </a:lnTo>
                  <a:lnTo>
                    <a:pt x="2530" y="12142"/>
                  </a:lnTo>
                  <a:lnTo>
                    <a:pt x="2293" y="11987"/>
                  </a:lnTo>
                  <a:lnTo>
                    <a:pt x="2033" y="11817"/>
                  </a:lnTo>
                  <a:lnTo>
                    <a:pt x="1773" y="11676"/>
                  </a:lnTo>
                  <a:lnTo>
                    <a:pt x="1638" y="11662"/>
                  </a:lnTo>
                  <a:lnTo>
                    <a:pt x="1513" y="11634"/>
                  </a:lnTo>
                  <a:lnTo>
                    <a:pt x="1378" y="11634"/>
                  </a:lnTo>
                  <a:lnTo>
                    <a:pt x="1253" y="11634"/>
                  </a:lnTo>
                  <a:lnTo>
                    <a:pt x="1118" y="11662"/>
                  </a:lnTo>
                  <a:lnTo>
                    <a:pt x="971" y="11732"/>
                  </a:lnTo>
                  <a:lnTo>
                    <a:pt x="835" y="11817"/>
                  </a:lnTo>
                  <a:lnTo>
                    <a:pt x="711" y="11959"/>
                  </a:lnTo>
                  <a:lnTo>
                    <a:pt x="553" y="12086"/>
                  </a:lnTo>
                  <a:lnTo>
                    <a:pt x="429" y="12284"/>
                  </a:lnTo>
                  <a:lnTo>
                    <a:pt x="271" y="12524"/>
                  </a:lnTo>
                  <a:lnTo>
                    <a:pt x="146" y="12793"/>
                  </a:lnTo>
                  <a:lnTo>
                    <a:pt x="79" y="12962"/>
                  </a:lnTo>
                  <a:lnTo>
                    <a:pt x="33" y="13146"/>
                  </a:lnTo>
                  <a:lnTo>
                    <a:pt x="11" y="13386"/>
                  </a:lnTo>
                  <a:lnTo>
                    <a:pt x="11" y="13641"/>
                  </a:lnTo>
                  <a:lnTo>
                    <a:pt x="33" y="13881"/>
                  </a:lnTo>
                  <a:lnTo>
                    <a:pt x="101" y="14150"/>
                  </a:lnTo>
                  <a:lnTo>
                    <a:pt x="192" y="14404"/>
                  </a:lnTo>
                  <a:lnTo>
                    <a:pt x="293" y="14645"/>
                  </a:lnTo>
                  <a:lnTo>
                    <a:pt x="451" y="14857"/>
                  </a:lnTo>
                  <a:lnTo>
                    <a:pt x="621" y="15054"/>
                  </a:lnTo>
                  <a:lnTo>
                    <a:pt x="734" y="15125"/>
                  </a:lnTo>
                  <a:lnTo>
                    <a:pt x="835" y="15210"/>
                  </a:lnTo>
                  <a:lnTo>
                    <a:pt x="948" y="15267"/>
                  </a:lnTo>
                  <a:lnTo>
                    <a:pt x="1084" y="15323"/>
                  </a:lnTo>
                  <a:lnTo>
                    <a:pt x="1208" y="15351"/>
                  </a:lnTo>
                  <a:lnTo>
                    <a:pt x="1355" y="15380"/>
                  </a:lnTo>
                  <a:lnTo>
                    <a:pt x="1513" y="15380"/>
                  </a:lnTo>
                  <a:lnTo>
                    <a:pt x="1683" y="15380"/>
                  </a:lnTo>
                  <a:lnTo>
                    <a:pt x="1864" y="15351"/>
                  </a:lnTo>
                  <a:lnTo>
                    <a:pt x="2033" y="15323"/>
                  </a:lnTo>
                  <a:lnTo>
                    <a:pt x="2225" y="15238"/>
                  </a:lnTo>
                  <a:lnTo>
                    <a:pt x="2428" y="15153"/>
                  </a:lnTo>
                  <a:lnTo>
                    <a:pt x="2745" y="15026"/>
                  </a:lnTo>
                  <a:lnTo>
                    <a:pt x="3005" y="14913"/>
                  </a:lnTo>
                  <a:lnTo>
                    <a:pt x="3264" y="14828"/>
                  </a:lnTo>
                  <a:lnTo>
                    <a:pt x="3513" y="14800"/>
                  </a:lnTo>
                  <a:lnTo>
                    <a:pt x="3615" y="14828"/>
                  </a:lnTo>
                  <a:lnTo>
                    <a:pt x="3728" y="14857"/>
                  </a:lnTo>
                  <a:lnTo>
                    <a:pt x="3807" y="14913"/>
                  </a:lnTo>
                  <a:lnTo>
                    <a:pt x="3920" y="14998"/>
                  </a:lnTo>
                  <a:lnTo>
                    <a:pt x="4010" y="15097"/>
                  </a:lnTo>
                  <a:lnTo>
                    <a:pt x="4089" y="15238"/>
                  </a:lnTo>
                  <a:lnTo>
                    <a:pt x="4179" y="15408"/>
                  </a:lnTo>
                  <a:lnTo>
                    <a:pt x="4247" y="15620"/>
                  </a:lnTo>
                  <a:lnTo>
                    <a:pt x="4326" y="15860"/>
                  </a:lnTo>
                  <a:lnTo>
                    <a:pt x="4394" y="16129"/>
                  </a:lnTo>
                  <a:lnTo>
                    <a:pt x="4439" y="16440"/>
                  </a:lnTo>
                  <a:lnTo>
                    <a:pt x="4507" y="16737"/>
                  </a:lnTo>
                  <a:lnTo>
                    <a:pt x="4552" y="17090"/>
                  </a:lnTo>
                  <a:lnTo>
                    <a:pt x="4575" y="17443"/>
                  </a:lnTo>
                  <a:lnTo>
                    <a:pt x="4586" y="17825"/>
                  </a:lnTo>
                  <a:lnTo>
                    <a:pt x="4586" y="18193"/>
                  </a:lnTo>
                  <a:lnTo>
                    <a:pt x="4586" y="18574"/>
                  </a:lnTo>
                  <a:lnTo>
                    <a:pt x="4586" y="18984"/>
                  </a:lnTo>
                  <a:lnTo>
                    <a:pt x="4552" y="19366"/>
                  </a:lnTo>
                  <a:lnTo>
                    <a:pt x="4507" y="19748"/>
                  </a:lnTo>
                  <a:lnTo>
                    <a:pt x="4462" y="20129"/>
                  </a:lnTo>
                  <a:lnTo>
                    <a:pt x="4371" y="20483"/>
                  </a:lnTo>
                  <a:lnTo>
                    <a:pt x="4292" y="20836"/>
                  </a:lnTo>
                  <a:lnTo>
                    <a:pt x="4202" y="21161"/>
                  </a:lnTo>
                  <a:lnTo>
                    <a:pt x="4744" y="21161"/>
                  </a:lnTo>
                  <a:lnTo>
                    <a:pt x="5264" y="21161"/>
                  </a:lnTo>
                  <a:lnTo>
                    <a:pt x="5784" y="21161"/>
                  </a:lnTo>
                  <a:lnTo>
                    <a:pt x="6235" y="21161"/>
                  </a:lnTo>
                  <a:lnTo>
                    <a:pt x="6676" y="21161"/>
                  </a:lnTo>
                  <a:lnTo>
                    <a:pt x="7060" y="21161"/>
                  </a:lnTo>
                  <a:lnTo>
                    <a:pt x="7410" y="21161"/>
                  </a:lnTo>
                  <a:lnTo>
                    <a:pt x="7670" y="21161"/>
                  </a:lnTo>
                  <a:lnTo>
                    <a:pt x="8020" y="21020"/>
                  </a:lnTo>
                  <a:lnTo>
                    <a:pt x="8303" y="20893"/>
                  </a:lnTo>
                  <a:lnTo>
                    <a:pt x="8563" y="20695"/>
                  </a:lnTo>
                  <a:lnTo>
                    <a:pt x="8800" y="20511"/>
                  </a:lnTo>
                  <a:lnTo>
                    <a:pt x="8969" y="20285"/>
                  </a:lnTo>
                  <a:lnTo>
                    <a:pt x="9150" y="20045"/>
                  </a:lnTo>
                  <a:lnTo>
                    <a:pt x="9252" y="19804"/>
                  </a:lnTo>
                  <a:lnTo>
                    <a:pt x="9342" y="19550"/>
                  </a:lnTo>
                  <a:lnTo>
                    <a:pt x="9410" y="19281"/>
                  </a:lnTo>
                  <a:lnTo>
                    <a:pt x="9433" y="19013"/>
                  </a:lnTo>
                  <a:lnTo>
                    <a:pt x="9433" y="18744"/>
                  </a:lnTo>
                  <a:lnTo>
                    <a:pt x="9387" y="18504"/>
                  </a:lnTo>
                  <a:lnTo>
                    <a:pt x="9320" y="18221"/>
                  </a:lnTo>
                  <a:lnTo>
                    <a:pt x="9207" y="17981"/>
                  </a:lnTo>
                  <a:lnTo>
                    <a:pt x="9105" y="17740"/>
                  </a:lnTo>
                  <a:lnTo>
                    <a:pt x="8924" y="17514"/>
                  </a:lnTo>
                  <a:lnTo>
                    <a:pt x="8777" y="17274"/>
                  </a:lnTo>
                  <a:lnTo>
                    <a:pt x="8642" y="17034"/>
                  </a:lnTo>
                  <a:lnTo>
                    <a:pt x="8563" y="16765"/>
                  </a:lnTo>
                  <a:lnTo>
                    <a:pt x="8472" y="16468"/>
                  </a:lnTo>
                  <a:lnTo>
                    <a:pt x="8450" y="16157"/>
                  </a:lnTo>
                  <a:lnTo>
                    <a:pt x="8450" y="15860"/>
                  </a:lnTo>
                  <a:lnTo>
                    <a:pt x="8472" y="15563"/>
                  </a:lnTo>
                  <a:lnTo>
                    <a:pt x="8540" y="15267"/>
                  </a:lnTo>
                  <a:lnTo>
                    <a:pt x="8642" y="14998"/>
                  </a:lnTo>
                  <a:lnTo>
                    <a:pt x="8777" y="14729"/>
                  </a:lnTo>
                  <a:lnTo>
                    <a:pt x="8868" y="14616"/>
                  </a:lnTo>
                  <a:lnTo>
                    <a:pt x="8969" y="14475"/>
                  </a:lnTo>
                  <a:lnTo>
                    <a:pt x="9060" y="14376"/>
                  </a:lnTo>
                  <a:lnTo>
                    <a:pt x="9184" y="14291"/>
                  </a:lnTo>
                  <a:lnTo>
                    <a:pt x="9297" y="14206"/>
                  </a:lnTo>
                  <a:lnTo>
                    <a:pt x="9433" y="14121"/>
                  </a:lnTo>
                  <a:lnTo>
                    <a:pt x="9579" y="14051"/>
                  </a:lnTo>
                  <a:lnTo>
                    <a:pt x="9726" y="13994"/>
                  </a:lnTo>
                  <a:lnTo>
                    <a:pt x="9884" y="13938"/>
                  </a:lnTo>
                  <a:lnTo>
                    <a:pt x="10054" y="13909"/>
                  </a:lnTo>
                  <a:lnTo>
                    <a:pt x="10257" y="13881"/>
                  </a:lnTo>
                  <a:lnTo>
                    <a:pt x="10449" y="13881"/>
                  </a:lnTo>
                  <a:lnTo>
                    <a:pt x="10664" y="13881"/>
                  </a:lnTo>
                  <a:lnTo>
                    <a:pt x="10856" y="13909"/>
                  </a:lnTo>
                  <a:lnTo>
                    <a:pt x="11037" y="13966"/>
                  </a:lnTo>
                  <a:lnTo>
                    <a:pt x="11206" y="14023"/>
                  </a:lnTo>
                  <a:lnTo>
                    <a:pt x="11353" y="14093"/>
                  </a:lnTo>
                  <a:lnTo>
                    <a:pt x="11511" y="14178"/>
                  </a:lnTo>
                  <a:lnTo>
                    <a:pt x="11635" y="14263"/>
                  </a:lnTo>
                  <a:lnTo>
                    <a:pt x="11748" y="14376"/>
                  </a:lnTo>
                  <a:lnTo>
                    <a:pt x="11861" y="14475"/>
                  </a:lnTo>
                  <a:lnTo>
                    <a:pt x="11941" y="14616"/>
                  </a:lnTo>
                  <a:lnTo>
                    <a:pt x="12031" y="14758"/>
                  </a:lnTo>
                  <a:lnTo>
                    <a:pt x="12099" y="14885"/>
                  </a:lnTo>
                  <a:lnTo>
                    <a:pt x="12200" y="15210"/>
                  </a:lnTo>
                  <a:lnTo>
                    <a:pt x="12268" y="15507"/>
                  </a:lnTo>
                  <a:lnTo>
                    <a:pt x="12291" y="15832"/>
                  </a:lnTo>
                  <a:lnTo>
                    <a:pt x="12291" y="16157"/>
                  </a:lnTo>
                  <a:lnTo>
                    <a:pt x="12246" y="16482"/>
                  </a:lnTo>
                  <a:lnTo>
                    <a:pt x="12178" y="16807"/>
                  </a:lnTo>
                  <a:lnTo>
                    <a:pt x="12099" y="17090"/>
                  </a:lnTo>
                  <a:lnTo>
                    <a:pt x="12008" y="17330"/>
                  </a:lnTo>
                  <a:lnTo>
                    <a:pt x="11884" y="17542"/>
                  </a:lnTo>
                  <a:lnTo>
                    <a:pt x="11748" y="17712"/>
                  </a:lnTo>
                  <a:lnTo>
                    <a:pt x="11613" y="17839"/>
                  </a:lnTo>
                  <a:lnTo>
                    <a:pt x="11489" y="18037"/>
                  </a:lnTo>
                  <a:lnTo>
                    <a:pt x="11398" y="18221"/>
                  </a:lnTo>
                  <a:lnTo>
                    <a:pt x="11319" y="18447"/>
                  </a:lnTo>
                  <a:lnTo>
                    <a:pt x="11251" y="18659"/>
                  </a:lnTo>
                  <a:lnTo>
                    <a:pt x="11206" y="18900"/>
                  </a:lnTo>
                  <a:lnTo>
                    <a:pt x="11184" y="19154"/>
                  </a:lnTo>
                  <a:lnTo>
                    <a:pt x="11184" y="19423"/>
                  </a:lnTo>
                  <a:lnTo>
                    <a:pt x="11229" y="19663"/>
                  </a:lnTo>
                  <a:lnTo>
                    <a:pt x="11297" y="19903"/>
                  </a:lnTo>
                  <a:lnTo>
                    <a:pt x="11376" y="20158"/>
                  </a:lnTo>
                  <a:lnTo>
                    <a:pt x="11511" y="20398"/>
                  </a:lnTo>
                  <a:lnTo>
                    <a:pt x="11681" y="20610"/>
                  </a:lnTo>
                  <a:lnTo>
                    <a:pt x="11884" y="20808"/>
                  </a:lnTo>
                  <a:lnTo>
                    <a:pt x="12121" y="20992"/>
                  </a:lnTo>
                  <a:lnTo>
                    <a:pt x="12404" y="21161"/>
                  </a:lnTo>
                  <a:lnTo>
                    <a:pt x="12528" y="21190"/>
                  </a:lnTo>
                  <a:lnTo>
                    <a:pt x="12856" y="21274"/>
                  </a:lnTo>
                  <a:lnTo>
                    <a:pt x="13330" y="21373"/>
                  </a:lnTo>
                  <a:lnTo>
                    <a:pt x="13963" y="21486"/>
                  </a:lnTo>
                  <a:lnTo>
                    <a:pt x="14313" y="21543"/>
                  </a:lnTo>
                  <a:lnTo>
                    <a:pt x="14652" y="21571"/>
                  </a:lnTo>
                  <a:lnTo>
                    <a:pt x="15025" y="21600"/>
                  </a:lnTo>
                  <a:lnTo>
                    <a:pt x="15409" y="21600"/>
                  </a:lnTo>
                  <a:lnTo>
                    <a:pt x="15782" y="21600"/>
                  </a:lnTo>
                  <a:lnTo>
                    <a:pt x="16177" y="21571"/>
                  </a:lnTo>
                  <a:lnTo>
                    <a:pt x="16516" y="21486"/>
                  </a:lnTo>
                  <a:lnTo>
                    <a:pt x="16889" y="21402"/>
                  </a:lnTo>
                  <a:lnTo>
                    <a:pt x="16821" y="21190"/>
                  </a:lnTo>
                  <a:lnTo>
                    <a:pt x="16776" y="20935"/>
                  </a:lnTo>
                  <a:lnTo>
                    <a:pt x="16742" y="20667"/>
                  </a:lnTo>
                  <a:lnTo>
                    <a:pt x="16719" y="20370"/>
                  </a:lnTo>
                  <a:lnTo>
                    <a:pt x="16697" y="19719"/>
                  </a:lnTo>
                  <a:lnTo>
                    <a:pt x="16697" y="19013"/>
                  </a:lnTo>
                  <a:lnTo>
                    <a:pt x="16719" y="18306"/>
                  </a:lnTo>
                  <a:lnTo>
                    <a:pt x="16753" y="17599"/>
                  </a:lnTo>
                  <a:lnTo>
                    <a:pt x="16821" y="16949"/>
                  </a:lnTo>
                  <a:lnTo>
                    <a:pt x="16889" y="16383"/>
                  </a:lnTo>
                  <a:lnTo>
                    <a:pt x="16934" y="16129"/>
                  </a:lnTo>
                  <a:lnTo>
                    <a:pt x="17002" y="15945"/>
                  </a:lnTo>
                  <a:lnTo>
                    <a:pt x="17081" y="15790"/>
                  </a:lnTo>
                  <a:lnTo>
                    <a:pt x="17194" y="15648"/>
                  </a:lnTo>
                  <a:lnTo>
                    <a:pt x="17318" y="15563"/>
                  </a:lnTo>
                  <a:lnTo>
                    <a:pt x="17453" y="15507"/>
                  </a:lnTo>
                  <a:lnTo>
                    <a:pt x="17600" y="15450"/>
                  </a:lnTo>
                  <a:lnTo>
                    <a:pt x="17758" y="15450"/>
                  </a:lnTo>
                  <a:lnTo>
                    <a:pt x="17905" y="15479"/>
                  </a:lnTo>
                  <a:lnTo>
                    <a:pt x="18064" y="15535"/>
                  </a:lnTo>
                  <a:lnTo>
                    <a:pt x="18233" y="15620"/>
                  </a:lnTo>
                  <a:lnTo>
                    <a:pt x="18380" y="15733"/>
                  </a:lnTo>
                  <a:lnTo>
                    <a:pt x="18561" y="15832"/>
                  </a:lnTo>
                  <a:lnTo>
                    <a:pt x="18707" y="15973"/>
                  </a:lnTo>
                  <a:lnTo>
                    <a:pt x="18866" y="16129"/>
                  </a:lnTo>
                  <a:lnTo>
                    <a:pt x="18990" y="16327"/>
                  </a:lnTo>
                  <a:lnTo>
                    <a:pt x="19125" y="16482"/>
                  </a:lnTo>
                  <a:lnTo>
                    <a:pt x="19295" y="16624"/>
                  </a:lnTo>
                  <a:lnTo>
                    <a:pt x="19464" y="16737"/>
                  </a:lnTo>
                  <a:lnTo>
                    <a:pt x="19668" y="16807"/>
                  </a:lnTo>
                  <a:lnTo>
                    <a:pt x="19860" y="16836"/>
                  </a:lnTo>
                  <a:lnTo>
                    <a:pt x="20052" y="16864"/>
                  </a:lnTo>
                  <a:lnTo>
                    <a:pt x="20266" y="16836"/>
                  </a:lnTo>
                  <a:lnTo>
                    <a:pt x="20470" y="16793"/>
                  </a:lnTo>
                  <a:lnTo>
                    <a:pt x="20662" y="16708"/>
                  </a:lnTo>
                  <a:lnTo>
                    <a:pt x="20854" y="16567"/>
                  </a:lnTo>
                  <a:lnTo>
                    <a:pt x="21035" y="16412"/>
                  </a:lnTo>
                  <a:lnTo>
                    <a:pt x="21182" y="16214"/>
                  </a:lnTo>
                  <a:lnTo>
                    <a:pt x="21340" y="16002"/>
                  </a:lnTo>
                  <a:lnTo>
                    <a:pt x="21441" y="15733"/>
                  </a:lnTo>
                  <a:lnTo>
                    <a:pt x="21532" y="15436"/>
                  </a:lnTo>
                  <a:lnTo>
                    <a:pt x="21600" y="15083"/>
                  </a:lnTo>
                  <a:lnTo>
                    <a:pt x="21600" y="14885"/>
                  </a:lnTo>
                  <a:lnTo>
                    <a:pt x="21600" y="14729"/>
                  </a:lnTo>
                  <a:lnTo>
                    <a:pt x="21600" y="14531"/>
                  </a:lnTo>
                  <a:lnTo>
                    <a:pt x="21577" y="14376"/>
                  </a:lnTo>
                  <a:lnTo>
                    <a:pt x="21532" y="14206"/>
                  </a:lnTo>
                  <a:lnTo>
                    <a:pt x="21487" y="14051"/>
                  </a:lnTo>
                  <a:lnTo>
                    <a:pt x="21419" y="13909"/>
                  </a:lnTo>
                  <a:lnTo>
                    <a:pt x="21351" y="13768"/>
                  </a:lnTo>
                  <a:lnTo>
                    <a:pt x="21204" y="13500"/>
                  </a:lnTo>
                  <a:lnTo>
                    <a:pt x="21035" y="13287"/>
                  </a:lnTo>
                  <a:lnTo>
                    <a:pt x="20809" y="13090"/>
                  </a:lnTo>
                  <a:lnTo>
                    <a:pt x="20594" y="12962"/>
                  </a:lnTo>
                  <a:lnTo>
                    <a:pt x="20357" y="12821"/>
                  </a:lnTo>
                  <a:lnTo>
                    <a:pt x="20120" y="12764"/>
                  </a:lnTo>
                  <a:lnTo>
                    <a:pt x="19882" y="12708"/>
                  </a:lnTo>
                  <a:lnTo>
                    <a:pt x="19645" y="12736"/>
                  </a:lnTo>
                  <a:lnTo>
                    <a:pt x="19430" y="12793"/>
                  </a:lnTo>
                  <a:lnTo>
                    <a:pt x="19227" y="12906"/>
                  </a:lnTo>
                  <a:lnTo>
                    <a:pt x="19148" y="12962"/>
                  </a:lnTo>
                  <a:lnTo>
                    <a:pt x="19058" y="13047"/>
                  </a:lnTo>
                  <a:lnTo>
                    <a:pt x="18990" y="13146"/>
                  </a:lnTo>
                  <a:lnTo>
                    <a:pt x="18911" y="13259"/>
                  </a:lnTo>
                  <a:lnTo>
                    <a:pt x="18775" y="13471"/>
                  </a:lnTo>
                  <a:lnTo>
                    <a:pt x="18628" y="13641"/>
                  </a:lnTo>
                  <a:lnTo>
                    <a:pt x="18470" y="13740"/>
                  </a:lnTo>
                  <a:lnTo>
                    <a:pt x="18301" y="13825"/>
                  </a:lnTo>
                  <a:lnTo>
                    <a:pt x="18143" y="13853"/>
                  </a:lnTo>
                  <a:lnTo>
                    <a:pt x="17973" y="13881"/>
                  </a:lnTo>
                  <a:lnTo>
                    <a:pt x="17804" y="13853"/>
                  </a:lnTo>
                  <a:lnTo>
                    <a:pt x="17646" y="13796"/>
                  </a:lnTo>
                  <a:lnTo>
                    <a:pt x="17499" y="13726"/>
                  </a:lnTo>
                  <a:lnTo>
                    <a:pt x="17341" y="13641"/>
                  </a:lnTo>
                  <a:lnTo>
                    <a:pt x="17216" y="13528"/>
                  </a:lnTo>
                  <a:lnTo>
                    <a:pt x="17103" y="13386"/>
                  </a:lnTo>
                  <a:lnTo>
                    <a:pt x="17024" y="13259"/>
                  </a:lnTo>
                  <a:lnTo>
                    <a:pt x="16934" y="13118"/>
                  </a:lnTo>
                  <a:lnTo>
                    <a:pt x="16889" y="12991"/>
                  </a:lnTo>
                  <a:lnTo>
                    <a:pt x="16889" y="12849"/>
                  </a:lnTo>
                  <a:lnTo>
                    <a:pt x="16889" y="12383"/>
                  </a:lnTo>
                  <a:lnTo>
                    <a:pt x="16889" y="11662"/>
                  </a:lnTo>
                  <a:lnTo>
                    <a:pt x="16889" y="10701"/>
                  </a:lnTo>
                  <a:lnTo>
                    <a:pt x="16889" y="9640"/>
                  </a:lnTo>
                  <a:lnTo>
                    <a:pt x="16889" y="8566"/>
                  </a:lnTo>
                  <a:lnTo>
                    <a:pt x="16889" y="7478"/>
                  </a:lnTo>
                  <a:lnTo>
                    <a:pt x="16889" y="6502"/>
                  </a:lnTo>
                  <a:lnTo>
                    <a:pt x="16889" y="5739"/>
                  </a:lnTo>
                  <a:lnTo>
                    <a:pt x="16674" y="5894"/>
                  </a:lnTo>
                  <a:lnTo>
                    <a:pt x="16414" y="6036"/>
                  </a:lnTo>
                  <a:lnTo>
                    <a:pt x="16154" y="6177"/>
                  </a:lnTo>
                  <a:lnTo>
                    <a:pt x="15849" y="6248"/>
                  </a:lnTo>
                  <a:lnTo>
                    <a:pt x="15544" y="6304"/>
                  </a:lnTo>
                  <a:lnTo>
                    <a:pt x="15217" y="6332"/>
                  </a:lnTo>
                  <a:lnTo>
                    <a:pt x="14866" y="6361"/>
                  </a:lnTo>
                  <a:lnTo>
                    <a:pt x="14550" y="6361"/>
                  </a:lnTo>
                  <a:lnTo>
                    <a:pt x="14200" y="6332"/>
                  </a:lnTo>
                  <a:lnTo>
                    <a:pt x="13850" y="6276"/>
                  </a:lnTo>
                  <a:lnTo>
                    <a:pt x="13522" y="6219"/>
                  </a:lnTo>
                  <a:lnTo>
                    <a:pt x="13206" y="6149"/>
                  </a:lnTo>
                  <a:lnTo>
                    <a:pt x="12901" y="6064"/>
                  </a:lnTo>
                  <a:lnTo>
                    <a:pt x="12618" y="5951"/>
                  </a:lnTo>
                  <a:lnTo>
                    <a:pt x="12358" y="5838"/>
                  </a:lnTo>
                  <a:lnTo>
                    <a:pt x="12121" y="5739"/>
                  </a:lnTo>
                  <a:lnTo>
                    <a:pt x="11941" y="5626"/>
                  </a:lnTo>
                  <a:lnTo>
                    <a:pt x="11794" y="5513"/>
                  </a:lnTo>
                  <a:lnTo>
                    <a:pt x="11658" y="5414"/>
                  </a:lnTo>
                  <a:lnTo>
                    <a:pt x="11556" y="5301"/>
                  </a:lnTo>
                  <a:lnTo>
                    <a:pt x="11466" y="5187"/>
                  </a:lnTo>
                  <a:lnTo>
                    <a:pt x="11398" y="5089"/>
                  </a:lnTo>
                  <a:lnTo>
                    <a:pt x="11376" y="4947"/>
                  </a:lnTo>
                  <a:lnTo>
                    <a:pt x="11353" y="4834"/>
                  </a:lnTo>
                  <a:lnTo>
                    <a:pt x="11353" y="4707"/>
                  </a:lnTo>
                  <a:lnTo>
                    <a:pt x="11376" y="4565"/>
                  </a:lnTo>
                  <a:lnTo>
                    <a:pt x="11443" y="4410"/>
                  </a:lnTo>
                  <a:lnTo>
                    <a:pt x="11511" y="4240"/>
                  </a:lnTo>
                  <a:lnTo>
                    <a:pt x="11703" y="3887"/>
                  </a:lnTo>
                  <a:lnTo>
                    <a:pt x="11986" y="3505"/>
                  </a:lnTo>
                  <a:lnTo>
                    <a:pt x="12144" y="3265"/>
                  </a:lnTo>
                  <a:lnTo>
                    <a:pt x="12246" y="3025"/>
                  </a:lnTo>
                  <a:lnTo>
                    <a:pt x="12336" y="2756"/>
                  </a:lnTo>
                  <a:lnTo>
                    <a:pt x="12404" y="2445"/>
                  </a:lnTo>
                  <a:lnTo>
                    <a:pt x="12438" y="2176"/>
                  </a:lnTo>
                  <a:lnTo>
                    <a:pt x="12438" y="1880"/>
                  </a:lnTo>
                  <a:lnTo>
                    <a:pt x="12404" y="1583"/>
                  </a:lnTo>
                  <a:lnTo>
                    <a:pt x="12336" y="1314"/>
                  </a:lnTo>
                  <a:lnTo>
                    <a:pt x="12246" y="1046"/>
                  </a:lnTo>
                  <a:lnTo>
                    <a:pt x="12099" y="791"/>
                  </a:lnTo>
                  <a:lnTo>
                    <a:pt x="12008" y="692"/>
                  </a:lnTo>
                  <a:lnTo>
                    <a:pt x="11918" y="579"/>
                  </a:lnTo>
                  <a:lnTo>
                    <a:pt x="11816" y="466"/>
                  </a:lnTo>
                  <a:lnTo>
                    <a:pt x="11703" y="381"/>
                  </a:lnTo>
                  <a:lnTo>
                    <a:pt x="11579" y="310"/>
                  </a:lnTo>
                  <a:lnTo>
                    <a:pt x="11443" y="226"/>
                  </a:lnTo>
                  <a:lnTo>
                    <a:pt x="11297" y="169"/>
                  </a:lnTo>
                  <a:lnTo>
                    <a:pt x="11138" y="113"/>
                  </a:lnTo>
                  <a:lnTo>
                    <a:pt x="10969" y="56"/>
                  </a:lnTo>
                  <a:lnTo>
                    <a:pt x="10800" y="28"/>
                  </a:lnTo>
                  <a:lnTo>
                    <a:pt x="10619" y="28"/>
                  </a:lnTo>
                  <a:lnTo>
                    <a:pt x="10404" y="28"/>
                  </a:lnTo>
                  <a:lnTo>
                    <a:pt x="10257" y="28"/>
                  </a:lnTo>
                  <a:lnTo>
                    <a:pt x="10076" y="56"/>
                  </a:lnTo>
                  <a:lnTo>
                    <a:pt x="9952" y="84"/>
                  </a:lnTo>
                  <a:lnTo>
                    <a:pt x="9794" y="141"/>
                  </a:lnTo>
                  <a:lnTo>
                    <a:pt x="9692" y="226"/>
                  </a:lnTo>
                  <a:lnTo>
                    <a:pt x="9557" y="282"/>
                  </a:lnTo>
                  <a:lnTo>
                    <a:pt x="9455" y="381"/>
                  </a:lnTo>
                  <a:lnTo>
                    <a:pt x="9365" y="466"/>
                  </a:lnTo>
                  <a:lnTo>
                    <a:pt x="9274" y="579"/>
                  </a:lnTo>
                  <a:lnTo>
                    <a:pt x="9184" y="692"/>
                  </a:lnTo>
                  <a:lnTo>
                    <a:pt x="9128" y="791"/>
                  </a:lnTo>
                  <a:lnTo>
                    <a:pt x="9060" y="932"/>
                  </a:lnTo>
                  <a:lnTo>
                    <a:pt x="8969" y="1201"/>
                  </a:lnTo>
                  <a:lnTo>
                    <a:pt x="8913" y="1498"/>
                  </a:lnTo>
                  <a:lnTo>
                    <a:pt x="8890" y="1795"/>
                  </a:lnTo>
                  <a:lnTo>
                    <a:pt x="8890" y="2120"/>
                  </a:lnTo>
                  <a:lnTo>
                    <a:pt x="8913" y="2445"/>
                  </a:lnTo>
                  <a:lnTo>
                    <a:pt x="8969" y="2756"/>
                  </a:lnTo>
                  <a:lnTo>
                    <a:pt x="9060" y="3081"/>
                  </a:lnTo>
                  <a:lnTo>
                    <a:pt x="9173" y="3378"/>
                  </a:lnTo>
                  <a:lnTo>
                    <a:pt x="9297" y="3647"/>
                  </a:lnTo>
                  <a:lnTo>
                    <a:pt x="9466" y="3887"/>
                  </a:lnTo>
                  <a:lnTo>
                    <a:pt x="9579" y="4085"/>
                  </a:lnTo>
                  <a:lnTo>
                    <a:pt x="9670" y="4269"/>
                  </a:lnTo>
                  <a:lnTo>
                    <a:pt x="9726" y="4467"/>
                  </a:lnTo>
                  <a:lnTo>
                    <a:pt x="9771" y="4650"/>
                  </a:lnTo>
                  <a:lnTo>
                    <a:pt x="9771" y="4834"/>
                  </a:lnTo>
                  <a:lnTo>
                    <a:pt x="9749" y="5032"/>
                  </a:lnTo>
                  <a:lnTo>
                    <a:pt x="9715" y="5216"/>
                  </a:lnTo>
                  <a:lnTo>
                    <a:pt x="9625" y="5385"/>
                  </a:lnTo>
                  <a:lnTo>
                    <a:pt x="9534" y="5513"/>
                  </a:lnTo>
                  <a:lnTo>
                    <a:pt x="9410" y="5626"/>
                  </a:lnTo>
                  <a:lnTo>
                    <a:pt x="9229" y="5710"/>
                  </a:lnTo>
                  <a:lnTo>
                    <a:pt x="9060" y="5767"/>
                  </a:lnTo>
                  <a:lnTo>
                    <a:pt x="8845" y="5767"/>
                  </a:lnTo>
                  <a:lnTo>
                    <a:pt x="8585" y="5739"/>
                  </a:lnTo>
                  <a:lnTo>
                    <a:pt x="8325" y="5654"/>
                  </a:lnTo>
                  <a:lnTo>
                    <a:pt x="8020" y="5513"/>
                  </a:lnTo>
                  <a:lnTo>
                    <a:pt x="7840" y="5442"/>
                  </a:lnTo>
                  <a:lnTo>
                    <a:pt x="7648" y="5385"/>
                  </a:lnTo>
                  <a:lnTo>
                    <a:pt x="7433" y="5329"/>
                  </a:lnTo>
                  <a:lnTo>
                    <a:pt x="7241" y="5301"/>
                  </a:lnTo>
                  <a:lnTo>
                    <a:pt x="6755" y="5301"/>
                  </a:lnTo>
                  <a:lnTo>
                    <a:pt x="6281" y="5329"/>
                  </a:lnTo>
                  <a:lnTo>
                    <a:pt x="5784" y="5385"/>
                  </a:lnTo>
                  <a:lnTo>
                    <a:pt x="5264" y="5498"/>
                  </a:lnTo>
                  <a:lnTo>
                    <a:pt x="4744" y="5597"/>
                  </a:lnTo>
                  <a:lnTo>
                    <a:pt x="4247" y="5739"/>
                  </a:lnTo>
                  <a:lnTo>
                    <a:pt x="4202" y="5894"/>
                  </a:lnTo>
                  <a:lnTo>
                    <a:pt x="4202" y="6191"/>
                  </a:lnTo>
                  <a:lnTo>
                    <a:pt x="4202" y="6545"/>
                  </a:lnTo>
                  <a:lnTo>
                    <a:pt x="4225" y="6954"/>
                  </a:lnTo>
                  <a:lnTo>
                    <a:pt x="4315" y="7930"/>
                  </a:lnTo>
                  <a:lnTo>
                    <a:pt x="4394" y="9018"/>
                  </a:lnTo>
                  <a:lnTo>
                    <a:pt x="4439" y="9570"/>
                  </a:lnTo>
                  <a:lnTo>
                    <a:pt x="4462" y="10107"/>
                  </a:lnTo>
                  <a:lnTo>
                    <a:pt x="4484" y="10630"/>
                  </a:lnTo>
                  <a:lnTo>
                    <a:pt x="4507" y="11082"/>
                  </a:lnTo>
                  <a:lnTo>
                    <a:pt x="4484" y="11520"/>
                  </a:lnTo>
                  <a:lnTo>
                    <a:pt x="4439" y="11874"/>
                  </a:lnTo>
                  <a:lnTo>
                    <a:pt x="4394" y="12029"/>
                  </a:lnTo>
                  <a:lnTo>
                    <a:pt x="4349" y="12171"/>
                  </a:lnTo>
                  <a:lnTo>
                    <a:pt x="4315" y="12284"/>
                  </a:lnTo>
                  <a:lnTo>
                    <a:pt x="4247" y="12354"/>
                  </a:lnTo>
                  <a:close/>
                </a:path>
              </a:pathLst>
            </a:custGeom>
            <a:solidFill>
              <a:srgbClr val="FFFFCC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10800000" vert="eaVert"/>
            <a:lstStyle/>
            <a:p>
              <a:pPr algn="l"/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2641934" name="Group 14"/>
            <p:cNvGrpSpPr>
              <a:grpSpLocks/>
            </p:cNvGrpSpPr>
            <p:nvPr/>
          </p:nvGrpSpPr>
          <p:grpSpPr bwMode="auto">
            <a:xfrm>
              <a:off x="2996" y="2834"/>
              <a:ext cx="363" cy="349"/>
              <a:chOff x="3968" y="2330"/>
              <a:chExt cx="363" cy="349"/>
            </a:xfrm>
          </p:grpSpPr>
          <p:sp>
            <p:nvSpPr>
              <p:cNvPr id="2641935" name="Puzzle4"/>
              <p:cNvSpPr>
                <a:spLocks noEditPoints="1" noChangeArrowheads="1"/>
              </p:cNvSpPr>
              <p:nvPr/>
            </p:nvSpPr>
            <p:spPr bwMode="gray">
              <a:xfrm>
                <a:off x="4021" y="2330"/>
                <a:ext cx="156" cy="256"/>
              </a:xfrm>
              <a:custGeom>
                <a:avLst/>
                <a:gdLst>
                  <a:gd name="T0" fmla="*/ 8307 w 21600"/>
                  <a:gd name="T1" fmla="*/ 11593 h 21600"/>
                  <a:gd name="T2" fmla="*/ 453 w 21600"/>
                  <a:gd name="T3" fmla="*/ 16938 h 21600"/>
                  <a:gd name="T4" fmla="*/ 11500 w 21600"/>
                  <a:gd name="T5" fmla="*/ 21600 h 21600"/>
                  <a:gd name="T6" fmla="*/ 20920 w 21600"/>
                  <a:gd name="T7" fmla="*/ 16751 h 21600"/>
                  <a:gd name="T8" fmla="*/ 13972 w 21600"/>
                  <a:gd name="T9" fmla="*/ 10888 h 21600"/>
                  <a:gd name="T10" fmla="*/ 21033 w 21600"/>
                  <a:gd name="T11" fmla="*/ 4716 h 21600"/>
                  <a:gd name="T12" fmla="*/ 11102 w 21600"/>
                  <a:gd name="T13" fmla="*/ 11 h 21600"/>
                  <a:gd name="T14" fmla="*/ 453 w 21600"/>
                  <a:gd name="T15" fmla="*/ 4716 h 21600"/>
                  <a:gd name="T16" fmla="*/ 2076 w 21600"/>
                  <a:gd name="T17" fmla="*/ 5664 h 21600"/>
                  <a:gd name="T18" fmla="*/ 20203 w 21600"/>
                  <a:gd name="T19" fmla="*/ 1598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3813" y="10590"/>
                    </a:moveTo>
                    <a:lnTo>
                      <a:pt x="3927" y="10513"/>
                    </a:lnTo>
                    <a:lnTo>
                      <a:pt x="4078" y="10425"/>
                    </a:lnTo>
                    <a:lnTo>
                      <a:pt x="4210" y="10359"/>
                    </a:lnTo>
                    <a:lnTo>
                      <a:pt x="4361" y="10315"/>
                    </a:lnTo>
                    <a:lnTo>
                      <a:pt x="4682" y="10237"/>
                    </a:lnTo>
                    <a:lnTo>
                      <a:pt x="5041" y="10193"/>
                    </a:lnTo>
                    <a:lnTo>
                      <a:pt x="5456" y="10171"/>
                    </a:lnTo>
                    <a:lnTo>
                      <a:pt x="5853" y="10193"/>
                    </a:lnTo>
                    <a:lnTo>
                      <a:pt x="6249" y="10260"/>
                    </a:lnTo>
                    <a:lnTo>
                      <a:pt x="6646" y="10337"/>
                    </a:lnTo>
                    <a:lnTo>
                      <a:pt x="7004" y="10469"/>
                    </a:lnTo>
                    <a:lnTo>
                      <a:pt x="7363" y="10612"/>
                    </a:lnTo>
                    <a:lnTo>
                      <a:pt x="7665" y="10788"/>
                    </a:lnTo>
                    <a:lnTo>
                      <a:pt x="7911" y="10998"/>
                    </a:lnTo>
                    <a:lnTo>
                      <a:pt x="8024" y="11097"/>
                    </a:lnTo>
                    <a:lnTo>
                      <a:pt x="8137" y="11207"/>
                    </a:lnTo>
                    <a:lnTo>
                      <a:pt x="8194" y="11340"/>
                    </a:lnTo>
                    <a:lnTo>
                      <a:pt x="8269" y="11461"/>
                    </a:lnTo>
                    <a:lnTo>
                      <a:pt x="8307" y="11593"/>
                    </a:lnTo>
                    <a:lnTo>
                      <a:pt x="8307" y="11714"/>
                    </a:lnTo>
                    <a:lnTo>
                      <a:pt x="8307" y="11868"/>
                    </a:lnTo>
                    <a:lnTo>
                      <a:pt x="8307" y="12012"/>
                    </a:lnTo>
                    <a:lnTo>
                      <a:pt x="8194" y="12265"/>
                    </a:lnTo>
                    <a:lnTo>
                      <a:pt x="8062" y="12519"/>
                    </a:lnTo>
                    <a:lnTo>
                      <a:pt x="7873" y="12706"/>
                    </a:lnTo>
                    <a:lnTo>
                      <a:pt x="7627" y="12904"/>
                    </a:lnTo>
                    <a:lnTo>
                      <a:pt x="7363" y="13048"/>
                    </a:lnTo>
                    <a:lnTo>
                      <a:pt x="7080" y="13180"/>
                    </a:lnTo>
                    <a:lnTo>
                      <a:pt x="6759" y="13257"/>
                    </a:lnTo>
                    <a:lnTo>
                      <a:pt x="6419" y="13345"/>
                    </a:lnTo>
                    <a:lnTo>
                      <a:pt x="6098" y="13389"/>
                    </a:lnTo>
                    <a:lnTo>
                      <a:pt x="5739" y="13389"/>
                    </a:lnTo>
                    <a:lnTo>
                      <a:pt x="5418" y="13389"/>
                    </a:lnTo>
                    <a:lnTo>
                      <a:pt x="5079" y="13345"/>
                    </a:lnTo>
                    <a:lnTo>
                      <a:pt x="4758" y="13301"/>
                    </a:lnTo>
                    <a:lnTo>
                      <a:pt x="4474" y="13213"/>
                    </a:lnTo>
                    <a:lnTo>
                      <a:pt x="4172" y="13114"/>
                    </a:lnTo>
                    <a:lnTo>
                      <a:pt x="3965" y="12982"/>
                    </a:lnTo>
                    <a:lnTo>
                      <a:pt x="3738" y="12838"/>
                    </a:lnTo>
                    <a:lnTo>
                      <a:pt x="3493" y="12706"/>
                    </a:lnTo>
                    <a:lnTo>
                      <a:pt x="3228" y="12607"/>
                    </a:lnTo>
                    <a:lnTo>
                      <a:pt x="2945" y="12519"/>
                    </a:lnTo>
                    <a:lnTo>
                      <a:pt x="2700" y="12431"/>
                    </a:lnTo>
                    <a:lnTo>
                      <a:pt x="2397" y="12375"/>
                    </a:lnTo>
                    <a:lnTo>
                      <a:pt x="2152" y="12331"/>
                    </a:lnTo>
                    <a:lnTo>
                      <a:pt x="1888" y="12309"/>
                    </a:lnTo>
                    <a:lnTo>
                      <a:pt x="1642" y="12309"/>
                    </a:lnTo>
                    <a:lnTo>
                      <a:pt x="1397" y="12331"/>
                    </a:lnTo>
                    <a:lnTo>
                      <a:pt x="1170" y="12397"/>
                    </a:lnTo>
                    <a:lnTo>
                      <a:pt x="962" y="12453"/>
                    </a:lnTo>
                    <a:lnTo>
                      <a:pt x="774" y="12563"/>
                    </a:lnTo>
                    <a:lnTo>
                      <a:pt x="623" y="12684"/>
                    </a:lnTo>
                    <a:lnTo>
                      <a:pt x="528" y="12838"/>
                    </a:lnTo>
                    <a:lnTo>
                      <a:pt x="453" y="13026"/>
                    </a:lnTo>
                    <a:lnTo>
                      <a:pt x="339" y="13477"/>
                    </a:lnTo>
                    <a:lnTo>
                      <a:pt x="226" y="13984"/>
                    </a:lnTo>
                    <a:lnTo>
                      <a:pt x="151" y="14535"/>
                    </a:lnTo>
                    <a:lnTo>
                      <a:pt x="113" y="15075"/>
                    </a:lnTo>
                    <a:lnTo>
                      <a:pt x="113" y="15626"/>
                    </a:lnTo>
                    <a:lnTo>
                      <a:pt x="151" y="16133"/>
                    </a:lnTo>
                    <a:lnTo>
                      <a:pt x="188" y="16376"/>
                    </a:lnTo>
                    <a:lnTo>
                      <a:pt x="264" y="16585"/>
                    </a:lnTo>
                    <a:lnTo>
                      <a:pt x="339" y="16773"/>
                    </a:lnTo>
                    <a:lnTo>
                      <a:pt x="453" y="16938"/>
                    </a:lnTo>
                    <a:lnTo>
                      <a:pt x="1095" y="16883"/>
                    </a:lnTo>
                    <a:lnTo>
                      <a:pt x="1963" y="16795"/>
                    </a:lnTo>
                    <a:lnTo>
                      <a:pt x="2945" y="16751"/>
                    </a:lnTo>
                    <a:lnTo>
                      <a:pt x="3965" y="16706"/>
                    </a:lnTo>
                    <a:lnTo>
                      <a:pt x="5022" y="16684"/>
                    </a:lnTo>
                    <a:lnTo>
                      <a:pt x="5947" y="16684"/>
                    </a:lnTo>
                    <a:lnTo>
                      <a:pt x="6759" y="16706"/>
                    </a:lnTo>
                    <a:lnTo>
                      <a:pt x="7363" y="16751"/>
                    </a:lnTo>
                    <a:lnTo>
                      <a:pt x="7948" y="16839"/>
                    </a:lnTo>
                    <a:lnTo>
                      <a:pt x="8458" y="16916"/>
                    </a:lnTo>
                    <a:lnTo>
                      <a:pt x="8893" y="17026"/>
                    </a:lnTo>
                    <a:lnTo>
                      <a:pt x="9289" y="17158"/>
                    </a:lnTo>
                    <a:lnTo>
                      <a:pt x="9572" y="17280"/>
                    </a:lnTo>
                    <a:lnTo>
                      <a:pt x="9799" y="17412"/>
                    </a:lnTo>
                    <a:lnTo>
                      <a:pt x="9969" y="17555"/>
                    </a:lnTo>
                    <a:lnTo>
                      <a:pt x="10120" y="17687"/>
                    </a:lnTo>
                    <a:lnTo>
                      <a:pt x="10158" y="17831"/>
                    </a:lnTo>
                    <a:lnTo>
                      <a:pt x="10195" y="17974"/>
                    </a:lnTo>
                    <a:lnTo>
                      <a:pt x="10158" y="18128"/>
                    </a:lnTo>
                    <a:lnTo>
                      <a:pt x="10082" y="18271"/>
                    </a:lnTo>
                    <a:lnTo>
                      <a:pt x="9969" y="18426"/>
                    </a:lnTo>
                    <a:lnTo>
                      <a:pt x="9837" y="18569"/>
                    </a:lnTo>
                    <a:lnTo>
                      <a:pt x="9648" y="18701"/>
                    </a:lnTo>
                    <a:lnTo>
                      <a:pt x="9440" y="18822"/>
                    </a:lnTo>
                    <a:lnTo>
                      <a:pt x="9213" y="18999"/>
                    </a:lnTo>
                    <a:lnTo>
                      <a:pt x="9044" y="19186"/>
                    </a:lnTo>
                    <a:lnTo>
                      <a:pt x="8893" y="19395"/>
                    </a:lnTo>
                    <a:lnTo>
                      <a:pt x="8817" y="19627"/>
                    </a:lnTo>
                    <a:lnTo>
                      <a:pt x="8779" y="19858"/>
                    </a:lnTo>
                    <a:lnTo>
                      <a:pt x="8779" y="20112"/>
                    </a:lnTo>
                    <a:lnTo>
                      <a:pt x="8855" y="20354"/>
                    </a:lnTo>
                    <a:lnTo>
                      <a:pt x="8968" y="20586"/>
                    </a:lnTo>
                    <a:lnTo>
                      <a:pt x="9138" y="20817"/>
                    </a:lnTo>
                    <a:lnTo>
                      <a:pt x="9365" y="21026"/>
                    </a:lnTo>
                    <a:lnTo>
                      <a:pt x="9610" y="21192"/>
                    </a:lnTo>
                    <a:lnTo>
                      <a:pt x="9950" y="21368"/>
                    </a:lnTo>
                    <a:lnTo>
                      <a:pt x="10120" y="21445"/>
                    </a:lnTo>
                    <a:lnTo>
                      <a:pt x="10346" y="21511"/>
                    </a:lnTo>
                    <a:lnTo>
                      <a:pt x="10516" y="21555"/>
                    </a:lnTo>
                    <a:lnTo>
                      <a:pt x="10743" y="21600"/>
                    </a:lnTo>
                    <a:lnTo>
                      <a:pt x="10988" y="21644"/>
                    </a:lnTo>
                    <a:lnTo>
                      <a:pt x="11215" y="21666"/>
                    </a:lnTo>
                    <a:lnTo>
                      <a:pt x="11498" y="21666"/>
                    </a:lnTo>
                    <a:lnTo>
                      <a:pt x="11762" y="21666"/>
                    </a:lnTo>
                    <a:lnTo>
                      <a:pt x="12253" y="21644"/>
                    </a:lnTo>
                    <a:lnTo>
                      <a:pt x="12763" y="21577"/>
                    </a:lnTo>
                    <a:lnTo>
                      <a:pt x="13197" y="21467"/>
                    </a:lnTo>
                    <a:lnTo>
                      <a:pt x="13556" y="21346"/>
                    </a:lnTo>
                    <a:lnTo>
                      <a:pt x="13896" y="21192"/>
                    </a:lnTo>
                    <a:lnTo>
                      <a:pt x="14179" y="21026"/>
                    </a:lnTo>
                    <a:lnTo>
                      <a:pt x="14444" y="20839"/>
                    </a:lnTo>
                    <a:lnTo>
                      <a:pt x="14576" y="20641"/>
                    </a:lnTo>
                    <a:lnTo>
                      <a:pt x="14727" y="20431"/>
                    </a:lnTo>
                    <a:lnTo>
                      <a:pt x="14765" y="20200"/>
                    </a:lnTo>
                    <a:lnTo>
                      <a:pt x="14802" y="19991"/>
                    </a:lnTo>
                    <a:lnTo>
                      <a:pt x="14727" y="19759"/>
                    </a:lnTo>
                    <a:lnTo>
                      <a:pt x="14613" y="19550"/>
                    </a:lnTo>
                    <a:lnTo>
                      <a:pt x="14444" y="19307"/>
                    </a:lnTo>
                    <a:lnTo>
                      <a:pt x="14217" y="19098"/>
                    </a:lnTo>
                    <a:lnTo>
                      <a:pt x="13934" y="18911"/>
                    </a:lnTo>
                    <a:lnTo>
                      <a:pt x="13669" y="18745"/>
                    </a:lnTo>
                    <a:lnTo>
                      <a:pt x="13462" y="18547"/>
                    </a:lnTo>
                    <a:lnTo>
                      <a:pt x="13311" y="18337"/>
                    </a:lnTo>
                    <a:lnTo>
                      <a:pt x="13197" y="18150"/>
                    </a:lnTo>
                    <a:lnTo>
                      <a:pt x="13122" y="17941"/>
                    </a:lnTo>
                    <a:lnTo>
                      <a:pt x="13122" y="17720"/>
                    </a:lnTo>
                    <a:lnTo>
                      <a:pt x="13122" y="17533"/>
                    </a:lnTo>
                    <a:lnTo>
                      <a:pt x="13197" y="17346"/>
                    </a:lnTo>
                    <a:lnTo>
                      <a:pt x="13273" y="17158"/>
                    </a:lnTo>
                    <a:lnTo>
                      <a:pt x="13386" y="16982"/>
                    </a:lnTo>
                    <a:lnTo>
                      <a:pt x="13537" y="16839"/>
                    </a:lnTo>
                    <a:lnTo>
                      <a:pt x="13707" y="16706"/>
                    </a:lnTo>
                    <a:lnTo>
                      <a:pt x="13896" y="16607"/>
                    </a:lnTo>
                    <a:lnTo>
                      <a:pt x="14104" y="16519"/>
                    </a:lnTo>
                    <a:lnTo>
                      <a:pt x="14330" y="16453"/>
                    </a:lnTo>
                    <a:lnTo>
                      <a:pt x="14538" y="16431"/>
                    </a:lnTo>
                    <a:lnTo>
                      <a:pt x="14897" y="16453"/>
                    </a:lnTo>
                    <a:lnTo>
                      <a:pt x="15406" y="16497"/>
                    </a:lnTo>
                    <a:lnTo>
                      <a:pt x="16105" y="16541"/>
                    </a:lnTo>
                    <a:lnTo>
                      <a:pt x="16898" y="16607"/>
                    </a:lnTo>
                    <a:lnTo>
                      <a:pt x="17804" y="16651"/>
                    </a:lnTo>
                    <a:lnTo>
                      <a:pt x="18786" y="16684"/>
                    </a:lnTo>
                    <a:lnTo>
                      <a:pt x="19844" y="16728"/>
                    </a:lnTo>
                    <a:lnTo>
                      <a:pt x="20920" y="16751"/>
                    </a:lnTo>
                    <a:lnTo>
                      <a:pt x="21109" y="16497"/>
                    </a:lnTo>
                    <a:lnTo>
                      <a:pt x="21241" y="16222"/>
                    </a:lnTo>
                    <a:lnTo>
                      <a:pt x="21392" y="15946"/>
                    </a:lnTo>
                    <a:lnTo>
                      <a:pt x="21467" y="15648"/>
                    </a:lnTo>
                    <a:lnTo>
                      <a:pt x="21543" y="15351"/>
                    </a:lnTo>
                    <a:lnTo>
                      <a:pt x="21618" y="15042"/>
                    </a:lnTo>
                    <a:lnTo>
                      <a:pt x="21618" y="14745"/>
                    </a:lnTo>
                    <a:lnTo>
                      <a:pt x="21618" y="14447"/>
                    </a:lnTo>
                    <a:lnTo>
                      <a:pt x="21618" y="14150"/>
                    </a:lnTo>
                    <a:lnTo>
                      <a:pt x="21581" y="13852"/>
                    </a:lnTo>
                    <a:lnTo>
                      <a:pt x="21505" y="13577"/>
                    </a:lnTo>
                    <a:lnTo>
                      <a:pt x="21430" y="13301"/>
                    </a:lnTo>
                    <a:lnTo>
                      <a:pt x="21354" y="13048"/>
                    </a:lnTo>
                    <a:lnTo>
                      <a:pt x="21241" y="12816"/>
                    </a:lnTo>
                    <a:lnTo>
                      <a:pt x="21146" y="12607"/>
                    </a:lnTo>
                    <a:lnTo>
                      <a:pt x="21033" y="12431"/>
                    </a:lnTo>
                    <a:lnTo>
                      <a:pt x="20920" y="12265"/>
                    </a:lnTo>
                    <a:lnTo>
                      <a:pt x="20769" y="12144"/>
                    </a:lnTo>
                    <a:lnTo>
                      <a:pt x="20637" y="12034"/>
                    </a:lnTo>
                    <a:lnTo>
                      <a:pt x="20486" y="11946"/>
                    </a:lnTo>
                    <a:lnTo>
                      <a:pt x="20297" y="11891"/>
                    </a:lnTo>
                    <a:lnTo>
                      <a:pt x="20165" y="11846"/>
                    </a:lnTo>
                    <a:lnTo>
                      <a:pt x="19976" y="11824"/>
                    </a:lnTo>
                    <a:lnTo>
                      <a:pt x="19806" y="11802"/>
                    </a:lnTo>
                    <a:lnTo>
                      <a:pt x="19390" y="11824"/>
                    </a:lnTo>
                    <a:lnTo>
                      <a:pt x="18956" y="11891"/>
                    </a:lnTo>
                    <a:lnTo>
                      <a:pt x="18503" y="11968"/>
                    </a:lnTo>
                    <a:lnTo>
                      <a:pt x="17993" y="12078"/>
                    </a:lnTo>
                    <a:lnTo>
                      <a:pt x="17653" y="12144"/>
                    </a:lnTo>
                    <a:lnTo>
                      <a:pt x="17332" y="12199"/>
                    </a:lnTo>
                    <a:lnTo>
                      <a:pt x="17049" y="12221"/>
                    </a:lnTo>
                    <a:lnTo>
                      <a:pt x="16747" y="12243"/>
                    </a:lnTo>
                    <a:lnTo>
                      <a:pt x="16464" y="12243"/>
                    </a:lnTo>
                    <a:lnTo>
                      <a:pt x="16218" y="12243"/>
                    </a:lnTo>
                    <a:lnTo>
                      <a:pt x="15992" y="12221"/>
                    </a:lnTo>
                    <a:lnTo>
                      <a:pt x="15746" y="12199"/>
                    </a:lnTo>
                    <a:lnTo>
                      <a:pt x="15520" y="12155"/>
                    </a:lnTo>
                    <a:lnTo>
                      <a:pt x="15350" y="12122"/>
                    </a:lnTo>
                    <a:lnTo>
                      <a:pt x="15161" y="12056"/>
                    </a:lnTo>
                    <a:lnTo>
                      <a:pt x="14972" y="11990"/>
                    </a:lnTo>
                    <a:lnTo>
                      <a:pt x="14689" y="11846"/>
                    </a:lnTo>
                    <a:lnTo>
                      <a:pt x="14444" y="11670"/>
                    </a:lnTo>
                    <a:lnTo>
                      <a:pt x="14255" y="11483"/>
                    </a:lnTo>
                    <a:lnTo>
                      <a:pt x="14104" y="11295"/>
                    </a:lnTo>
                    <a:lnTo>
                      <a:pt x="14028" y="11086"/>
                    </a:lnTo>
                    <a:lnTo>
                      <a:pt x="13972" y="10888"/>
                    </a:lnTo>
                    <a:lnTo>
                      <a:pt x="13972" y="10700"/>
                    </a:lnTo>
                    <a:lnTo>
                      <a:pt x="14009" y="10513"/>
                    </a:lnTo>
                    <a:lnTo>
                      <a:pt x="14066" y="10359"/>
                    </a:lnTo>
                    <a:lnTo>
                      <a:pt x="14179" y="10215"/>
                    </a:lnTo>
                    <a:lnTo>
                      <a:pt x="14406" y="10006"/>
                    </a:lnTo>
                    <a:lnTo>
                      <a:pt x="14651" y="9830"/>
                    </a:lnTo>
                    <a:lnTo>
                      <a:pt x="14878" y="9686"/>
                    </a:lnTo>
                    <a:lnTo>
                      <a:pt x="15123" y="9554"/>
                    </a:lnTo>
                    <a:lnTo>
                      <a:pt x="15350" y="9477"/>
                    </a:lnTo>
                    <a:lnTo>
                      <a:pt x="15558" y="9411"/>
                    </a:lnTo>
                    <a:lnTo>
                      <a:pt x="15803" y="9345"/>
                    </a:lnTo>
                    <a:lnTo>
                      <a:pt x="16030" y="9323"/>
                    </a:lnTo>
                    <a:lnTo>
                      <a:pt x="16256" y="9301"/>
                    </a:lnTo>
                    <a:lnTo>
                      <a:pt x="16464" y="9323"/>
                    </a:lnTo>
                    <a:lnTo>
                      <a:pt x="16690" y="9345"/>
                    </a:lnTo>
                    <a:lnTo>
                      <a:pt x="16898" y="9367"/>
                    </a:lnTo>
                    <a:lnTo>
                      <a:pt x="17332" y="9477"/>
                    </a:lnTo>
                    <a:lnTo>
                      <a:pt x="17767" y="9598"/>
                    </a:lnTo>
                    <a:lnTo>
                      <a:pt x="18163" y="9731"/>
                    </a:lnTo>
                    <a:lnTo>
                      <a:pt x="18597" y="9874"/>
                    </a:lnTo>
                    <a:lnTo>
                      <a:pt x="18994" y="10006"/>
                    </a:lnTo>
                    <a:lnTo>
                      <a:pt x="19428" y="10083"/>
                    </a:lnTo>
                    <a:lnTo>
                      <a:pt x="19617" y="10127"/>
                    </a:lnTo>
                    <a:lnTo>
                      <a:pt x="19844" y="10149"/>
                    </a:lnTo>
                    <a:lnTo>
                      <a:pt x="20013" y="10149"/>
                    </a:lnTo>
                    <a:lnTo>
                      <a:pt x="20240" y="10127"/>
                    </a:lnTo>
                    <a:lnTo>
                      <a:pt x="20410" y="10105"/>
                    </a:lnTo>
                    <a:lnTo>
                      <a:pt x="20637" y="10061"/>
                    </a:lnTo>
                    <a:lnTo>
                      <a:pt x="20844" y="9984"/>
                    </a:lnTo>
                    <a:lnTo>
                      <a:pt x="21033" y="9896"/>
                    </a:lnTo>
                    <a:lnTo>
                      <a:pt x="21146" y="9830"/>
                    </a:lnTo>
                    <a:lnTo>
                      <a:pt x="21203" y="9753"/>
                    </a:lnTo>
                    <a:lnTo>
                      <a:pt x="21279" y="9642"/>
                    </a:lnTo>
                    <a:lnTo>
                      <a:pt x="21354" y="9521"/>
                    </a:lnTo>
                    <a:lnTo>
                      <a:pt x="21430" y="9246"/>
                    </a:lnTo>
                    <a:lnTo>
                      <a:pt x="21430" y="8904"/>
                    </a:lnTo>
                    <a:lnTo>
                      <a:pt x="21430" y="8540"/>
                    </a:lnTo>
                    <a:lnTo>
                      <a:pt x="21392" y="8144"/>
                    </a:lnTo>
                    <a:lnTo>
                      <a:pt x="21354" y="7714"/>
                    </a:lnTo>
                    <a:lnTo>
                      <a:pt x="21279" y="7295"/>
                    </a:lnTo>
                    <a:lnTo>
                      <a:pt x="21146" y="6446"/>
                    </a:lnTo>
                    <a:lnTo>
                      <a:pt x="20995" y="5686"/>
                    </a:lnTo>
                    <a:lnTo>
                      <a:pt x="20958" y="5366"/>
                    </a:lnTo>
                    <a:lnTo>
                      <a:pt x="20958" y="5091"/>
                    </a:lnTo>
                    <a:lnTo>
                      <a:pt x="20958" y="4860"/>
                    </a:lnTo>
                    <a:lnTo>
                      <a:pt x="21033" y="4716"/>
                    </a:lnTo>
                    <a:lnTo>
                      <a:pt x="20637" y="4860"/>
                    </a:lnTo>
                    <a:lnTo>
                      <a:pt x="20127" y="4992"/>
                    </a:lnTo>
                    <a:lnTo>
                      <a:pt x="19617" y="5069"/>
                    </a:lnTo>
                    <a:lnTo>
                      <a:pt x="19032" y="5157"/>
                    </a:lnTo>
                    <a:lnTo>
                      <a:pt x="18465" y="5201"/>
                    </a:lnTo>
                    <a:lnTo>
                      <a:pt x="17842" y="5245"/>
                    </a:lnTo>
                    <a:lnTo>
                      <a:pt x="17219" y="5267"/>
                    </a:lnTo>
                    <a:lnTo>
                      <a:pt x="16615" y="5267"/>
                    </a:lnTo>
                    <a:lnTo>
                      <a:pt x="15992" y="5245"/>
                    </a:lnTo>
                    <a:lnTo>
                      <a:pt x="15369" y="5201"/>
                    </a:lnTo>
                    <a:lnTo>
                      <a:pt x="14840" y="5157"/>
                    </a:lnTo>
                    <a:lnTo>
                      <a:pt x="14293" y="5091"/>
                    </a:lnTo>
                    <a:lnTo>
                      <a:pt x="13783" y="5014"/>
                    </a:lnTo>
                    <a:lnTo>
                      <a:pt x="13386" y="4926"/>
                    </a:lnTo>
                    <a:lnTo>
                      <a:pt x="13027" y="4815"/>
                    </a:lnTo>
                    <a:lnTo>
                      <a:pt x="12725" y="4716"/>
                    </a:lnTo>
                    <a:lnTo>
                      <a:pt x="12480" y="4606"/>
                    </a:lnTo>
                    <a:lnTo>
                      <a:pt x="12291" y="4496"/>
                    </a:lnTo>
                    <a:lnTo>
                      <a:pt x="12197" y="4397"/>
                    </a:lnTo>
                    <a:lnTo>
                      <a:pt x="12083" y="4286"/>
                    </a:lnTo>
                    <a:lnTo>
                      <a:pt x="12046" y="4187"/>
                    </a:lnTo>
                    <a:lnTo>
                      <a:pt x="12008" y="4077"/>
                    </a:lnTo>
                    <a:lnTo>
                      <a:pt x="12046" y="3967"/>
                    </a:lnTo>
                    <a:lnTo>
                      <a:pt x="12121" y="3868"/>
                    </a:lnTo>
                    <a:lnTo>
                      <a:pt x="12197" y="3735"/>
                    </a:lnTo>
                    <a:lnTo>
                      <a:pt x="12291" y="3614"/>
                    </a:lnTo>
                    <a:lnTo>
                      <a:pt x="12442" y="3482"/>
                    </a:lnTo>
                    <a:lnTo>
                      <a:pt x="12631" y="3361"/>
                    </a:lnTo>
                    <a:lnTo>
                      <a:pt x="13065" y="3085"/>
                    </a:lnTo>
                    <a:lnTo>
                      <a:pt x="13537" y="2766"/>
                    </a:lnTo>
                    <a:lnTo>
                      <a:pt x="13783" y="2578"/>
                    </a:lnTo>
                    <a:lnTo>
                      <a:pt x="13934" y="2380"/>
                    </a:lnTo>
                    <a:lnTo>
                      <a:pt x="14028" y="2171"/>
                    </a:lnTo>
                    <a:lnTo>
                      <a:pt x="14104" y="1961"/>
                    </a:lnTo>
                    <a:lnTo>
                      <a:pt x="14104" y="1730"/>
                    </a:lnTo>
                    <a:lnTo>
                      <a:pt x="14066" y="1498"/>
                    </a:lnTo>
                    <a:lnTo>
                      <a:pt x="13972" y="1267"/>
                    </a:lnTo>
                    <a:lnTo>
                      <a:pt x="13820" y="1057"/>
                    </a:lnTo>
                    <a:lnTo>
                      <a:pt x="13594" y="837"/>
                    </a:lnTo>
                    <a:lnTo>
                      <a:pt x="13386" y="628"/>
                    </a:lnTo>
                    <a:lnTo>
                      <a:pt x="13103" y="462"/>
                    </a:lnTo>
                    <a:lnTo>
                      <a:pt x="12763" y="308"/>
                    </a:lnTo>
                    <a:lnTo>
                      <a:pt x="12404" y="187"/>
                    </a:lnTo>
                    <a:lnTo>
                      <a:pt x="12008" y="77"/>
                    </a:lnTo>
                    <a:lnTo>
                      <a:pt x="11574" y="33"/>
                    </a:lnTo>
                    <a:lnTo>
                      <a:pt x="11102" y="11"/>
                    </a:lnTo>
                    <a:lnTo>
                      <a:pt x="10667" y="11"/>
                    </a:lnTo>
                    <a:lnTo>
                      <a:pt x="10233" y="77"/>
                    </a:lnTo>
                    <a:lnTo>
                      <a:pt x="9837" y="187"/>
                    </a:lnTo>
                    <a:lnTo>
                      <a:pt x="9440" y="286"/>
                    </a:lnTo>
                    <a:lnTo>
                      <a:pt x="9062" y="462"/>
                    </a:lnTo>
                    <a:lnTo>
                      <a:pt x="8741" y="628"/>
                    </a:lnTo>
                    <a:lnTo>
                      <a:pt x="8458" y="815"/>
                    </a:lnTo>
                    <a:lnTo>
                      <a:pt x="8232" y="1035"/>
                    </a:lnTo>
                    <a:lnTo>
                      <a:pt x="8062" y="1245"/>
                    </a:lnTo>
                    <a:lnTo>
                      <a:pt x="7911" y="1476"/>
                    </a:lnTo>
                    <a:lnTo>
                      <a:pt x="7835" y="1708"/>
                    </a:lnTo>
                    <a:lnTo>
                      <a:pt x="7797" y="1961"/>
                    </a:lnTo>
                    <a:lnTo>
                      <a:pt x="7835" y="2193"/>
                    </a:lnTo>
                    <a:lnTo>
                      <a:pt x="7948" y="2402"/>
                    </a:lnTo>
                    <a:lnTo>
                      <a:pt x="8062" y="2534"/>
                    </a:lnTo>
                    <a:lnTo>
                      <a:pt x="8175" y="2644"/>
                    </a:lnTo>
                    <a:lnTo>
                      <a:pt x="8269" y="2744"/>
                    </a:lnTo>
                    <a:lnTo>
                      <a:pt x="8420" y="2832"/>
                    </a:lnTo>
                    <a:lnTo>
                      <a:pt x="8704" y="3019"/>
                    </a:lnTo>
                    <a:lnTo>
                      <a:pt x="8968" y="3206"/>
                    </a:lnTo>
                    <a:lnTo>
                      <a:pt x="9138" y="3405"/>
                    </a:lnTo>
                    <a:lnTo>
                      <a:pt x="9327" y="3570"/>
                    </a:lnTo>
                    <a:lnTo>
                      <a:pt x="9440" y="3735"/>
                    </a:lnTo>
                    <a:lnTo>
                      <a:pt x="9516" y="3890"/>
                    </a:lnTo>
                    <a:lnTo>
                      <a:pt x="9534" y="4033"/>
                    </a:lnTo>
                    <a:lnTo>
                      <a:pt x="9534" y="4165"/>
                    </a:lnTo>
                    <a:lnTo>
                      <a:pt x="9516" y="4286"/>
                    </a:lnTo>
                    <a:lnTo>
                      <a:pt x="9440" y="4397"/>
                    </a:lnTo>
                    <a:lnTo>
                      <a:pt x="9327" y="4496"/>
                    </a:lnTo>
                    <a:lnTo>
                      <a:pt x="9176" y="4562"/>
                    </a:lnTo>
                    <a:lnTo>
                      <a:pt x="9006" y="4628"/>
                    </a:lnTo>
                    <a:lnTo>
                      <a:pt x="8779" y="4694"/>
                    </a:lnTo>
                    <a:lnTo>
                      <a:pt x="8534" y="4716"/>
                    </a:lnTo>
                    <a:lnTo>
                      <a:pt x="8232" y="4716"/>
                    </a:lnTo>
                    <a:lnTo>
                      <a:pt x="7118" y="4738"/>
                    </a:lnTo>
                    <a:lnTo>
                      <a:pt x="5947" y="4771"/>
                    </a:lnTo>
                    <a:lnTo>
                      <a:pt x="4795" y="4815"/>
                    </a:lnTo>
                    <a:lnTo>
                      <a:pt x="3681" y="4860"/>
                    </a:lnTo>
                    <a:lnTo>
                      <a:pt x="2662" y="4882"/>
                    </a:lnTo>
                    <a:lnTo>
                      <a:pt x="1755" y="4882"/>
                    </a:lnTo>
                    <a:lnTo>
                      <a:pt x="1359" y="4860"/>
                    </a:lnTo>
                    <a:lnTo>
                      <a:pt x="981" y="4837"/>
                    </a:lnTo>
                    <a:lnTo>
                      <a:pt x="698" y="4771"/>
                    </a:lnTo>
                    <a:lnTo>
                      <a:pt x="453" y="4716"/>
                    </a:lnTo>
                    <a:lnTo>
                      <a:pt x="453" y="5322"/>
                    </a:lnTo>
                    <a:lnTo>
                      <a:pt x="453" y="6083"/>
                    </a:lnTo>
                    <a:lnTo>
                      <a:pt x="453" y="6909"/>
                    </a:lnTo>
                    <a:lnTo>
                      <a:pt x="453" y="7780"/>
                    </a:lnTo>
                    <a:lnTo>
                      <a:pt x="453" y="8606"/>
                    </a:lnTo>
                    <a:lnTo>
                      <a:pt x="453" y="9345"/>
                    </a:lnTo>
                    <a:lnTo>
                      <a:pt x="453" y="9918"/>
                    </a:lnTo>
                    <a:lnTo>
                      <a:pt x="453" y="10282"/>
                    </a:lnTo>
                    <a:lnTo>
                      <a:pt x="490" y="10381"/>
                    </a:lnTo>
                    <a:lnTo>
                      <a:pt x="547" y="10491"/>
                    </a:lnTo>
                    <a:lnTo>
                      <a:pt x="660" y="10590"/>
                    </a:lnTo>
                    <a:lnTo>
                      <a:pt x="811" y="10700"/>
                    </a:lnTo>
                    <a:lnTo>
                      <a:pt x="981" y="10811"/>
                    </a:lnTo>
                    <a:lnTo>
                      <a:pt x="1208" y="10888"/>
                    </a:lnTo>
                    <a:lnTo>
                      <a:pt x="1453" y="10954"/>
                    </a:lnTo>
                    <a:lnTo>
                      <a:pt x="1718" y="11020"/>
                    </a:lnTo>
                    <a:lnTo>
                      <a:pt x="1963" y="11064"/>
                    </a:lnTo>
                    <a:lnTo>
                      <a:pt x="2265" y="11086"/>
                    </a:lnTo>
                    <a:lnTo>
                      <a:pt x="2548" y="11064"/>
                    </a:lnTo>
                    <a:lnTo>
                      <a:pt x="2794" y="11042"/>
                    </a:lnTo>
                    <a:lnTo>
                      <a:pt x="3096" y="10976"/>
                    </a:lnTo>
                    <a:lnTo>
                      <a:pt x="3341" y="10888"/>
                    </a:lnTo>
                    <a:lnTo>
                      <a:pt x="3606" y="10766"/>
                    </a:lnTo>
                    <a:lnTo>
                      <a:pt x="3813" y="10590"/>
                    </a:lnTo>
                    <a:close/>
                  </a:path>
                </a:pathLst>
              </a:custGeom>
              <a:solidFill>
                <a:srgbClr val="D8EBB3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641936" name="Puzzle3"/>
              <p:cNvSpPr>
                <a:spLocks noEditPoints="1" noChangeArrowheads="1"/>
              </p:cNvSpPr>
              <p:nvPr/>
            </p:nvSpPr>
            <p:spPr bwMode="gray">
              <a:xfrm>
                <a:off x="4169" y="2459"/>
                <a:ext cx="162" cy="220"/>
              </a:xfrm>
              <a:custGeom>
                <a:avLst/>
                <a:gdLst>
                  <a:gd name="T0" fmla="*/ 10391 w 21600"/>
                  <a:gd name="T1" fmla="*/ 15806 h 21600"/>
                  <a:gd name="T2" fmla="*/ 20551 w 21600"/>
                  <a:gd name="T3" fmla="*/ 21088 h 21600"/>
                  <a:gd name="T4" fmla="*/ 13180 w 21600"/>
                  <a:gd name="T5" fmla="*/ 13801 h 21600"/>
                  <a:gd name="T6" fmla="*/ 20551 w 21600"/>
                  <a:gd name="T7" fmla="*/ 7025 h 21600"/>
                  <a:gd name="T8" fmla="*/ 10500 w 21600"/>
                  <a:gd name="T9" fmla="*/ 52 h 21600"/>
                  <a:gd name="T10" fmla="*/ 692 w 21600"/>
                  <a:gd name="T11" fmla="*/ 6802 h 21600"/>
                  <a:gd name="T12" fmla="*/ 8064 w 21600"/>
                  <a:gd name="T13" fmla="*/ 13526 h 21600"/>
                  <a:gd name="T14" fmla="*/ 692 w 21600"/>
                  <a:gd name="T15" fmla="*/ 21088 h 21600"/>
                  <a:gd name="T16" fmla="*/ 2273 w 21600"/>
                  <a:gd name="T17" fmla="*/ 7719 h 21600"/>
                  <a:gd name="T18" fmla="*/ 19149 w 21600"/>
                  <a:gd name="T19" fmla="*/ 202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6625" y="20892"/>
                    </a:moveTo>
                    <a:lnTo>
                      <a:pt x="7105" y="21023"/>
                    </a:lnTo>
                    <a:lnTo>
                      <a:pt x="7513" y="21088"/>
                    </a:lnTo>
                    <a:lnTo>
                      <a:pt x="7922" y="21115"/>
                    </a:lnTo>
                    <a:lnTo>
                      <a:pt x="8242" y="21115"/>
                    </a:lnTo>
                    <a:lnTo>
                      <a:pt x="8544" y="21062"/>
                    </a:lnTo>
                    <a:lnTo>
                      <a:pt x="8810" y="20997"/>
                    </a:lnTo>
                    <a:lnTo>
                      <a:pt x="9023" y="20892"/>
                    </a:lnTo>
                    <a:lnTo>
                      <a:pt x="9148" y="20761"/>
                    </a:lnTo>
                    <a:lnTo>
                      <a:pt x="9290" y="20616"/>
                    </a:lnTo>
                    <a:lnTo>
                      <a:pt x="9361" y="20459"/>
                    </a:lnTo>
                    <a:lnTo>
                      <a:pt x="9396" y="20289"/>
                    </a:lnTo>
                    <a:lnTo>
                      <a:pt x="9396" y="20092"/>
                    </a:lnTo>
                    <a:lnTo>
                      <a:pt x="9325" y="19909"/>
                    </a:lnTo>
                    <a:lnTo>
                      <a:pt x="9219" y="19738"/>
                    </a:lnTo>
                    <a:lnTo>
                      <a:pt x="9094" y="19555"/>
                    </a:lnTo>
                    <a:lnTo>
                      <a:pt x="8917" y="19384"/>
                    </a:lnTo>
                    <a:lnTo>
                      <a:pt x="8650" y="19162"/>
                    </a:lnTo>
                    <a:lnTo>
                      <a:pt x="8437" y="18900"/>
                    </a:lnTo>
                    <a:lnTo>
                      <a:pt x="8277" y="18624"/>
                    </a:lnTo>
                    <a:lnTo>
                      <a:pt x="8135" y="18349"/>
                    </a:lnTo>
                    <a:lnTo>
                      <a:pt x="8028" y="18048"/>
                    </a:lnTo>
                    <a:lnTo>
                      <a:pt x="7993" y="17746"/>
                    </a:lnTo>
                    <a:lnTo>
                      <a:pt x="7993" y="17471"/>
                    </a:lnTo>
                    <a:lnTo>
                      <a:pt x="8028" y="17169"/>
                    </a:lnTo>
                    <a:lnTo>
                      <a:pt x="8135" y="16920"/>
                    </a:lnTo>
                    <a:lnTo>
                      <a:pt x="8277" y="16671"/>
                    </a:lnTo>
                    <a:lnTo>
                      <a:pt x="8366" y="16540"/>
                    </a:lnTo>
                    <a:lnTo>
                      <a:pt x="8473" y="16409"/>
                    </a:lnTo>
                    <a:lnTo>
                      <a:pt x="8615" y="16317"/>
                    </a:lnTo>
                    <a:lnTo>
                      <a:pt x="8739" y="16213"/>
                    </a:lnTo>
                    <a:lnTo>
                      <a:pt x="8881" y="16134"/>
                    </a:lnTo>
                    <a:lnTo>
                      <a:pt x="9059" y="16055"/>
                    </a:lnTo>
                    <a:lnTo>
                      <a:pt x="9254" y="15990"/>
                    </a:lnTo>
                    <a:lnTo>
                      <a:pt x="9432" y="15911"/>
                    </a:lnTo>
                    <a:lnTo>
                      <a:pt x="9663" y="15885"/>
                    </a:lnTo>
                    <a:lnTo>
                      <a:pt x="9876" y="15833"/>
                    </a:lnTo>
                    <a:lnTo>
                      <a:pt x="10142" y="15806"/>
                    </a:lnTo>
                    <a:lnTo>
                      <a:pt x="10391" y="15806"/>
                    </a:lnTo>
                    <a:lnTo>
                      <a:pt x="10728" y="15806"/>
                    </a:lnTo>
                    <a:lnTo>
                      <a:pt x="10995" y="15806"/>
                    </a:lnTo>
                    <a:lnTo>
                      <a:pt x="11279" y="15833"/>
                    </a:lnTo>
                    <a:lnTo>
                      <a:pt x="11546" y="15885"/>
                    </a:lnTo>
                    <a:lnTo>
                      <a:pt x="11776" y="15937"/>
                    </a:lnTo>
                    <a:lnTo>
                      <a:pt x="12025" y="15990"/>
                    </a:lnTo>
                    <a:lnTo>
                      <a:pt x="12221" y="16055"/>
                    </a:lnTo>
                    <a:lnTo>
                      <a:pt x="12434" y="16134"/>
                    </a:lnTo>
                    <a:lnTo>
                      <a:pt x="12611" y="16213"/>
                    </a:lnTo>
                    <a:lnTo>
                      <a:pt x="12771" y="16317"/>
                    </a:lnTo>
                    <a:lnTo>
                      <a:pt x="12913" y="16409"/>
                    </a:lnTo>
                    <a:lnTo>
                      <a:pt x="13038" y="16514"/>
                    </a:lnTo>
                    <a:lnTo>
                      <a:pt x="13251" y="16737"/>
                    </a:lnTo>
                    <a:lnTo>
                      <a:pt x="13428" y="16986"/>
                    </a:lnTo>
                    <a:lnTo>
                      <a:pt x="13517" y="17248"/>
                    </a:lnTo>
                    <a:lnTo>
                      <a:pt x="13588" y="17523"/>
                    </a:lnTo>
                    <a:lnTo>
                      <a:pt x="13588" y="17799"/>
                    </a:lnTo>
                    <a:lnTo>
                      <a:pt x="13517" y="18074"/>
                    </a:lnTo>
                    <a:lnTo>
                      <a:pt x="13428" y="18323"/>
                    </a:lnTo>
                    <a:lnTo>
                      <a:pt x="13286" y="18572"/>
                    </a:lnTo>
                    <a:lnTo>
                      <a:pt x="13109" y="18808"/>
                    </a:lnTo>
                    <a:lnTo>
                      <a:pt x="12878" y="19031"/>
                    </a:lnTo>
                    <a:lnTo>
                      <a:pt x="12434" y="19411"/>
                    </a:lnTo>
                    <a:lnTo>
                      <a:pt x="12132" y="19738"/>
                    </a:lnTo>
                    <a:lnTo>
                      <a:pt x="12025" y="19856"/>
                    </a:lnTo>
                    <a:lnTo>
                      <a:pt x="11919" y="20014"/>
                    </a:lnTo>
                    <a:lnTo>
                      <a:pt x="11883" y="20132"/>
                    </a:lnTo>
                    <a:lnTo>
                      <a:pt x="11883" y="20263"/>
                    </a:lnTo>
                    <a:lnTo>
                      <a:pt x="11883" y="20394"/>
                    </a:lnTo>
                    <a:lnTo>
                      <a:pt x="11954" y="20485"/>
                    </a:lnTo>
                    <a:lnTo>
                      <a:pt x="12061" y="20590"/>
                    </a:lnTo>
                    <a:lnTo>
                      <a:pt x="12185" y="20695"/>
                    </a:lnTo>
                    <a:lnTo>
                      <a:pt x="12327" y="20787"/>
                    </a:lnTo>
                    <a:lnTo>
                      <a:pt x="12540" y="20892"/>
                    </a:lnTo>
                    <a:lnTo>
                      <a:pt x="12771" y="20997"/>
                    </a:lnTo>
                    <a:lnTo>
                      <a:pt x="13073" y="21088"/>
                    </a:lnTo>
                    <a:lnTo>
                      <a:pt x="13428" y="21193"/>
                    </a:lnTo>
                    <a:lnTo>
                      <a:pt x="13873" y="21298"/>
                    </a:lnTo>
                    <a:lnTo>
                      <a:pt x="14317" y="21390"/>
                    </a:lnTo>
                    <a:lnTo>
                      <a:pt x="14778" y="21468"/>
                    </a:lnTo>
                    <a:lnTo>
                      <a:pt x="15294" y="21547"/>
                    </a:lnTo>
                    <a:lnTo>
                      <a:pt x="15809" y="21600"/>
                    </a:lnTo>
                    <a:lnTo>
                      <a:pt x="16359" y="21652"/>
                    </a:lnTo>
                    <a:lnTo>
                      <a:pt x="16875" y="21678"/>
                    </a:lnTo>
                    <a:lnTo>
                      <a:pt x="17407" y="21678"/>
                    </a:lnTo>
                    <a:lnTo>
                      <a:pt x="17958" y="21678"/>
                    </a:lnTo>
                    <a:lnTo>
                      <a:pt x="18473" y="21652"/>
                    </a:lnTo>
                    <a:lnTo>
                      <a:pt x="18953" y="21573"/>
                    </a:lnTo>
                    <a:lnTo>
                      <a:pt x="19397" y="21495"/>
                    </a:lnTo>
                    <a:lnTo>
                      <a:pt x="19841" y="21390"/>
                    </a:lnTo>
                    <a:lnTo>
                      <a:pt x="20214" y="21272"/>
                    </a:lnTo>
                    <a:lnTo>
                      <a:pt x="20551" y="21088"/>
                    </a:lnTo>
                    <a:lnTo>
                      <a:pt x="20480" y="20787"/>
                    </a:lnTo>
                    <a:lnTo>
                      <a:pt x="20409" y="20485"/>
                    </a:lnTo>
                    <a:lnTo>
                      <a:pt x="20356" y="20158"/>
                    </a:lnTo>
                    <a:lnTo>
                      <a:pt x="20356" y="19804"/>
                    </a:lnTo>
                    <a:lnTo>
                      <a:pt x="20321" y="19083"/>
                    </a:lnTo>
                    <a:lnTo>
                      <a:pt x="20356" y="18349"/>
                    </a:lnTo>
                    <a:lnTo>
                      <a:pt x="20409" y="17641"/>
                    </a:lnTo>
                    <a:lnTo>
                      <a:pt x="20480" y="17012"/>
                    </a:lnTo>
                    <a:lnTo>
                      <a:pt x="20551" y="16488"/>
                    </a:lnTo>
                    <a:lnTo>
                      <a:pt x="20551" y="16055"/>
                    </a:lnTo>
                    <a:lnTo>
                      <a:pt x="20551" y="15911"/>
                    </a:lnTo>
                    <a:lnTo>
                      <a:pt x="20445" y="15754"/>
                    </a:lnTo>
                    <a:lnTo>
                      <a:pt x="20356" y="15610"/>
                    </a:lnTo>
                    <a:lnTo>
                      <a:pt x="20178" y="15452"/>
                    </a:lnTo>
                    <a:lnTo>
                      <a:pt x="20001" y="15334"/>
                    </a:lnTo>
                    <a:lnTo>
                      <a:pt x="19770" y="15230"/>
                    </a:lnTo>
                    <a:lnTo>
                      <a:pt x="19521" y="15125"/>
                    </a:lnTo>
                    <a:lnTo>
                      <a:pt x="19290" y="15059"/>
                    </a:lnTo>
                    <a:lnTo>
                      <a:pt x="19024" y="15007"/>
                    </a:lnTo>
                    <a:lnTo>
                      <a:pt x="18740" y="14954"/>
                    </a:lnTo>
                    <a:lnTo>
                      <a:pt x="18509" y="14954"/>
                    </a:lnTo>
                    <a:lnTo>
                      <a:pt x="18225" y="14954"/>
                    </a:lnTo>
                    <a:lnTo>
                      <a:pt x="17994" y="15007"/>
                    </a:lnTo>
                    <a:lnTo>
                      <a:pt x="17763" y="15085"/>
                    </a:lnTo>
                    <a:lnTo>
                      <a:pt x="17550" y="15177"/>
                    </a:lnTo>
                    <a:lnTo>
                      <a:pt x="17372" y="15308"/>
                    </a:lnTo>
                    <a:lnTo>
                      <a:pt x="17176" y="15426"/>
                    </a:lnTo>
                    <a:lnTo>
                      <a:pt x="16928" y="15557"/>
                    </a:lnTo>
                    <a:lnTo>
                      <a:pt x="16661" y="15636"/>
                    </a:lnTo>
                    <a:lnTo>
                      <a:pt x="16359" y="15688"/>
                    </a:lnTo>
                    <a:lnTo>
                      <a:pt x="16022" y="15715"/>
                    </a:lnTo>
                    <a:lnTo>
                      <a:pt x="15667" y="15688"/>
                    </a:lnTo>
                    <a:lnTo>
                      <a:pt x="15294" y="15662"/>
                    </a:lnTo>
                    <a:lnTo>
                      <a:pt x="14956" y="15583"/>
                    </a:lnTo>
                    <a:lnTo>
                      <a:pt x="14619" y="15479"/>
                    </a:lnTo>
                    <a:lnTo>
                      <a:pt x="14281" y="15334"/>
                    </a:lnTo>
                    <a:lnTo>
                      <a:pt x="13961" y="15177"/>
                    </a:lnTo>
                    <a:lnTo>
                      <a:pt x="13695" y="14981"/>
                    </a:lnTo>
                    <a:lnTo>
                      <a:pt x="13588" y="14850"/>
                    </a:lnTo>
                    <a:lnTo>
                      <a:pt x="13482" y="14732"/>
                    </a:lnTo>
                    <a:lnTo>
                      <a:pt x="13393" y="14600"/>
                    </a:lnTo>
                    <a:lnTo>
                      <a:pt x="13322" y="14456"/>
                    </a:lnTo>
                    <a:lnTo>
                      <a:pt x="13251" y="14299"/>
                    </a:lnTo>
                    <a:lnTo>
                      <a:pt x="13215" y="14155"/>
                    </a:lnTo>
                    <a:lnTo>
                      <a:pt x="13180" y="13971"/>
                    </a:lnTo>
                    <a:lnTo>
                      <a:pt x="13180" y="13801"/>
                    </a:lnTo>
                    <a:lnTo>
                      <a:pt x="13180" y="13591"/>
                    </a:lnTo>
                    <a:lnTo>
                      <a:pt x="13215" y="13395"/>
                    </a:lnTo>
                    <a:lnTo>
                      <a:pt x="13251" y="13198"/>
                    </a:lnTo>
                    <a:lnTo>
                      <a:pt x="13322" y="13015"/>
                    </a:lnTo>
                    <a:lnTo>
                      <a:pt x="13393" y="12870"/>
                    </a:lnTo>
                    <a:lnTo>
                      <a:pt x="13482" y="12713"/>
                    </a:lnTo>
                    <a:lnTo>
                      <a:pt x="13588" y="12569"/>
                    </a:lnTo>
                    <a:lnTo>
                      <a:pt x="13730" y="12438"/>
                    </a:lnTo>
                    <a:lnTo>
                      <a:pt x="13997" y="12215"/>
                    </a:lnTo>
                    <a:lnTo>
                      <a:pt x="14334" y="12005"/>
                    </a:lnTo>
                    <a:lnTo>
                      <a:pt x="14690" y="11861"/>
                    </a:lnTo>
                    <a:lnTo>
                      <a:pt x="15063" y="11756"/>
                    </a:lnTo>
                    <a:lnTo>
                      <a:pt x="15436" y="11678"/>
                    </a:lnTo>
                    <a:lnTo>
                      <a:pt x="15809" y="11638"/>
                    </a:lnTo>
                    <a:lnTo>
                      <a:pt x="16182" y="11638"/>
                    </a:lnTo>
                    <a:lnTo>
                      <a:pt x="16555" y="11678"/>
                    </a:lnTo>
                    <a:lnTo>
                      <a:pt x="16910" y="11730"/>
                    </a:lnTo>
                    <a:lnTo>
                      <a:pt x="17248" y="11835"/>
                    </a:lnTo>
                    <a:lnTo>
                      <a:pt x="17514" y="11966"/>
                    </a:lnTo>
                    <a:lnTo>
                      <a:pt x="17763" y="12110"/>
                    </a:lnTo>
                    <a:lnTo>
                      <a:pt x="17887" y="12215"/>
                    </a:lnTo>
                    <a:lnTo>
                      <a:pt x="18065" y="12307"/>
                    </a:lnTo>
                    <a:lnTo>
                      <a:pt x="18260" y="12412"/>
                    </a:lnTo>
                    <a:lnTo>
                      <a:pt x="18438" y="12464"/>
                    </a:lnTo>
                    <a:lnTo>
                      <a:pt x="18669" y="12543"/>
                    </a:lnTo>
                    <a:lnTo>
                      <a:pt x="18882" y="12569"/>
                    </a:lnTo>
                    <a:lnTo>
                      <a:pt x="19113" y="12595"/>
                    </a:lnTo>
                    <a:lnTo>
                      <a:pt x="19361" y="12608"/>
                    </a:lnTo>
                    <a:lnTo>
                      <a:pt x="19592" y="12608"/>
                    </a:lnTo>
                    <a:lnTo>
                      <a:pt x="19841" y="12595"/>
                    </a:lnTo>
                    <a:lnTo>
                      <a:pt x="20072" y="12543"/>
                    </a:lnTo>
                    <a:lnTo>
                      <a:pt x="20321" y="12490"/>
                    </a:lnTo>
                    <a:lnTo>
                      <a:pt x="20551" y="12438"/>
                    </a:lnTo>
                    <a:lnTo>
                      <a:pt x="20800" y="12333"/>
                    </a:lnTo>
                    <a:lnTo>
                      <a:pt x="20996" y="12241"/>
                    </a:lnTo>
                    <a:lnTo>
                      <a:pt x="21244" y="12110"/>
                    </a:lnTo>
                    <a:lnTo>
                      <a:pt x="21298" y="12032"/>
                    </a:lnTo>
                    <a:lnTo>
                      <a:pt x="21404" y="11966"/>
                    </a:lnTo>
                    <a:lnTo>
                      <a:pt x="21475" y="11861"/>
                    </a:lnTo>
                    <a:lnTo>
                      <a:pt x="21511" y="11730"/>
                    </a:lnTo>
                    <a:lnTo>
                      <a:pt x="21617" y="11481"/>
                    </a:lnTo>
                    <a:lnTo>
                      <a:pt x="21653" y="11180"/>
                    </a:lnTo>
                    <a:lnTo>
                      <a:pt x="21653" y="10826"/>
                    </a:lnTo>
                    <a:lnTo>
                      <a:pt x="21653" y="10472"/>
                    </a:lnTo>
                    <a:lnTo>
                      <a:pt x="21582" y="10092"/>
                    </a:lnTo>
                    <a:lnTo>
                      <a:pt x="21511" y="9725"/>
                    </a:lnTo>
                    <a:lnTo>
                      <a:pt x="21298" y="8912"/>
                    </a:lnTo>
                    <a:lnTo>
                      <a:pt x="21067" y="8191"/>
                    </a:lnTo>
                    <a:lnTo>
                      <a:pt x="20800" y="7536"/>
                    </a:lnTo>
                    <a:lnTo>
                      <a:pt x="20551" y="7025"/>
                    </a:lnTo>
                    <a:lnTo>
                      <a:pt x="20001" y="7103"/>
                    </a:lnTo>
                    <a:lnTo>
                      <a:pt x="19432" y="7156"/>
                    </a:lnTo>
                    <a:lnTo>
                      <a:pt x="18846" y="7208"/>
                    </a:lnTo>
                    <a:lnTo>
                      <a:pt x="18225" y="7208"/>
                    </a:lnTo>
                    <a:lnTo>
                      <a:pt x="17656" y="7208"/>
                    </a:lnTo>
                    <a:lnTo>
                      <a:pt x="17070" y="7182"/>
                    </a:lnTo>
                    <a:lnTo>
                      <a:pt x="16484" y="7156"/>
                    </a:lnTo>
                    <a:lnTo>
                      <a:pt x="15986" y="7103"/>
                    </a:lnTo>
                    <a:lnTo>
                      <a:pt x="14992" y="6999"/>
                    </a:lnTo>
                    <a:lnTo>
                      <a:pt x="14210" y="6907"/>
                    </a:lnTo>
                    <a:lnTo>
                      <a:pt x="13695" y="6828"/>
                    </a:lnTo>
                    <a:lnTo>
                      <a:pt x="13517" y="6802"/>
                    </a:lnTo>
                    <a:lnTo>
                      <a:pt x="13073" y="6645"/>
                    </a:lnTo>
                    <a:lnTo>
                      <a:pt x="12700" y="6474"/>
                    </a:lnTo>
                    <a:lnTo>
                      <a:pt x="12363" y="6304"/>
                    </a:lnTo>
                    <a:lnTo>
                      <a:pt x="12132" y="6094"/>
                    </a:lnTo>
                    <a:lnTo>
                      <a:pt x="11919" y="5871"/>
                    </a:lnTo>
                    <a:lnTo>
                      <a:pt x="11776" y="5649"/>
                    </a:lnTo>
                    <a:lnTo>
                      <a:pt x="11688" y="5413"/>
                    </a:lnTo>
                    <a:lnTo>
                      <a:pt x="11617" y="5190"/>
                    </a:lnTo>
                    <a:lnTo>
                      <a:pt x="11617" y="4941"/>
                    </a:lnTo>
                    <a:lnTo>
                      <a:pt x="11652" y="4718"/>
                    </a:lnTo>
                    <a:lnTo>
                      <a:pt x="11723" y="4482"/>
                    </a:lnTo>
                    <a:lnTo>
                      <a:pt x="11812" y="4285"/>
                    </a:lnTo>
                    <a:lnTo>
                      <a:pt x="11919" y="4089"/>
                    </a:lnTo>
                    <a:lnTo>
                      <a:pt x="12096" y="3905"/>
                    </a:lnTo>
                    <a:lnTo>
                      <a:pt x="12292" y="3735"/>
                    </a:lnTo>
                    <a:lnTo>
                      <a:pt x="12505" y="3604"/>
                    </a:lnTo>
                    <a:lnTo>
                      <a:pt x="12700" y="3460"/>
                    </a:lnTo>
                    <a:lnTo>
                      <a:pt x="12878" y="3250"/>
                    </a:lnTo>
                    <a:lnTo>
                      <a:pt x="13038" y="3027"/>
                    </a:lnTo>
                    <a:lnTo>
                      <a:pt x="13180" y="2752"/>
                    </a:lnTo>
                    <a:lnTo>
                      <a:pt x="13286" y="2477"/>
                    </a:lnTo>
                    <a:lnTo>
                      <a:pt x="13322" y="2175"/>
                    </a:lnTo>
                    <a:lnTo>
                      <a:pt x="13357" y="1874"/>
                    </a:lnTo>
                    <a:lnTo>
                      <a:pt x="13286" y="1572"/>
                    </a:lnTo>
                    <a:lnTo>
                      <a:pt x="13180" y="1271"/>
                    </a:lnTo>
                    <a:lnTo>
                      <a:pt x="13038" y="983"/>
                    </a:lnTo>
                    <a:lnTo>
                      <a:pt x="12949" y="865"/>
                    </a:lnTo>
                    <a:lnTo>
                      <a:pt x="12807" y="733"/>
                    </a:lnTo>
                    <a:lnTo>
                      <a:pt x="12665" y="616"/>
                    </a:lnTo>
                    <a:lnTo>
                      <a:pt x="12505" y="511"/>
                    </a:lnTo>
                    <a:lnTo>
                      <a:pt x="12327" y="406"/>
                    </a:lnTo>
                    <a:lnTo>
                      <a:pt x="12132" y="314"/>
                    </a:lnTo>
                    <a:lnTo>
                      <a:pt x="11883" y="235"/>
                    </a:lnTo>
                    <a:lnTo>
                      <a:pt x="11652" y="183"/>
                    </a:lnTo>
                    <a:lnTo>
                      <a:pt x="11368" y="104"/>
                    </a:lnTo>
                    <a:lnTo>
                      <a:pt x="11101" y="78"/>
                    </a:lnTo>
                    <a:lnTo>
                      <a:pt x="10800" y="52"/>
                    </a:lnTo>
                    <a:lnTo>
                      <a:pt x="10444" y="52"/>
                    </a:lnTo>
                    <a:lnTo>
                      <a:pt x="10142" y="52"/>
                    </a:lnTo>
                    <a:lnTo>
                      <a:pt x="9840" y="78"/>
                    </a:lnTo>
                    <a:lnTo>
                      <a:pt x="9574" y="104"/>
                    </a:lnTo>
                    <a:lnTo>
                      <a:pt x="9325" y="157"/>
                    </a:lnTo>
                    <a:lnTo>
                      <a:pt x="9094" y="209"/>
                    </a:lnTo>
                    <a:lnTo>
                      <a:pt x="8846" y="262"/>
                    </a:lnTo>
                    <a:lnTo>
                      <a:pt x="8650" y="340"/>
                    </a:lnTo>
                    <a:lnTo>
                      <a:pt x="8437" y="432"/>
                    </a:lnTo>
                    <a:lnTo>
                      <a:pt x="8277" y="511"/>
                    </a:lnTo>
                    <a:lnTo>
                      <a:pt x="8100" y="616"/>
                    </a:lnTo>
                    <a:lnTo>
                      <a:pt x="7957" y="707"/>
                    </a:lnTo>
                    <a:lnTo>
                      <a:pt x="7833" y="838"/>
                    </a:lnTo>
                    <a:lnTo>
                      <a:pt x="7620" y="1061"/>
                    </a:lnTo>
                    <a:lnTo>
                      <a:pt x="7442" y="1336"/>
                    </a:lnTo>
                    <a:lnTo>
                      <a:pt x="7353" y="1599"/>
                    </a:lnTo>
                    <a:lnTo>
                      <a:pt x="7318" y="1900"/>
                    </a:lnTo>
                    <a:lnTo>
                      <a:pt x="7318" y="2175"/>
                    </a:lnTo>
                    <a:lnTo>
                      <a:pt x="7353" y="2450"/>
                    </a:lnTo>
                    <a:lnTo>
                      <a:pt x="7442" y="2726"/>
                    </a:lnTo>
                    <a:lnTo>
                      <a:pt x="7620" y="2975"/>
                    </a:lnTo>
                    <a:lnTo>
                      <a:pt x="7833" y="3198"/>
                    </a:lnTo>
                    <a:lnTo>
                      <a:pt x="8064" y="3433"/>
                    </a:lnTo>
                    <a:lnTo>
                      <a:pt x="8295" y="3630"/>
                    </a:lnTo>
                    <a:lnTo>
                      <a:pt x="8508" y="3853"/>
                    </a:lnTo>
                    <a:lnTo>
                      <a:pt x="8686" y="4089"/>
                    </a:lnTo>
                    <a:lnTo>
                      <a:pt x="8775" y="4312"/>
                    </a:lnTo>
                    <a:lnTo>
                      <a:pt x="8846" y="4561"/>
                    </a:lnTo>
                    <a:lnTo>
                      <a:pt x="8846" y="4810"/>
                    </a:lnTo>
                    <a:lnTo>
                      <a:pt x="8810" y="5059"/>
                    </a:lnTo>
                    <a:lnTo>
                      <a:pt x="8721" y="5295"/>
                    </a:lnTo>
                    <a:lnTo>
                      <a:pt x="8579" y="5544"/>
                    </a:lnTo>
                    <a:lnTo>
                      <a:pt x="8366" y="5766"/>
                    </a:lnTo>
                    <a:lnTo>
                      <a:pt x="8135" y="5976"/>
                    </a:lnTo>
                    <a:lnTo>
                      <a:pt x="7833" y="6199"/>
                    </a:lnTo>
                    <a:lnTo>
                      <a:pt x="7478" y="6369"/>
                    </a:lnTo>
                    <a:lnTo>
                      <a:pt x="7069" y="6527"/>
                    </a:lnTo>
                    <a:lnTo>
                      <a:pt x="6590" y="6671"/>
                    </a:lnTo>
                    <a:lnTo>
                      <a:pt x="6092" y="6802"/>
                    </a:lnTo>
                    <a:lnTo>
                      <a:pt x="5684" y="6802"/>
                    </a:lnTo>
                    <a:lnTo>
                      <a:pt x="5133" y="6802"/>
                    </a:lnTo>
                    <a:lnTo>
                      <a:pt x="4547" y="6802"/>
                    </a:lnTo>
                    <a:lnTo>
                      <a:pt x="3872" y="6802"/>
                    </a:lnTo>
                    <a:lnTo>
                      <a:pt x="3144" y="6802"/>
                    </a:lnTo>
                    <a:lnTo>
                      <a:pt x="2362" y="6802"/>
                    </a:lnTo>
                    <a:lnTo>
                      <a:pt x="1545" y="6802"/>
                    </a:lnTo>
                    <a:lnTo>
                      <a:pt x="692" y="6802"/>
                    </a:lnTo>
                    <a:lnTo>
                      <a:pt x="586" y="7234"/>
                    </a:lnTo>
                    <a:lnTo>
                      <a:pt x="461" y="7837"/>
                    </a:lnTo>
                    <a:lnTo>
                      <a:pt x="355" y="8493"/>
                    </a:lnTo>
                    <a:lnTo>
                      <a:pt x="248" y="9187"/>
                    </a:lnTo>
                    <a:lnTo>
                      <a:pt x="142" y="9869"/>
                    </a:lnTo>
                    <a:lnTo>
                      <a:pt x="106" y="10498"/>
                    </a:lnTo>
                    <a:lnTo>
                      <a:pt x="106" y="10983"/>
                    </a:lnTo>
                    <a:lnTo>
                      <a:pt x="106" y="11311"/>
                    </a:lnTo>
                    <a:lnTo>
                      <a:pt x="213" y="11481"/>
                    </a:lnTo>
                    <a:lnTo>
                      <a:pt x="319" y="11651"/>
                    </a:lnTo>
                    <a:lnTo>
                      <a:pt x="497" y="11783"/>
                    </a:lnTo>
                    <a:lnTo>
                      <a:pt x="692" y="11914"/>
                    </a:lnTo>
                    <a:lnTo>
                      <a:pt x="941" y="12032"/>
                    </a:lnTo>
                    <a:lnTo>
                      <a:pt x="1207" y="12110"/>
                    </a:lnTo>
                    <a:lnTo>
                      <a:pt x="1509" y="12189"/>
                    </a:lnTo>
                    <a:lnTo>
                      <a:pt x="1794" y="12241"/>
                    </a:lnTo>
                    <a:lnTo>
                      <a:pt x="2131" y="12267"/>
                    </a:lnTo>
                    <a:lnTo>
                      <a:pt x="2433" y="12281"/>
                    </a:lnTo>
                    <a:lnTo>
                      <a:pt x="2735" y="12267"/>
                    </a:lnTo>
                    <a:lnTo>
                      <a:pt x="3055" y="12241"/>
                    </a:lnTo>
                    <a:lnTo>
                      <a:pt x="3357" y="12189"/>
                    </a:lnTo>
                    <a:lnTo>
                      <a:pt x="3623" y="12084"/>
                    </a:lnTo>
                    <a:lnTo>
                      <a:pt x="3872" y="11979"/>
                    </a:lnTo>
                    <a:lnTo>
                      <a:pt x="4103" y="11861"/>
                    </a:lnTo>
                    <a:lnTo>
                      <a:pt x="4316" y="11704"/>
                    </a:lnTo>
                    <a:lnTo>
                      <a:pt x="4582" y="11612"/>
                    </a:lnTo>
                    <a:lnTo>
                      <a:pt x="4849" y="11533"/>
                    </a:lnTo>
                    <a:lnTo>
                      <a:pt x="5169" y="11507"/>
                    </a:lnTo>
                    <a:lnTo>
                      <a:pt x="5506" y="11481"/>
                    </a:lnTo>
                    <a:lnTo>
                      <a:pt x="5808" y="11507"/>
                    </a:lnTo>
                    <a:lnTo>
                      <a:pt x="6146" y="11560"/>
                    </a:lnTo>
                    <a:lnTo>
                      <a:pt x="6501" y="11651"/>
                    </a:lnTo>
                    <a:lnTo>
                      <a:pt x="6803" y="11783"/>
                    </a:lnTo>
                    <a:lnTo>
                      <a:pt x="7105" y="11940"/>
                    </a:lnTo>
                    <a:lnTo>
                      <a:pt x="7353" y="12110"/>
                    </a:lnTo>
                    <a:lnTo>
                      <a:pt x="7584" y="12333"/>
                    </a:lnTo>
                    <a:lnTo>
                      <a:pt x="7798" y="12595"/>
                    </a:lnTo>
                    <a:lnTo>
                      <a:pt x="7922" y="12870"/>
                    </a:lnTo>
                    <a:lnTo>
                      <a:pt x="8028" y="13198"/>
                    </a:lnTo>
                    <a:lnTo>
                      <a:pt x="8064" y="13526"/>
                    </a:lnTo>
                    <a:lnTo>
                      <a:pt x="8028" y="13775"/>
                    </a:lnTo>
                    <a:lnTo>
                      <a:pt x="7922" y="13998"/>
                    </a:lnTo>
                    <a:lnTo>
                      <a:pt x="7798" y="14220"/>
                    </a:lnTo>
                    <a:lnTo>
                      <a:pt x="7584" y="14404"/>
                    </a:lnTo>
                    <a:lnTo>
                      <a:pt x="7353" y="14574"/>
                    </a:lnTo>
                    <a:lnTo>
                      <a:pt x="7105" y="14732"/>
                    </a:lnTo>
                    <a:lnTo>
                      <a:pt x="6803" y="14850"/>
                    </a:lnTo>
                    <a:lnTo>
                      <a:pt x="6501" y="14954"/>
                    </a:lnTo>
                    <a:lnTo>
                      <a:pt x="6146" y="15033"/>
                    </a:lnTo>
                    <a:lnTo>
                      <a:pt x="5808" y="15085"/>
                    </a:lnTo>
                    <a:lnTo>
                      <a:pt x="5506" y="15085"/>
                    </a:lnTo>
                    <a:lnTo>
                      <a:pt x="5169" y="15059"/>
                    </a:lnTo>
                    <a:lnTo>
                      <a:pt x="4849" y="15007"/>
                    </a:lnTo>
                    <a:lnTo>
                      <a:pt x="4582" y="14902"/>
                    </a:lnTo>
                    <a:lnTo>
                      <a:pt x="4316" y="14784"/>
                    </a:lnTo>
                    <a:lnTo>
                      <a:pt x="4103" y="14600"/>
                    </a:lnTo>
                    <a:lnTo>
                      <a:pt x="3907" y="14430"/>
                    </a:lnTo>
                    <a:lnTo>
                      <a:pt x="3659" y="14299"/>
                    </a:lnTo>
                    <a:lnTo>
                      <a:pt x="3428" y="14194"/>
                    </a:lnTo>
                    <a:lnTo>
                      <a:pt x="3179" y="14129"/>
                    </a:lnTo>
                    <a:lnTo>
                      <a:pt x="2913" y="14102"/>
                    </a:lnTo>
                    <a:lnTo>
                      <a:pt x="2646" y="14102"/>
                    </a:lnTo>
                    <a:lnTo>
                      <a:pt x="2362" y="14129"/>
                    </a:lnTo>
                    <a:lnTo>
                      <a:pt x="2096" y="14168"/>
                    </a:lnTo>
                    <a:lnTo>
                      <a:pt x="1811" y="14273"/>
                    </a:lnTo>
                    <a:lnTo>
                      <a:pt x="1545" y="14378"/>
                    </a:lnTo>
                    <a:lnTo>
                      <a:pt x="1314" y="14496"/>
                    </a:lnTo>
                    <a:lnTo>
                      <a:pt x="1065" y="14653"/>
                    </a:lnTo>
                    <a:lnTo>
                      <a:pt x="870" y="14797"/>
                    </a:lnTo>
                    <a:lnTo>
                      <a:pt x="657" y="14981"/>
                    </a:lnTo>
                    <a:lnTo>
                      <a:pt x="497" y="15177"/>
                    </a:lnTo>
                    <a:lnTo>
                      <a:pt x="390" y="15413"/>
                    </a:lnTo>
                    <a:lnTo>
                      <a:pt x="284" y="15636"/>
                    </a:lnTo>
                    <a:lnTo>
                      <a:pt x="248" y="15911"/>
                    </a:lnTo>
                    <a:lnTo>
                      <a:pt x="284" y="16239"/>
                    </a:lnTo>
                    <a:lnTo>
                      <a:pt x="319" y="16566"/>
                    </a:lnTo>
                    <a:lnTo>
                      <a:pt x="497" y="17340"/>
                    </a:lnTo>
                    <a:lnTo>
                      <a:pt x="692" y="18152"/>
                    </a:lnTo>
                    <a:lnTo>
                      <a:pt x="799" y="18559"/>
                    </a:lnTo>
                    <a:lnTo>
                      <a:pt x="905" y="18978"/>
                    </a:lnTo>
                    <a:lnTo>
                      <a:pt x="959" y="19384"/>
                    </a:lnTo>
                    <a:lnTo>
                      <a:pt x="994" y="19791"/>
                    </a:lnTo>
                    <a:lnTo>
                      <a:pt x="994" y="20132"/>
                    </a:lnTo>
                    <a:lnTo>
                      <a:pt x="959" y="20485"/>
                    </a:lnTo>
                    <a:lnTo>
                      <a:pt x="941" y="20669"/>
                    </a:lnTo>
                    <a:lnTo>
                      <a:pt x="870" y="20813"/>
                    </a:lnTo>
                    <a:lnTo>
                      <a:pt x="799" y="20970"/>
                    </a:lnTo>
                    <a:lnTo>
                      <a:pt x="692" y="21088"/>
                    </a:lnTo>
                    <a:lnTo>
                      <a:pt x="1474" y="20997"/>
                    </a:lnTo>
                    <a:lnTo>
                      <a:pt x="2291" y="20866"/>
                    </a:lnTo>
                    <a:lnTo>
                      <a:pt x="3108" y="20787"/>
                    </a:lnTo>
                    <a:lnTo>
                      <a:pt x="3907" y="20721"/>
                    </a:lnTo>
                    <a:lnTo>
                      <a:pt x="4653" y="20695"/>
                    </a:lnTo>
                    <a:lnTo>
                      <a:pt x="5364" y="20695"/>
                    </a:lnTo>
                    <a:lnTo>
                      <a:pt x="5701" y="20721"/>
                    </a:lnTo>
                    <a:lnTo>
                      <a:pt x="6057" y="20761"/>
                    </a:lnTo>
                    <a:lnTo>
                      <a:pt x="6323" y="20813"/>
                    </a:lnTo>
                    <a:lnTo>
                      <a:pt x="6625" y="20892"/>
                    </a:lnTo>
                    <a:close/>
                  </a:path>
                </a:pathLst>
              </a:custGeom>
              <a:solidFill>
                <a:srgbClr val="FFBE7D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641937" name="Puzzle1"/>
              <p:cNvSpPr>
                <a:spLocks noEditPoints="1" noChangeArrowheads="1"/>
              </p:cNvSpPr>
              <p:nvPr/>
            </p:nvSpPr>
            <p:spPr bwMode="gray">
              <a:xfrm>
                <a:off x="3968" y="2526"/>
                <a:ext cx="261" cy="152"/>
              </a:xfrm>
              <a:custGeom>
                <a:avLst/>
                <a:gdLst>
                  <a:gd name="T0" fmla="*/ 16740 w 21600"/>
                  <a:gd name="T1" fmla="*/ 21078 h 21600"/>
                  <a:gd name="T2" fmla="*/ 16976 w 21600"/>
                  <a:gd name="T3" fmla="*/ 521 h 21600"/>
                  <a:gd name="T4" fmla="*/ 4725 w 21600"/>
                  <a:gd name="T5" fmla="*/ 856 h 21600"/>
                  <a:gd name="T6" fmla="*/ 5040 w 21600"/>
                  <a:gd name="T7" fmla="*/ 21004 h 21600"/>
                  <a:gd name="T8" fmla="*/ 10811 w 21600"/>
                  <a:gd name="T9" fmla="*/ 12885 h 21600"/>
                  <a:gd name="T10" fmla="*/ 10845 w 21600"/>
                  <a:gd name="T11" fmla="*/ 8714 h 21600"/>
                  <a:gd name="T12" fmla="*/ 21600 w 21600"/>
                  <a:gd name="T13" fmla="*/ 10000 h 21600"/>
                  <a:gd name="T14" fmla="*/ 56 w 21600"/>
                  <a:gd name="T15" fmla="*/ 10000 h 21600"/>
                  <a:gd name="T16" fmla="*/ 6086 w 21600"/>
                  <a:gd name="T17" fmla="*/ 2569 h 21600"/>
                  <a:gd name="T18" fmla="*/ 16132 w 21600"/>
                  <a:gd name="T19" fmla="*/ 19552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9360" y="20836"/>
                    </a:moveTo>
                    <a:lnTo>
                      <a:pt x="9528" y="20836"/>
                    </a:lnTo>
                    <a:lnTo>
                      <a:pt x="9686" y="20762"/>
                    </a:lnTo>
                    <a:lnTo>
                      <a:pt x="9810" y="20687"/>
                    </a:lnTo>
                    <a:lnTo>
                      <a:pt x="9922" y="20575"/>
                    </a:lnTo>
                    <a:lnTo>
                      <a:pt x="10012" y="20426"/>
                    </a:lnTo>
                    <a:lnTo>
                      <a:pt x="10068" y="20296"/>
                    </a:lnTo>
                    <a:lnTo>
                      <a:pt x="10113" y="20110"/>
                    </a:lnTo>
                    <a:lnTo>
                      <a:pt x="10136" y="19905"/>
                    </a:lnTo>
                    <a:lnTo>
                      <a:pt x="10136" y="19682"/>
                    </a:lnTo>
                    <a:lnTo>
                      <a:pt x="10113" y="19440"/>
                    </a:lnTo>
                    <a:lnTo>
                      <a:pt x="10068" y="19142"/>
                    </a:lnTo>
                    <a:lnTo>
                      <a:pt x="10012" y="18900"/>
                    </a:lnTo>
                    <a:lnTo>
                      <a:pt x="9900" y="18620"/>
                    </a:lnTo>
                    <a:lnTo>
                      <a:pt x="9787" y="18285"/>
                    </a:lnTo>
                    <a:lnTo>
                      <a:pt x="9641" y="17968"/>
                    </a:lnTo>
                    <a:lnTo>
                      <a:pt x="9472" y="17652"/>
                    </a:lnTo>
                    <a:lnTo>
                      <a:pt x="9382" y="17466"/>
                    </a:lnTo>
                    <a:lnTo>
                      <a:pt x="9315" y="17298"/>
                    </a:lnTo>
                    <a:lnTo>
                      <a:pt x="9258" y="17112"/>
                    </a:lnTo>
                    <a:lnTo>
                      <a:pt x="9191" y="16926"/>
                    </a:lnTo>
                    <a:lnTo>
                      <a:pt x="9123" y="16535"/>
                    </a:lnTo>
                    <a:lnTo>
                      <a:pt x="9101" y="16144"/>
                    </a:lnTo>
                    <a:lnTo>
                      <a:pt x="9101" y="15753"/>
                    </a:lnTo>
                    <a:lnTo>
                      <a:pt x="9168" y="15362"/>
                    </a:lnTo>
                    <a:lnTo>
                      <a:pt x="9236" y="14971"/>
                    </a:lnTo>
                    <a:lnTo>
                      <a:pt x="9360" y="14580"/>
                    </a:lnTo>
                    <a:lnTo>
                      <a:pt x="9495" y="14244"/>
                    </a:lnTo>
                    <a:lnTo>
                      <a:pt x="9663" y="13891"/>
                    </a:lnTo>
                    <a:lnTo>
                      <a:pt x="9855" y="13611"/>
                    </a:lnTo>
                    <a:lnTo>
                      <a:pt x="10068" y="13351"/>
                    </a:lnTo>
                    <a:lnTo>
                      <a:pt x="10293" y="13146"/>
                    </a:lnTo>
                    <a:lnTo>
                      <a:pt x="10552" y="12997"/>
                    </a:lnTo>
                    <a:lnTo>
                      <a:pt x="10811" y="12885"/>
                    </a:lnTo>
                    <a:lnTo>
                      <a:pt x="11069" y="12866"/>
                    </a:lnTo>
                    <a:lnTo>
                      <a:pt x="11351" y="12885"/>
                    </a:lnTo>
                    <a:lnTo>
                      <a:pt x="11610" y="12997"/>
                    </a:lnTo>
                    <a:lnTo>
                      <a:pt x="11846" y="13183"/>
                    </a:lnTo>
                    <a:lnTo>
                      <a:pt x="12060" y="13388"/>
                    </a:lnTo>
                    <a:lnTo>
                      <a:pt x="12251" y="13648"/>
                    </a:lnTo>
                    <a:lnTo>
                      <a:pt x="12419" y="13928"/>
                    </a:lnTo>
                    <a:lnTo>
                      <a:pt x="12555" y="14244"/>
                    </a:lnTo>
                    <a:lnTo>
                      <a:pt x="12690" y="14617"/>
                    </a:lnTo>
                    <a:lnTo>
                      <a:pt x="12768" y="15008"/>
                    </a:lnTo>
                    <a:lnTo>
                      <a:pt x="12836" y="15399"/>
                    </a:lnTo>
                    <a:lnTo>
                      <a:pt x="12858" y="15753"/>
                    </a:lnTo>
                    <a:lnTo>
                      <a:pt x="12858" y="16144"/>
                    </a:lnTo>
                    <a:lnTo>
                      <a:pt x="12813" y="16535"/>
                    </a:lnTo>
                    <a:lnTo>
                      <a:pt x="12746" y="16888"/>
                    </a:lnTo>
                    <a:lnTo>
                      <a:pt x="12667" y="17224"/>
                    </a:lnTo>
                    <a:lnTo>
                      <a:pt x="12510" y="17503"/>
                    </a:lnTo>
                    <a:lnTo>
                      <a:pt x="12228" y="18043"/>
                    </a:lnTo>
                    <a:lnTo>
                      <a:pt x="11970" y="18546"/>
                    </a:lnTo>
                    <a:lnTo>
                      <a:pt x="11868" y="18751"/>
                    </a:lnTo>
                    <a:lnTo>
                      <a:pt x="11778" y="18974"/>
                    </a:lnTo>
                    <a:lnTo>
                      <a:pt x="11711" y="19179"/>
                    </a:lnTo>
                    <a:lnTo>
                      <a:pt x="11666" y="19365"/>
                    </a:lnTo>
                    <a:lnTo>
                      <a:pt x="11632" y="19570"/>
                    </a:lnTo>
                    <a:lnTo>
                      <a:pt x="11632" y="19756"/>
                    </a:lnTo>
                    <a:lnTo>
                      <a:pt x="11632" y="19942"/>
                    </a:lnTo>
                    <a:lnTo>
                      <a:pt x="11643" y="20110"/>
                    </a:lnTo>
                    <a:lnTo>
                      <a:pt x="11711" y="20296"/>
                    </a:lnTo>
                    <a:lnTo>
                      <a:pt x="11801" y="20464"/>
                    </a:lnTo>
                    <a:lnTo>
                      <a:pt x="11891" y="20650"/>
                    </a:lnTo>
                    <a:lnTo>
                      <a:pt x="12037" y="20836"/>
                    </a:lnTo>
                    <a:lnTo>
                      <a:pt x="12206" y="21004"/>
                    </a:lnTo>
                    <a:lnTo>
                      <a:pt x="12419" y="21190"/>
                    </a:lnTo>
                    <a:lnTo>
                      <a:pt x="12667" y="21320"/>
                    </a:lnTo>
                    <a:lnTo>
                      <a:pt x="12960" y="21432"/>
                    </a:lnTo>
                    <a:lnTo>
                      <a:pt x="13286" y="21544"/>
                    </a:lnTo>
                    <a:lnTo>
                      <a:pt x="13612" y="21655"/>
                    </a:lnTo>
                    <a:lnTo>
                      <a:pt x="13983" y="21693"/>
                    </a:lnTo>
                    <a:lnTo>
                      <a:pt x="14343" y="21730"/>
                    </a:lnTo>
                    <a:lnTo>
                      <a:pt x="14715" y="21730"/>
                    </a:lnTo>
                    <a:lnTo>
                      <a:pt x="15075" y="21730"/>
                    </a:lnTo>
                    <a:lnTo>
                      <a:pt x="15446" y="21655"/>
                    </a:lnTo>
                    <a:lnTo>
                      <a:pt x="15794" y="21581"/>
                    </a:lnTo>
                    <a:lnTo>
                      <a:pt x="16132" y="21432"/>
                    </a:lnTo>
                    <a:lnTo>
                      <a:pt x="16458" y="21302"/>
                    </a:lnTo>
                    <a:lnTo>
                      <a:pt x="16740" y="21078"/>
                    </a:lnTo>
                    <a:lnTo>
                      <a:pt x="16976" y="20836"/>
                    </a:lnTo>
                    <a:lnTo>
                      <a:pt x="17043" y="20650"/>
                    </a:lnTo>
                    <a:lnTo>
                      <a:pt x="17088" y="20426"/>
                    </a:lnTo>
                    <a:lnTo>
                      <a:pt x="17133" y="20222"/>
                    </a:lnTo>
                    <a:lnTo>
                      <a:pt x="17156" y="19980"/>
                    </a:lnTo>
                    <a:lnTo>
                      <a:pt x="17167" y="19477"/>
                    </a:lnTo>
                    <a:lnTo>
                      <a:pt x="17167" y="18974"/>
                    </a:lnTo>
                    <a:lnTo>
                      <a:pt x="17156" y="18397"/>
                    </a:lnTo>
                    <a:lnTo>
                      <a:pt x="17111" y="17820"/>
                    </a:lnTo>
                    <a:lnTo>
                      <a:pt x="17066" y="17261"/>
                    </a:lnTo>
                    <a:lnTo>
                      <a:pt x="16998" y="16646"/>
                    </a:lnTo>
                    <a:lnTo>
                      <a:pt x="16852" y="15511"/>
                    </a:lnTo>
                    <a:lnTo>
                      <a:pt x="16740" y="14393"/>
                    </a:lnTo>
                    <a:lnTo>
                      <a:pt x="16717" y="13928"/>
                    </a:lnTo>
                    <a:lnTo>
                      <a:pt x="16695" y="13462"/>
                    </a:lnTo>
                    <a:lnTo>
                      <a:pt x="16717" y="13071"/>
                    </a:lnTo>
                    <a:lnTo>
                      <a:pt x="16785" y="12755"/>
                    </a:lnTo>
                    <a:lnTo>
                      <a:pt x="16852" y="12419"/>
                    </a:lnTo>
                    <a:lnTo>
                      <a:pt x="16953" y="12140"/>
                    </a:lnTo>
                    <a:lnTo>
                      <a:pt x="17088" y="11898"/>
                    </a:lnTo>
                    <a:lnTo>
                      <a:pt x="17212" y="11675"/>
                    </a:lnTo>
                    <a:lnTo>
                      <a:pt x="17370" y="11470"/>
                    </a:lnTo>
                    <a:lnTo>
                      <a:pt x="17516" y="11284"/>
                    </a:lnTo>
                    <a:lnTo>
                      <a:pt x="17696" y="11135"/>
                    </a:lnTo>
                    <a:lnTo>
                      <a:pt x="17865" y="11042"/>
                    </a:lnTo>
                    <a:lnTo>
                      <a:pt x="18033" y="10930"/>
                    </a:lnTo>
                    <a:lnTo>
                      <a:pt x="18213" y="10893"/>
                    </a:lnTo>
                    <a:lnTo>
                      <a:pt x="18382" y="10893"/>
                    </a:lnTo>
                    <a:lnTo>
                      <a:pt x="18551" y="10967"/>
                    </a:lnTo>
                    <a:lnTo>
                      <a:pt x="18708" y="11042"/>
                    </a:lnTo>
                    <a:lnTo>
                      <a:pt x="18855" y="11172"/>
                    </a:lnTo>
                    <a:lnTo>
                      <a:pt x="19012" y="11358"/>
                    </a:lnTo>
                    <a:lnTo>
                      <a:pt x="19136" y="11600"/>
                    </a:lnTo>
                    <a:lnTo>
                      <a:pt x="19271" y="11861"/>
                    </a:lnTo>
                    <a:lnTo>
                      <a:pt x="19440" y="12028"/>
                    </a:lnTo>
                    <a:lnTo>
                      <a:pt x="19608" y="12177"/>
                    </a:lnTo>
                    <a:lnTo>
                      <a:pt x="19822" y="12289"/>
                    </a:lnTo>
                    <a:lnTo>
                      <a:pt x="20025" y="12289"/>
                    </a:lnTo>
                    <a:lnTo>
                      <a:pt x="20238" y="12289"/>
                    </a:lnTo>
                    <a:lnTo>
                      <a:pt x="20452" y="12215"/>
                    </a:lnTo>
                    <a:lnTo>
                      <a:pt x="20643" y="12103"/>
                    </a:lnTo>
                    <a:lnTo>
                      <a:pt x="20846" y="11973"/>
                    </a:lnTo>
                    <a:lnTo>
                      <a:pt x="21037" y="11786"/>
                    </a:lnTo>
                    <a:lnTo>
                      <a:pt x="21206" y="11563"/>
                    </a:lnTo>
                    <a:lnTo>
                      <a:pt x="21363" y="11321"/>
                    </a:lnTo>
                    <a:lnTo>
                      <a:pt x="21465" y="11079"/>
                    </a:lnTo>
                    <a:lnTo>
                      <a:pt x="21577" y="10744"/>
                    </a:lnTo>
                    <a:lnTo>
                      <a:pt x="21622" y="10427"/>
                    </a:lnTo>
                    <a:lnTo>
                      <a:pt x="21645" y="10111"/>
                    </a:lnTo>
                    <a:lnTo>
                      <a:pt x="21622" y="9608"/>
                    </a:lnTo>
                    <a:lnTo>
                      <a:pt x="21577" y="9142"/>
                    </a:lnTo>
                    <a:lnTo>
                      <a:pt x="21465" y="8751"/>
                    </a:lnTo>
                    <a:lnTo>
                      <a:pt x="21363" y="8397"/>
                    </a:lnTo>
                    <a:lnTo>
                      <a:pt x="21206" y="8062"/>
                    </a:lnTo>
                    <a:lnTo>
                      <a:pt x="21037" y="7820"/>
                    </a:lnTo>
                    <a:lnTo>
                      <a:pt x="20846" y="7597"/>
                    </a:lnTo>
                    <a:lnTo>
                      <a:pt x="20643" y="7429"/>
                    </a:lnTo>
                    <a:lnTo>
                      <a:pt x="20452" y="7317"/>
                    </a:lnTo>
                    <a:lnTo>
                      <a:pt x="20238" y="7206"/>
                    </a:lnTo>
                    <a:lnTo>
                      <a:pt x="20025" y="7168"/>
                    </a:lnTo>
                    <a:lnTo>
                      <a:pt x="19822" y="7206"/>
                    </a:lnTo>
                    <a:lnTo>
                      <a:pt x="19608" y="7243"/>
                    </a:lnTo>
                    <a:lnTo>
                      <a:pt x="19440" y="7355"/>
                    </a:lnTo>
                    <a:lnTo>
                      <a:pt x="19271" y="7504"/>
                    </a:lnTo>
                    <a:lnTo>
                      <a:pt x="19136" y="7708"/>
                    </a:lnTo>
                    <a:lnTo>
                      <a:pt x="19012" y="7895"/>
                    </a:lnTo>
                    <a:lnTo>
                      <a:pt x="18832" y="8025"/>
                    </a:lnTo>
                    <a:lnTo>
                      <a:pt x="18663" y="8174"/>
                    </a:lnTo>
                    <a:lnTo>
                      <a:pt x="18472" y="8248"/>
                    </a:lnTo>
                    <a:lnTo>
                      <a:pt x="18270" y="8286"/>
                    </a:lnTo>
                    <a:lnTo>
                      <a:pt x="18078" y="8323"/>
                    </a:lnTo>
                    <a:lnTo>
                      <a:pt x="17887" y="8323"/>
                    </a:lnTo>
                    <a:lnTo>
                      <a:pt x="17696" y="8248"/>
                    </a:lnTo>
                    <a:lnTo>
                      <a:pt x="17493" y="8174"/>
                    </a:lnTo>
                    <a:lnTo>
                      <a:pt x="17302" y="8062"/>
                    </a:lnTo>
                    <a:lnTo>
                      <a:pt x="17133" y="7969"/>
                    </a:lnTo>
                    <a:lnTo>
                      <a:pt x="16976" y="7783"/>
                    </a:lnTo>
                    <a:lnTo>
                      <a:pt x="16852" y="7597"/>
                    </a:lnTo>
                    <a:lnTo>
                      <a:pt x="16740" y="7429"/>
                    </a:lnTo>
                    <a:lnTo>
                      <a:pt x="16672" y="7168"/>
                    </a:lnTo>
                    <a:lnTo>
                      <a:pt x="16638" y="6926"/>
                    </a:lnTo>
                    <a:lnTo>
                      <a:pt x="16616" y="6498"/>
                    </a:lnTo>
                    <a:lnTo>
                      <a:pt x="16616" y="5772"/>
                    </a:lnTo>
                    <a:lnTo>
                      <a:pt x="16650" y="4915"/>
                    </a:lnTo>
                    <a:lnTo>
                      <a:pt x="16695" y="3928"/>
                    </a:lnTo>
                    <a:lnTo>
                      <a:pt x="16762" y="2960"/>
                    </a:lnTo>
                    <a:lnTo>
                      <a:pt x="16830" y="1992"/>
                    </a:lnTo>
                    <a:lnTo>
                      <a:pt x="16908" y="1173"/>
                    </a:lnTo>
                    <a:lnTo>
                      <a:pt x="16976" y="521"/>
                    </a:lnTo>
                    <a:lnTo>
                      <a:pt x="16953" y="521"/>
                    </a:lnTo>
                    <a:lnTo>
                      <a:pt x="16931" y="521"/>
                    </a:lnTo>
                    <a:lnTo>
                      <a:pt x="16267" y="484"/>
                    </a:lnTo>
                    <a:lnTo>
                      <a:pt x="15637" y="428"/>
                    </a:lnTo>
                    <a:lnTo>
                      <a:pt x="15063" y="353"/>
                    </a:lnTo>
                    <a:lnTo>
                      <a:pt x="14523" y="279"/>
                    </a:lnTo>
                    <a:lnTo>
                      <a:pt x="14040" y="167"/>
                    </a:lnTo>
                    <a:lnTo>
                      <a:pt x="13635" y="93"/>
                    </a:lnTo>
                    <a:lnTo>
                      <a:pt x="13331" y="18"/>
                    </a:lnTo>
                    <a:lnTo>
                      <a:pt x="13117" y="18"/>
                    </a:lnTo>
                    <a:lnTo>
                      <a:pt x="12982" y="18"/>
                    </a:lnTo>
                    <a:lnTo>
                      <a:pt x="12858" y="130"/>
                    </a:lnTo>
                    <a:lnTo>
                      <a:pt x="12723" y="279"/>
                    </a:lnTo>
                    <a:lnTo>
                      <a:pt x="12622" y="446"/>
                    </a:lnTo>
                    <a:lnTo>
                      <a:pt x="12510" y="670"/>
                    </a:lnTo>
                    <a:lnTo>
                      <a:pt x="12419" y="912"/>
                    </a:lnTo>
                    <a:lnTo>
                      <a:pt x="12363" y="1210"/>
                    </a:lnTo>
                    <a:lnTo>
                      <a:pt x="12318" y="1526"/>
                    </a:lnTo>
                    <a:lnTo>
                      <a:pt x="12273" y="1843"/>
                    </a:lnTo>
                    <a:lnTo>
                      <a:pt x="12251" y="2215"/>
                    </a:lnTo>
                    <a:lnTo>
                      <a:pt x="12273" y="2532"/>
                    </a:lnTo>
                    <a:lnTo>
                      <a:pt x="12318" y="2886"/>
                    </a:lnTo>
                    <a:lnTo>
                      <a:pt x="12386" y="3240"/>
                    </a:lnTo>
                    <a:lnTo>
                      <a:pt x="12464" y="3556"/>
                    </a:lnTo>
                    <a:lnTo>
                      <a:pt x="12577" y="3891"/>
                    </a:lnTo>
                    <a:lnTo>
                      <a:pt x="12746" y="4171"/>
                    </a:lnTo>
                    <a:lnTo>
                      <a:pt x="12926" y="4487"/>
                    </a:lnTo>
                    <a:lnTo>
                      <a:pt x="13050" y="4860"/>
                    </a:lnTo>
                    <a:lnTo>
                      <a:pt x="13162" y="5251"/>
                    </a:lnTo>
                    <a:lnTo>
                      <a:pt x="13218" y="5604"/>
                    </a:lnTo>
                    <a:lnTo>
                      <a:pt x="13263" y="5995"/>
                    </a:lnTo>
                    <a:lnTo>
                      <a:pt x="13241" y="6386"/>
                    </a:lnTo>
                    <a:lnTo>
                      <a:pt x="13218" y="6740"/>
                    </a:lnTo>
                    <a:lnTo>
                      <a:pt x="13139" y="7094"/>
                    </a:lnTo>
                    <a:lnTo>
                      <a:pt x="13050" y="7429"/>
                    </a:lnTo>
                    <a:lnTo>
                      <a:pt x="12903" y="7746"/>
                    </a:lnTo>
                    <a:lnTo>
                      <a:pt x="12723" y="8025"/>
                    </a:lnTo>
                    <a:lnTo>
                      <a:pt x="12532" y="8286"/>
                    </a:lnTo>
                    <a:lnTo>
                      <a:pt x="12318" y="8491"/>
                    </a:lnTo>
                    <a:lnTo>
                      <a:pt x="12060" y="8677"/>
                    </a:lnTo>
                    <a:lnTo>
                      <a:pt x="11756" y="8788"/>
                    </a:lnTo>
                    <a:lnTo>
                      <a:pt x="11452" y="8826"/>
                    </a:lnTo>
                    <a:lnTo>
                      <a:pt x="11283" y="8826"/>
                    </a:lnTo>
                    <a:lnTo>
                      <a:pt x="11126" y="8826"/>
                    </a:lnTo>
                    <a:lnTo>
                      <a:pt x="11002" y="8788"/>
                    </a:lnTo>
                    <a:lnTo>
                      <a:pt x="10845" y="8714"/>
                    </a:lnTo>
                    <a:lnTo>
                      <a:pt x="10721" y="8640"/>
                    </a:lnTo>
                    <a:lnTo>
                      <a:pt x="10608" y="8565"/>
                    </a:lnTo>
                    <a:lnTo>
                      <a:pt x="10485" y="8453"/>
                    </a:lnTo>
                    <a:lnTo>
                      <a:pt x="10372" y="8323"/>
                    </a:lnTo>
                    <a:lnTo>
                      <a:pt x="10181" y="8062"/>
                    </a:lnTo>
                    <a:lnTo>
                      <a:pt x="10035" y="7746"/>
                    </a:lnTo>
                    <a:lnTo>
                      <a:pt x="9900" y="7392"/>
                    </a:lnTo>
                    <a:lnTo>
                      <a:pt x="9787" y="7001"/>
                    </a:lnTo>
                    <a:lnTo>
                      <a:pt x="9731" y="6610"/>
                    </a:lnTo>
                    <a:lnTo>
                      <a:pt x="9686" y="6219"/>
                    </a:lnTo>
                    <a:lnTo>
                      <a:pt x="9663" y="5772"/>
                    </a:lnTo>
                    <a:lnTo>
                      <a:pt x="9686" y="5381"/>
                    </a:lnTo>
                    <a:lnTo>
                      <a:pt x="9753" y="4990"/>
                    </a:lnTo>
                    <a:lnTo>
                      <a:pt x="9832" y="4636"/>
                    </a:lnTo>
                    <a:lnTo>
                      <a:pt x="9945" y="4320"/>
                    </a:lnTo>
                    <a:lnTo>
                      <a:pt x="10068" y="4022"/>
                    </a:lnTo>
                    <a:lnTo>
                      <a:pt x="10203" y="3817"/>
                    </a:lnTo>
                    <a:lnTo>
                      <a:pt x="10316" y="3593"/>
                    </a:lnTo>
                    <a:lnTo>
                      <a:pt x="10395" y="3351"/>
                    </a:lnTo>
                    <a:lnTo>
                      <a:pt x="10462" y="3109"/>
                    </a:lnTo>
                    <a:lnTo>
                      <a:pt x="10507" y="2848"/>
                    </a:lnTo>
                    <a:lnTo>
                      <a:pt x="10530" y="2606"/>
                    </a:lnTo>
                    <a:lnTo>
                      <a:pt x="10507" y="2346"/>
                    </a:lnTo>
                    <a:lnTo>
                      <a:pt x="10462" y="2141"/>
                    </a:lnTo>
                    <a:lnTo>
                      <a:pt x="10395" y="1880"/>
                    </a:lnTo>
                    <a:lnTo>
                      <a:pt x="10293" y="1638"/>
                    </a:lnTo>
                    <a:lnTo>
                      <a:pt x="10158" y="1415"/>
                    </a:lnTo>
                    <a:lnTo>
                      <a:pt x="9967" y="1210"/>
                    </a:lnTo>
                    <a:lnTo>
                      <a:pt x="9753" y="986"/>
                    </a:lnTo>
                    <a:lnTo>
                      <a:pt x="9495" y="819"/>
                    </a:lnTo>
                    <a:lnTo>
                      <a:pt x="9191" y="670"/>
                    </a:lnTo>
                    <a:lnTo>
                      <a:pt x="8842" y="521"/>
                    </a:lnTo>
                    <a:lnTo>
                      <a:pt x="8471" y="446"/>
                    </a:lnTo>
                    <a:lnTo>
                      <a:pt x="7998" y="428"/>
                    </a:lnTo>
                    <a:lnTo>
                      <a:pt x="7413" y="428"/>
                    </a:lnTo>
                    <a:lnTo>
                      <a:pt x="6817" y="446"/>
                    </a:lnTo>
                    <a:lnTo>
                      <a:pt x="6187" y="521"/>
                    </a:lnTo>
                    <a:lnTo>
                      <a:pt x="5602" y="633"/>
                    </a:lnTo>
                    <a:lnTo>
                      <a:pt x="5107" y="744"/>
                    </a:lnTo>
                    <a:lnTo>
                      <a:pt x="4725" y="856"/>
                    </a:lnTo>
                    <a:lnTo>
                      <a:pt x="4848" y="1564"/>
                    </a:lnTo>
                    <a:lnTo>
                      <a:pt x="5028" y="2495"/>
                    </a:lnTo>
                    <a:lnTo>
                      <a:pt x="5175" y="3556"/>
                    </a:lnTo>
                    <a:lnTo>
                      <a:pt x="5298" y="4673"/>
                    </a:lnTo>
                    <a:lnTo>
                      <a:pt x="5343" y="5213"/>
                    </a:lnTo>
                    <a:lnTo>
                      <a:pt x="5388" y="5753"/>
                    </a:lnTo>
                    <a:lnTo>
                      <a:pt x="5411" y="6275"/>
                    </a:lnTo>
                    <a:lnTo>
                      <a:pt x="5411" y="6740"/>
                    </a:lnTo>
                    <a:lnTo>
                      <a:pt x="5366" y="7168"/>
                    </a:lnTo>
                    <a:lnTo>
                      <a:pt x="5321" y="7541"/>
                    </a:lnTo>
                    <a:lnTo>
                      <a:pt x="5287" y="7708"/>
                    </a:lnTo>
                    <a:lnTo>
                      <a:pt x="5242" y="7857"/>
                    </a:lnTo>
                    <a:lnTo>
                      <a:pt x="5197" y="7969"/>
                    </a:lnTo>
                    <a:lnTo>
                      <a:pt x="5130" y="8062"/>
                    </a:lnTo>
                    <a:lnTo>
                      <a:pt x="5006" y="8248"/>
                    </a:lnTo>
                    <a:lnTo>
                      <a:pt x="4848" y="8397"/>
                    </a:lnTo>
                    <a:lnTo>
                      <a:pt x="4725" y="8528"/>
                    </a:lnTo>
                    <a:lnTo>
                      <a:pt x="4567" y="8640"/>
                    </a:lnTo>
                    <a:lnTo>
                      <a:pt x="4421" y="8714"/>
                    </a:lnTo>
                    <a:lnTo>
                      <a:pt x="4263" y="8751"/>
                    </a:lnTo>
                    <a:lnTo>
                      <a:pt x="4095" y="8788"/>
                    </a:lnTo>
                    <a:lnTo>
                      <a:pt x="3948" y="8788"/>
                    </a:lnTo>
                    <a:lnTo>
                      <a:pt x="3791" y="8751"/>
                    </a:lnTo>
                    <a:lnTo>
                      <a:pt x="3667" y="8714"/>
                    </a:lnTo>
                    <a:lnTo>
                      <a:pt x="3510" y="8677"/>
                    </a:lnTo>
                    <a:lnTo>
                      <a:pt x="3386" y="8602"/>
                    </a:lnTo>
                    <a:lnTo>
                      <a:pt x="3251" y="8491"/>
                    </a:lnTo>
                    <a:lnTo>
                      <a:pt x="3127" y="8360"/>
                    </a:lnTo>
                    <a:lnTo>
                      <a:pt x="3015" y="8248"/>
                    </a:lnTo>
                    <a:lnTo>
                      <a:pt x="2925" y="8062"/>
                    </a:lnTo>
                    <a:lnTo>
                      <a:pt x="2778" y="7857"/>
                    </a:lnTo>
                    <a:lnTo>
                      <a:pt x="2610" y="7671"/>
                    </a:lnTo>
                    <a:lnTo>
                      <a:pt x="2407" y="7541"/>
                    </a:lnTo>
                    <a:lnTo>
                      <a:pt x="2171" y="7466"/>
                    </a:lnTo>
                    <a:lnTo>
                      <a:pt x="1957" y="7429"/>
                    </a:lnTo>
                    <a:lnTo>
                      <a:pt x="1698" y="7429"/>
                    </a:lnTo>
                    <a:lnTo>
                      <a:pt x="1462" y="7466"/>
                    </a:lnTo>
                    <a:lnTo>
                      <a:pt x="1226" y="7559"/>
                    </a:lnTo>
                    <a:lnTo>
                      <a:pt x="989" y="7708"/>
                    </a:lnTo>
                    <a:lnTo>
                      <a:pt x="776" y="7932"/>
                    </a:lnTo>
                    <a:lnTo>
                      <a:pt x="551" y="8211"/>
                    </a:lnTo>
                    <a:lnTo>
                      <a:pt x="382" y="8528"/>
                    </a:lnTo>
                    <a:lnTo>
                      <a:pt x="315" y="8714"/>
                    </a:lnTo>
                    <a:lnTo>
                      <a:pt x="236" y="8919"/>
                    </a:lnTo>
                    <a:lnTo>
                      <a:pt x="191" y="9142"/>
                    </a:lnTo>
                    <a:lnTo>
                      <a:pt x="123" y="9347"/>
                    </a:lnTo>
                    <a:lnTo>
                      <a:pt x="78" y="9608"/>
                    </a:lnTo>
                    <a:lnTo>
                      <a:pt x="56" y="9887"/>
                    </a:lnTo>
                    <a:lnTo>
                      <a:pt x="33" y="10185"/>
                    </a:lnTo>
                    <a:lnTo>
                      <a:pt x="33" y="10464"/>
                    </a:lnTo>
                    <a:lnTo>
                      <a:pt x="33" y="10706"/>
                    </a:lnTo>
                    <a:lnTo>
                      <a:pt x="56" y="10967"/>
                    </a:lnTo>
                    <a:lnTo>
                      <a:pt x="78" y="11172"/>
                    </a:lnTo>
                    <a:lnTo>
                      <a:pt x="123" y="11395"/>
                    </a:lnTo>
                    <a:lnTo>
                      <a:pt x="168" y="11600"/>
                    </a:lnTo>
                    <a:lnTo>
                      <a:pt x="236" y="11786"/>
                    </a:lnTo>
                    <a:lnTo>
                      <a:pt x="292" y="11973"/>
                    </a:lnTo>
                    <a:lnTo>
                      <a:pt x="382" y="12140"/>
                    </a:lnTo>
                    <a:lnTo>
                      <a:pt x="540" y="12419"/>
                    </a:lnTo>
                    <a:lnTo>
                      <a:pt x="731" y="12680"/>
                    </a:lnTo>
                    <a:lnTo>
                      <a:pt x="944" y="12866"/>
                    </a:lnTo>
                    <a:lnTo>
                      <a:pt x="1158" y="12997"/>
                    </a:lnTo>
                    <a:lnTo>
                      <a:pt x="1395" y="13108"/>
                    </a:lnTo>
                    <a:lnTo>
                      <a:pt x="1608" y="13183"/>
                    </a:lnTo>
                    <a:lnTo>
                      <a:pt x="1856" y="13183"/>
                    </a:lnTo>
                    <a:lnTo>
                      <a:pt x="2070" y="13146"/>
                    </a:lnTo>
                    <a:lnTo>
                      <a:pt x="2261" y="13071"/>
                    </a:lnTo>
                    <a:lnTo>
                      <a:pt x="2430" y="12960"/>
                    </a:lnTo>
                    <a:lnTo>
                      <a:pt x="2587" y="12792"/>
                    </a:lnTo>
                    <a:lnTo>
                      <a:pt x="2688" y="12606"/>
                    </a:lnTo>
                    <a:lnTo>
                      <a:pt x="2801" y="12419"/>
                    </a:lnTo>
                    <a:lnTo>
                      <a:pt x="2925" y="12289"/>
                    </a:lnTo>
                    <a:lnTo>
                      <a:pt x="3082" y="12177"/>
                    </a:lnTo>
                    <a:lnTo>
                      <a:pt x="3228" y="12103"/>
                    </a:lnTo>
                    <a:lnTo>
                      <a:pt x="3408" y="12103"/>
                    </a:lnTo>
                    <a:lnTo>
                      <a:pt x="3577" y="12103"/>
                    </a:lnTo>
                    <a:lnTo>
                      <a:pt x="3723" y="12177"/>
                    </a:lnTo>
                    <a:lnTo>
                      <a:pt x="3903" y="12252"/>
                    </a:lnTo>
                    <a:lnTo>
                      <a:pt x="4072" y="12364"/>
                    </a:lnTo>
                    <a:lnTo>
                      <a:pt x="4230" y="12494"/>
                    </a:lnTo>
                    <a:lnTo>
                      <a:pt x="4353" y="12643"/>
                    </a:lnTo>
                    <a:lnTo>
                      <a:pt x="4488" y="12829"/>
                    </a:lnTo>
                    <a:lnTo>
                      <a:pt x="4567" y="13034"/>
                    </a:lnTo>
                    <a:lnTo>
                      <a:pt x="4657" y="13257"/>
                    </a:lnTo>
                    <a:lnTo>
                      <a:pt x="4702" y="13462"/>
                    </a:lnTo>
                    <a:lnTo>
                      <a:pt x="4725" y="13686"/>
                    </a:lnTo>
                    <a:lnTo>
                      <a:pt x="4702" y="14282"/>
                    </a:lnTo>
                    <a:lnTo>
                      <a:pt x="4657" y="15045"/>
                    </a:lnTo>
                    <a:lnTo>
                      <a:pt x="4612" y="15976"/>
                    </a:lnTo>
                    <a:lnTo>
                      <a:pt x="4590" y="16926"/>
                    </a:lnTo>
                    <a:lnTo>
                      <a:pt x="4567" y="17968"/>
                    </a:lnTo>
                    <a:lnTo>
                      <a:pt x="4567" y="19011"/>
                    </a:lnTo>
                    <a:lnTo>
                      <a:pt x="4590" y="19514"/>
                    </a:lnTo>
                    <a:lnTo>
                      <a:pt x="4612" y="19980"/>
                    </a:lnTo>
                    <a:lnTo>
                      <a:pt x="4657" y="20426"/>
                    </a:lnTo>
                    <a:lnTo>
                      <a:pt x="4725" y="20836"/>
                    </a:lnTo>
                    <a:lnTo>
                      <a:pt x="4848" y="20929"/>
                    </a:lnTo>
                    <a:lnTo>
                      <a:pt x="5040" y="21004"/>
                    </a:lnTo>
                    <a:lnTo>
                      <a:pt x="5265" y="21078"/>
                    </a:lnTo>
                    <a:lnTo>
                      <a:pt x="5478" y="21115"/>
                    </a:lnTo>
                    <a:lnTo>
                      <a:pt x="6041" y="21115"/>
                    </a:lnTo>
                    <a:lnTo>
                      <a:pt x="6637" y="21078"/>
                    </a:lnTo>
                    <a:lnTo>
                      <a:pt x="7312" y="21004"/>
                    </a:lnTo>
                    <a:lnTo>
                      <a:pt x="7998" y="20929"/>
                    </a:lnTo>
                    <a:lnTo>
                      <a:pt x="8696" y="20855"/>
                    </a:lnTo>
                    <a:lnTo>
                      <a:pt x="9360" y="20836"/>
                    </a:lnTo>
                    <a:close/>
                  </a:path>
                </a:pathLst>
              </a:custGeom>
              <a:solidFill>
                <a:srgbClr val="CCCC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6AD245-CE23-44AA-B096-4A6180C9AAE6}" type="slidenum">
              <a:rPr lang="en-US" smtClean="0"/>
              <a:pPr/>
              <a:t>1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897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8084" name="Oval 4"/>
          <p:cNvSpPr>
            <a:spLocks noChangeArrowheads="1"/>
          </p:cNvSpPr>
          <p:nvPr/>
        </p:nvSpPr>
        <p:spPr bwMode="gray">
          <a:xfrm>
            <a:off x="730400" y="540768"/>
            <a:ext cx="3436190" cy="86558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4000" b="1" dirty="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  <a:t>Diagram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899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24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r Diagram 5 Bars</a:t>
            </a:r>
          </a:p>
        </p:txBody>
      </p:sp>
      <p:graphicFrame>
        <p:nvGraphicFramePr>
          <p:cNvPr id="2922500" name="Objec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38042"/>
              </p:ext>
            </p:extLst>
          </p:nvPr>
        </p:nvGraphicFramePr>
        <p:xfrm>
          <a:off x="4244976" y="1876425"/>
          <a:ext cx="5356225" cy="3430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45" name="Diagramm" r:id="rId4" imgW="4410075" imgH="3524250" progId="MSGraph.Chart.8">
                  <p:embed followColorScheme="full"/>
                </p:oleObj>
              </mc:Choice>
              <mc:Fallback>
                <p:oleObj name="Diagramm" r:id="rId4" imgW="4410075" imgH="3524250" progId="MSGraph.Chart.8">
                  <p:embed followColorScheme="full"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4244976" y="1876425"/>
                        <a:ext cx="5356225" cy="3430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22513" name="Group 17"/>
          <p:cNvGrpSpPr>
            <a:grpSpLocks/>
          </p:cNvGrpSpPr>
          <p:nvPr/>
        </p:nvGrpSpPr>
        <p:grpSpPr bwMode="auto">
          <a:xfrm>
            <a:off x="3381376" y="2095501"/>
            <a:ext cx="5807075" cy="2924175"/>
            <a:chOff x="1170" y="1320"/>
            <a:chExt cx="3658" cy="1842"/>
          </a:xfrm>
        </p:grpSpPr>
        <p:sp>
          <p:nvSpPr>
            <p:cNvPr id="2922501" name="Rectangle 5"/>
            <p:cNvSpPr>
              <a:spLocks noChangeArrowheads="1"/>
            </p:cNvSpPr>
            <p:nvPr/>
          </p:nvSpPr>
          <p:spPr bwMode="gray">
            <a:xfrm>
              <a:off x="4302" y="1320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2502" name="Rectangle 6"/>
            <p:cNvSpPr>
              <a:spLocks noChangeArrowheads="1"/>
            </p:cNvSpPr>
            <p:nvPr/>
          </p:nvSpPr>
          <p:spPr bwMode="gray">
            <a:xfrm>
              <a:off x="3798" y="1734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2503" name="Rectangle 7"/>
            <p:cNvSpPr>
              <a:spLocks noChangeArrowheads="1"/>
            </p:cNvSpPr>
            <p:nvPr/>
          </p:nvSpPr>
          <p:spPr bwMode="gray">
            <a:xfrm>
              <a:off x="3294" y="2160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2504" name="Rectangle 8"/>
            <p:cNvSpPr>
              <a:spLocks noChangeArrowheads="1"/>
            </p:cNvSpPr>
            <p:nvPr/>
          </p:nvSpPr>
          <p:spPr bwMode="gray">
            <a:xfrm>
              <a:off x="2796" y="2562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2505" name="Rectangle 9"/>
            <p:cNvSpPr>
              <a:spLocks noChangeArrowheads="1"/>
            </p:cNvSpPr>
            <p:nvPr/>
          </p:nvSpPr>
          <p:spPr bwMode="gray">
            <a:xfrm>
              <a:off x="2298" y="2988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2506" name="Rectangle 10"/>
            <p:cNvSpPr>
              <a:spLocks noChangeArrowheads="1"/>
            </p:cNvSpPr>
            <p:nvPr/>
          </p:nvSpPr>
          <p:spPr bwMode="gray">
            <a:xfrm>
              <a:off x="1170" y="2988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2507" name="Rectangle 11"/>
            <p:cNvSpPr>
              <a:spLocks noChangeArrowheads="1"/>
            </p:cNvSpPr>
            <p:nvPr/>
          </p:nvSpPr>
          <p:spPr bwMode="gray">
            <a:xfrm>
              <a:off x="1170" y="2574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2508" name="Rectangle 12"/>
            <p:cNvSpPr>
              <a:spLocks noChangeArrowheads="1"/>
            </p:cNvSpPr>
            <p:nvPr/>
          </p:nvSpPr>
          <p:spPr bwMode="gray">
            <a:xfrm>
              <a:off x="1170" y="2160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2509" name="Rectangle 13"/>
            <p:cNvSpPr>
              <a:spLocks noChangeArrowheads="1"/>
            </p:cNvSpPr>
            <p:nvPr/>
          </p:nvSpPr>
          <p:spPr bwMode="gray">
            <a:xfrm>
              <a:off x="1170" y="1746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2510" name="Rectangle 14"/>
            <p:cNvSpPr>
              <a:spLocks noChangeArrowheads="1"/>
            </p:cNvSpPr>
            <p:nvPr/>
          </p:nvSpPr>
          <p:spPr bwMode="gray">
            <a:xfrm>
              <a:off x="1170" y="1326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077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45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 Bar Diagram 5 bars</a:t>
            </a:r>
          </a:p>
        </p:txBody>
      </p:sp>
      <p:grpSp>
        <p:nvGrpSpPr>
          <p:cNvPr id="2924573" name="Group 29"/>
          <p:cNvGrpSpPr>
            <a:grpSpLocks/>
          </p:cNvGrpSpPr>
          <p:nvPr/>
        </p:nvGrpSpPr>
        <p:grpSpPr bwMode="auto">
          <a:xfrm>
            <a:off x="6019800" y="1813834"/>
            <a:ext cx="4197350" cy="3733800"/>
            <a:chOff x="2982" y="900"/>
            <a:chExt cx="2644" cy="2352"/>
          </a:xfrm>
        </p:grpSpPr>
        <p:graphicFrame>
          <p:nvGraphicFramePr>
            <p:cNvPr id="2924548" name="Object 4"/>
            <p:cNvGraphicFramePr>
              <a:graphicFrameLocks/>
            </p:cNvGraphicFramePr>
            <p:nvPr/>
          </p:nvGraphicFramePr>
          <p:xfrm>
            <a:off x="3518" y="1080"/>
            <a:ext cx="1878" cy="217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45526" name="Diagramm" r:id="rId4" imgW="3067050" imgH="3543300" progId="MSGraph.Chart.8">
                    <p:embed followColorScheme="full"/>
                  </p:oleObj>
                </mc:Choice>
                <mc:Fallback>
                  <p:oleObj name="Diagramm" r:id="rId4" imgW="3067050" imgH="3543300" progId="MSGraph.Chart.8">
                    <p:embed followColorScheme="full"/>
                    <p:pic>
                      <p:nvPicPr>
                        <p:cNvPr id="0" name=""/>
                        <p:cNvPicPr preferRelativeResize="0">
                          <a:picLocks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3518" y="1080"/>
                          <a:ext cx="1878" cy="217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924549" name="Rectangle 5"/>
            <p:cNvSpPr>
              <a:spLocks noChangeArrowheads="1"/>
            </p:cNvSpPr>
            <p:nvPr/>
          </p:nvSpPr>
          <p:spPr bwMode="gray">
            <a:xfrm>
              <a:off x="5100" y="1230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50" name="Rectangle 6"/>
            <p:cNvSpPr>
              <a:spLocks noChangeArrowheads="1"/>
            </p:cNvSpPr>
            <p:nvPr/>
          </p:nvSpPr>
          <p:spPr bwMode="gray">
            <a:xfrm>
              <a:off x="4800" y="1656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51" name="Rectangle 7"/>
            <p:cNvSpPr>
              <a:spLocks noChangeArrowheads="1"/>
            </p:cNvSpPr>
            <p:nvPr/>
          </p:nvSpPr>
          <p:spPr bwMode="gray">
            <a:xfrm>
              <a:off x="4494" y="2070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52" name="Rectangle 8"/>
            <p:cNvSpPr>
              <a:spLocks noChangeArrowheads="1"/>
            </p:cNvSpPr>
            <p:nvPr/>
          </p:nvSpPr>
          <p:spPr bwMode="gray">
            <a:xfrm>
              <a:off x="4194" y="2478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53" name="Rectangle 9"/>
            <p:cNvSpPr>
              <a:spLocks noChangeArrowheads="1"/>
            </p:cNvSpPr>
            <p:nvPr/>
          </p:nvSpPr>
          <p:spPr bwMode="gray">
            <a:xfrm>
              <a:off x="3894" y="2898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54" name="Rectangle 10"/>
            <p:cNvSpPr>
              <a:spLocks noChangeArrowheads="1"/>
            </p:cNvSpPr>
            <p:nvPr/>
          </p:nvSpPr>
          <p:spPr bwMode="gray">
            <a:xfrm>
              <a:off x="2982" y="1230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55" name="Rectangle 11"/>
            <p:cNvSpPr>
              <a:spLocks noChangeArrowheads="1"/>
            </p:cNvSpPr>
            <p:nvPr/>
          </p:nvSpPr>
          <p:spPr bwMode="gray">
            <a:xfrm>
              <a:off x="2982" y="1656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56" name="Rectangle 12"/>
            <p:cNvSpPr>
              <a:spLocks noChangeArrowheads="1"/>
            </p:cNvSpPr>
            <p:nvPr/>
          </p:nvSpPr>
          <p:spPr bwMode="gray">
            <a:xfrm>
              <a:off x="2982" y="2070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57" name="Rectangle 13"/>
            <p:cNvSpPr>
              <a:spLocks noChangeArrowheads="1"/>
            </p:cNvSpPr>
            <p:nvPr/>
          </p:nvSpPr>
          <p:spPr bwMode="gray">
            <a:xfrm>
              <a:off x="2982" y="2478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58" name="Rectangle 14"/>
            <p:cNvSpPr>
              <a:spLocks noChangeArrowheads="1"/>
            </p:cNvSpPr>
            <p:nvPr/>
          </p:nvSpPr>
          <p:spPr bwMode="gray">
            <a:xfrm>
              <a:off x="2982" y="2898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59" name="Rectangle 15"/>
            <p:cNvSpPr>
              <a:spLocks noChangeArrowheads="1"/>
            </p:cNvSpPr>
            <p:nvPr/>
          </p:nvSpPr>
          <p:spPr bwMode="gray">
            <a:xfrm>
              <a:off x="3540" y="900"/>
              <a:ext cx="526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grpSp>
        <p:nvGrpSpPr>
          <p:cNvPr id="2924574" name="Group 30"/>
          <p:cNvGrpSpPr>
            <a:grpSpLocks/>
          </p:cNvGrpSpPr>
          <p:nvPr/>
        </p:nvGrpSpPr>
        <p:grpSpPr bwMode="auto">
          <a:xfrm>
            <a:off x="1925638" y="1813835"/>
            <a:ext cx="4197350" cy="3730625"/>
            <a:chOff x="253" y="900"/>
            <a:chExt cx="2644" cy="2350"/>
          </a:xfrm>
        </p:grpSpPr>
        <p:graphicFrame>
          <p:nvGraphicFramePr>
            <p:cNvPr id="2924560" name="Object 16"/>
            <p:cNvGraphicFramePr>
              <a:graphicFrameLocks/>
            </p:cNvGraphicFramePr>
            <p:nvPr/>
          </p:nvGraphicFramePr>
          <p:xfrm>
            <a:off x="791" y="1078"/>
            <a:ext cx="1878" cy="217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45527" name="Diagramm" r:id="rId6" imgW="3067050" imgH="3543300" progId="MSGraph.Chart.8">
                    <p:embed followColorScheme="full"/>
                  </p:oleObj>
                </mc:Choice>
                <mc:Fallback>
                  <p:oleObj name="Diagramm" r:id="rId6" imgW="3067050" imgH="3543300" progId="MSGraph.Chart.8">
                    <p:embed followColorScheme="full"/>
                    <p:pic>
                      <p:nvPicPr>
                        <p:cNvPr id="0" name=""/>
                        <p:cNvPicPr preferRelativeResize="0">
                          <a:picLocks noChangeArrowheads="1"/>
                        </p:cNvPicPr>
                        <p:nvPr/>
                      </p:nvPicPr>
                      <p:blipFill>
                        <a:blip r:embed="rId7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791" y="1078"/>
                          <a:ext cx="1878" cy="217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924561" name="Rectangle 17"/>
            <p:cNvSpPr>
              <a:spLocks noChangeArrowheads="1"/>
            </p:cNvSpPr>
            <p:nvPr/>
          </p:nvSpPr>
          <p:spPr bwMode="gray">
            <a:xfrm>
              <a:off x="2371" y="1230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62" name="Rectangle 18"/>
            <p:cNvSpPr>
              <a:spLocks noChangeArrowheads="1"/>
            </p:cNvSpPr>
            <p:nvPr/>
          </p:nvSpPr>
          <p:spPr bwMode="gray">
            <a:xfrm>
              <a:off x="2071" y="1656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63" name="Rectangle 19"/>
            <p:cNvSpPr>
              <a:spLocks noChangeArrowheads="1"/>
            </p:cNvSpPr>
            <p:nvPr/>
          </p:nvSpPr>
          <p:spPr bwMode="gray">
            <a:xfrm>
              <a:off x="1771" y="2070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64" name="Rectangle 20"/>
            <p:cNvSpPr>
              <a:spLocks noChangeArrowheads="1"/>
            </p:cNvSpPr>
            <p:nvPr/>
          </p:nvSpPr>
          <p:spPr bwMode="gray">
            <a:xfrm>
              <a:off x="1471" y="2478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65" name="Rectangle 21"/>
            <p:cNvSpPr>
              <a:spLocks noChangeArrowheads="1"/>
            </p:cNvSpPr>
            <p:nvPr/>
          </p:nvSpPr>
          <p:spPr bwMode="gray">
            <a:xfrm>
              <a:off x="1165" y="2898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66" name="Rectangle 22"/>
            <p:cNvSpPr>
              <a:spLocks noChangeArrowheads="1"/>
            </p:cNvSpPr>
            <p:nvPr/>
          </p:nvSpPr>
          <p:spPr bwMode="gray">
            <a:xfrm>
              <a:off x="253" y="1230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67" name="Rectangle 23"/>
            <p:cNvSpPr>
              <a:spLocks noChangeArrowheads="1"/>
            </p:cNvSpPr>
            <p:nvPr/>
          </p:nvSpPr>
          <p:spPr bwMode="gray">
            <a:xfrm>
              <a:off x="253" y="1656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68" name="Rectangle 24"/>
            <p:cNvSpPr>
              <a:spLocks noChangeArrowheads="1"/>
            </p:cNvSpPr>
            <p:nvPr/>
          </p:nvSpPr>
          <p:spPr bwMode="gray">
            <a:xfrm>
              <a:off x="253" y="2070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69" name="Rectangle 25"/>
            <p:cNvSpPr>
              <a:spLocks noChangeArrowheads="1"/>
            </p:cNvSpPr>
            <p:nvPr/>
          </p:nvSpPr>
          <p:spPr bwMode="gray">
            <a:xfrm>
              <a:off x="253" y="2478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70" name="Rectangle 26"/>
            <p:cNvSpPr>
              <a:spLocks noChangeArrowheads="1"/>
            </p:cNvSpPr>
            <p:nvPr/>
          </p:nvSpPr>
          <p:spPr bwMode="gray">
            <a:xfrm>
              <a:off x="253" y="2898"/>
              <a:ext cx="5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4571" name="Rectangle 27"/>
            <p:cNvSpPr>
              <a:spLocks noChangeArrowheads="1"/>
            </p:cNvSpPr>
            <p:nvPr/>
          </p:nvSpPr>
          <p:spPr bwMode="gray">
            <a:xfrm>
              <a:off x="823" y="900"/>
              <a:ext cx="526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25584"/>
      </p:ext>
    </p:extLst>
  </p:cSld>
  <p:clrMapOvr>
    <a:masterClrMapping/>
  </p:clrMapOvr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65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3 Bar Diagram  5 Bars</a:t>
            </a:r>
          </a:p>
        </p:txBody>
      </p:sp>
      <p:grpSp>
        <p:nvGrpSpPr>
          <p:cNvPr id="2926637" name="Group 45"/>
          <p:cNvGrpSpPr>
            <a:grpSpLocks/>
          </p:cNvGrpSpPr>
          <p:nvPr/>
        </p:nvGrpSpPr>
        <p:grpSpPr bwMode="auto">
          <a:xfrm>
            <a:off x="1916114" y="2011818"/>
            <a:ext cx="2873375" cy="3752850"/>
            <a:chOff x="247" y="891"/>
            <a:chExt cx="1810" cy="2364"/>
          </a:xfrm>
        </p:grpSpPr>
        <p:graphicFrame>
          <p:nvGraphicFramePr>
            <p:cNvPr id="2926596" name="Object 4"/>
            <p:cNvGraphicFramePr>
              <a:graphicFrameLocks/>
            </p:cNvGraphicFramePr>
            <p:nvPr/>
          </p:nvGraphicFramePr>
          <p:xfrm>
            <a:off x="622" y="1080"/>
            <a:ext cx="1325" cy="217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46607" name="Chart" r:id="rId4" imgW="2162175" imgH="3552825" progId="MSGraph.Chart.8">
                    <p:embed followColorScheme="full"/>
                  </p:oleObj>
                </mc:Choice>
                <mc:Fallback>
                  <p:oleObj name="Chart" r:id="rId4" imgW="2162175" imgH="3552825" progId="MSGraph.Chart.8">
                    <p:embed followColorScheme="full"/>
                    <p:pic>
                      <p:nvPicPr>
                        <p:cNvPr id="0" name=""/>
                        <p:cNvPicPr preferRelativeResize="0">
                          <a:picLocks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622" y="1080"/>
                          <a:ext cx="1325" cy="217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926597" name="Rectangle 5"/>
            <p:cNvSpPr>
              <a:spLocks noChangeArrowheads="1"/>
            </p:cNvSpPr>
            <p:nvPr/>
          </p:nvSpPr>
          <p:spPr bwMode="gray">
            <a:xfrm>
              <a:off x="1698" y="122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598" name="Rectangle 6"/>
            <p:cNvSpPr>
              <a:spLocks noChangeArrowheads="1"/>
            </p:cNvSpPr>
            <p:nvPr/>
          </p:nvSpPr>
          <p:spPr bwMode="gray">
            <a:xfrm>
              <a:off x="1438" y="1655"/>
              <a:ext cx="35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599" name="Rectangle 7"/>
            <p:cNvSpPr>
              <a:spLocks noChangeArrowheads="1"/>
            </p:cNvSpPr>
            <p:nvPr/>
          </p:nvSpPr>
          <p:spPr bwMode="gray">
            <a:xfrm>
              <a:off x="1203" y="206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00" name="Rectangle 8"/>
            <p:cNvSpPr>
              <a:spLocks noChangeArrowheads="1"/>
            </p:cNvSpPr>
            <p:nvPr/>
          </p:nvSpPr>
          <p:spPr bwMode="gray">
            <a:xfrm>
              <a:off x="939" y="2477"/>
              <a:ext cx="35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01" name="Rectangle 9"/>
            <p:cNvSpPr>
              <a:spLocks noChangeArrowheads="1"/>
            </p:cNvSpPr>
            <p:nvPr/>
          </p:nvSpPr>
          <p:spPr bwMode="gray">
            <a:xfrm>
              <a:off x="822" y="2897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02" name="Rectangle 10"/>
            <p:cNvSpPr>
              <a:spLocks noChangeArrowheads="1"/>
            </p:cNvSpPr>
            <p:nvPr/>
          </p:nvSpPr>
          <p:spPr bwMode="gray">
            <a:xfrm>
              <a:off x="247" y="122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03" name="Rectangle 11"/>
            <p:cNvSpPr>
              <a:spLocks noChangeArrowheads="1"/>
            </p:cNvSpPr>
            <p:nvPr/>
          </p:nvSpPr>
          <p:spPr bwMode="gray">
            <a:xfrm>
              <a:off x="247" y="1655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04" name="Rectangle 12"/>
            <p:cNvSpPr>
              <a:spLocks noChangeArrowheads="1"/>
            </p:cNvSpPr>
            <p:nvPr/>
          </p:nvSpPr>
          <p:spPr bwMode="gray">
            <a:xfrm>
              <a:off x="247" y="206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05" name="Rectangle 13"/>
            <p:cNvSpPr>
              <a:spLocks noChangeArrowheads="1"/>
            </p:cNvSpPr>
            <p:nvPr/>
          </p:nvSpPr>
          <p:spPr bwMode="gray">
            <a:xfrm>
              <a:off x="247" y="2477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06" name="Rectangle 14"/>
            <p:cNvSpPr>
              <a:spLocks noChangeArrowheads="1"/>
            </p:cNvSpPr>
            <p:nvPr/>
          </p:nvSpPr>
          <p:spPr bwMode="gray">
            <a:xfrm>
              <a:off x="247" y="2897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07" name="Rectangle 15"/>
            <p:cNvSpPr>
              <a:spLocks noChangeArrowheads="1"/>
            </p:cNvSpPr>
            <p:nvPr/>
          </p:nvSpPr>
          <p:spPr bwMode="gray">
            <a:xfrm>
              <a:off x="647" y="891"/>
              <a:ext cx="35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grpSp>
        <p:nvGrpSpPr>
          <p:cNvPr id="2926635" name="Group 43"/>
          <p:cNvGrpSpPr>
            <a:grpSpLocks/>
          </p:cNvGrpSpPr>
          <p:nvPr/>
        </p:nvGrpSpPr>
        <p:grpSpPr bwMode="auto">
          <a:xfrm>
            <a:off x="4945064" y="2011818"/>
            <a:ext cx="2435225" cy="3752850"/>
            <a:chOff x="2155" y="891"/>
            <a:chExt cx="1534" cy="2364"/>
          </a:xfrm>
        </p:grpSpPr>
        <p:graphicFrame>
          <p:nvGraphicFramePr>
            <p:cNvPr id="2926608" name="Object 16"/>
            <p:cNvGraphicFramePr>
              <a:graphicFrameLocks/>
            </p:cNvGraphicFramePr>
            <p:nvPr/>
          </p:nvGraphicFramePr>
          <p:xfrm>
            <a:off x="2520" y="1080"/>
            <a:ext cx="990" cy="217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46608" name="Chart" r:id="rId6" imgW="1619250" imgH="3552825" progId="MSGraph.Chart.8">
                    <p:embed followColorScheme="full"/>
                  </p:oleObj>
                </mc:Choice>
                <mc:Fallback>
                  <p:oleObj name="Chart" r:id="rId6" imgW="1619250" imgH="3552825" progId="MSGraph.Chart.8">
                    <p:embed followColorScheme="full"/>
                    <p:pic>
                      <p:nvPicPr>
                        <p:cNvPr id="0" name=""/>
                        <p:cNvPicPr preferRelativeResize="0">
                          <a:picLocks noChangeArrowheads="1"/>
                        </p:cNvPicPr>
                        <p:nvPr/>
                      </p:nvPicPr>
                      <p:blipFill>
                        <a:blip r:embed="rId7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2520" y="1080"/>
                          <a:ext cx="990" cy="217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926609" name="Rectangle 17"/>
            <p:cNvSpPr>
              <a:spLocks noChangeArrowheads="1"/>
            </p:cNvSpPr>
            <p:nvPr/>
          </p:nvSpPr>
          <p:spPr bwMode="gray">
            <a:xfrm>
              <a:off x="3330" y="122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10" name="Rectangle 18"/>
            <p:cNvSpPr>
              <a:spLocks noChangeArrowheads="1"/>
            </p:cNvSpPr>
            <p:nvPr/>
          </p:nvSpPr>
          <p:spPr bwMode="gray">
            <a:xfrm>
              <a:off x="3148" y="1655"/>
              <a:ext cx="35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11" name="Rectangle 19"/>
            <p:cNvSpPr>
              <a:spLocks noChangeArrowheads="1"/>
            </p:cNvSpPr>
            <p:nvPr/>
          </p:nvSpPr>
          <p:spPr bwMode="gray">
            <a:xfrm>
              <a:off x="2967" y="206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12" name="Rectangle 20"/>
            <p:cNvSpPr>
              <a:spLocks noChangeArrowheads="1"/>
            </p:cNvSpPr>
            <p:nvPr/>
          </p:nvSpPr>
          <p:spPr bwMode="gray">
            <a:xfrm>
              <a:off x="2787" y="2477"/>
              <a:ext cx="35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13" name="Rectangle 21"/>
            <p:cNvSpPr>
              <a:spLocks noChangeArrowheads="1"/>
            </p:cNvSpPr>
            <p:nvPr/>
          </p:nvSpPr>
          <p:spPr bwMode="gray">
            <a:xfrm>
              <a:off x="2694" y="2897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14" name="Rectangle 22"/>
            <p:cNvSpPr>
              <a:spLocks noChangeArrowheads="1"/>
            </p:cNvSpPr>
            <p:nvPr/>
          </p:nvSpPr>
          <p:spPr bwMode="gray">
            <a:xfrm>
              <a:off x="2155" y="122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15" name="Rectangle 23"/>
            <p:cNvSpPr>
              <a:spLocks noChangeArrowheads="1"/>
            </p:cNvSpPr>
            <p:nvPr/>
          </p:nvSpPr>
          <p:spPr bwMode="gray">
            <a:xfrm>
              <a:off x="2155" y="1655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16" name="Rectangle 24"/>
            <p:cNvSpPr>
              <a:spLocks noChangeArrowheads="1"/>
            </p:cNvSpPr>
            <p:nvPr/>
          </p:nvSpPr>
          <p:spPr bwMode="gray">
            <a:xfrm>
              <a:off x="2155" y="206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17" name="Rectangle 25"/>
            <p:cNvSpPr>
              <a:spLocks noChangeArrowheads="1"/>
            </p:cNvSpPr>
            <p:nvPr/>
          </p:nvSpPr>
          <p:spPr bwMode="gray">
            <a:xfrm>
              <a:off x="2155" y="2477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18" name="Rectangle 26"/>
            <p:cNvSpPr>
              <a:spLocks noChangeArrowheads="1"/>
            </p:cNvSpPr>
            <p:nvPr/>
          </p:nvSpPr>
          <p:spPr bwMode="gray">
            <a:xfrm>
              <a:off x="2155" y="2897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19" name="Rectangle 27"/>
            <p:cNvSpPr>
              <a:spLocks noChangeArrowheads="1"/>
            </p:cNvSpPr>
            <p:nvPr/>
          </p:nvSpPr>
          <p:spPr bwMode="gray">
            <a:xfrm>
              <a:off x="2567" y="891"/>
              <a:ext cx="35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grpSp>
        <p:nvGrpSpPr>
          <p:cNvPr id="2926636" name="Group 44"/>
          <p:cNvGrpSpPr>
            <a:grpSpLocks/>
          </p:cNvGrpSpPr>
          <p:nvPr/>
        </p:nvGrpSpPr>
        <p:grpSpPr bwMode="auto">
          <a:xfrm>
            <a:off x="7707313" y="2011818"/>
            <a:ext cx="2444750" cy="3752850"/>
            <a:chOff x="3895" y="891"/>
            <a:chExt cx="1540" cy="2364"/>
          </a:xfrm>
        </p:grpSpPr>
        <p:graphicFrame>
          <p:nvGraphicFramePr>
            <p:cNvPr id="2926620" name="Object 28"/>
            <p:cNvGraphicFramePr>
              <a:graphicFrameLocks/>
            </p:cNvGraphicFramePr>
            <p:nvPr/>
          </p:nvGraphicFramePr>
          <p:xfrm>
            <a:off x="4265" y="1080"/>
            <a:ext cx="990" cy="217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46609" name="Chart" r:id="rId8" imgW="1619250" imgH="3552825" progId="MSGraph.Chart.8">
                    <p:embed followColorScheme="full"/>
                  </p:oleObj>
                </mc:Choice>
                <mc:Fallback>
                  <p:oleObj name="Chart" r:id="rId8" imgW="1619250" imgH="3552825" progId="MSGraph.Chart.8">
                    <p:embed followColorScheme="full"/>
                    <p:pic>
                      <p:nvPicPr>
                        <p:cNvPr id="0" name=""/>
                        <p:cNvPicPr preferRelativeResize="0">
                          <a:picLocks noChangeArrowheads="1"/>
                        </p:cNvPicPr>
                        <p:nvPr/>
                      </p:nvPicPr>
                      <p:blipFill>
                        <a:blip r:embed="rId9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4265" y="1080"/>
                          <a:ext cx="990" cy="217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926621" name="Rectangle 29"/>
            <p:cNvSpPr>
              <a:spLocks noChangeArrowheads="1"/>
            </p:cNvSpPr>
            <p:nvPr/>
          </p:nvSpPr>
          <p:spPr bwMode="gray">
            <a:xfrm>
              <a:off x="5076" y="122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22" name="Rectangle 30"/>
            <p:cNvSpPr>
              <a:spLocks noChangeArrowheads="1"/>
            </p:cNvSpPr>
            <p:nvPr/>
          </p:nvSpPr>
          <p:spPr bwMode="gray">
            <a:xfrm>
              <a:off x="4894" y="1655"/>
              <a:ext cx="35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23" name="Rectangle 31"/>
            <p:cNvSpPr>
              <a:spLocks noChangeArrowheads="1"/>
            </p:cNvSpPr>
            <p:nvPr/>
          </p:nvSpPr>
          <p:spPr bwMode="gray">
            <a:xfrm>
              <a:off x="4713" y="206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24" name="Rectangle 32"/>
            <p:cNvSpPr>
              <a:spLocks noChangeArrowheads="1"/>
            </p:cNvSpPr>
            <p:nvPr/>
          </p:nvSpPr>
          <p:spPr bwMode="gray">
            <a:xfrm>
              <a:off x="4533" y="2477"/>
              <a:ext cx="35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25" name="Rectangle 33"/>
            <p:cNvSpPr>
              <a:spLocks noChangeArrowheads="1"/>
            </p:cNvSpPr>
            <p:nvPr/>
          </p:nvSpPr>
          <p:spPr bwMode="gray">
            <a:xfrm>
              <a:off x="4440" y="2897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26" name="Rectangle 34"/>
            <p:cNvSpPr>
              <a:spLocks noChangeArrowheads="1"/>
            </p:cNvSpPr>
            <p:nvPr/>
          </p:nvSpPr>
          <p:spPr bwMode="gray">
            <a:xfrm>
              <a:off x="3895" y="122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27" name="Rectangle 35"/>
            <p:cNvSpPr>
              <a:spLocks noChangeArrowheads="1"/>
            </p:cNvSpPr>
            <p:nvPr/>
          </p:nvSpPr>
          <p:spPr bwMode="gray">
            <a:xfrm>
              <a:off x="3895" y="1655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28" name="Rectangle 36"/>
            <p:cNvSpPr>
              <a:spLocks noChangeArrowheads="1"/>
            </p:cNvSpPr>
            <p:nvPr/>
          </p:nvSpPr>
          <p:spPr bwMode="gray">
            <a:xfrm>
              <a:off x="3895" y="206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29" name="Rectangle 37"/>
            <p:cNvSpPr>
              <a:spLocks noChangeArrowheads="1"/>
            </p:cNvSpPr>
            <p:nvPr/>
          </p:nvSpPr>
          <p:spPr bwMode="gray">
            <a:xfrm>
              <a:off x="3895" y="2477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30" name="Rectangle 38"/>
            <p:cNvSpPr>
              <a:spLocks noChangeArrowheads="1"/>
            </p:cNvSpPr>
            <p:nvPr/>
          </p:nvSpPr>
          <p:spPr bwMode="gray">
            <a:xfrm>
              <a:off x="3895" y="2897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26631" name="Rectangle 39"/>
            <p:cNvSpPr>
              <a:spLocks noChangeArrowheads="1"/>
            </p:cNvSpPr>
            <p:nvPr/>
          </p:nvSpPr>
          <p:spPr bwMode="gray">
            <a:xfrm>
              <a:off x="4313" y="891"/>
              <a:ext cx="35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596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79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r Diagram</a:t>
            </a:r>
          </a:p>
        </p:txBody>
      </p:sp>
      <p:grpSp>
        <p:nvGrpSpPr>
          <p:cNvPr id="2557975" name="Group 23"/>
          <p:cNvGrpSpPr>
            <a:grpSpLocks/>
          </p:cNvGrpSpPr>
          <p:nvPr/>
        </p:nvGrpSpPr>
        <p:grpSpPr bwMode="auto">
          <a:xfrm>
            <a:off x="3629025" y="1560062"/>
            <a:ext cx="6534150" cy="4067175"/>
            <a:chOff x="1326" y="843"/>
            <a:chExt cx="4116" cy="2562"/>
          </a:xfrm>
        </p:grpSpPr>
        <p:graphicFrame>
          <p:nvGraphicFramePr>
            <p:cNvPr id="2557956" name="Object 4"/>
            <p:cNvGraphicFramePr>
              <a:graphicFrameLocks noChangeAspect="1"/>
            </p:cNvGraphicFramePr>
            <p:nvPr/>
          </p:nvGraphicFramePr>
          <p:xfrm>
            <a:off x="1602" y="843"/>
            <a:ext cx="3840" cy="256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47517" name="Diagramm" r:id="rId4" imgW="6096000" imgH="4067175" progId="MSGraph.Chart.8">
                    <p:embed followColorScheme="full"/>
                  </p:oleObj>
                </mc:Choice>
                <mc:Fallback>
                  <p:oleObj name="Diagramm" r:id="rId4" imgW="6096000" imgH="4067175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1602" y="843"/>
                          <a:ext cx="3840" cy="256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57957" name="Rectangle 5"/>
            <p:cNvSpPr>
              <a:spLocks noChangeArrowheads="1"/>
            </p:cNvSpPr>
            <p:nvPr/>
          </p:nvSpPr>
          <p:spPr bwMode="gray">
            <a:xfrm>
              <a:off x="1326" y="1161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57958" name="Rectangle 6"/>
            <p:cNvSpPr>
              <a:spLocks noChangeArrowheads="1"/>
            </p:cNvSpPr>
            <p:nvPr/>
          </p:nvSpPr>
          <p:spPr bwMode="gray">
            <a:xfrm>
              <a:off x="1326" y="2355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57959" name="Rectangle 7"/>
            <p:cNvSpPr>
              <a:spLocks noChangeArrowheads="1"/>
            </p:cNvSpPr>
            <p:nvPr/>
          </p:nvSpPr>
          <p:spPr bwMode="gray">
            <a:xfrm>
              <a:off x="1326" y="2953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57960" name="Rectangle 8"/>
            <p:cNvSpPr>
              <a:spLocks noChangeArrowheads="1"/>
            </p:cNvSpPr>
            <p:nvPr/>
          </p:nvSpPr>
          <p:spPr bwMode="gray">
            <a:xfrm>
              <a:off x="3001" y="1777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57961" name="Rectangle 9"/>
            <p:cNvSpPr>
              <a:spLocks noChangeArrowheads="1"/>
            </p:cNvSpPr>
            <p:nvPr/>
          </p:nvSpPr>
          <p:spPr bwMode="gray">
            <a:xfrm>
              <a:off x="1326" y="1758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57962" name="Rectangle 10"/>
            <p:cNvSpPr>
              <a:spLocks noChangeArrowheads="1"/>
            </p:cNvSpPr>
            <p:nvPr/>
          </p:nvSpPr>
          <p:spPr bwMode="gray">
            <a:xfrm>
              <a:off x="2893" y="1179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57963" name="Rectangle 11"/>
            <p:cNvSpPr>
              <a:spLocks noChangeArrowheads="1"/>
            </p:cNvSpPr>
            <p:nvPr/>
          </p:nvSpPr>
          <p:spPr bwMode="gray">
            <a:xfrm>
              <a:off x="2473" y="1311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57964" name="Rectangle 12"/>
            <p:cNvSpPr>
              <a:spLocks noChangeArrowheads="1"/>
            </p:cNvSpPr>
            <p:nvPr/>
          </p:nvSpPr>
          <p:spPr bwMode="gray">
            <a:xfrm>
              <a:off x="5023" y="1899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57965" name="Rectangle 13"/>
            <p:cNvSpPr>
              <a:spLocks noChangeArrowheads="1"/>
            </p:cNvSpPr>
            <p:nvPr/>
          </p:nvSpPr>
          <p:spPr bwMode="gray">
            <a:xfrm>
              <a:off x="3338" y="1051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57966" name="Rectangle 14"/>
            <p:cNvSpPr>
              <a:spLocks noChangeArrowheads="1"/>
            </p:cNvSpPr>
            <p:nvPr/>
          </p:nvSpPr>
          <p:spPr bwMode="gray">
            <a:xfrm>
              <a:off x="3385" y="1635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57967" name="Rectangle 15"/>
            <p:cNvSpPr>
              <a:spLocks noChangeArrowheads="1"/>
            </p:cNvSpPr>
            <p:nvPr/>
          </p:nvSpPr>
          <p:spPr bwMode="gray">
            <a:xfrm>
              <a:off x="3445" y="2226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57968" name="Rectangle 16"/>
            <p:cNvSpPr>
              <a:spLocks noChangeArrowheads="1"/>
            </p:cNvSpPr>
            <p:nvPr/>
          </p:nvSpPr>
          <p:spPr bwMode="gray">
            <a:xfrm>
              <a:off x="2737" y="2499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57969" name="Rectangle 17"/>
            <p:cNvSpPr>
              <a:spLocks noChangeArrowheads="1"/>
            </p:cNvSpPr>
            <p:nvPr/>
          </p:nvSpPr>
          <p:spPr bwMode="gray">
            <a:xfrm>
              <a:off x="3146" y="2365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57970" name="Rectangle 18"/>
            <p:cNvSpPr>
              <a:spLocks noChangeArrowheads="1"/>
            </p:cNvSpPr>
            <p:nvPr/>
          </p:nvSpPr>
          <p:spPr bwMode="gray">
            <a:xfrm>
              <a:off x="3415" y="2826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57971" name="Rectangle 19"/>
            <p:cNvSpPr>
              <a:spLocks noChangeArrowheads="1"/>
            </p:cNvSpPr>
            <p:nvPr/>
          </p:nvSpPr>
          <p:spPr bwMode="gray">
            <a:xfrm>
              <a:off x="2479" y="3093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57972" name="Rectangle 20"/>
            <p:cNvSpPr>
              <a:spLocks noChangeArrowheads="1"/>
            </p:cNvSpPr>
            <p:nvPr/>
          </p:nvSpPr>
          <p:spPr bwMode="gray">
            <a:xfrm>
              <a:off x="2858" y="2956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501241"/>
      </p:ext>
    </p:extLst>
  </p:cSld>
  <p:clrMapOvr>
    <a:masterClrMapping/>
  </p:clrMapOvr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agram</a:t>
            </a:r>
          </a:p>
        </p:txBody>
      </p:sp>
      <p:grpSp>
        <p:nvGrpSpPr>
          <p:cNvPr id="2560031" name="Group 31"/>
          <p:cNvGrpSpPr>
            <a:grpSpLocks/>
          </p:cNvGrpSpPr>
          <p:nvPr/>
        </p:nvGrpSpPr>
        <p:grpSpPr bwMode="auto">
          <a:xfrm>
            <a:off x="3663950" y="1431925"/>
            <a:ext cx="4865688" cy="3702050"/>
            <a:chOff x="1348" y="902"/>
            <a:chExt cx="3065" cy="2332"/>
          </a:xfrm>
        </p:grpSpPr>
        <p:graphicFrame>
          <p:nvGraphicFramePr>
            <p:cNvPr id="2560004" name="Object 4"/>
            <p:cNvGraphicFramePr>
              <a:graphicFrameLocks/>
            </p:cNvGraphicFramePr>
            <p:nvPr/>
          </p:nvGraphicFramePr>
          <p:xfrm>
            <a:off x="1745" y="1133"/>
            <a:ext cx="2279" cy="210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48541" name="Diagramm" r:id="rId4" imgW="3724275" imgH="3429000" progId="MSGraph.Chart.8">
                    <p:embed followColorScheme="full"/>
                  </p:oleObj>
                </mc:Choice>
                <mc:Fallback>
                  <p:oleObj name="Diagramm" r:id="rId4" imgW="3724275" imgH="3429000" progId="MSGraph.Chart.8">
                    <p:embed followColorScheme="full"/>
                    <p:pic>
                      <p:nvPicPr>
                        <p:cNvPr id="0" name=""/>
                        <p:cNvPicPr preferRelativeResize="0">
                          <a:picLocks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1745" y="1133"/>
                          <a:ext cx="2279" cy="2101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60005" name="Rectangle 5"/>
            <p:cNvSpPr>
              <a:spLocks noChangeArrowheads="1"/>
            </p:cNvSpPr>
            <p:nvPr/>
          </p:nvSpPr>
          <p:spPr bwMode="gray">
            <a:xfrm>
              <a:off x="4054" y="2882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06" name="Rectangle 6"/>
            <p:cNvSpPr>
              <a:spLocks noChangeArrowheads="1"/>
            </p:cNvSpPr>
            <p:nvPr/>
          </p:nvSpPr>
          <p:spPr bwMode="gray">
            <a:xfrm>
              <a:off x="4054" y="2480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07" name="Rectangle 7"/>
            <p:cNvSpPr>
              <a:spLocks noChangeArrowheads="1"/>
            </p:cNvSpPr>
            <p:nvPr/>
          </p:nvSpPr>
          <p:spPr bwMode="gray">
            <a:xfrm>
              <a:off x="4054" y="2078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08" name="Rectangle 8"/>
            <p:cNvSpPr>
              <a:spLocks noChangeArrowheads="1"/>
            </p:cNvSpPr>
            <p:nvPr/>
          </p:nvSpPr>
          <p:spPr bwMode="gray">
            <a:xfrm>
              <a:off x="4054" y="1682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09" name="Rectangle 9"/>
            <p:cNvSpPr>
              <a:spLocks noChangeArrowheads="1"/>
            </p:cNvSpPr>
            <p:nvPr/>
          </p:nvSpPr>
          <p:spPr bwMode="gray">
            <a:xfrm>
              <a:off x="4054" y="1280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10" name="Rectangle 10"/>
            <p:cNvSpPr>
              <a:spLocks noChangeArrowheads="1"/>
            </p:cNvSpPr>
            <p:nvPr/>
          </p:nvSpPr>
          <p:spPr bwMode="gray">
            <a:xfrm>
              <a:off x="1348" y="2882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11" name="Rectangle 11"/>
            <p:cNvSpPr>
              <a:spLocks noChangeArrowheads="1"/>
            </p:cNvSpPr>
            <p:nvPr/>
          </p:nvSpPr>
          <p:spPr bwMode="gray">
            <a:xfrm>
              <a:off x="1348" y="2480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12" name="Rectangle 12"/>
            <p:cNvSpPr>
              <a:spLocks noChangeArrowheads="1"/>
            </p:cNvSpPr>
            <p:nvPr/>
          </p:nvSpPr>
          <p:spPr bwMode="gray">
            <a:xfrm>
              <a:off x="1348" y="2078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13" name="Rectangle 13"/>
            <p:cNvSpPr>
              <a:spLocks noChangeArrowheads="1"/>
            </p:cNvSpPr>
            <p:nvPr/>
          </p:nvSpPr>
          <p:spPr bwMode="gray">
            <a:xfrm>
              <a:off x="1348" y="1682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14" name="Rectangle 14"/>
            <p:cNvSpPr>
              <a:spLocks noChangeArrowheads="1"/>
            </p:cNvSpPr>
            <p:nvPr/>
          </p:nvSpPr>
          <p:spPr bwMode="gray">
            <a:xfrm>
              <a:off x="1348" y="1280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15" name="Rectangle 15"/>
            <p:cNvSpPr>
              <a:spLocks noChangeArrowheads="1"/>
            </p:cNvSpPr>
            <p:nvPr/>
          </p:nvSpPr>
          <p:spPr bwMode="gray">
            <a:xfrm>
              <a:off x="1745" y="902"/>
              <a:ext cx="359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16" name="Rectangle 16"/>
            <p:cNvSpPr>
              <a:spLocks noChangeArrowheads="1"/>
            </p:cNvSpPr>
            <p:nvPr/>
          </p:nvSpPr>
          <p:spPr bwMode="gray">
            <a:xfrm>
              <a:off x="2800" y="902"/>
              <a:ext cx="359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17" name="Rectangle 17"/>
            <p:cNvSpPr>
              <a:spLocks noChangeArrowheads="1"/>
            </p:cNvSpPr>
            <p:nvPr/>
          </p:nvSpPr>
          <p:spPr bwMode="gray">
            <a:xfrm>
              <a:off x="2206" y="2882"/>
              <a:ext cx="26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18" name="Rectangle 18"/>
            <p:cNvSpPr>
              <a:spLocks noChangeArrowheads="1"/>
            </p:cNvSpPr>
            <p:nvPr/>
          </p:nvSpPr>
          <p:spPr bwMode="gray">
            <a:xfrm>
              <a:off x="2098" y="2480"/>
              <a:ext cx="26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19" name="Rectangle 19"/>
            <p:cNvSpPr>
              <a:spLocks noChangeArrowheads="1"/>
            </p:cNvSpPr>
            <p:nvPr/>
          </p:nvSpPr>
          <p:spPr bwMode="gray">
            <a:xfrm>
              <a:off x="1996" y="2078"/>
              <a:ext cx="26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20" name="Rectangle 20"/>
            <p:cNvSpPr>
              <a:spLocks noChangeArrowheads="1"/>
            </p:cNvSpPr>
            <p:nvPr/>
          </p:nvSpPr>
          <p:spPr bwMode="gray">
            <a:xfrm>
              <a:off x="1876" y="1682"/>
              <a:ext cx="26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21" name="Rectangle 21"/>
            <p:cNvSpPr>
              <a:spLocks noChangeArrowheads="1"/>
            </p:cNvSpPr>
            <p:nvPr/>
          </p:nvSpPr>
          <p:spPr bwMode="gray">
            <a:xfrm>
              <a:off x="1846" y="1280"/>
              <a:ext cx="26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22" name="Rectangle 22"/>
            <p:cNvSpPr>
              <a:spLocks noChangeArrowheads="1"/>
            </p:cNvSpPr>
            <p:nvPr/>
          </p:nvSpPr>
          <p:spPr bwMode="gray">
            <a:xfrm>
              <a:off x="3286" y="2882"/>
              <a:ext cx="26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23" name="Rectangle 23"/>
            <p:cNvSpPr>
              <a:spLocks noChangeArrowheads="1"/>
            </p:cNvSpPr>
            <p:nvPr/>
          </p:nvSpPr>
          <p:spPr bwMode="gray">
            <a:xfrm>
              <a:off x="3170" y="2480"/>
              <a:ext cx="26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24" name="Rectangle 24"/>
            <p:cNvSpPr>
              <a:spLocks noChangeArrowheads="1"/>
            </p:cNvSpPr>
            <p:nvPr/>
          </p:nvSpPr>
          <p:spPr bwMode="gray">
            <a:xfrm>
              <a:off x="3054" y="2078"/>
              <a:ext cx="26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25" name="Rectangle 25"/>
            <p:cNvSpPr>
              <a:spLocks noChangeArrowheads="1"/>
            </p:cNvSpPr>
            <p:nvPr/>
          </p:nvSpPr>
          <p:spPr bwMode="gray">
            <a:xfrm>
              <a:off x="2938" y="1682"/>
              <a:ext cx="26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26" name="Rectangle 26"/>
            <p:cNvSpPr>
              <a:spLocks noChangeArrowheads="1"/>
            </p:cNvSpPr>
            <p:nvPr/>
          </p:nvSpPr>
          <p:spPr bwMode="gray">
            <a:xfrm>
              <a:off x="2821" y="1280"/>
              <a:ext cx="26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0027" name="Rectangle 27"/>
            <p:cNvSpPr>
              <a:spLocks noChangeArrowheads="1"/>
            </p:cNvSpPr>
            <p:nvPr/>
          </p:nvSpPr>
          <p:spPr bwMode="gray">
            <a:xfrm>
              <a:off x="4054" y="902"/>
              <a:ext cx="359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100%=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551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53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Steps 5</a:t>
            </a:r>
          </a:p>
        </p:txBody>
      </p:sp>
      <p:grpSp>
        <p:nvGrpSpPr>
          <p:cNvPr id="2875395" name="Group 3"/>
          <p:cNvGrpSpPr>
            <a:grpSpLocks/>
          </p:cNvGrpSpPr>
          <p:nvPr/>
        </p:nvGrpSpPr>
        <p:grpSpPr bwMode="auto">
          <a:xfrm>
            <a:off x="1914526" y="1492251"/>
            <a:ext cx="8289925" cy="4657725"/>
            <a:chOff x="246" y="934"/>
            <a:chExt cx="5233" cy="2934"/>
          </a:xfrm>
        </p:grpSpPr>
        <p:sp>
          <p:nvSpPr>
            <p:cNvPr id="2875396" name="Rectangle 4"/>
            <p:cNvSpPr>
              <a:spLocks noChangeArrowheads="1"/>
            </p:cNvSpPr>
            <p:nvPr/>
          </p:nvSpPr>
          <p:spPr bwMode="gray">
            <a:xfrm>
              <a:off x="3444" y="934"/>
              <a:ext cx="2035" cy="51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75397" name="Rectangle 5"/>
            <p:cNvSpPr>
              <a:spLocks noChangeArrowheads="1"/>
            </p:cNvSpPr>
            <p:nvPr/>
          </p:nvSpPr>
          <p:spPr bwMode="gray">
            <a:xfrm>
              <a:off x="2652" y="1539"/>
              <a:ext cx="2827" cy="51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75398" name="Rectangle 6"/>
            <p:cNvSpPr>
              <a:spLocks noChangeArrowheads="1"/>
            </p:cNvSpPr>
            <p:nvPr/>
          </p:nvSpPr>
          <p:spPr bwMode="gray">
            <a:xfrm>
              <a:off x="1878" y="2143"/>
              <a:ext cx="3601" cy="51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75399" name="Rectangle 7"/>
            <p:cNvSpPr>
              <a:spLocks noChangeArrowheads="1"/>
            </p:cNvSpPr>
            <p:nvPr/>
          </p:nvSpPr>
          <p:spPr bwMode="gray">
            <a:xfrm>
              <a:off x="1146" y="2748"/>
              <a:ext cx="4333" cy="51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75400" name="Rectangle 8"/>
            <p:cNvSpPr>
              <a:spLocks noChangeArrowheads="1"/>
            </p:cNvSpPr>
            <p:nvPr/>
          </p:nvSpPr>
          <p:spPr bwMode="gray">
            <a:xfrm>
              <a:off x="246" y="3352"/>
              <a:ext cx="5233" cy="51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704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20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agram</a:t>
            </a:r>
          </a:p>
        </p:txBody>
      </p:sp>
      <p:grpSp>
        <p:nvGrpSpPr>
          <p:cNvPr id="2562060" name="Group 12"/>
          <p:cNvGrpSpPr>
            <a:grpSpLocks/>
          </p:cNvGrpSpPr>
          <p:nvPr/>
        </p:nvGrpSpPr>
        <p:grpSpPr bwMode="auto">
          <a:xfrm>
            <a:off x="2687639" y="1036638"/>
            <a:ext cx="6777037" cy="4132262"/>
            <a:chOff x="733" y="767"/>
            <a:chExt cx="4269" cy="2603"/>
          </a:xfrm>
        </p:grpSpPr>
        <p:graphicFrame>
          <p:nvGraphicFramePr>
            <p:cNvPr id="2562052" name="Object 4"/>
            <p:cNvGraphicFramePr>
              <a:graphicFrameLocks noChangeAspect="1"/>
            </p:cNvGraphicFramePr>
            <p:nvPr/>
          </p:nvGraphicFramePr>
          <p:xfrm>
            <a:off x="733" y="767"/>
            <a:ext cx="4269" cy="254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49566" name="Chart" r:id="rId4" imgW="6848475" imgH="4076700" progId="MSGraph.Chart.8">
                    <p:embed followColorScheme="full"/>
                  </p:oleObj>
                </mc:Choice>
                <mc:Fallback>
                  <p:oleObj name="Chart" r:id="rId4" imgW="6848475" imgH="4076700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733" y="767"/>
                          <a:ext cx="4269" cy="2541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62053" name="Rectangle 5"/>
            <p:cNvSpPr>
              <a:spLocks noChangeArrowheads="1"/>
            </p:cNvSpPr>
            <p:nvPr/>
          </p:nvSpPr>
          <p:spPr bwMode="gray">
            <a:xfrm>
              <a:off x="1156" y="3196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2054" name="Rectangle 6"/>
            <p:cNvSpPr>
              <a:spLocks noChangeArrowheads="1"/>
            </p:cNvSpPr>
            <p:nvPr/>
          </p:nvSpPr>
          <p:spPr bwMode="gray">
            <a:xfrm>
              <a:off x="2176" y="3196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2055" name="Rectangle 7"/>
            <p:cNvSpPr>
              <a:spLocks noChangeArrowheads="1"/>
            </p:cNvSpPr>
            <p:nvPr/>
          </p:nvSpPr>
          <p:spPr bwMode="gray">
            <a:xfrm>
              <a:off x="3208" y="3196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2056" name="Rectangle 8"/>
            <p:cNvSpPr>
              <a:spLocks noChangeArrowheads="1"/>
            </p:cNvSpPr>
            <p:nvPr/>
          </p:nvSpPr>
          <p:spPr bwMode="gray">
            <a:xfrm>
              <a:off x="4234" y="3196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407944"/>
      </p:ext>
    </p:extLst>
  </p:cSld>
  <p:clrMapOvr>
    <a:masterClrMapping/>
  </p:clrMapOvr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40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agram Bubbles</a:t>
            </a:r>
          </a:p>
        </p:txBody>
      </p:sp>
      <p:grpSp>
        <p:nvGrpSpPr>
          <p:cNvPr id="2564126" name="Group 30"/>
          <p:cNvGrpSpPr>
            <a:grpSpLocks/>
          </p:cNvGrpSpPr>
          <p:nvPr/>
        </p:nvGrpSpPr>
        <p:grpSpPr bwMode="auto">
          <a:xfrm>
            <a:off x="3216275" y="1433513"/>
            <a:ext cx="5746750" cy="4203700"/>
            <a:chOff x="1066" y="903"/>
            <a:chExt cx="3620" cy="2648"/>
          </a:xfrm>
        </p:grpSpPr>
        <p:graphicFrame>
          <p:nvGraphicFramePr>
            <p:cNvPr id="2564100" name="Object 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242726703"/>
                </p:ext>
              </p:extLst>
            </p:nvPr>
          </p:nvGraphicFramePr>
          <p:xfrm>
            <a:off x="1440" y="1098"/>
            <a:ext cx="3246" cy="232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0589" name="Diagramm" r:id="rId4" imgW="5295900" imgH="3790950" progId="MSGraph.Chart.8">
                    <p:embed followColorScheme="full"/>
                  </p:oleObj>
                </mc:Choice>
                <mc:Fallback>
                  <p:oleObj name="Diagramm" r:id="rId4" imgW="5295900" imgH="3790950" progId="MSGraph.Chart.8">
                    <p:embed followColorScheme="full"/>
                    <p:pic>
                      <p:nvPicPr>
                        <p:cNvPr id="0" name=""/>
                        <p:cNvPicPr preferRelativeResize="0">
                          <a:picLocks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1440" y="1098"/>
                          <a:ext cx="3246" cy="2321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64102" name="Rectangle 6"/>
            <p:cNvSpPr>
              <a:spLocks noChangeArrowheads="1"/>
            </p:cNvSpPr>
            <p:nvPr/>
          </p:nvSpPr>
          <p:spPr bwMode="gray">
            <a:xfrm>
              <a:off x="1066" y="295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03" name="Rectangle 7"/>
            <p:cNvSpPr>
              <a:spLocks noChangeArrowheads="1"/>
            </p:cNvSpPr>
            <p:nvPr/>
          </p:nvSpPr>
          <p:spPr bwMode="gray">
            <a:xfrm>
              <a:off x="1066" y="2323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04" name="Rectangle 8"/>
            <p:cNvSpPr>
              <a:spLocks noChangeArrowheads="1"/>
            </p:cNvSpPr>
            <p:nvPr/>
          </p:nvSpPr>
          <p:spPr bwMode="gray">
            <a:xfrm>
              <a:off x="1066" y="2006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05" name="Rectangle 9"/>
            <p:cNvSpPr>
              <a:spLocks noChangeArrowheads="1"/>
            </p:cNvSpPr>
            <p:nvPr/>
          </p:nvSpPr>
          <p:spPr bwMode="gray">
            <a:xfrm>
              <a:off x="1066" y="1688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06" name="Rectangle 10"/>
            <p:cNvSpPr>
              <a:spLocks noChangeArrowheads="1"/>
            </p:cNvSpPr>
            <p:nvPr/>
          </p:nvSpPr>
          <p:spPr bwMode="gray">
            <a:xfrm>
              <a:off x="1066" y="2641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07" name="Rectangle 11"/>
            <p:cNvSpPr>
              <a:spLocks noChangeArrowheads="1"/>
            </p:cNvSpPr>
            <p:nvPr/>
          </p:nvSpPr>
          <p:spPr bwMode="gray">
            <a:xfrm>
              <a:off x="1066" y="1370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08" name="Rectangle 12"/>
            <p:cNvSpPr>
              <a:spLocks noChangeArrowheads="1"/>
            </p:cNvSpPr>
            <p:nvPr/>
          </p:nvSpPr>
          <p:spPr bwMode="gray">
            <a:xfrm>
              <a:off x="1066" y="1053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09" name="Rectangle 13"/>
            <p:cNvSpPr>
              <a:spLocks noChangeArrowheads="1"/>
            </p:cNvSpPr>
            <p:nvPr/>
          </p:nvSpPr>
          <p:spPr bwMode="gray">
            <a:xfrm>
              <a:off x="1474" y="903"/>
              <a:ext cx="3077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10" name="Rectangle 14"/>
            <p:cNvSpPr>
              <a:spLocks noChangeArrowheads="1"/>
            </p:cNvSpPr>
            <p:nvPr/>
          </p:nvSpPr>
          <p:spPr bwMode="gray">
            <a:xfrm>
              <a:off x="1594" y="3377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11" name="Rectangle 15"/>
            <p:cNvSpPr>
              <a:spLocks noChangeArrowheads="1"/>
            </p:cNvSpPr>
            <p:nvPr/>
          </p:nvSpPr>
          <p:spPr bwMode="gray">
            <a:xfrm>
              <a:off x="2878" y="3377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12" name="Rectangle 16"/>
            <p:cNvSpPr>
              <a:spLocks noChangeArrowheads="1"/>
            </p:cNvSpPr>
            <p:nvPr/>
          </p:nvSpPr>
          <p:spPr bwMode="gray">
            <a:xfrm>
              <a:off x="3520" y="3377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13" name="Rectangle 17"/>
            <p:cNvSpPr>
              <a:spLocks noChangeArrowheads="1"/>
            </p:cNvSpPr>
            <p:nvPr/>
          </p:nvSpPr>
          <p:spPr bwMode="gray">
            <a:xfrm>
              <a:off x="2236" y="3377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14" name="Rectangle 18"/>
            <p:cNvSpPr>
              <a:spLocks noChangeArrowheads="1"/>
            </p:cNvSpPr>
            <p:nvPr/>
          </p:nvSpPr>
          <p:spPr bwMode="gray">
            <a:xfrm>
              <a:off x="4163" y="3377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15" name="Rectangle 19"/>
            <p:cNvSpPr>
              <a:spLocks noChangeArrowheads="1"/>
            </p:cNvSpPr>
            <p:nvPr/>
          </p:nvSpPr>
          <p:spPr bwMode="gray">
            <a:xfrm>
              <a:off x="2062" y="2949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16" name="Rectangle 20"/>
            <p:cNvSpPr>
              <a:spLocks noChangeArrowheads="1"/>
            </p:cNvSpPr>
            <p:nvPr/>
          </p:nvSpPr>
          <p:spPr bwMode="gray">
            <a:xfrm>
              <a:off x="2812" y="2163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17" name="Rectangle 21"/>
            <p:cNvSpPr>
              <a:spLocks noChangeArrowheads="1"/>
            </p:cNvSpPr>
            <p:nvPr/>
          </p:nvSpPr>
          <p:spPr bwMode="gray">
            <a:xfrm>
              <a:off x="2094" y="2163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18" name="Rectangle 22"/>
            <p:cNvSpPr>
              <a:spLocks noChangeArrowheads="1"/>
            </p:cNvSpPr>
            <p:nvPr/>
          </p:nvSpPr>
          <p:spPr bwMode="gray">
            <a:xfrm>
              <a:off x="3216" y="1695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19" name="Rectangle 23"/>
            <p:cNvSpPr>
              <a:spLocks noChangeArrowheads="1"/>
            </p:cNvSpPr>
            <p:nvPr/>
          </p:nvSpPr>
          <p:spPr bwMode="gray">
            <a:xfrm>
              <a:off x="4176" y="1383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4120" name="Rectangle 24"/>
            <p:cNvSpPr>
              <a:spLocks noChangeArrowheads="1"/>
            </p:cNvSpPr>
            <p:nvPr/>
          </p:nvSpPr>
          <p:spPr bwMode="gray">
            <a:xfrm>
              <a:off x="2812" y="2529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15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 Bar Diagrams 5 Bars</a:t>
            </a:r>
          </a:p>
        </p:txBody>
      </p:sp>
      <p:grpSp>
        <p:nvGrpSpPr>
          <p:cNvPr id="2568221" name="Group 29"/>
          <p:cNvGrpSpPr>
            <a:grpSpLocks/>
          </p:cNvGrpSpPr>
          <p:nvPr/>
        </p:nvGrpSpPr>
        <p:grpSpPr bwMode="auto">
          <a:xfrm>
            <a:off x="2278063" y="1963060"/>
            <a:ext cx="7302500" cy="3743325"/>
            <a:chOff x="475" y="928"/>
            <a:chExt cx="4600" cy="2358"/>
          </a:xfrm>
        </p:grpSpPr>
        <p:graphicFrame>
          <p:nvGraphicFramePr>
            <p:cNvPr id="2568196" name="Object 4"/>
            <p:cNvGraphicFramePr>
              <a:graphicFrameLocks/>
            </p:cNvGraphicFramePr>
            <p:nvPr/>
          </p:nvGraphicFramePr>
          <p:xfrm>
            <a:off x="475" y="1132"/>
            <a:ext cx="2029" cy="203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2694" name="Diagramm" r:id="rId4" imgW="3305175" imgH="3324225" progId="MSGraph.Chart.8">
                    <p:embed followColorScheme="full"/>
                  </p:oleObj>
                </mc:Choice>
                <mc:Fallback>
                  <p:oleObj name="Diagramm" r:id="rId4" imgW="3305175" imgH="3324225" progId="MSGraph.Chart.8">
                    <p:embed followColorScheme="full"/>
                    <p:pic>
                      <p:nvPicPr>
                        <p:cNvPr id="0" name=""/>
                        <p:cNvPicPr preferRelativeResize="0">
                          <a:picLocks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475" y="1132"/>
                          <a:ext cx="2029" cy="203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568197" name="Object 5"/>
            <p:cNvGraphicFramePr>
              <a:graphicFrameLocks/>
            </p:cNvGraphicFramePr>
            <p:nvPr/>
          </p:nvGraphicFramePr>
          <p:xfrm>
            <a:off x="3047" y="1131"/>
            <a:ext cx="2028" cy="204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2695" name="Diagramm" r:id="rId6" imgW="3305175" imgH="3324225" progId="MSGraph.Chart.8">
                    <p:embed followColorScheme="full"/>
                  </p:oleObj>
                </mc:Choice>
                <mc:Fallback>
                  <p:oleObj name="Diagramm" r:id="rId6" imgW="3305175" imgH="3324225" progId="MSGraph.Chart.8">
                    <p:embed followColorScheme="full"/>
                    <p:pic>
                      <p:nvPicPr>
                        <p:cNvPr id="0" name=""/>
                        <p:cNvPicPr preferRelativeResize="0">
                          <a:picLocks noChangeArrowheads="1"/>
                        </p:cNvPicPr>
                        <p:nvPr/>
                      </p:nvPicPr>
                      <p:blipFill>
                        <a:blip r:embed="rId7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3047" y="1131"/>
                          <a:ext cx="2028" cy="204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68198" name="Rectangle 6"/>
            <p:cNvSpPr>
              <a:spLocks noChangeArrowheads="1"/>
            </p:cNvSpPr>
            <p:nvPr/>
          </p:nvSpPr>
          <p:spPr bwMode="gray">
            <a:xfrm>
              <a:off x="562" y="2406"/>
              <a:ext cx="24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199" name="Rectangle 7"/>
            <p:cNvSpPr>
              <a:spLocks noChangeArrowheads="1"/>
            </p:cNvSpPr>
            <p:nvPr/>
          </p:nvSpPr>
          <p:spPr bwMode="gray">
            <a:xfrm>
              <a:off x="958" y="2133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00" name="Rectangle 8"/>
            <p:cNvSpPr>
              <a:spLocks noChangeArrowheads="1"/>
            </p:cNvSpPr>
            <p:nvPr/>
          </p:nvSpPr>
          <p:spPr bwMode="gray">
            <a:xfrm>
              <a:off x="1354" y="1855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01" name="Rectangle 9"/>
            <p:cNvSpPr>
              <a:spLocks noChangeArrowheads="1"/>
            </p:cNvSpPr>
            <p:nvPr/>
          </p:nvSpPr>
          <p:spPr bwMode="gray">
            <a:xfrm>
              <a:off x="1737" y="1574"/>
              <a:ext cx="24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02" name="Rectangle 10"/>
            <p:cNvSpPr>
              <a:spLocks noChangeArrowheads="1"/>
            </p:cNvSpPr>
            <p:nvPr/>
          </p:nvSpPr>
          <p:spPr bwMode="gray">
            <a:xfrm>
              <a:off x="2133" y="1294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03" name="Rectangle 11"/>
            <p:cNvSpPr>
              <a:spLocks noChangeArrowheads="1"/>
            </p:cNvSpPr>
            <p:nvPr/>
          </p:nvSpPr>
          <p:spPr bwMode="gray">
            <a:xfrm>
              <a:off x="510" y="928"/>
              <a:ext cx="1953" cy="1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04" name="Rectangle 12"/>
            <p:cNvSpPr>
              <a:spLocks noChangeArrowheads="1"/>
            </p:cNvSpPr>
            <p:nvPr/>
          </p:nvSpPr>
          <p:spPr bwMode="gray">
            <a:xfrm>
              <a:off x="574" y="3150"/>
              <a:ext cx="24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05" name="Rectangle 13"/>
            <p:cNvSpPr>
              <a:spLocks noChangeArrowheads="1"/>
            </p:cNvSpPr>
            <p:nvPr/>
          </p:nvSpPr>
          <p:spPr bwMode="gray">
            <a:xfrm>
              <a:off x="970" y="3150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06" name="Rectangle 14"/>
            <p:cNvSpPr>
              <a:spLocks noChangeArrowheads="1"/>
            </p:cNvSpPr>
            <p:nvPr/>
          </p:nvSpPr>
          <p:spPr bwMode="gray">
            <a:xfrm>
              <a:off x="1366" y="3150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07" name="Rectangle 15"/>
            <p:cNvSpPr>
              <a:spLocks noChangeArrowheads="1"/>
            </p:cNvSpPr>
            <p:nvPr/>
          </p:nvSpPr>
          <p:spPr bwMode="gray">
            <a:xfrm>
              <a:off x="1749" y="3150"/>
              <a:ext cx="24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08" name="Rectangle 16"/>
            <p:cNvSpPr>
              <a:spLocks noChangeArrowheads="1"/>
            </p:cNvSpPr>
            <p:nvPr/>
          </p:nvSpPr>
          <p:spPr bwMode="gray">
            <a:xfrm>
              <a:off x="2145" y="3150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09" name="Rectangle 17"/>
            <p:cNvSpPr>
              <a:spLocks noChangeArrowheads="1"/>
            </p:cNvSpPr>
            <p:nvPr/>
          </p:nvSpPr>
          <p:spPr bwMode="gray">
            <a:xfrm>
              <a:off x="3142" y="2406"/>
              <a:ext cx="24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10" name="Rectangle 18"/>
            <p:cNvSpPr>
              <a:spLocks noChangeArrowheads="1"/>
            </p:cNvSpPr>
            <p:nvPr/>
          </p:nvSpPr>
          <p:spPr bwMode="gray">
            <a:xfrm>
              <a:off x="3538" y="2133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11" name="Rectangle 19"/>
            <p:cNvSpPr>
              <a:spLocks noChangeArrowheads="1"/>
            </p:cNvSpPr>
            <p:nvPr/>
          </p:nvSpPr>
          <p:spPr bwMode="gray">
            <a:xfrm>
              <a:off x="3934" y="1855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12" name="Rectangle 20"/>
            <p:cNvSpPr>
              <a:spLocks noChangeArrowheads="1"/>
            </p:cNvSpPr>
            <p:nvPr/>
          </p:nvSpPr>
          <p:spPr bwMode="gray">
            <a:xfrm>
              <a:off x="4317" y="1574"/>
              <a:ext cx="24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13" name="Rectangle 21"/>
            <p:cNvSpPr>
              <a:spLocks noChangeArrowheads="1"/>
            </p:cNvSpPr>
            <p:nvPr/>
          </p:nvSpPr>
          <p:spPr bwMode="gray">
            <a:xfrm>
              <a:off x="4713" y="1294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14" name="Rectangle 22"/>
            <p:cNvSpPr>
              <a:spLocks noChangeArrowheads="1"/>
            </p:cNvSpPr>
            <p:nvPr/>
          </p:nvSpPr>
          <p:spPr bwMode="gray">
            <a:xfrm>
              <a:off x="3071" y="928"/>
              <a:ext cx="1960" cy="1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15" name="Rectangle 23"/>
            <p:cNvSpPr>
              <a:spLocks noChangeArrowheads="1"/>
            </p:cNvSpPr>
            <p:nvPr/>
          </p:nvSpPr>
          <p:spPr bwMode="gray">
            <a:xfrm>
              <a:off x="3148" y="3150"/>
              <a:ext cx="24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16" name="Rectangle 24"/>
            <p:cNvSpPr>
              <a:spLocks noChangeArrowheads="1"/>
            </p:cNvSpPr>
            <p:nvPr/>
          </p:nvSpPr>
          <p:spPr bwMode="gray">
            <a:xfrm>
              <a:off x="3544" y="3150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17" name="Rectangle 25"/>
            <p:cNvSpPr>
              <a:spLocks noChangeArrowheads="1"/>
            </p:cNvSpPr>
            <p:nvPr/>
          </p:nvSpPr>
          <p:spPr bwMode="gray">
            <a:xfrm>
              <a:off x="3940" y="3150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18" name="Rectangle 26"/>
            <p:cNvSpPr>
              <a:spLocks noChangeArrowheads="1"/>
            </p:cNvSpPr>
            <p:nvPr/>
          </p:nvSpPr>
          <p:spPr bwMode="gray">
            <a:xfrm>
              <a:off x="4323" y="3150"/>
              <a:ext cx="24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68219" name="Rectangle 27"/>
            <p:cNvSpPr>
              <a:spLocks noChangeArrowheads="1"/>
            </p:cNvSpPr>
            <p:nvPr/>
          </p:nvSpPr>
          <p:spPr bwMode="gray">
            <a:xfrm>
              <a:off x="4719" y="3150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453493"/>
      </p:ext>
    </p:extLst>
  </p:cSld>
  <p:clrMapOvr>
    <a:masterClrMapping/>
  </p:clrMapOvr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4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ne Graph</a:t>
            </a:r>
          </a:p>
        </p:txBody>
      </p:sp>
      <p:grpSp>
        <p:nvGrpSpPr>
          <p:cNvPr id="3094629" name="Group 101"/>
          <p:cNvGrpSpPr>
            <a:grpSpLocks/>
          </p:cNvGrpSpPr>
          <p:nvPr/>
        </p:nvGrpSpPr>
        <p:grpSpPr bwMode="auto">
          <a:xfrm>
            <a:off x="1911351" y="1622881"/>
            <a:ext cx="3916363" cy="4048125"/>
            <a:chOff x="244" y="940"/>
            <a:chExt cx="2467" cy="2550"/>
          </a:xfrm>
        </p:grpSpPr>
        <p:sp>
          <p:nvSpPr>
            <p:cNvPr id="3094564" name="Rectangle 36"/>
            <p:cNvSpPr>
              <a:spLocks noChangeArrowheads="1"/>
            </p:cNvSpPr>
            <p:nvPr/>
          </p:nvSpPr>
          <p:spPr bwMode="gray">
            <a:xfrm>
              <a:off x="244" y="1224"/>
              <a:ext cx="2467" cy="226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94580" name="Rectangle 52"/>
            <p:cNvSpPr>
              <a:spLocks noChangeArrowheads="1"/>
            </p:cNvSpPr>
            <p:nvPr/>
          </p:nvSpPr>
          <p:spPr bwMode="gray">
            <a:xfrm>
              <a:off x="244" y="940"/>
              <a:ext cx="2467" cy="28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graphicFrame>
          <p:nvGraphicFramePr>
            <p:cNvPr id="3094595" name="Object 67"/>
            <p:cNvGraphicFramePr>
              <a:graphicFrameLocks/>
            </p:cNvGraphicFramePr>
            <p:nvPr/>
          </p:nvGraphicFramePr>
          <p:xfrm>
            <a:off x="433" y="1210"/>
            <a:ext cx="2029" cy="203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3718" name="Diagramm" r:id="rId4" imgW="3305175" imgH="3324225" progId="MSGraph.Chart.8">
                    <p:embed followColorScheme="full"/>
                  </p:oleObj>
                </mc:Choice>
                <mc:Fallback>
                  <p:oleObj name="Diagramm" r:id="rId4" imgW="3305175" imgH="3324225" progId="MSGraph.Chart.8">
                    <p:embed followColorScheme="full"/>
                    <p:pic>
                      <p:nvPicPr>
                        <p:cNvPr id="0" name=""/>
                        <p:cNvPicPr preferRelativeResize="0">
                          <a:picLocks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433" y="1210"/>
                          <a:ext cx="2029" cy="203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3094596" name="Rectangle 68"/>
            <p:cNvSpPr>
              <a:spLocks noChangeArrowheads="1"/>
            </p:cNvSpPr>
            <p:nvPr/>
          </p:nvSpPr>
          <p:spPr bwMode="gray">
            <a:xfrm>
              <a:off x="520" y="2484"/>
              <a:ext cx="24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94597" name="Rectangle 69"/>
            <p:cNvSpPr>
              <a:spLocks noChangeArrowheads="1"/>
            </p:cNvSpPr>
            <p:nvPr/>
          </p:nvSpPr>
          <p:spPr bwMode="gray">
            <a:xfrm>
              <a:off x="916" y="2211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94598" name="Rectangle 70"/>
            <p:cNvSpPr>
              <a:spLocks noChangeArrowheads="1"/>
            </p:cNvSpPr>
            <p:nvPr/>
          </p:nvSpPr>
          <p:spPr bwMode="gray">
            <a:xfrm>
              <a:off x="1312" y="1933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94599" name="Rectangle 71"/>
            <p:cNvSpPr>
              <a:spLocks noChangeArrowheads="1"/>
            </p:cNvSpPr>
            <p:nvPr/>
          </p:nvSpPr>
          <p:spPr bwMode="gray">
            <a:xfrm>
              <a:off x="1695" y="1652"/>
              <a:ext cx="24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94600" name="Rectangle 72"/>
            <p:cNvSpPr>
              <a:spLocks noChangeArrowheads="1"/>
            </p:cNvSpPr>
            <p:nvPr/>
          </p:nvSpPr>
          <p:spPr bwMode="gray">
            <a:xfrm>
              <a:off x="2091" y="1372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94601" name="Rectangle 73"/>
            <p:cNvSpPr>
              <a:spLocks noChangeArrowheads="1"/>
            </p:cNvSpPr>
            <p:nvPr/>
          </p:nvSpPr>
          <p:spPr bwMode="gray">
            <a:xfrm>
              <a:off x="532" y="3228"/>
              <a:ext cx="24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94602" name="Rectangle 74"/>
            <p:cNvSpPr>
              <a:spLocks noChangeArrowheads="1"/>
            </p:cNvSpPr>
            <p:nvPr/>
          </p:nvSpPr>
          <p:spPr bwMode="gray">
            <a:xfrm>
              <a:off x="928" y="3228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94603" name="Rectangle 75"/>
            <p:cNvSpPr>
              <a:spLocks noChangeArrowheads="1"/>
            </p:cNvSpPr>
            <p:nvPr/>
          </p:nvSpPr>
          <p:spPr bwMode="gray">
            <a:xfrm>
              <a:off x="1324" y="3228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94604" name="Rectangle 76"/>
            <p:cNvSpPr>
              <a:spLocks noChangeArrowheads="1"/>
            </p:cNvSpPr>
            <p:nvPr/>
          </p:nvSpPr>
          <p:spPr bwMode="gray">
            <a:xfrm>
              <a:off x="1707" y="3228"/>
              <a:ext cx="24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94605" name="Rectangle 77"/>
            <p:cNvSpPr>
              <a:spLocks noChangeArrowheads="1"/>
            </p:cNvSpPr>
            <p:nvPr/>
          </p:nvSpPr>
          <p:spPr bwMode="gray">
            <a:xfrm>
              <a:off x="2103" y="3228"/>
              <a:ext cx="24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grpSp>
        <p:nvGrpSpPr>
          <p:cNvPr id="3094628" name="Group 100"/>
          <p:cNvGrpSpPr>
            <a:grpSpLocks/>
          </p:cNvGrpSpPr>
          <p:nvPr/>
        </p:nvGrpSpPr>
        <p:grpSpPr bwMode="auto">
          <a:xfrm>
            <a:off x="6299201" y="1622881"/>
            <a:ext cx="3916363" cy="4048125"/>
            <a:chOff x="3000" y="940"/>
            <a:chExt cx="2467" cy="2550"/>
          </a:xfrm>
        </p:grpSpPr>
        <p:sp>
          <p:nvSpPr>
            <p:cNvPr id="3094532" name="Rectangle 4"/>
            <p:cNvSpPr>
              <a:spLocks noChangeArrowheads="1"/>
            </p:cNvSpPr>
            <p:nvPr/>
          </p:nvSpPr>
          <p:spPr bwMode="gray">
            <a:xfrm>
              <a:off x="3000" y="1224"/>
              <a:ext cx="2467" cy="226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94548" name="Rectangle 20"/>
            <p:cNvSpPr>
              <a:spLocks noChangeArrowheads="1"/>
            </p:cNvSpPr>
            <p:nvPr/>
          </p:nvSpPr>
          <p:spPr bwMode="gray">
            <a:xfrm>
              <a:off x="3000" y="940"/>
              <a:ext cx="2467" cy="28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grpSp>
          <p:nvGrpSpPr>
            <p:cNvPr id="3094627" name="Group 99"/>
            <p:cNvGrpSpPr>
              <a:grpSpLocks/>
            </p:cNvGrpSpPr>
            <p:nvPr/>
          </p:nvGrpSpPr>
          <p:grpSpPr bwMode="auto">
            <a:xfrm>
              <a:off x="3222" y="1209"/>
              <a:ext cx="2028" cy="2155"/>
              <a:chOff x="3047" y="1131"/>
              <a:chExt cx="2028" cy="2155"/>
            </a:xfrm>
          </p:grpSpPr>
          <p:graphicFrame>
            <p:nvGraphicFramePr>
              <p:cNvPr id="3094616" name="Object 88"/>
              <p:cNvGraphicFramePr>
                <a:graphicFrameLocks/>
              </p:cNvGraphicFramePr>
              <p:nvPr/>
            </p:nvGraphicFramePr>
            <p:xfrm>
              <a:off x="3047" y="1131"/>
              <a:ext cx="2028" cy="2042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53719" name="Diagramm" r:id="rId6" imgW="3305175" imgH="3324225" progId="MSGraph.Chart.8">
                      <p:embed followColorScheme="full"/>
                    </p:oleObj>
                  </mc:Choice>
                  <mc:Fallback>
                    <p:oleObj name="Diagramm" r:id="rId6" imgW="3305175" imgH="3324225" progId="MSGraph.Chart.8">
                      <p:embed followColorScheme="full"/>
                      <p:pic>
                        <p:nvPicPr>
                          <p:cNvPr id="0" name=""/>
                          <p:cNvPicPr preferRelativeResize="0">
                            <a:picLocks noChangeArrowheads="1"/>
                          </p:cNvPicPr>
                          <p:nvPr/>
                        </p:nvPicPr>
                        <p:blipFill>
                          <a:blip r:embed="rId7"/>
                          <a:srcRect/>
                          <a:stretch>
                            <a:fillRect/>
                          </a:stretch>
                        </p:blipFill>
                        <p:spPr bwMode="gray">
                          <a:xfrm>
                            <a:off x="3047" y="1131"/>
                            <a:ext cx="2028" cy="2042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rgbClr val="808080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3094617" name="Rectangle 89"/>
              <p:cNvSpPr>
                <a:spLocks noChangeArrowheads="1"/>
              </p:cNvSpPr>
              <p:nvPr/>
            </p:nvSpPr>
            <p:spPr bwMode="gray">
              <a:xfrm>
                <a:off x="3142" y="2406"/>
                <a:ext cx="247" cy="13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sz="14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3094618" name="Rectangle 90"/>
              <p:cNvSpPr>
                <a:spLocks noChangeArrowheads="1"/>
              </p:cNvSpPr>
              <p:nvPr/>
            </p:nvSpPr>
            <p:spPr bwMode="gray">
              <a:xfrm>
                <a:off x="3538" y="2133"/>
                <a:ext cx="246" cy="13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sz="14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3094619" name="Rectangle 91"/>
              <p:cNvSpPr>
                <a:spLocks noChangeArrowheads="1"/>
              </p:cNvSpPr>
              <p:nvPr/>
            </p:nvSpPr>
            <p:spPr bwMode="gray">
              <a:xfrm>
                <a:off x="3934" y="1855"/>
                <a:ext cx="246" cy="13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sz="14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3094620" name="Rectangle 92"/>
              <p:cNvSpPr>
                <a:spLocks noChangeArrowheads="1"/>
              </p:cNvSpPr>
              <p:nvPr/>
            </p:nvSpPr>
            <p:spPr bwMode="gray">
              <a:xfrm>
                <a:off x="4317" y="1574"/>
                <a:ext cx="247" cy="13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sz="14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3094621" name="Rectangle 93"/>
              <p:cNvSpPr>
                <a:spLocks noChangeArrowheads="1"/>
              </p:cNvSpPr>
              <p:nvPr/>
            </p:nvSpPr>
            <p:spPr bwMode="gray">
              <a:xfrm>
                <a:off x="4713" y="1294"/>
                <a:ext cx="246" cy="13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sz="14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3094622" name="Rectangle 94"/>
              <p:cNvSpPr>
                <a:spLocks noChangeArrowheads="1"/>
              </p:cNvSpPr>
              <p:nvPr/>
            </p:nvSpPr>
            <p:spPr bwMode="gray">
              <a:xfrm>
                <a:off x="3148" y="3150"/>
                <a:ext cx="247" cy="13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sz="14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3094623" name="Rectangle 95"/>
              <p:cNvSpPr>
                <a:spLocks noChangeArrowheads="1"/>
              </p:cNvSpPr>
              <p:nvPr/>
            </p:nvSpPr>
            <p:spPr bwMode="gray">
              <a:xfrm>
                <a:off x="3544" y="3150"/>
                <a:ext cx="246" cy="13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sz="14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3094624" name="Rectangle 96"/>
              <p:cNvSpPr>
                <a:spLocks noChangeArrowheads="1"/>
              </p:cNvSpPr>
              <p:nvPr/>
            </p:nvSpPr>
            <p:spPr bwMode="gray">
              <a:xfrm>
                <a:off x="3940" y="3150"/>
                <a:ext cx="246" cy="13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sz="14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3094625" name="Rectangle 97"/>
              <p:cNvSpPr>
                <a:spLocks noChangeArrowheads="1"/>
              </p:cNvSpPr>
              <p:nvPr/>
            </p:nvSpPr>
            <p:spPr bwMode="gray">
              <a:xfrm>
                <a:off x="4323" y="3150"/>
                <a:ext cx="247" cy="13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sz="14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3094626" name="Rectangle 98"/>
              <p:cNvSpPr>
                <a:spLocks noChangeArrowheads="1"/>
              </p:cNvSpPr>
              <p:nvPr/>
            </p:nvSpPr>
            <p:spPr bwMode="gray">
              <a:xfrm>
                <a:off x="4719" y="3150"/>
                <a:ext cx="246" cy="13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sz="14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</p:grp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8292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agram Batched</a:t>
            </a:r>
          </a:p>
        </p:txBody>
      </p:sp>
      <p:grpSp>
        <p:nvGrpSpPr>
          <p:cNvPr id="2570266" name="Group 26"/>
          <p:cNvGrpSpPr>
            <a:grpSpLocks/>
          </p:cNvGrpSpPr>
          <p:nvPr/>
        </p:nvGrpSpPr>
        <p:grpSpPr bwMode="auto">
          <a:xfrm>
            <a:off x="3752850" y="1830162"/>
            <a:ext cx="4686300" cy="3656013"/>
            <a:chOff x="1349" y="906"/>
            <a:chExt cx="2952" cy="2303"/>
          </a:xfrm>
        </p:grpSpPr>
        <p:graphicFrame>
          <p:nvGraphicFramePr>
            <p:cNvPr id="2570244" name="Object 4"/>
            <p:cNvGraphicFramePr>
              <a:graphicFrameLocks/>
            </p:cNvGraphicFramePr>
            <p:nvPr/>
          </p:nvGraphicFramePr>
          <p:xfrm>
            <a:off x="1349" y="1142"/>
            <a:ext cx="2925" cy="188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4685" name="Diagramm" r:id="rId4" imgW="4762500" imgH="3067050" progId="MSGraph.Chart.8">
                    <p:embed followColorScheme="full"/>
                  </p:oleObj>
                </mc:Choice>
                <mc:Fallback>
                  <p:oleObj name="Diagramm" r:id="rId4" imgW="4762500" imgH="3067050" progId="MSGraph.Chart.8">
                    <p:embed followColorScheme="full"/>
                    <p:pic>
                      <p:nvPicPr>
                        <p:cNvPr id="0" name=""/>
                        <p:cNvPicPr preferRelativeResize="0">
                          <a:picLocks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1349" y="1142"/>
                          <a:ext cx="2925" cy="188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70245" name="Rectangle 5"/>
            <p:cNvSpPr>
              <a:spLocks noChangeArrowheads="1"/>
            </p:cNvSpPr>
            <p:nvPr/>
          </p:nvSpPr>
          <p:spPr bwMode="gray">
            <a:xfrm>
              <a:off x="1486" y="2363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46" name="Rectangle 6"/>
            <p:cNvSpPr>
              <a:spLocks noChangeArrowheads="1"/>
            </p:cNvSpPr>
            <p:nvPr/>
          </p:nvSpPr>
          <p:spPr bwMode="gray">
            <a:xfrm>
              <a:off x="2050" y="2051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47" name="Rectangle 7"/>
            <p:cNvSpPr>
              <a:spLocks noChangeArrowheads="1"/>
            </p:cNvSpPr>
            <p:nvPr/>
          </p:nvSpPr>
          <p:spPr bwMode="gray">
            <a:xfrm>
              <a:off x="2626" y="1763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48" name="Rectangle 8"/>
            <p:cNvSpPr>
              <a:spLocks noChangeArrowheads="1"/>
            </p:cNvSpPr>
            <p:nvPr/>
          </p:nvSpPr>
          <p:spPr bwMode="gray">
            <a:xfrm>
              <a:off x="3196" y="1457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49" name="Rectangle 9"/>
            <p:cNvSpPr>
              <a:spLocks noChangeArrowheads="1"/>
            </p:cNvSpPr>
            <p:nvPr/>
          </p:nvSpPr>
          <p:spPr bwMode="gray">
            <a:xfrm>
              <a:off x="3772" y="1145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50" name="Rectangle 10"/>
            <p:cNvSpPr>
              <a:spLocks noChangeArrowheads="1"/>
            </p:cNvSpPr>
            <p:nvPr/>
          </p:nvSpPr>
          <p:spPr bwMode="gray">
            <a:xfrm>
              <a:off x="1486" y="3035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51" name="Rectangle 11"/>
            <p:cNvSpPr>
              <a:spLocks noChangeArrowheads="1"/>
            </p:cNvSpPr>
            <p:nvPr/>
          </p:nvSpPr>
          <p:spPr bwMode="gray">
            <a:xfrm>
              <a:off x="2050" y="3035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52" name="Rectangle 12"/>
            <p:cNvSpPr>
              <a:spLocks noChangeArrowheads="1"/>
            </p:cNvSpPr>
            <p:nvPr/>
          </p:nvSpPr>
          <p:spPr bwMode="gray">
            <a:xfrm>
              <a:off x="2626" y="3035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53" name="Rectangle 13"/>
            <p:cNvSpPr>
              <a:spLocks noChangeArrowheads="1"/>
            </p:cNvSpPr>
            <p:nvPr/>
          </p:nvSpPr>
          <p:spPr bwMode="gray">
            <a:xfrm>
              <a:off x="3196" y="3035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54" name="Rectangle 14"/>
            <p:cNvSpPr>
              <a:spLocks noChangeArrowheads="1"/>
            </p:cNvSpPr>
            <p:nvPr/>
          </p:nvSpPr>
          <p:spPr bwMode="gray">
            <a:xfrm>
              <a:off x="3772" y="3035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55" name="Rectangle 15"/>
            <p:cNvSpPr>
              <a:spLocks noChangeArrowheads="1"/>
            </p:cNvSpPr>
            <p:nvPr/>
          </p:nvSpPr>
          <p:spPr bwMode="gray">
            <a:xfrm>
              <a:off x="1486" y="251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56" name="Rectangle 16"/>
            <p:cNvSpPr>
              <a:spLocks noChangeArrowheads="1"/>
            </p:cNvSpPr>
            <p:nvPr/>
          </p:nvSpPr>
          <p:spPr bwMode="gray">
            <a:xfrm>
              <a:off x="2050" y="2273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57" name="Rectangle 17"/>
            <p:cNvSpPr>
              <a:spLocks noChangeArrowheads="1"/>
            </p:cNvSpPr>
            <p:nvPr/>
          </p:nvSpPr>
          <p:spPr bwMode="gray">
            <a:xfrm>
              <a:off x="2626" y="197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58" name="Rectangle 18"/>
            <p:cNvSpPr>
              <a:spLocks noChangeArrowheads="1"/>
            </p:cNvSpPr>
            <p:nvPr/>
          </p:nvSpPr>
          <p:spPr bwMode="gray">
            <a:xfrm>
              <a:off x="3196" y="167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59" name="Rectangle 19"/>
            <p:cNvSpPr>
              <a:spLocks noChangeArrowheads="1"/>
            </p:cNvSpPr>
            <p:nvPr/>
          </p:nvSpPr>
          <p:spPr bwMode="gray">
            <a:xfrm>
              <a:off x="3772" y="1373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60" name="Rectangle 20"/>
            <p:cNvSpPr>
              <a:spLocks noChangeArrowheads="1"/>
            </p:cNvSpPr>
            <p:nvPr/>
          </p:nvSpPr>
          <p:spPr bwMode="gray">
            <a:xfrm>
              <a:off x="1486" y="2705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61" name="Rectangle 21"/>
            <p:cNvSpPr>
              <a:spLocks noChangeArrowheads="1"/>
            </p:cNvSpPr>
            <p:nvPr/>
          </p:nvSpPr>
          <p:spPr bwMode="gray">
            <a:xfrm>
              <a:off x="2050" y="2567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62" name="Rectangle 22"/>
            <p:cNvSpPr>
              <a:spLocks noChangeArrowheads="1"/>
            </p:cNvSpPr>
            <p:nvPr/>
          </p:nvSpPr>
          <p:spPr bwMode="gray">
            <a:xfrm>
              <a:off x="2626" y="239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63" name="Rectangle 23"/>
            <p:cNvSpPr>
              <a:spLocks noChangeArrowheads="1"/>
            </p:cNvSpPr>
            <p:nvPr/>
          </p:nvSpPr>
          <p:spPr bwMode="gray">
            <a:xfrm>
              <a:off x="3196" y="224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64" name="Rectangle 24"/>
            <p:cNvSpPr>
              <a:spLocks noChangeArrowheads="1"/>
            </p:cNvSpPr>
            <p:nvPr/>
          </p:nvSpPr>
          <p:spPr bwMode="gray">
            <a:xfrm>
              <a:off x="3772" y="2099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0265" name="Rectangle 25"/>
            <p:cNvSpPr>
              <a:spLocks noChangeArrowheads="1"/>
            </p:cNvSpPr>
            <p:nvPr/>
          </p:nvSpPr>
          <p:spPr bwMode="gray">
            <a:xfrm>
              <a:off x="1437" y="906"/>
              <a:ext cx="2864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275372"/>
      </p:ext>
    </p:extLst>
  </p:cSld>
  <p:clrMapOvr>
    <a:masterClrMapping/>
  </p:clrMapOvr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22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agram Batched 100%</a:t>
            </a:r>
          </a:p>
        </p:txBody>
      </p:sp>
      <p:grpSp>
        <p:nvGrpSpPr>
          <p:cNvPr id="2572319" name="Group 31"/>
          <p:cNvGrpSpPr>
            <a:grpSpLocks/>
          </p:cNvGrpSpPr>
          <p:nvPr/>
        </p:nvGrpSpPr>
        <p:grpSpPr bwMode="auto">
          <a:xfrm>
            <a:off x="2908301" y="1953761"/>
            <a:ext cx="6373813" cy="4008438"/>
            <a:chOff x="872" y="983"/>
            <a:chExt cx="4015" cy="2525"/>
          </a:xfrm>
        </p:grpSpPr>
        <p:graphicFrame>
          <p:nvGraphicFramePr>
            <p:cNvPr id="2572292" name="Object 4"/>
            <p:cNvGraphicFramePr>
              <a:graphicFrameLocks/>
            </p:cNvGraphicFramePr>
            <p:nvPr/>
          </p:nvGraphicFramePr>
          <p:xfrm>
            <a:off x="1308" y="1228"/>
            <a:ext cx="3579" cy="21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5709" name="Diagramm" r:id="rId4" imgW="4762500" imgH="2857500" progId="MSGraph.Chart.8">
                    <p:embed followColorScheme="full"/>
                  </p:oleObj>
                </mc:Choice>
                <mc:Fallback>
                  <p:oleObj name="Diagramm" r:id="rId4" imgW="4762500" imgH="2857500" progId="MSGraph.Chart.8">
                    <p:embed followColorScheme="full"/>
                    <p:pic>
                      <p:nvPicPr>
                        <p:cNvPr id="0" name=""/>
                        <p:cNvPicPr preferRelativeResize="0">
                          <a:picLocks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1308" y="1228"/>
                          <a:ext cx="3579" cy="21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2572318" name="Group 30"/>
            <p:cNvGrpSpPr>
              <a:grpSpLocks/>
            </p:cNvGrpSpPr>
            <p:nvPr/>
          </p:nvGrpSpPr>
          <p:grpSpPr bwMode="auto">
            <a:xfrm>
              <a:off x="872" y="983"/>
              <a:ext cx="3803" cy="2525"/>
              <a:chOff x="872" y="983"/>
              <a:chExt cx="3803" cy="2525"/>
            </a:xfrm>
          </p:grpSpPr>
          <p:sp>
            <p:nvSpPr>
              <p:cNvPr id="2572293" name="Rectangle 5"/>
              <p:cNvSpPr>
                <a:spLocks noChangeArrowheads="1"/>
              </p:cNvSpPr>
              <p:nvPr/>
            </p:nvSpPr>
            <p:spPr bwMode="gray">
              <a:xfrm>
                <a:off x="1520" y="3334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294" name="Rectangle 6"/>
              <p:cNvSpPr>
                <a:spLocks noChangeArrowheads="1"/>
              </p:cNvSpPr>
              <p:nvPr/>
            </p:nvSpPr>
            <p:spPr bwMode="gray">
              <a:xfrm>
                <a:off x="2216" y="3334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295" name="Rectangle 7"/>
              <p:cNvSpPr>
                <a:spLocks noChangeArrowheads="1"/>
              </p:cNvSpPr>
              <p:nvPr/>
            </p:nvSpPr>
            <p:spPr bwMode="gray">
              <a:xfrm>
                <a:off x="2918" y="3334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296" name="Rectangle 8"/>
              <p:cNvSpPr>
                <a:spLocks noChangeArrowheads="1"/>
              </p:cNvSpPr>
              <p:nvPr/>
            </p:nvSpPr>
            <p:spPr bwMode="gray">
              <a:xfrm>
                <a:off x="3620" y="3334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297" name="Rectangle 9"/>
              <p:cNvSpPr>
                <a:spLocks noChangeArrowheads="1"/>
              </p:cNvSpPr>
              <p:nvPr/>
            </p:nvSpPr>
            <p:spPr bwMode="gray">
              <a:xfrm>
                <a:off x="4316" y="3334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298" name="Rectangle 10"/>
              <p:cNvSpPr>
                <a:spLocks noChangeArrowheads="1"/>
              </p:cNvSpPr>
              <p:nvPr/>
            </p:nvSpPr>
            <p:spPr bwMode="gray">
              <a:xfrm>
                <a:off x="1520" y="2980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299" name="Rectangle 11"/>
              <p:cNvSpPr>
                <a:spLocks noChangeArrowheads="1"/>
              </p:cNvSpPr>
              <p:nvPr/>
            </p:nvSpPr>
            <p:spPr bwMode="gray">
              <a:xfrm>
                <a:off x="2216" y="2848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300" name="Rectangle 12"/>
              <p:cNvSpPr>
                <a:spLocks noChangeArrowheads="1"/>
              </p:cNvSpPr>
              <p:nvPr/>
            </p:nvSpPr>
            <p:spPr bwMode="gray">
              <a:xfrm>
                <a:off x="2918" y="2698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301" name="Rectangle 13"/>
              <p:cNvSpPr>
                <a:spLocks noChangeArrowheads="1"/>
              </p:cNvSpPr>
              <p:nvPr/>
            </p:nvSpPr>
            <p:spPr bwMode="gray">
              <a:xfrm>
                <a:off x="3620" y="2512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302" name="Rectangle 14"/>
              <p:cNvSpPr>
                <a:spLocks noChangeArrowheads="1"/>
              </p:cNvSpPr>
              <p:nvPr/>
            </p:nvSpPr>
            <p:spPr bwMode="gray">
              <a:xfrm>
                <a:off x="4316" y="2302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303" name="Rectangle 15"/>
              <p:cNvSpPr>
                <a:spLocks noChangeArrowheads="1"/>
              </p:cNvSpPr>
              <p:nvPr/>
            </p:nvSpPr>
            <p:spPr bwMode="gray">
              <a:xfrm>
                <a:off x="1520" y="2074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304" name="Rectangle 16"/>
              <p:cNvSpPr>
                <a:spLocks noChangeArrowheads="1"/>
              </p:cNvSpPr>
              <p:nvPr/>
            </p:nvSpPr>
            <p:spPr bwMode="gray">
              <a:xfrm>
                <a:off x="2216" y="1942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305" name="Rectangle 17"/>
              <p:cNvSpPr>
                <a:spLocks noChangeArrowheads="1"/>
              </p:cNvSpPr>
              <p:nvPr/>
            </p:nvSpPr>
            <p:spPr bwMode="gray">
              <a:xfrm>
                <a:off x="2918" y="1792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306" name="Rectangle 18"/>
              <p:cNvSpPr>
                <a:spLocks noChangeArrowheads="1"/>
              </p:cNvSpPr>
              <p:nvPr/>
            </p:nvSpPr>
            <p:spPr bwMode="gray">
              <a:xfrm>
                <a:off x="3620" y="1606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307" name="Rectangle 19"/>
              <p:cNvSpPr>
                <a:spLocks noChangeArrowheads="1"/>
              </p:cNvSpPr>
              <p:nvPr/>
            </p:nvSpPr>
            <p:spPr bwMode="gray">
              <a:xfrm>
                <a:off x="4316" y="1396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308" name="Rectangle 20"/>
              <p:cNvSpPr>
                <a:spLocks noChangeArrowheads="1"/>
              </p:cNvSpPr>
              <p:nvPr/>
            </p:nvSpPr>
            <p:spPr bwMode="gray">
              <a:xfrm>
                <a:off x="1520" y="1070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309" name="Rectangle 21"/>
              <p:cNvSpPr>
                <a:spLocks noChangeArrowheads="1"/>
              </p:cNvSpPr>
              <p:nvPr/>
            </p:nvSpPr>
            <p:spPr bwMode="gray">
              <a:xfrm>
                <a:off x="2216" y="1070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310" name="Rectangle 22"/>
              <p:cNvSpPr>
                <a:spLocks noChangeArrowheads="1"/>
              </p:cNvSpPr>
              <p:nvPr/>
            </p:nvSpPr>
            <p:spPr bwMode="gray">
              <a:xfrm>
                <a:off x="2918" y="1070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311" name="Rectangle 23"/>
              <p:cNvSpPr>
                <a:spLocks noChangeArrowheads="1"/>
              </p:cNvSpPr>
              <p:nvPr/>
            </p:nvSpPr>
            <p:spPr bwMode="gray">
              <a:xfrm>
                <a:off x="3620" y="1070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312" name="Rectangle 24"/>
              <p:cNvSpPr>
                <a:spLocks noChangeArrowheads="1"/>
              </p:cNvSpPr>
              <p:nvPr/>
            </p:nvSpPr>
            <p:spPr bwMode="gray">
              <a:xfrm>
                <a:off x="4316" y="1070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313" name="Rectangle 25"/>
              <p:cNvSpPr>
                <a:spLocks noChangeArrowheads="1"/>
              </p:cNvSpPr>
              <p:nvPr/>
            </p:nvSpPr>
            <p:spPr bwMode="gray">
              <a:xfrm>
                <a:off x="872" y="2980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algn="r"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314" name="Rectangle 26"/>
              <p:cNvSpPr>
                <a:spLocks noChangeArrowheads="1"/>
              </p:cNvSpPr>
              <p:nvPr/>
            </p:nvSpPr>
            <p:spPr bwMode="gray">
              <a:xfrm>
                <a:off x="872" y="2074"/>
                <a:ext cx="359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algn="r"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572315" name="Rectangle 27"/>
              <p:cNvSpPr>
                <a:spLocks noChangeArrowheads="1"/>
              </p:cNvSpPr>
              <p:nvPr/>
            </p:nvSpPr>
            <p:spPr bwMode="gray">
              <a:xfrm>
                <a:off x="872" y="983"/>
                <a:ext cx="359" cy="34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100%</a:t>
                </a: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=</a:t>
                </a:r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7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749427"/>
      </p:ext>
    </p:extLst>
  </p:cSld>
  <p:clrMapOvr>
    <a:masterClrMapping/>
  </p:clrMapOvr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43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st Gap</a:t>
            </a:r>
          </a:p>
        </p:txBody>
      </p:sp>
      <p:grpSp>
        <p:nvGrpSpPr>
          <p:cNvPr id="2574358" name="Group 22"/>
          <p:cNvGrpSpPr>
            <a:grpSpLocks/>
          </p:cNvGrpSpPr>
          <p:nvPr/>
        </p:nvGrpSpPr>
        <p:grpSpPr bwMode="auto">
          <a:xfrm>
            <a:off x="3600451" y="1687514"/>
            <a:ext cx="5427663" cy="3573462"/>
            <a:chOff x="1308" y="1057"/>
            <a:chExt cx="3419" cy="2251"/>
          </a:xfrm>
        </p:grpSpPr>
        <p:graphicFrame>
          <p:nvGraphicFramePr>
            <p:cNvPr id="2574340" name="Object 4"/>
            <p:cNvGraphicFramePr>
              <a:graphicFrameLocks noChangeAspect="1"/>
            </p:cNvGraphicFramePr>
            <p:nvPr/>
          </p:nvGraphicFramePr>
          <p:xfrm>
            <a:off x="1308" y="1057"/>
            <a:ext cx="3419" cy="213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6733" name="Diagramm" r:id="rId4" imgW="7543800" imgH="5029200" progId="MSGraph.Chart.8">
                    <p:embed followColorScheme="full"/>
                  </p:oleObj>
                </mc:Choice>
                <mc:Fallback>
                  <p:oleObj name="Diagramm" r:id="rId4" imgW="7543800" imgH="5029200" progId="MSGraph.Chart.8">
                    <p:embed followColorScheme="full"/>
                    <p:pic>
                      <p:nvPicPr>
                        <p:cNvPr id="0" name=""/>
                        <p:cNvPicPr preferRelativeResize="0">
                          <a:picLocks noChangeAspect="1"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1308" y="1057"/>
                          <a:ext cx="3419" cy="2131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74341" name="Rectangle 5"/>
            <p:cNvSpPr>
              <a:spLocks noChangeArrowheads="1"/>
            </p:cNvSpPr>
            <p:nvPr/>
          </p:nvSpPr>
          <p:spPr bwMode="gray">
            <a:xfrm>
              <a:off x="1462" y="3153"/>
              <a:ext cx="35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4342" name="Rectangle 6"/>
            <p:cNvSpPr>
              <a:spLocks noChangeArrowheads="1"/>
            </p:cNvSpPr>
            <p:nvPr/>
          </p:nvSpPr>
          <p:spPr bwMode="gray">
            <a:xfrm>
              <a:off x="2010" y="3153"/>
              <a:ext cx="35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4343" name="Rectangle 7"/>
            <p:cNvSpPr>
              <a:spLocks noChangeArrowheads="1"/>
            </p:cNvSpPr>
            <p:nvPr/>
          </p:nvSpPr>
          <p:spPr bwMode="gray">
            <a:xfrm>
              <a:off x="2558" y="3153"/>
              <a:ext cx="35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4344" name="Rectangle 8"/>
            <p:cNvSpPr>
              <a:spLocks noChangeArrowheads="1"/>
            </p:cNvSpPr>
            <p:nvPr/>
          </p:nvSpPr>
          <p:spPr bwMode="gray">
            <a:xfrm>
              <a:off x="3107" y="3153"/>
              <a:ext cx="35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4345" name="Rectangle 9"/>
            <p:cNvSpPr>
              <a:spLocks noChangeArrowheads="1"/>
            </p:cNvSpPr>
            <p:nvPr/>
          </p:nvSpPr>
          <p:spPr bwMode="gray">
            <a:xfrm>
              <a:off x="4204" y="3153"/>
              <a:ext cx="35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4346" name="Rectangle 10"/>
            <p:cNvSpPr>
              <a:spLocks noChangeArrowheads="1"/>
            </p:cNvSpPr>
            <p:nvPr/>
          </p:nvSpPr>
          <p:spPr bwMode="gray">
            <a:xfrm>
              <a:off x="3655" y="3153"/>
              <a:ext cx="35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4347" name="Rectangle 11"/>
            <p:cNvSpPr>
              <a:spLocks noChangeArrowheads="1"/>
            </p:cNvSpPr>
            <p:nvPr/>
          </p:nvSpPr>
          <p:spPr bwMode="gray">
            <a:xfrm>
              <a:off x="1462" y="1119"/>
              <a:ext cx="35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4348" name="Rectangle 12"/>
            <p:cNvSpPr>
              <a:spLocks noChangeArrowheads="1"/>
            </p:cNvSpPr>
            <p:nvPr/>
          </p:nvSpPr>
          <p:spPr bwMode="gray">
            <a:xfrm>
              <a:off x="2010" y="1119"/>
              <a:ext cx="35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4349" name="Rectangle 13"/>
            <p:cNvSpPr>
              <a:spLocks noChangeArrowheads="1"/>
            </p:cNvSpPr>
            <p:nvPr/>
          </p:nvSpPr>
          <p:spPr bwMode="gray">
            <a:xfrm>
              <a:off x="2558" y="1509"/>
              <a:ext cx="35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4350" name="Rectangle 14"/>
            <p:cNvSpPr>
              <a:spLocks noChangeArrowheads="1"/>
            </p:cNvSpPr>
            <p:nvPr/>
          </p:nvSpPr>
          <p:spPr bwMode="gray">
            <a:xfrm>
              <a:off x="3107" y="1911"/>
              <a:ext cx="35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4351" name="Rectangle 15"/>
            <p:cNvSpPr>
              <a:spLocks noChangeArrowheads="1"/>
            </p:cNvSpPr>
            <p:nvPr/>
          </p:nvSpPr>
          <p:spPr bwMode="gray">
            <a:xfrm>
              <a:off x="4204" y="2715"/>
              <a:ext cx="35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4352" name="Rectangle 16"/>
            <p:cNvSpPr>
              <a:spLocks noChangeArrowheads="1"/>
            </p:cNvSpPr>
            <p:nvPr/>
          </p:nvSpPr>
          <p:spPr bwMode="gray">
            <a:xfrm>
              <a:off x="3655" y="2319"/>
              <a:ext cx="35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4353" name="Line 17"/>
            <p:cNvSpPr>
              <a:spLocks noChangeShapeType="1"/>
            </p:cNvSpPr>
            <p:nvPr/>
          </p:nvSpPr>
          <p:spPr bwMode="gray">
            <a:xfrm>
              <a:off x="1814" y="1121"/>
              <a:ext cx="22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74354" name="Line 18"/>
            <p:cNvSpPr>
              <a:spLocks noChangeShapeType="1"/>
            </p:cNvSpPr>
            <p:nvPr/>
          </p:nvSpPr>
          <p:spPr bwMode="gray">
            <a:xfrm>
              <a:off x="2374" y="1522"/>
              <a:ext cx="22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74355" name="Line 19"/>
            <p:cNvSpPr>
              <a:spLocks noChangeShapeType="1"/>
            </p:cNvSpPr>
            <p:nvPr/>
          </p:nvSpPr>
          <p:spPr bwMode="gray">
            <a:xfrm>
              <a:off x="2916" y="1918"/>
              <a:ext cx="22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74356" name="Line 20"/>
            <p:cNvSpPr>
              <a:spLocks noChangeShapeType="1"/>
            </p:cNvSpPr>
            <p:nvPr/>
          </p:nvSpPr>
          <p:spPr bwMode="gray">
            <a:xfrm>
              <a:off x="3463" y="2324"/>
              <a:ext cx="22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74357" name="Line 21"/>
            <p:cNvSpPr>
              <a:spLocks noChangeShapeType="1"/>
            </p:cNvSpPr>
            <p:nvPr/>
          </p:nvSpPr>
          <p:spPr bwMode="gray">
            <a:xfrm>
              <a:off x="4015" y="2719"/>
              <a:ext cx="22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753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63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hase of Constitution</a:t>
            </a:r>
          </a:p>
        </p:txBody>
      </p:sp>
      <p:grpSp>
        <p:nvGrpSpPr>
          <p:cNvPr id="2576410" name="Group 26"/>
          <p:cNvGrpSpPr>
            <a:grpSpLocks/>
          </p:cNvGrpSpPr>
          <p:nvPr/>
        </p:nvGrpSpPr>
        <p:grpSpPr bwMode="auto">
          <a:xfrm>
            <a:off x="3357563" y="1697721"/>
            <a:ext cx="5434012" cy="3794125"/>
            <a:chOff x="1155" y="874"/>
            <a:chExt cx="3423" cy="2390"/>
          </a:xfrm>
        </p:grpSpPr>
        <p:graphicFrame>
          <p:nvGraphicFramePr>
            <p:cNvPr id="2576388" name="Object 4"/>
            <p:cNvGraphicFramePr>
              <a:graphicFrameLocks noChangeAspect="1"/>
            </p:cNvGraphicFramePr>
            <p:nvPr/>
          </p:nvGraphicFramePr>
          <p:xfrm>
            <a:off x="1155" y="1027"/>
            <a:ext cx="3423" cy="208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7757" name="Diagramm" r:id="rId4" imgW="7543800" imgH="5029200" progId="MSGraph.Chart.8">
                    <p:embed followColorScheme="full"/>
                  </p:oleObj>
                </mc:Choice>
                <mc:Fallback>
                  <p:oleObj name="Diagramm" r:id="rId4" imgW="7543800" imgH="5029200" progId="MSGraph.Chart.8">
                    <p:embed followColorScheme="full"/>
                    <p:pic>
                      <p:nvPicPr>
                        <p:cNvPr id="0" name=""/>
                        <p:cNvPicPr preferRelativeResize="0">
                          <a:picLocks noChangeAspect="1"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1155" y="1027"/>
                          <a:ext cx="3423" cy="208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76389" name="Rectangle 5"/>
            <p:cNvSpPr>
              <a:spLocks noChangeArrowheads="1"/>
            </p:cNvSpPr>
            <p:nvPr/>
          </p:nvSpPr>
          <p:spPr bwMode="gray">
            <a:xfrm>
              <a:off x="1300" y="3090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6390" name="Rectangle 6"/>
            <p:cNvSpPr>
              <a:spLocks noChangeArrowheads="1"/>
            </p:cNvSpPr>
            <p:nvPr/>
          </p:nvSpPr>
          <p:spPr bwMode="gray">
            <a:xfrm>
              <a:off x="1848" y="3090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6391" name="Rectangle 7"/>
            <p:cNvSpPr>
              <a:spLocks noChangeArrowheads="1"/>
            </p:cNvSpPr>
            <p:nvPr/>
          </p:nvSpPr>
          <p:spPr bwMode="gray">
            <a:xfrm>
              <a:off x="2396" y="3090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6392" name="Rectangle 8"/>
            <p:cNvSpPr>
              <a:spLocks noChangeArrowheads="1"/>
            </p:cNvSpPr>
            <p:nvPr/>
          </p:nvSpPr>
          <p:spPr bwMode="gray">
            <a:xfrm>
              <a:off x="2945" y="3090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6393" name="Rectangle 9"/>
            <p:cNvSpPr>
              <a:spLocks noChangeArrowheads="1"/>
            </p:cNvSpPr>
            <p:nvPr/>
          </p:nvSpPr>
          <p:spPr bwMode="gray">
            <a:xfrm>
              <a:off x="4042" y="3090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6394" name="Rectangle 10"/>
            <p:cNvSpPr>
              <a:spLocks noChangeArrowheads="1"/>
            </p:cNvSpPr>
            <p:nvPr/>
          </p:nvSpPr>
          <p:spPr bwMode="gray">
            <a:xfrm>
              <a:off x="3493" y="3090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6395" name="Rectangle 11"/>
            <p:cNvSpPr>
              <a:spLocks noChangeArrowheads="1"/>
            </p:cNvSpPr>
            <p:nvPr/>
          </p:nvSpPr>
          <p:spPr bwMode="gray">
            <a:xfrm>
              <a:off x="1389" y="2446"/>
              <a:ext cx="26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6396" name="Rectangle 12"/>
            <p:cNvSpPr>
              <a:spLocks noChangeArrowheads="1"/>
            </p:cNvSpPr>
            <p:nvPr/>
          </p:nvSpPr>
          <p:spPr bwMode="gray">
            <a:xfrm>
              <a:off x="1937" y="2056"/>
              <a:ext cx="26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6397" name="Rectangle 13"/>
            <p:cNvSpPr>
              <a:spLocks noChangeArrowheads="1"/>
            </p:cNvSpPr>
            <p:nvPr/>
          </p:nvSpPr>
          <p:spPr bwMode="gray">
            <a:xfrm>
              <a:off x="2485" y="1660"/>
              <a:ext cx="26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6398" name="Rectangle 14"/>
            <p:cNvSpPr>
              <a:spLocks noChangeArrowheads="1"/>
            </p:cNvSpPr>
            <p:nvPr/>
          </p:nvSpPr>
          <p:spPr bwMode="gray">
            <a:xfrm>
              <a:off x="3034" y="1270"/>
              <a:ext cx="26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6399" name="Rectangle 15"/>
            <p:cNvSpPr>
              <a:spLocks noChangeArrowheads="1"/>
            </p:cNvSpPr>
            <p:nvPr/>
          </p:nvSpPr>
          <p:spPr bwMode="gray">
            <a:xfrm>
              <a:off x="4131" y="874"/>
              <a:ext cx="26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6400" name="Rectangle 16"/>
            <p:cNvSpPr>
              <a:spLocks noChangeArrowheads="1"/>
            </p:cNvSpPr>
            <p:nvPr/>
          </p:nvSpPr>
          <p:spPr bwMode="gray">
            <a:xfrm>
              <a:off x="3582" y="874"/>
              <a:ext cx="26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6401" name="Line 17"/>
            <p:cNvSpPr>
              <a:spLocks noChangeShapeType="1"/>
            </p:cNvSpPr>
            <p:nvPr/>
          </p:nvSpPr>
          <p:spPr bwMode="gray">
            <a:xfrm>
              <a:off x="3864" y="1082"/>
              <a:ext cx="22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76402" name="Line 18"/>
            <p:cNvSpPr>
              <a:spLocks noChangeShapeType="1"/>
            </p:cNvSpPr>
            <p:nvPr/>
          </p:nvSpPr>
          <p:spPr bwMode="gray">
            <a:xfrm>
              <a:off x="3317" y="1483"/>
              <a:ext cx="22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76403" name="Line 19"/>
            <p:cNvSpPr>
              <a:spLocks noChangeShapeType="1"/>
            </p:cNvSpPr>
            <p:nvPr/>
          </p:nvSpPr>
          <p:spPr bwMode="gray">
            <a:xfrm>
              <a:off x="2763" y="1861"/>
              <a:ext cx="22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76404" name="Line 20"/>
            <p:cNvSpPr>
              <a:spLocks noChangeShapeType="1"/>
            </p:cNvSpPr>
            <p:nvPr/>
          </p:nvSpPr>
          <p:spPr bwMode="gray">
            <a:xfrm>
              <a:off x="2221" y="2256"/>
              <a:ext cx="22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76405" name="Line 21"/>
            <p:cNvSpPr>
              <a:spLocks noChangeShapeType="1"/>
            </p:cNvSpPr>
            <p:nvPr/>
          </p:nvSpPr>
          <p:spPr bwMode="gray">
            <a:xfrm>
              <a:off x="1667" y="2646"/>
              <a:ext cx="22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327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ycle Diagram 4 Segments</a:t>
            </a:r>
          </a:p>
        </p:txBody>
      </p:sp>
      <p:grpSp>
        <p:nvGrpSpPr>
          <p:cNvPr id="2578441" name="Group 9"/>
          <p:cNvGrpSpPr>
            <a:grpSpLocks/>
          </p:cNvGrpSpPr>
          <p:nvPr/>
        </p:nvGrpSpPr>
        <p:grpSpPr bwMode="auto">
          <a:xfrm>
            <a:off x="2924176" y="1463450"/>
            <a:ext cx="6308725" cy="4673600"/>
            <a:chOff x="882" y="1017"/>
            <a:chExt cx="3974" cy="2944"/>
          </a:xfrm>
        </p:grpSpPr>
        <p:graphicFrame>
          <p:nvGraphicFramePr>
            <p:cNvPr id="2578436" name="Object 4"/>
            <p:cNvGraphicFramePr>
              <a:graphicFrameLocks/>
            </p:cNvGraphicFramePr>
            <p:nvPr/>
          </p:nvGraphicFramePr>
          <p:xfrm>
            <a:off x="882" y="1017"/>
            <a:ext cx="3974" cy="294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59805" name="Diagramm" r:id="rId4" imgW="6610350" imgH="4676775" progId="MSGraph.Chart.8">
                    <p:embed followColorScheme="full"/>
                  </p:oleObj>
                </mc:Choice>
                <mc:Fallback>
                  <p:oleObj name="Diagramm" r:id="rId4" imgW="6610350" imgH="4676775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882" y="1017"/>
                          <a:ext cx="3974" cy="2944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78437" name="Rectangle 5"/>
            <p:cNvSpPr>
              <a:spLocks noChangeArrowheads="1"/>
            </p:cNvSpPr>
            <p:nvPr/>
          </p:nvSpPr>
          <p:spPr bwMode="gray">
            <a:xfrm>
              <a:off x="2284" y="1711"/>
              <a:ext cx="21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8438" name="Rectangle 6"/>
            <p:cNvSpPr>
              <a:spLocks noChangeArrowheads="1"/>
            </p:cNvSpPr>
            <p:nvPr/>
          </p:nvSpPr>
          <p:spPr bwMode="gray">
            <a:xfrm>
              <a:off x="1960" y="2317"/>
              <a:ext cx="21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8439" name="Rectangle 7"/>
            <p:cNvSpPr>
              <a:spLocks noChangeArrowheads="1"/>
            </p:cNvSpPr>
            <p:nvPr/>
          </p:nvSpPr>
          <p:spPr bwMode="gray">
            <a:xfrm>
              <a:off x="1889" y="3067"/>
              <a:ext cx="35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>
                <a:buClr>
                  <a:schemeClr val="bg1"/>
                </a:buClr>
              </a:pPr>
              <a:r>
                <a:rPr lang="en-US" sz="1400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78440" name="Rectangle 8"/>
            <p:cNvSpPr>
              <a:spLocks noChangeArrowheads="1"/>
            </p:cNvSpPr>
            <p:nvPr/>
          </p:nvSpPr>
          <p:spPr bwMode="gray">
            <a:xfrm>
              <a:off x="3532" y="2461"/>
              <a:ext cx="217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324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45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stribution</a:t>
            </a:r>
          </a:p>
        </p:txBody>
      </p:sp>
      <p:grpSp>
        <p:nvGrpSpPr>
          <p:cNvPr id="2584604" name="Group 28"/>
          <p:cNvGrpSpPr>
            <a:grpSpLocks/>
          </p:cNvGrpSpPr>
          <p:nvPr/>
        </p:nvGrpSpPr>
        <p:grpSpPr bwMode="auto">
          <a:xfrm>
            <a:off x="2663825" y="1911352"/>
            <a:ext cx="6845300" cy="3562350"/>
            <a:chOff x="718" y="910"/>
            <a:chExt cx="4312" cy="2244"/>
          </a:xfrm>
        </p:grpSpPr>
        <p:graphicFrame>
          <p:nvGraphicFramePr>
            <p:cNvPr id="2584580" name="Object 4"/>
            <p:cNvGraphicFramePr>
              <a:graphicFrameLocks/>
            </p:cNvGraphicFramePr>
            <p:nvPr/>
          </p:nvGraphicFramePr>
          <p:xfrm>
            <a:off x="1049" y="1084"/>
            <a:ext cx="3632" cy="196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0829" name="Diagramm" r:id="rId4" imgW="6724650" imgH="3619500" progId="MSGraph.Chart.8">
                    <p:embed followColorScheme="full"/>
                  </p:oleObj>
                </mc:Choice>
                <mc:Fallback>
                  <p:oleObj name="Diagramm" r:id="rId4" imgW="6724650" imgH="3619500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1049" y="1084"/>
                          <a:ext cx="3632" cy="1963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84581" name="Rectangle 5"/>
            <p:cNvSpPr>
              <a:spLocks noChangeArrowheads="1"/>
            </p:cNvSpPr>
            <p:nvPr/>
          </p:nvSpPr>
          <p:spPr bwMode="gray">
            <a:xfrm>
              <a:off x="4671" y="2927"/>
              <a:ext cx="35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82" name="Rectangle 6"/>
            <p:cNvSpPr>
              <a:spLocks noChangeArrowheads="1"/>
            </p:cNvSpPr>
            <p:nvPr/>
          </p:nvSpPr>
          <p:spPr bwMode="gray">
            <a:xfrm>
              <a:off x="718" y="910"/>
              <a:ext cx="35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83" name="Rectangle 7"/>
            <p:cNvSpPr>
              <a:spLocks noChangeArrowheads="1"/>
            </p:cNvSpPr>
            <p:nvPr/>
          </p:nvSpPr>
          <p:spPr bwMode="gray">
            <a:xfrm>
              <a:off x="718" y="1324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84" name="Rectangle 8"/>
            <p:cNvSpPr>
              <a:spLocks noChangeArrowheads="1"/>
            </p:cNvSpPr>
            <p:nvPr/>
          </p:nvSpPr>
          <p:spPr bwMode="gray">
            <a:xfrm>
              <a:off x="718" y="1708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85" name="Rectangle 9"/>
            <p:cNvSpPr>
              <a:spLocks noChangeArrowheads="1"/>
            </p:cNvSpPr>
            <p:nvPr/>
          </p:nvSpPr>
          <p:spPr bwMode="gray">
            <a:xfrm>
              <a:off x="718" y="2092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86" name="Rectangle 10"/>
            <p:cNvSpPr>
              <a:spLocks noChangeArrowheads="1"/>
            </p:cNvSpPr>
            <p:nvPr/>
          </p:nvSpPr>
          <p:spPr bwMode="gray">
            <a:xfrm>
              <a:off x="718" y="2476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87" name="Rectangle 11"/>
            <p:cNvSpPr>
              <a:spLocks noChangeArrowheads="1"/>
            </p:cNvSpPr>
            <p:nvPr/>
          </p:nvSpPr>
          <p:spPr bwMode="gray">
            <a:xfrm>
              <a:off x="718" y="2836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88" name="Rectangle 12"/>
            <p:cNvSpPr>
              <a:spLocks noChangeArrowheads="1"/>
            </p:cNvSpPr>
            <p:nvPr/>
          </p:nvSpPr>
          <p:spPr bwMode="gray">
            <a:xfrm>
              <a:off x="1126" y="3058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89" name="Rectangle 13"/>
            <p:cNvSpPr>
              <a:spLocks noChangeArrowheads="1"/>
            </p:cNvSpPr>
            <p:nvPr/>
          </p:nvSpPr>
          <p:spPr bwMode="gray">
            <a:xfrm>
              <a:off x="1746" y="3058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90" name="Rectangle 14"/>
            <p:cNvSpPr>
              <a:spLocks noChangeArrowheads="1"/>
            </p:cNvSpPr>
            <p:nvPr/>
          </p:nvSpPr>
          <p:spPr bwMode="gray">
            <a:xfrm>
              <a:off x="2286" y="3058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91" name="Rectangle 15"/>
            <p:cNvSpPr>
              <a:spLocks noChangeArrowheads="1"/>
            </p:cNvSpPr>
            <p:nvPr/>
          </p:nvSpPr>
          <p:spPr bwMode="gray">
            <a:xfrm>
              <a:off x="2892" y="3058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92" name="Rectangle 16"/>
            <p:cNvSpPr>
              <a:spLocks noChangeArrowheads="1"/>
            </p:cNvSpPr>
            <p:nvPr/>
          </p:nvSpPr>
          <p:spPr bwMode="gray">
            <a:xfrm>
              <a:off x="3474" y="3058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93" name="Rectangle 17"/>
            <p:cNvSpPr>
              <a:spLocks noChangeArrowheads="1"/>
            </p:cNvSpPr>
            <p:nvPr/>
          </p:nvSpPr>
          <p:spPr bwMode="gray">
            <a:xfrm>
              <a:off x="4056" y="3058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94" name="Rectangle 18"/>
            <p:cNvSpPr>
              <a:spLocks noChangeArrowheads="1"/>
            </p:cNvSpPr>
            <p:nvPr/>
          </p:nvSpPr>
          <p:spPr bwMode="gray">
            <a:xfrm>
              <a:off x="1638" y="2782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95" name="Rectangle 19"/>
            <p:cNvSpPr>
              <a:spLocks noChangeArrowheads="1"/>
            </p:cNvSpPr>
            <p:nvPr/>
          </p:nvSpPr>
          <p:spPr bwMode="gray">
            <a:xfrm>
              <a:off x="2232" y="2530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96" name="Rectangle 20"/>
            <p:cNvSpPr>
              <a:spLocks noChangeArrowheads="1"/>
            </p:cNvSpPr>
            <p:nvPr/>
          </p:nvSpPr>
          <p:spPr bwMode="gray">
            <a:xfrm>
              <a:off x="2808" y="2422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97" name="Rectangle 21"/>
            <p:cNvSpPr>
              <a:spLocks noChangeArrowheads="1"/>
            </p:cNvSpPr>
            <p:nvPr/>
          </p:nvSpPr>
          <p:spPr bwMode="gray">
            <a:xfrm>
              <a:off x="3384" y="2008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98" name="Rectangle 22"/>
            <p:cNvSpPr>
              <a:spLocks noChangeArrowheads="1"/>
            </p:cNvSpPr>
            <p:nvPr/>
          </p:nvSpPr>
          <p:spPr bwMode="gray">
            <a:xfrm>
              <a:off x="4056" y="1360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599" name="Rectangle 23"/>
            <p:cNvSpPr>
              <a:spLocks noChangeArrowheads="1"/>
            </p:cNvSpPr>
            <p:nvPr/>
          </p:nvSpPr>
          <p:spPr bwMode="gray">
            <a:xfrm>
              <a:off x="1926" y="2686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600" name="Rectangle 24"/>
            <p:cNvSpPr>
              <a:spLocks noChangeArrowheads="1"/>
            </p:cNvSpPr>
            <p:nvPr/>
          </p:nvSpPr>
          <p:spPr bwMode="gray">
            <a:xfrm>
              <a:off x="2514" y="2422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601" name="Rectangle 25"/>
            <p:cNvSpPr>
              <a:spLocks noChangeArrowheads="1"/>
            </p:cNvSpPr>
            <p:nvPr/>
          </p:nvSpPr>
          <p:spPr bwMode="gray">
            <a:xfrm>
              <a:off x="3084" y="2314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602" name="Rectangle 26"/>
            <p:cNvSpPr>
              <a:spLocks noChangeArrowheads="1"/>
            </p:cNvSpPr>
            <p:nvPr/>
          </p:nvSpPr>
          <p:spPr bwMode="gray">
            <a:xfrm>
              <a:off x="3618" y="1798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4603" name="Freeform 27"/>
            <p:cNvSpPr>
              <a:spLocks/>
            </p:cNvSpPr>
            <p:nvPr/>
          </p:nvSpPr>
          <p:spPr bwMode="gray">
            <a:xfrm>
              <a:off x="1130" y="1968"/>
              <a:ext cx="3507" cy="174"/>
            </a:xfrm>
            <a:custGeom>
              <a:avLst/>
              <a:gdLst>
                <a:gd name="T0" fmla="*/ 0 w 3507"/>
                <a:gd name="T1" fmla="*/ 0 h 1914"/>
                <a:gd name="T2" fmla="*/ 0 w 3507"/>
                <a:gd name="T3" fmla="*/ 1914 h 1914"/>
                <a:gd name="T4" fmla="*/ 3507 w 3507"/>
                <a:gd name="T5" fmla="*/ 1914 h 1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07" h="1914">
                  <a:moveTo>
                    <a:pt x="0" y="0"/>
                  </a:moveTo>
                  <a:lnTo>
                    <a:pt x="0" y="1914"/>
                  </a:lnTo>
                  <a:lnTo>
                    <a:pt x="3507" y="1914"/>
                  </a:ln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663466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8210" name="Rectangle 2"/>
          <p:cNvSpPr>
            <a:spLocks noGrp="1" noChangeArrowheads="1"/>
          </p:cNvSpPr>
          <p:nvPr>
            <p:ph type="title"/>
          </p:nvPr>
        </p:nvSpPr>
        <p:spPr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/>
              <a:t>Text Template</a:t>
            </a:r>
          </a:p>
        </p:txBody>
      </p:sp>
      <p:grpSp>
        <p:nvGrpSpPr>
          <p:cNvPr id="3038262" name="Group 54"/>
          <p:cNvGrpSpPr>
            <a:grpSpLocks/>
          </p:cNvGrpSpPr>
          <p:nvPr/>
        </p:nvGrpSpPr>
        <p:grpSpPr bwMode="auto">
          <a:xfrm>
            <a:off x="1905001" y="1308100"/>
            <a:ext cx="8302625" cy="4840288"/>
            <a:chOff x="240" y="824"/>
            <a:chExt cx="5230" cy="3049"/>
          </a:xfrm>
        </p:grpSpPr>
        <p:grpSp>
          <p:nvGrpSpPr>
            <p:cNvPr id="3038212" name="Group 4"/>
            <p:cNvGrpSpPr>
              <a:grpSpLocks/>
            </p:cNvGrpSpPr>
            <p:nvPr/>
          </p:nvGrpSpPr>
          <p:grpSpPr bwMode="auto">
            <a:xfrm>
              <a:off x="516" y="2010"/>
              <a:ext cx="2058" cy="1484"/>
              <a:chOff x="516" y="1680"/>
              <a:chExt cx="2058" cy="1484"/>
            </a:xfrm>
          </p:grpSpPr>
          <p:sp>
            <p:nvSpPr>
              <p:cNvPr id="3038213" name="Freeform 5"/>
              <p:cNvSpPr>
                <a:spLocks/>
              </p:cNvSpPr>
              <p:nvPr/>
            </p:nvSpPr>
            <p:spPr bwMode="gray">
              <a:xfrm>
                <a:off x="516" y="1680"/>
                <a:ext cx="2058" cy="510"/>
              </a:xfrm>
              <a:custGeom>
                <a:avLst/>
                <a:gdLst>
                  <a:gd name="T0" fmla="*/ 0 w 2058"/>
                  <a:gd name="T1" fmla="*/ 450 h 510"/>
                  <a:gd name="T2" fmla="*/ 720 w 2058"/>
                  <a:gd name="T3" fmla="*/ 0 h 510"/>
                  <a:gd name="T4" fmla="*/ 2058 w 2058"/>
                  <a:gd name="T5" fmla="*/ 150 h 510"/>
                  <a:gd name="T6" fmla="*/ 1182 w 2058"/>
                  <a:gd name="T7" fmla="*/ 510 h 510"/>
                  <a:gd name="T8" fmla="*/ 0 w 2058"/>
                  <a:gd name="T9" fmla="*/ 45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58" h="510">
                    <a:moveTo>
                      <a:pt x="0" y="450"/>
                    </a:moveTo>
                    <a:lnTo>
                      <a:pt x="720" y="0"/>
                    </a:lnTo>
                    <a:lnTo>
                      <a:pt x="2058" y="150"/>
                    </a:lnTo>
                    <a:lnTo>
                      <a:pt x="1182" y="510"/>
                    </a:lnTo>
                    <a:lnTo>
                      <a:pt x="0" y="450"/>
                    </a:lnTo>
                    <a:close/>
                  </a:path>
                </a:pathLst>
              </a:custGeom>
              <a:noFill/>
              <a:ln w="9525" cap="flat" cmpd="sng">
                <a:solidFill>
                  <a:srgbClr val="969696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4051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14" name="Freeform 6"/>
              <p:cNvSpPr>
                <a:spLocks/>
              </p:cNvSpPr>
              <p:nvPr/>
            </p:nvSpPr>
            <p:spPr bwMode="gray">
              <a:xfrm>
                <a:off x="906" y="1902"/>
                <a:ext cx="1092" cy="678"/>
              </a:xfrm>
              <a:custGeom>
                <a:avLst/>
                <a:gdLst>
                  <a:gd name="T0" fmla="*/ 0 w 1092"/>
                  <a:gd name="T1" fmla="*/ 678 h 678"/>
                  <a:gd name="T2" fmla="*/ 0 w 1092"/>
                  <a:gd name="T3" fmla="*/ 642 h 678"/>
                  <a:gd name="T4" fmla="*/ 156 w 1092"/>
                  <a:gd name="T5" fmla="*/ 108 h 678"/>
                  <a:gd name="T6" fmla="*/ 558 w 1092"/>
                  <a:gd name="T7" fmla="*/ 0 h 678"/>
                  <a:gd name="T8" fmla="*/ 1002 w 1092"/>
                  <a:gd name="T9" fmla="*/ 108 h 678"/>
                  <a:gd name="T10" fmla="*/ 1092 w 1092"/>
                  <a:gd name="T11" fmla="*/ 558 h 678"/>
                  <a:gd name="T12" fmla="*/ 0 w 1092"/>
                  <a:gd name="T13" fmla="*/ 678 h 6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92" h="678">
                    <a:moveTo>
                      <a:pt x="0" y="678"/>
                    </a:moveTo>
                    <a:cubicBezTo>
                      <a:pt x="0" y="666"/>
                      <a:pt x="0" y="654"/>
                      <a:pt x="0" y="642"/>
                    </a:cubicBezTo>
                    <a:lnTo>
                      <a:pt x="156" y="108"/>
                    </a:lnTo>
                    <a:cubicBezTo>
                      <a:pt x="248" y="16"/>
                      <a:pt x="417" y="3"/>
                      <a:pt x="558" y="0"/>
                    </a:cubicBezTo>
                    <a:cubicBezTo>
                      <a:pt x="699" y="0"/>
                      <a:pt x="913" y="15"/>
                      <a:pt x="1002" y="108"/>
                    </a:cubicBezTo>
                    <a:lnTo>
                      <a:pt x="1092" y="558"/>
                    </a:lnTo>
                    <a:lnTo>
                      <a:pt x="0" y="678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rgbClr val="969696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15" name="Oval 7"/>
              <p:cNvSpPr>
                <a:spLocks noChangeArrowheads="1"/>
              </p:cNvSpPr>
              <p:nvPr/>
            </p:nvSpPr>
            <p:spPr bwMode="gray">
              <a:xfrm rot="-389613">
                <a:off x="906" y="2354"/>
                <a:ext cx="1090" cy="34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16" name="Freeform 8"/>
              <p:cNvSpPr>
                <a:spLocks/>
              </p:cNvSpPr>
              <p:nvPr/>
            </p:nvSpPr>
            <p:spPr bwMode="gray">
              <a:xfrm>
                <a:off x="2280" y="1913"/>
                <a:ext cx="126" cy="1251"/>
              </a:xfrm>
              <a:custGeom>
                <a:avLst/>
                <a:gdLst>
                  <a:gd name="T0" fmla="*/ 34 w 126"/>
                  <a:gd name="T1" fmla="*/ 21 h 1251"/>
                  <a:gd name="T2" fmla="*/ 6 w 126"/>
                  <a:gd name="T3" fmla="*/ 491 h 1251"/>
                  <a:gd name="T4" fmla="*/ 72 w 126"/>
                  <a:gd name="T5" fmla="*/ 1159 h 1251"/>
                  <a:gd name="T6" fmla="*/ 120 w 126"/>
                  <a:gd name="T7" fmla="*/ 619 h 1251"/>
                  <a:gd name="T8" fmla="*/ 34 w 126"/>
                  <a:gd name="T9" fmla="*/ 21 h 1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" h="1251">
                    <a:moveTo>
                      <a:pt x="34" y="21"/>
                    </a:moveTo>
                    <a:cubicBezTo>
                      <a:pt x="15" y="0"/>
                      <a:pt x="0" y="301"/>
                      <a:pt x="6" y="491"/>
                    </a:cubicBezTo>
                    <a:cubicBezTo>
                      <a:pt x="12" y="681"/>
                      <a:pt x="53" y="1138"/>
                      <a:pt x="72" y="1159"/>
                    </a:cubicBezTo>
                    <a:cubicBezTo>
                      <a:pt x="85" y="1251"/>
                      <a:pt x="126" y="809"/>
                      <a:pt x="120" y="619"/>
                    </a:cubicBezTo>
                    <a:cubicBezTo>
                      <a:pt x="114" y="429"/>
                      <a:pt x="47" y="45"/>
                      <a:pt x="34" y="21"/>
                    </a:cubicBezTo>
                    <a:close/>
                  </a:path>
                </a:pathLst>
              </a:custGeom>
              <a:noFill/>
              <a:ln w="9525" cap="flat" cmpd="sng">
                <a:solidFill>
                  <a:srgbClr val="969696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D4051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pSp>
          <p:nvGrpSpPr>
            <p:cNvPr id="3038217" name="Group 9"/>
            <p:cNvGrpSpPr>
              <a:grpSpLocks/>
            </p:cNvGrpSpPr>
            <p:nvPr/>
          </p:nvGrpSpPr>
          <p:grpSpPr bwMode="auto">
            <a:xfrm>
              <a:off x="3854" y="1853"/>
              <a:ext cx="803" cy="1204"/>
              <a:chOff x="3854" y="1853"/>
              <a:chExt cx="803" cy="1204"/>
            </a:xfrm>
          </p:grpSpPr>
          <p:sp>
            <p:nvSpPr>
              <p:cNvPr id="3038218" name="Oval 10"/>
              <p:cNvSpPr>
                <a:spLocks noChangeArrowheads="1"/>
              </p:cNvSpPr>
              <p:nvPr/>
            </p:nvSpPr>
            <p:spPr bwMode="gray">
              <a:xfrm>
                <a:off x="3854" y="2717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19" name="Oval 11"/>
              <p:cNvSpPr>
                <a:spLocks noChangeArrowheads="1"/>
              </p:cNvSpPr>
              <p:nvPr/>
            </p:nvSpPr>
            <p:spPr bwMode="gray">
              <a:xfrm>
                <a:off x="3854" y="2685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20" name="Oval 12"/>
              <p:cNvSpPr>
                <a:spLocks noChangeArrowheads="1"/>
              </p:cNvSpPr>
              <p:nvPr/>
            </p:nvSpPr>
            <p:spPr bwMode="gray">
              <a:xfrm>
                <a:off x="3854" y="2625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21" name="Oval 13"/>
              <p:cNvSpPr>
                <a:spLocks noChangeArrowheads="1"/>
              </p:cNvSpPr>
              <p:nvPr/>
            </p:nvSpPr>
            <p:spPr bwMode="gray">
              <a:xfrm>
                <a:off x="3854" y="2593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22" name="Oval 14"/>
              <p:cNvSpPr>
                <a:spLocks noChangeArrowheads="1"/>
              </p:cNvSpPr>
              <p:nvPr/>
            </p:nvSpPr>
            <p:spPr bwMode="gray">
              <a:xfrm>
                <a:off x="3854" y="2533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23" name="Oval 15"/>
              <p:cNvSpPr>
                <a:spLocks noChangeArrowheads="1"/>
              </p:cNvSpPr>
              <p:nvPr/>
            </p:nvSpPr>
            <p:spPr bwMode="gray">
              <a:xfrm>
                <a:off x="3854" y="2501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24" name="Oval 16"/>
              <p:cNvSpPr>
                <a:spLocks noChangeArrowheads="1"/>
              </p:cNvSpPr>
              <p:nvPr/>
            </p:nvSpPr>
            <p:spPr bwMode="gray">
              <a:xfrm>
                <a:off x="3854" y="2440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25" name="Oval 17"/>
              <p:cNvSpPr>
                <a:spLocks noChangeArrowheads="1"/>
              </p:cNvSpPr>
              <p:nvPr/>
            </p:nvSpPr>
            <p:spPr bwMode="gray">
              <a:xfrm>
                <a:off x="3854" y="2408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26" name="Oval 18"/>
              <p:cNvSpPr>
                <a:spLocks noChangeArrowheads="1"/>
              </p:cNvSpPr>
              <p:nvPr/>
            </p:nvSpPr>
            <p:spPr bwMode="gray">
              <a:xfrm>
                <a:off x="3854" y="2348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27" name="Oval 19"/>
              <p:cNvSpPr>
                <a:spLocks noChangeArrowheads="1"/>
              </p:cNvSpPr>
              <p:nvPr/>
            </p:nvSpPr>
            <p:spPr bwMode="gray">
              <a:xfrm>
                <a:off x="3854" y="2316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28" name="Oval 20"/>
              <p:cNvSpPr>
                <a:spLocks noChangeArrowheads="1"/>
              </p:cNvSpPr>
              <p:nvPr/>
            </p:nvSpPr>
            <p:spPr bwMode="gray">
              <a:xfrm>
                <a:off x="3854" y="2256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29" name="Oval 21"/>
              <p:cNvSpPr>
                <a:spLocks noChangeArrowheads="1"/>
              </p:cNvSpPr>
              <p:nvPr/>
            </p:nvSpPr>
            <p:spPr bwMode="gray">
              <a:xfrm>
                <a:off x="3854" y="2224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30" name="Oval 22"/>
              <p:cNvSpPr>
                <a:spLocks noChangeArrowheads="1"/>
              </p:cNvSpPr>
              <p:nvPr/>
            </p:nvSpPr>
            <p:spPr bwMode="gray">
              <a:xfrm>
                <a:off x="3854" y="2162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31" name="Oval 23"/>
              <p:cNvSpPr>
                <a:spLocks noChangeArrowheads="1"/>
              </p:cNvSpPr>
              <p:nvPr/>
            </p:nvSpPr>
            <p:spPr bwMode="gray">
              <a:xfrm>
                <a:off x="3854" y="2130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32" name="Oval 24"/>
              <p:cNvSpPr>
                <a:spLocks noChangeArrowheads="1"/>
              </p:cNvSpPr>
              <p:nvPr/>
            </p:nvSpPr>
            <p:spPr bwMode="gray">
              <a:xfrm>
                <a:off x="3854" y="2070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33" name="Oval 25"/>
              <p:cNvSpPr>
                <a:spLocks noChangeArrowheads="1"/>
              </p:cNvSpPr>
              <p:nvPr/>
            </p:nvSpPr>
            <p:spPr bwMode="gray">
              <a:xfrm>
                <a:off x="3854" y="2038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34" name="Oval 26"/>
              <p:cNvSpPr>
                <a:spLocks noChangeArrowheads="1"/>
              </p:cNvSpPr>
              <p:nvPr/>
            </p:nvSpPr>
            <p:spPr bwMode="gray">
              <a:xfrm>
                <a:off x="3854" y="1978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35" name="Oval 27"/>
              <p:cNvSpPr>
                <a:spLocks noChangeArrowheads="1"/>
              </p:cNvSpPr>
              <p:nvPr/>
            </p:nvSpPr>
            <p:spPr bwMode="gray">
              <a:xfrm>
                <a:off x="3854" y="1946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36" name="Oval 28"/>
              <p:cNvSpPr>
                <a:spLocks noChangeArrowheads="1"/>
              </p:cNvSpPr>
              <p:nvPr/>
            </p:nvSpPr>
            <p:spPr bwMode="gray">
              <a:xfrm>
                <a:off x="3854" y="1885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37" name="Oval 29"/>
              <p:cNvSpPr>
                <a:spLocks noChangeArrowheads="1"/>
              </p:cNvSpPr>
              <p:nvPr/>
            </p:nvSpPr>
            <p:spPr bwMode="gray">
              <a:xfrm>
                <a:off x="3854" y="1853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38" name="Oval 30"/>
              <p:cNvSpPr>
                <a:spLocks noChangeArrowheads="1"/>
              </p:cNvSpPr>
              <p:nvPr/>
            </p:nvSpPr>
            <p:spPr bwMode="gray">
              <a:xfrm>
                <a:off x="4232" y="2611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39" name="Oval 31"/>
              <p:cNvSpPr>
                <a:spLocks noChangeArrowheads="1"/>
              </p:cNvSpPr>
              <p:nvPr/>
            </p:nvSpPr>
            <p:spPr bwMode="gray">
              <a:xfrm>
                <a:off x="4232" y="2579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40" name="Oval 32"/>
              <p:cNvSpPr>
                <a:spLocks noChangeArrowheads="1"/>
              </p:cNvSpPr>
              <p:nvPr/>
            </p:nvSpPr>
            <p:spPr bwMode="gray">
              <a:xfrm>
                <a:off x="4232" y="2519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41" name="Oval 33"/>
              <p:cNvSpPr>
                <a:spLocks noChangeArrowheads="1"/>
              </p:cNvSpPr>
              <p:nvPr/>
            </p:nvSpPr>
            <p:spPr bwMode="gray">
              <a:xfrm>
                <a:off x="4232" y="2487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42" name="Oval 34"/>
              <p:cNvSpPr>
                <a:spLocks noChangeArrowheads="1"/>
              </p:cNvSpPr>
              <p:nvPr/>
            </p:nvSpPr>
            <p:spPr bwMode="gray">
              <a:xfrm>
                <a:off x="4232" y="2427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43" name="Oval 35"/>
              <p:cNvSpPr>
                <a:spLocks noChangeArrowheads="1"/>
              </p:cNvSpPr>
              <p:nvPr/>
            </p:nvSpPr>
            <p:spPr bwMode="gray">
              <a:xfrm>
                <a:off x="4232" y="2395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44" name="Oval 36"/>
              <p:cNvSpPr>
                <a:spLocks noChangeArrowheads="1"/>
              </p:cNvSpPr>
              <p:nvPr/>
            </p:nvSpPr>
            <p:spPr bwMode="gray">
              <a:xfrm>
                <a:off x="4232" y="2333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45" name="Oval 37"/>
              <p:cNvSpPr>
                <a:spLocks noChangeArrowheads="1"/>
              </p:cNvSpPr>
              <p:nvPr/>
            </p:nvSpPr>
            <p:spPr bwMode="gray">
              <a:xfrm>
                <a:off x="4232" y="2301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46" name="Oval 38"/>
              <p:cNvSpPr>
                <a:spLocks noChangeArrowheads="1"/>
              </p:cNvSpPr>
              <p:nvPr/>
            </p:nvSpPr>
            <p:spPr bwMode="gray">
              <a:xfrm>
                <a:off x="4232" y="2241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47" name="Oval 39"/>
              <p:cNvSpPr>
                <a:spLocks noChangeArrowheads="1"/>
              </p:cNvSpPr>
              <p:nvPr/>
            </p:nvSpPr>
            <p:spPr bwMode="gray">
              <a:xfrm>
                <a:off x="4232" y="2209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48" name="Oval 40"/>
              <p:cNvSpPr>
                <a:spLocks noChangeArrowheads="1"/>
              </p:cNvSpPr>
              <p:nvPr/>
            </p:nvSpPr>
            <p:spPr bwMode="gray">
              <a:xfrm>
                <a:off x="4232" y="2149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49" name="Oval 41"/>
              <p:cNvSpPr>
                <a:spLocks noChangeArrowheads="1"/>
              </p:cNvSpPr>
              <p:nvPr/>
            </p:nvSpPr>
            <p:spPr bwMode="gray">
              <a:xfrm>
                <a:off x="4232" y="2117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50" name="Oval 42"/>
              <p:cNvSpPr>
                <a:spLocks noChangeArrowheads="1"/>
              </p:cNvSpPr>
              <p:nvPr/>
            </p:nvSpPr>
            <p:spPr bwMode="gray">
              <a:xfrm>
                <a:off x="4111" y="2855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51" name="Oval 43"/>
              <p:cNvSpPr>
                <a:spLocks noChangeArrowheads="1"/>
              </p:cNvSpPr>
              <p:nvPr/>
            </p:nvSpPr>
            <p:spPr bwMode="gray">
              <a:xfrm>
                <a:off x="4111" y="2823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52" name="Oval 44"/>
              <p:cNvSpPr>
                <a:spLocks noChangeArrowheads="1"/>
              </p:cNvSpPr>
              <p:nvPr/>
            </p:nvSpPr>
            <p:spPr bwMode="gray">
              <a:xfrm>
                <a:off x="4111" y="2763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53" name="Oval 45"/>
              <p:cNvSpPr>
                <a:spLocks noChangeArrowheads="1"/>
              </p:cNvSpPr>
              <p:nvPr/>
            </p:nvSpPr>
            <p:spPr bwMode="gray">
              <a:xfrm>
                <a:off x="4111" y="2731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54" name="Oval 46"/>
              <p:cNvSpPr>
                <a:spLocks noChangeArrowheads="1"/>
              </p:cNvSpPr>
              <p:nvPr/>
            </p:nvSpPr>
            <p:spPr bwMode="gray">
              <a:xfrm>
                <a:off x="4111" y="2671"/>
                <a:ext cx="425" cy="202"/>
              </a:xfrm>
              <a:prstGeom prst="ellipse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38255" name="Oval 47"/>
              <p:cNvSpPr>
                <a:spLocks noChangeArrowheads="1"/>
              </p:cNvSpPr>
              <p:nvPr/>
            </p:nvSpPr>
            <p:spPr bwMode="gray">
              <a:xfrm>
                <a:off x="4111" y="2639"/>
                <a:ext cx="425" cy="2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9696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sp>
          <p:nvSpPr>
            <p:cNvPr id="3038256" name="AutoShape 48"/>
            <p:cNvSpPr>
              <a:spLocks noChangeArrowheads="1"/>
            </p:cNvSpPr>
            <p:nvPr/>
          </p:nvSpPr>
          <p:spPr bwMode="gray">
            <a:xfrm>
              <a:off x="240" y="940"/>
              <a:ext cx="2483" cy="2933"/>
            </a:xfrm>
            <a:prstGeom prst="roundRect">
              <a:avLst>
                <a:gd name="adj" fmla="val 3866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44000" tIns="288000" rIns="36000" bIns="3600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/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38257" name="Rectangle 49"/>
            <p:cNvSpPr>
              <a:spLocks noChangeArrowheads="1"/>
            </p:cNvSpPr>
            <p:nvPr/>
          </p:nvSpPr>
          <p:spPr bwMode="gray">
            <a:xfrm>
              <a:off x="553" y="824"/>
              <a:ext cx="337" cy="22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>
              <a:spAutoFit/>
            </a:bodyPr>
            <a:lstStyle/>
            <a:p>
              <a:pPr algn="l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###</a:t>
              </a:r>
            </a:p>
          </p:txBody>
        </p:sp>
        <p:sp>
          <p:nvSpPr>
            <p:cNvPr id="3038258" name="AutoShape 50"/>
            <p:cNvSpPr>
              <a:spLocks noChangeArrowheads="1"/>
            </p:cNvSpPr>
            <p:nvPr/>
          </p:nvSpPr>
          <p:spPr bwMode="gray">
            <a:xfrm>
              <a:off x="2987" y="940"/>
              <a:ext cx="2483" cy="2933"/>
            </a:xfrm>
            <a:prstGeom prst="roundRect">
              <a:avLst>
                <a:gd name="adj" fmla="val 3866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44000" tIns="288000" rIns="36000" bIns="3600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38259" name="Rectangle 51"/>
            <p:cNvSpPr>
              <a:spLocks noChangeArrowheads="1"/>
            </p:cNvSpPr>
            <p:nvPr/>
          </p:nvSpPr>
          <p:spPr bwMode="gray">
            <a:xfrm>
              <a:off x="3300" y="824"/>
              <a:ext cx="337" cy="22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>
              <a:spAutoFit/>
            </a:bodyPr>
            <a:lstStyle/>
            <a:p>
              <a:pPr algn="l"/>
              <a:r>
                <a:rPr lang="en-US" b="1" dirty="0">
                  <a:latin typeface="Baskerville" charset="0"/>
                  <a:ea typeface="Baskerville" charset="0"/>
                  <a:cs typeface="Baskerville" charset="0"/>
                </a:rPr>
                <a:t>###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A6AD245-CE23-44AA-B096-4A6180C9AAE6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610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6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eas</a:t>
            </a:r>
          </a:p>
        </p:txBody>
      </p:sp>
      <p:grpSp>
        <p:nvGrpSpPr>
          <p:cNvPr id="2586650" name="Group 26"/>
          <p:cNvGrpSpPr>
            <a:grpSpLocks/>
          </p:cNvGrpSpPr>
          <p:nvPr/>
        </p:nvGrpSpPr>
        <p:grpSpPr bwMode="auto">
          <a:xfrm>
            <a:off x="2330451" y="1422400"/>
            <a:ext cx="7866063" cy="4076700"/>
            <a:chOff x="508" y="890"/>
            <a:chExt cx="4955" cy="2568"/>
          </a:xfrm>
        </p:grpSpPr>
        <p:graphicFrame>
          <p:nvGraphicFramePr>
            <p:cNvPr id="2586628" name="Object 4"/>
            <p:cNvGraphicFramePr>
              <a:graphicFrameLocks/>
            </p:cNvGraphicFramePr>
            <p:nvPr/>
          </p:nvGraphicFramePr>
          <p:xfrm>
            <a:off x="828" y="1239"/>
            <a:ext cx="4021" cy="207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1853" name="Diagramm" r:id="rId4" imgW="6715125" imgH="3457575" progId="MSGraph.Chart.8">
                    <p:embed followColorScheme="full"/>
                  </p:oleObj>
                </mc:Choice>
                <mc:Fallback>
                  <p:oleObj name="Diagramm" r:id="rId4" imgW="6715125" imgH="3457575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828" y="1239"/>
                          <a:ext cx="4021" cy="2073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86629" name="Rectangle 5"/>
            <p:cNvSpPr>
              <a:spLocks noChangeArrowheads="1"/>
            </p:cNvSpPr>
            <p:nvPr/>
          </p:nvSpPr>
          <p:spPr bwMode="gray">
            <a:xfrm>
              <a:off x="4870" y="3342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30" name="Rectangle 6"/>
            <p:cNvSpPr>
              <a:spLocks noChangeArrowheads="1"/>
            </p:cNvSpPr>
            <p:nvPr/>
          </p:nvSpPr>
          <p:spPr bwMode="gray">
            <a:xfrm>
              <a:off x="508" y="890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31" name="Rectangle 7"/>
            <p:cNvSpPr>
              <a:spLocks noChangeArrowheads="1"/>
            </p:cNvSpPr>
            <p:nvPr/>
          </p:nvSpPr>
          <p:spPr bwMode="gray">
            <a:xfrm>
              <a:off x="508" y="1212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32" name="Rectangle 8"/>
            <p:cNvSpPr>
              <a:spLocks noChangeArrowheads="1"/>
            </p:cNvSpPr>
            <p:nvPr/>
          </p:nvSpPr>
          <p:spPr bwMode="gray">
            <a:xfrm>
              <a:off x="508" y="1499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33" name="Rectangle 9"/>
            <p:cNvSpPr>
              <a:spLocks noChangeArrowheads="1"/>
            </p:cNvSpPr>
            <p:nvPr/>
          </p:nvSpPr>
          <p:spPr bwMode="gray">
            <a:xfrm>
              <a:off x="508" y="1786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34" name="Rectangle 10"/>
            <p:cNvSpPr>
              <a:spLocks noChangeArrowheads="1"/>
            </p:cNvSpPr>
            <p:nvPr/>
          </p:nvSpPr>
          <p:spPr bwMode="gray">
            <a:xfrm>
              <a:off x="508" y="2073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35" name="Rectangle 11"/>
            <p:cNvSpPr>
              <a:spLocks noChangeArrowheads="1"/>
            </p:cNvSpPr>
            <p:nvPr/>
          </p:nvSpPr>
          <p:spPr bwMode="gray">
            <a:xfrm>
              <a:off x="508" y="2360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36" name="Rectangle 12"/>
            <p:cNvSpPr>
              <a:spLocks noChangeArrowheads="1"/>
            </p:cNvSpPr>
            <p:nvPr/>
          </p:nvSpPr>
          <p:spPr bwMode="gray">
            <a:xfrm>
              <a:off x="508" y="2647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37" name="Rectangle 13"/>
            <p:cNvSpPr>
              <a:spLocks noChangeArrowheads="1"/>
            </p:cNvSpPr>
            <p:nvPr/>
          </p:nvSpPr>
          <p:spPr bwMode="gray">
            <a:xfrm>
              <a:off x="508" y="2934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38" name="Rectangle 14"/>
            <p:cNvSpPr>
              <a:spLocks noChangeArrowheads="1"/>
            </p:cNvSpPr>
            <p:nvPr/>
          </p:nvSpPr>
          <p:spPr bwMode="gray">
            <a:xfrm>
              <a:off x="508" y="3222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39" name="Rectangle 15"/>
            <p:cNvSpPr>
              <a:spLocks noChangeArrowheads="1"/>
            </p:cNvSpPr>
            <p:nvPr/>
          </p:nvSpPr>
          <p:spPr bwMode="gray">
            <a:xfrm>
              <a:off x="934" y="3342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40" name="Rectangle 16"/>
            <p:cNvSpPr>
              <a:spLocks noChangeArrowheads="1"/>
            </p:cNvSpPr>
            <p:nvPr/>
          </p:nvSpPr>
          <p:spPr bwMode="gray">
            <a:xfrm>
              <a:off x="1420" y="3342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41" name="Rectangle 17"/>
            <p:cNvSpPr>
              <a:spLocks noChangeArrowheads="1"/>
            </p:cNvSpPr>
            <p:nvPr/>
          </p:nvSpPr>
          <p:spPr bwMode="gray">
            <a:xfrm>
              <a:off x="1906" y="3342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42" name="Rectangle 18"/>
            <p:cNvSpPr>
              <a:spLocks noChangeArrowheads="1"/>
            </p:cNvSpPr>
            <p:nvPr/>
          </p:nvSpPr>
          <p:spPr bwMode="gray">
            <a:xfrm>
              <a:off x="2393" y="3342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43" name="Rectangle 19"/>
            <p:cNvSpPr>
              <a:spLocks noChangeArrowheads="1"/>
            </p:cNvSpPr>
            <p:nvPr/>
          </p:nvSpPr>
          <p:spPr bwMode="gray">
            <a:xfrm>
              <a:off x="2879" y="3342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44" name="Rectangle 20"/>
            <p:cNvSpPr>
              <a:spLocks noChangeArrowheads="1"/>
            </p:cNvSpPr>
            <p:nvPr/>
          </p:nvSpPr>
          <p:spPr bwMode="gray">
            <a:xfrm>
              <a:off x="3366" y="3342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45" name="Rectangle 21"/>
            <p:cNvSpPr>
              <a:spLocks noChangeArrowheads="1"/>
            </p:cNvSpPr>
            <p:nvPr/>
          </p:nvSpPr>
          <p:spPr bwMode="gray">
            <a:xfrm>
              <a:off x="3852" y="3342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46" name="Rectangle 22"/>
            <p:cNvSpPr>
              <a:spLocks noChangeArrowheads="1"/>
            </p:cNvSpPr>
            <p:nvPr/>
          </p:nvSpPr>
          <p:spPr bwMode="gray">
            <a:xfrm>
              <a:off x="4339" y="3342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6647" name="Freeform 23"/>
            <p:cNvSpPr>
              <a:spLocks/>
            </p:cNvSpPr>
            <p:nvPr/>
          </p:nvSpPr>
          <p:spPr bwMode="gray">
            <a:xfrm>
              <a:off x="928" y="2063"/>
              <a:ext cx="4161" cy="174"/>
            </a:xfrm>
            <a:custGeom>
              <a:avLst/>
              <a:gdLst>
                <a:gd name="T0" fmla="*/ 0 w 4161"/>
                <a:gd name="T1" fmla="*/ 0 h 2112"/>
                <a:gd name="T2" fmla="*/ 0 w 4161"/>
                <a:gd name="T3" fmla="*/ 2112 h 2112"/>
                <a:gd name="T4" fmla="*/ 4161 w 4161"/>
                <a:gd name="T5" fmla="*/ 2112 h 2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61" h="2112">
                  <a:moveTo>
                    <a:pt x="0" y="0"/>
                  </a:moveTo>
                  <a:lnTo>
                    <a:pt x="0" y="2112"/>
                  </a:lnTo>
                  <a:lnTo>
                    <a:pt x="4161" y="2112"/>
                  </a:ln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6648" name="Rectangle 24"/>
            <p:cNvSpPr>
              <a:spLocks noChangeArrowheads="1"/>
            </p:cNvSpPr>
            <p:nvPr/>
          </p:nvSpPr>
          <p:spPr bwMode="gray">
            <a:xfrm>
              <a:off x="5104" y="3152"/>
              <a:ext cx="35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01478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ne Graph</a:t>
            </a:r>
          </a:p>
        </p:txBody>
      </p:sp>
      <p:grpSp>
        <p:nvGrpSpPr>
          <p:cNvPr id="2588742" name="Group 70"/>
          <p:cNvGrpSpPr>
            <a:grpSpLocks/>
          </p:cNvGrpSpPr>
          <p:nvPr/>
        </p:nvGrpSpPr>
        <p:grpSpPr bwMode="auto">
          <a:xfrm>
            <a:off x="6286501" y="1737181"/>
            <a:ext cx="4143375" cy="4048125"/>
            <a:chOff x="2970" y="940"/>
            <a:chExt cx="2610" cy="2550"/>
          </a:xfrm>
        </p:grpSpPr>
        <p:sp>
          <p:nvSpPr>
            <p:cNvPr id="2588676" name="Rectangle 4"/>
            <p:cNvSpPr>
              <a:spLocks noChangeArrowheads="1"/>
            </p:cNvSpPr>
            <p:nvPr/>
          </p:nvSpPr>
          <p:spPr bwMode="gray">
            <a:xfrm>
              <a:off x="2970" y="1224"/>
              <a:ext cx="2467" cy="226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2588677" name="Group 5"/>
            <p:cNvGrpSpPr>
              <a:grpSpLocks/>
            </p:cNvGrpSpPr>
            <p:nvPr/>
          </p:nvGrpSpPr>
          <p:grpSpPr bwMode="auto">
            <a:xfrm>
              <a:off x="4716" y="1831"/>
              <a:ext cx="140" cy="1607"/>
              <a:chOff x="5018" y="2039"/>
              <a:chExt cx="151" cy="1407"/>
            </a:xfrm>
          </p:grpSpPr>
          <p:sp>
            <p:nvSpPr>
              <p:cNvPr id="2588678" name="Rectangle 6"/>
              <p:cNvSpPr>
                <a:spLocks noChangeArrowheads="1"/>
              </p:cNvSpPr>
              <p:nvPr/>
            </p:nvSpPr>
            <p:spPr bwMode="gray">
              <a:xfrm>
                <a:off x="5036" y="2162"/>
                <a:ext cx="126" cy="128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72000" tIns="72000" rIns="72000" bIns="7200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588679" name="AutoShape 7"/>
              <p:cNvSpPr>
                <a:spLocks noChangeArrowheads="1"/>
              </p:cNvSpPr>
              <p:nvPr/>
            </p:nvSpPr>
            <p:spPr bwMode="gray">
              <a:xfrm>
                <a:off x="5018" y="2039"/>
                <a:ext cx="151" cy="179"/>
              </a:xfrm>
              <a:prstGeom prst="downArrow">
                <a:avLst>
                  <a:gd name="adj1" fmla="val 49667"/>
                  <a:gd name="adj2" fmla="val 49667"/>
                </a:avLst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72000" tIns="72000" rIns="72000" bIns="7200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pSp>
          <p:nvGrpSpPr>
            <p:cNvPr id="2588680" name="Group 8"/>
            <p:cNvGrpSpPr>
              <a:grpSpLocks/>
            </p:cNvGrpSpPr>
            <p:nvPr/>
          </p:nvGrpSpPr>
          <p:grpSpPr bwMode="auto">
            <a:xfrm>
              <a:off x="3651" y="1927"/>
              <a:ext cx="140" cy="1511"/>
              <a:chOff x="3894" y="2233"/>
              <a:chExt cx="151" cy="1277"/>
            </a:xfrm>
          </p:grpSpPr>
          <p:sp>
            <p:nvSpPr>
              <p:cNvPr id="2588681" name="Rectangle 9"/>
              <p:cNvSpPr>
                <a:spLocks noChangeArrowheads="1"/>
              </p:cNvSpPr>
              <p:nvPr/>
            </p:nvSpPr>
            <p:spPr bwMode="gray">
              <a:xfrm>
                <a:off x="3909" y="2346"/>
                <a:ext cx="126" cy="116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72000" tIns="72000" rIns="72000" bIns="7200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588682" name="AutoShape 10"/>
              <p:cNvSpPr>
                <a:spLocks noChangeArrowheads="1"/>
              </p:cNvSpPr>
              <p:nvPr/>
            </p:nvSpPr>
            <p:spPr bwMode="gray">
              <a:xfrm>
                <a:off x="3894" y="2233"/>
                <a:ext cx="151" cy="179"/>
              </a:xfrm>
              <a:prstGeom prst="downArrow">
                <a:avLst>
                  <a:gd name="adj1" fmla="val 49667"/>
                  <a:gd name="adj2" fmla="val 49667"/>
                </a:avLst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72000" tIns="72000" rIns="72000" bIns="7200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aphicFrame>
          <p:nvGraphicFramePr>
            <p:cNvPr id="2588683" name="Object 11"/>
            <p:cNvGraphicFramePr>
              <a:graphicFrameLocks/>
            </p:cNvGraphicFramePr>
            <p:nvPr/>
          </p:nvGraphicFramePr>
          <p:xfrm>
            <a:off x="3179" y="1598"/>
            <a:ext cx="2143" cy="177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2934" name="Diagramm" r:id="rId16" imgW="3667125" imgH="3038475" progId="MSGraph.Chart.8">
                    <p:embed followColorScheme="full"/>
                  </p:oleObj>
                </mc:Choice>
                <mc:Fallback>
                  <p:oleObj name="Diagramm" r:id="rId16" imgW="3667125" imgH="3038475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17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3179" y="1598"/>
                          <a:ext cx="2143" cy="177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88684" name="Text Box 12"/>
            <p:cNvSpPr txBox="1">
              <a:spLocks noChangeArrowheads="1"/>
            </p:cNvSpPr>
            <p:nvPr/>
          </p:nvSpPr>
          <p:spPr bwMode="gray">
            <a:xfrm>
              <a:off x="4567" y="1664"/>
              <a:ext cx="425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sz="1200" b="1">
                  <a:latin typeface="Baskerville" charset="0"/>
                  <a:ea typeface="Baskerville" charset="0"/>
                  <a:cs typeface="Baskerville" charset="0"/>
                </a:rPr>
                <a:t>Mile-stone</a:t>
              </a:r>
            </a:p>
          </p:txBody>
        </p:sp>
        <p:sp>
          <p:nvSpPr>
            <p:cNvPr id="2588685" name="Text Box 13"/>
            <p:cNvSpPr txBox="1">
              <a:spLocks noChangeArrowheads="1"/>
            </p:cNvSpPr>
            <p:nvPr/>
          </p:nvSpPr>
          <p:spPr bwMode="gray">
            <a:xfrm>
              <a:off x="3492" y="1778"/>
              <a:ext cx="453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sz="1200" b="1">
                  <a:latin typeface="Baskerville" charset="0"/>
                  <a:ea typeface="Baskerville" charset="0"/>
                  <a:cs typeface="Baskerville" charset="0"/>
                </a:rPr>
                <a:t>Mile-stone</a:t>
              </a:r>
            </a:p>
          </p:txBody>
        </p:sp>
        <p:sp>
          <p:nvSpPr>
            <p:cNvPr id="2588686" name="Rectangle 14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3197" y="3357"/>
              <a:ext cx="128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Jan</a:t>
              </a:r>
            </a:p>
          </p:txBody>
        </p:sp>
        <p:sp>
          <p:nvSpPr>
            <p:cNvPr id="2588687" name="Rectangle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517" y="3351"/>
              <a:ext cx="236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Mar</a:t>
              </a:r>
            </a:p>
          </p:txBody>
        </p:sp>
        <p:sp>
          <p:nvSpPr>
            <p:cNvPr id="2588688" name="Rectangle 1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896" y="3357"/>
              <a:ext cx="151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May</a:t>
              </a:r>
            </a:p>
          </p:txBody>
        </p:sp>
        <p:sp>
          <p:nvSpPr>
            <p:cNvPr id="2588689" name="Rectangle 17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4283" y="3357"/>
              <a:ext cx="102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Jul</a:t>
              </a:r>
            </a:p>
          </p:txBody>
        </p:sp>
        <p:sp>
          <p:nvSpPr>
            <p:cNvPr id="2588690" name="Rectangle 18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590" y="3357"/>
              <a:ext cx="141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Sep</a:t>
              </a:r>
            </a:p>
          </p:txBody>
        </p:sp>
        <p:sp>
          <p:nvSpPr>
            <p:cNvPr id="2588691" name="Rectangle 19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4973" y="3357"/>
              <a:ext cx="142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Nov</a:t>
              </a:r>
            </a:p>
          </p:txBody>
        </p:sp>
        <p:sp>
          <p:nvSpPr>
            <p:cNvPr id="2588692" name="Rectangle 20"/>
            <p:cNvSpPr>
              <a:spLocks noChangeArrowheads="1"/>
            </p:cNvSpPr>
            <p:nvPr/>
          </p:nvSpPr>
          <p:spPr bwMode="gray">
            <a:xfrm>
              <a:off x="2970" y="940"/>
              <a:ext cx="2467" cy="28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693" name="Rectangle 21"/>
            <p:cNvSpPr>
              <a:spLocks noChangeArrowheads="1"/>
            </p:cNvSpPr>
            <p:nvPr/>
          </p:nvSpPr>
          <p:spPr bwMode="gray">
            <a:xfrm>
              <a:off x="2995" y="1297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694" name="Rectangle 22"/>
            <p:cNvSpPr>
              <a:spLocks noChangeArrowheads="1"/>
            </p:cNvSpPr>
            <p:nvPr/>
          </p:nvSpPr>
          <p:spPr bwMode="gray">
            <a:xfrm>
              <a:off x="5221" y="3179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695" name="Rectangle 23"/>
            <p:cNvSpPr>
              <a:spLocks noChangeArrowheads="1"/>
            </p:cNvSpPr>
            <p:nvPr/>
          </p:nvSpPr>
          <p:spPr bwMode="gray">
            <a:xfrm>
              <a:off x="3063" y="3227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696" name="Rectangle 24"/>
            <p:cNvSpPr>
              <a:spLocks noChangeArrowheads="1"/>
            </p:cNvSpPr>
            <p:nvPr/>
          </p:nvSpPr>
          <p:spPr bwMode="gray">
            <a:xfrm>
              <a:off x="3063" y="3029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697" name="Rectangle 25"/>
            <p:cNvSpPr>
              <a:spLocks noChangeArrowheads="1"/>
            </p:cNvSpPr>
            <p:nvPr/>
          </p:nvSpPr>
          <p:spPr bwMode="gray">
            <a:xfrm>
              <a:off x="3063" y="2831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698" name="Rectangle 26"/>
            <p:cNvSpPr>
              <a:spLocks noChangeArrowheads="1"/>
            </p:cNvSpPr>
            <p:nvPr/>
          </p:nvSpPr>
          <p:spPr bwMode="gray">
            <a:xfrm>
              <a:off x="3063" y="2633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699" name="Rectangle 27"/>
            <p:cNvSpPr>
              <a:spLocks noChangeArrowheads="1"/>
            </p:cNvSpPr>
            <p:nvPr/>
          </p:nvSpPr>
          <p:spPr bwMode="gray">
            <a:xfrm>
              <a:off x="3063" y="2435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00" name="Rectangle 28"/>
            <p:cNvSpPr>
              <a:spLocks noChangeArrowheads="1"/>
            </p:cNvSpPr>
            <p:nvPr/>
          </p:nvSpPr>
          <p:spPr bwMode="gray">
            <a:xfrm>
              <a:off x="3063" y="2237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01" name="Rectangle 29"/>
            <p:cNvSpPr>
              <a:spLocks noChangeArrowheads="1"/>
            </p:cNvSpPr>
            <p:nvPr/>
          </p:nvSpPr>
          <p:spPr bwMode="gray">
            <a:xfrm>
              <a:off x="3063" y="2039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02" name="Rectangle 30"/>
            <p:cNvSpPr>
              <a:spLocks noChangeArrowheads="1"/>
            </p:cNvSpPr>
            <p:nvPr/>
          </p:nvSpPr>
          <p:spPr bwMode="gray">
            <a:xfrm>
              <a:off x="3063" y="1841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03" name="Rectangle 31"/>
            <p:cNvSpPr>
              <a:spLocks noChangeArrowheads="1"/>
            </p:cNvSpPr>
            <p:nvPr/>
          </p:nvSpPr>
          <p:spPr bwMode="gray">
            <a:xfrm>
              <a:off x="3063" y="1643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04" name="Rectangle 32"/>
            <p:cNvSpPr>
              <a:spLocks noChangeArrowheads="1"/>
            </p:cNvSpPr>
            <p:nvPr/>
          </p:nvSpPr>
          <p:spPr bwMode="gray">
            <a:xfrm>
              <a:off x="5011" y="2039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05" name="Rectangle 33"/>
            <p:cNvSpPr>
              <a:spLocks noChangeArrowheads="1"/>
            </p:cNvSpPr>
            <p:nvPr/>
          </p:nvSpPr>
          <p:spPr bwMode="gray">
            <a:xfrm>
              <a:off x="5011" y="2561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06" name="Rectangle 34"/>
            <p:cNvSpPr>
              <a:spLocks noChangeArrowheads="1"/>
            </p:cNvSpPr>
            <p:nvPr/>
          </p:nvSpPr>
          <p:spPr bwMode="gray">
            <a:xfrm>
              <a:off x="5011" y="2957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grpSp>
        <p:nvGrpSpPr>
          <p:cNvPr id="2588741" name="Group 69"/>
          <p:cNvGrpSpPr>
            <a:grpSpLocks/>
          </p:cNvGrpSpPr>
          <p:nvPr/>
        </p:nvGrpSpPr>
        <p:grpSpPr bwMode="auto">
          <a:xfrm>
            <a:off x="1911350" y="1737181"/>
            <a:ext cx="4146550" cy="4048125"/>
            <a:chOff x="292" y="940"/>
            <a:chExt cx="2612" cy="2550"/>
          </a:xfrm>
        </p:grpSpPr>
        <p:sp>
          <p:nvSpPr>
            <p:cNvPr id="2588707" name="Rectangle 35"/>
            <p:cNvSpPr>
              <a:spLocks noChangeArrowheads="1"/>
            </p:cNvSpPr>
            <p:nvPr/>
          </p:nvSpPr>
          <p:spPr bwMode="gray">
            <a:xfrm>
              <a:off x="292" y="1224"/>
              <a:ext cx="2467" cy="226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2588708" name="Group 36"/>
            <p:cNvGrpSpPr>
              <a:grpSpLocks/>
            </p:cNvGrpSpPr>
            <p:nvPr/>
          </p:nvGrpSpPr>
          <p:grpSpPr bwMode="auto">
            <a:xfrm>
              <a:off x="2080" y="1846"/>
              <a:ext cx="139" cy="1592"/>
              <a:chOff x="2507" y="2093"/>
              <a:chExt cx="151" cy="1405"/>
            </a:xfrm>
          </p:grpSpPr>
          <p:sp>
            <p:nvSpPr>
              <p:cNvPr id="2588709" name="Rectangle 37"/>
              <p:cNvSpPr>
                <a:spLocks noChangeArrowheads="1"/>
              </p:cNvSpPr>
              <p:nvPr/>
            </p:nvSpPr>
            <p:spPr bwMode="gray">
              <a:xfrm>
                <a:off x="2522" y="2214"/>
                <a:ext cx="126" cy="1284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72000" tIns="72000" rIns="72000" bIns="7200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588710" name="AutoShape 38"/>
              <p:cNvSpPr>
                <a:spLocks noChangeArrowheads="1"/>
              </p:cNvSpPr>
              <p:nvPr/>
            </p:nvSpPr>
            <p:spPr bwMode="gray">
              <a:xfrm>
                <a:off x="2507" y="2093"/>
                <a:ext cx="151" cy="179"/>
              </a:xfrm>
              <a:prstGeom prst="downArrow">
                <a:avLst>
                  <a:gd name="adj1" fmla="val 49667"/>
                  <a:gd name="adj2" fmla="val 49667"/>
                </a:avLst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72000" tIns="72000" rIns="72000" bIns="7200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pSp>
          <p:nvGrpSpPr>
            <p:cNvPr id="2588711" name="Group 39"/>
            <p:cNvGrpSpPr>
              <a:grpSpLocks/>
            </p:cNvGrpSpPr>
            <p:nvPr/>
          </p:nvGrpSpPr>
          <p:grpSpPr bwMode="auto">
            <a:xfrm>
              <a:off x="1006" y="2042"/>
              <a:ext cx="140" cy="1396"/>
              <a:chOff x="1332" y="1976"/>
              <a:chExt cx="151" cy="1522"/>
            </a:xfrm>
          </p:grpSpPr>
          <p:sp>
            <p:nvSpPr>
              <p:cNvPr id="2588712" name="Rectangle 40"/>
              <p:cNvSpPr>
                <a:spLocks noChangeArrowheads="1"/>
              </p:cNvSpPr>
              <p:nvPr/>
            </p:nvSpPr>
            <p:spPr bwMode="gray">
              <a:xfrm>
                <a:off x="1346" y="2109"/>
                <a:ext cx="126" cy="1389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72000" tIns="72000" rIns="72000" bIns="7200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588713" name="AutoShape 41"/>
              <p:cNvSpPr>
                <a:spLocks noChangeArrowheads="1"/>
              </p:cNvSpPr>
              <p:nvPr/>
            </p:nvSpPr>
            <p:spPr bwMode="gray">
              <a:xfrm>
                <a:off x="1332" y="1976"/>
                <a:ext cx="151" cy="179"/>
              </a:xfrm>
              <a:prstGeom prst="downArrow">
                <a:avLst>
                  <a:gd name="adj1" fmla="val 49667"/>
                  <a:gd name="adj2" fmla="val 49667"/>
                </a:avLst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72000" tIns="72000" rIns="72000" bIns="7200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aphicFrame>
          <p:nvGraphicFramePr>
            <p:cNvPr id="2588714" name="Object 42"/>
            <p:cNvGraphicFramePr>
              <a:graphicFrameLocks/>
            </p:cNvGraphicFramePr>
            <p:nvPr/>
          </p:nvGraphicFramePr>
          <p:xfrm>
            <a:off x="539" y="1598"/>
            <a:ext cx="2143" cy="177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2935" name="Diagramm" r:id="rId18" imgW="3667125" imgH="3038475" progId="MSGraph.Chart.8">
                    <p:embed followColorScheme="full"/>
                  </p:oleObj>
                </mc:Choice>
                <mc:Fallback>
                  <p:oleObj name="Diagramm" r:id="rId18" imgW="3667125" imgH="3038475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19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539" y="1598"/>
                          <a:ext cx="2143" cy="177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88715" name="Text Box 43"/>
            <p:cNvSpPr txBox="1">
              <a:spLocks noChangeArrowheads="1"/>
            </p:cNvSpPr>
            <p:nvPr/>
          </p:nvSpPr>
          <p:spPr bwMode="gray">
            <a:xfrm>
              <a:off x="1911" y="1599"/>
              <a:ext cx="462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sz="1200" b="1">
                  <a:latin typeface="Baskerville" charset="0"/>
                  <a:ea typeface="Baskerville" charset="0"/>
                  <a:cs typeface="Baskerville" charset="0"/>
                </a:rPr>
                <a:t>Mile-stone</a:t>
              </a:r>
            </a:p>
          </p:txBody>
        </p:sp>
        <p:sp>
          <p:nvSpPr>
            <p:cNvPr id="2588716" name="Text Box 44"/>
            <p:cNvSpPr txBox="1">
              <a:spLocks noChangeArrowheads="1"/>
            </p:cNvSpPr>
            <p:nvPr/>
          </p:nvSpPr>
          <p:spPr bwMode="gray">
            <a:xfrm>
              <a:off x="844" y="1790"/>
              <a:ext cx="493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sz="1200" b="1">
                  <a:latin typeface="Baskerville" charset="0"/>
                  <a:ea typeface="Baskerville" charset="0"/>
                  <a:cs typeface="Baskerville" charset="0"/>
                </a:rPr>
                <a:t>Mile-stone</a:t>
              </a:r>
            </a:p>
          </p:txBody>
        </p:sp>
        <p:sp>
          <p:nvSpPr>
            <p:cNvPr id="2588717" name="Rectangle 4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558" y="3357"/>
              <a:ext cx="128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Jan</a:t>
              </a:r>
            </a:p>
          </p:txBody>
        </p:sp>
        <p:sp>
          <p:nvSpPr>
            <p:cNvPr id="2588718" name="Rectangle 4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878" y="3357"/>
              <a:ext cx="20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Mar</a:t>
              </a:r>
            </a:p>
          </p:txBody>
        </p:sp>
        <p:sp>
          <p:nvSpPr>
            <p:cNvPr id="2588719" name="Rectangle 4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258" y="3357"/>
              <a:ext cx="151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May</a:t>
              </a:r>
            </a:p>
          </p:txBody>
        </p:sp>
        <p:sp>
          <p:nvSpPr>
            <p:cNvPr id="2588720" name="Rectangle 4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644" y="3357"/>
              <a:ext cx="102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Jul</a:t>
              </a:r>
            </a:p>
          </p:txBody>
        </p:sp>
        <p:sp>
          <p:nvSpPr>
            <p:cNvPr id="2588721" name="Rectangle 4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945" y="3357"/>
              <a:ext cx="141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Sep</a:t>
              </a:r>
            </a:p>
          </p:txBody>
        </p:sp>
        <p:sp>
          <p:nvSpPr>
            <p:cNvPr id="2588722" name="Rectangle 5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334" y="3357"/>
              <a:ext cx="142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Nov</a:t>
              </a:r>
            </a:p>
          </p:txBody>
        </p:sp>
        <p:sp>
          <p:nvSpPr>
            <p:cNvPr id="2588723" name="Rectangle 51"/>
            <p:cNvSpPr>
              <a:spLocks noChangeArrowheads="1"/>
            </p:cNvSpPr>
            <p:nvPr/>
          </p:nvSpPr>
          <p:spPr bwMode="gray">
            <a:xfrm>
              <a:off x="292" y="940"/>
              <a:ext cx="2467" cy="28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24" name="Rectangle 52"/>
            <p:cNvSpPr>
              <a:spLocks noChangeArrowheads="1"/>
            </p:cNvSpPr>
            <p:nvPr/>
          </p:nvSpPr>
          <p:spPr bwMode="gray">
            <a:xfrm>
              <a:off x="319" y="1297"/>
              <a:ext cx="359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25" name="Rectangle 53"/>
            <p:cNvSpPr>
              <a:spLocks noChangeArrowheads="1"/>
            </p:cNvSpPr>
            <p:nvPr/>
          </p:nvSpPr>
          <p:spPr bwMode="gray">
            <a:xfrm>
              <a:off x="2545" y="3179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26" name="Rectangle 54"/>
            <p:cNvSpPr>
              <a:spLocks noChangeArrowheads="1"/>
            </p:cNvSpPr>
            <p:nvPr/>
          </p:nvSpPr>
          <p:spPr bwMode="gray">
            <a:xfrm>
              <a:off x="387" y="3227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27" name="Rectangle 55"/>
            <p:cNvSpPr>
              <a:spLocks noChangeArrowheads="1"/>
            </p:cNvSpPr>
            <p:nvPr/>
          </p:nvSpPr>
          <p:spPr bwMode="gray">
            <a:xfrm>
              <a:off x="387" y="3029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28" name="Rectangle 56"/>
            <p:cNvSpPr>
              <a:spLocks noChangeArrowheads="1"/>
            </p:cNvSpPr>
            <p:nvPr/>
          </p:nvSpPr>
          <p:spPr bwMode="gray">
            <a:xfrm>
              <a:off x="387" y="2831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29" name="Rectangle 57"/>
            <p:cNvSpPr>
              <a:spLocks noChangeArrowheads="1"/>
            </p:cNvSpPr>
            <p:nvPr/>
          </p:nvSpPr>
          <p:spPr bwMode="gray">
            <a:xfrm>
              <a:off x="387" y="2633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30" name="Rectangle 58"/>
            <p:cNvSpPr>
              <a:spLocks noChangeArrowheads="1"/>
            </p:cNvSpPr>
            <p:nvPr/>
          </p:nvSpPr>
          <p:spPr bwMode="gray">
            <a:xfrm>
              <a:off x="387" y="2435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31" name="Rectangle 59"/>
            <p:cNvSpPr>
              <a:spLocks noChangeArrowheads="1"/>
            </p:cNvSpPr>
            <p:nvPr/>
          </p:nvSpPr>
          <p:spPr bwMode="gray">
            <a:xfrm>
              <a:off x="387" y="2237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32" name="Rectangle 60"/>
            <p:cNvSpPr>
              <a:spLocks noChangeArrowheads="1"/>
            </p:cNvSpPr>
            <p:nvPr/>
          </p:nvSpPr>
          <p:spPr bwMode="gray">
            <a:xfrm>
              <a:off x="387" y="2039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33" name="Rectangle 61"/>
            <p:cNvSpPr>
              <a:spLocks noChangeArrowheads="1"/>
            </p:cNvSpPr>
            <p:nvPr/>
          </p:nvSpPr>
          <p:spPr bwMode="gray">
            <a:xfrm>
              <a:off x="387" y="1841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34" name="Rectangle 62"/>
            <p:cNvSpPr>
              <a:spLocks noChangeArrowheads="1"/>
            </p:cNvSpPr>
            <p:nvPr/>
          </p:nvSpPr>
          <p:spPr bwMode="gray">
            <a:xfrm>
              <a:off x="387" y="1643"/>
              <a:ext cx="15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35" name="Rectangle 63"/>
            <p:cNvSpPr>
              <a:spLocks noChangeArrowheads="1"/>
            </p:cNvSpPr>
            <p:nvPr/>
          </p:nvSpPr>
          <p:spPr bwMode="gray">
            <a:xfrm>
              <a:off x="2335" y="2039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36" name="Rectangle 64"/>
            <p:cNvSpPr>
              <a:spLocks noChangeArrowheads="1"/>
            </p:cNvSpPr>
            <p:nvPr/>
          </p:nvSpPr>
          <p:spPr bwMode="gray">
            <a:xfrm>
              <a:off x="2335" y="2561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8737" name="Rectangle 65"/>
            <p:cNvSpPr>
              <a:spLocks noChangeArrowheads="1"/>
            </p:cNvSpPr>
            <p:nvPr/>
          </p:nvSpPr>
          <p:spPr bwMode="gray">
            <a:xfrm>
              <a:off x="2335" y="2957"/>
              <a:ext cx="359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1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03047"/>
      </p:ext>
    </p:extLst>
  </p:cSld>
  <p:clrMapOvr>
    <a:masterClrMapping/>
  </p:clrMapOvr>
  <p:transition/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07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 Bar Diagramms 10 Bars</a:t>
            </a:r>
          </a:p>
        </p:txBody>
      </p:sp>
      <p:grpSp>
        <p:nvGrpSpPr>
          <p:cNvPr id="2590723" name="Group 3"/>
          <p:cNvGrpSpPr>
            <a:grpSpLocks/>
          </p:cNvGrpSpPr>
          <p:nvPr/>
        </p:nvGrpSpPr>
        <p:grpSpPr bwMode="auto">
          <a:xfrm>
            <a:off x="2120900" y="1826535"/>
            <a:ext cx="7869238" cy="4270375"/>
            <a:chOff x="376" y="908"/>
            <a:chExt cx="4957" cy="2690"/>
          </a:xfrm>
        </p:grpSpPr>
        <p:graphicFrame>
          <p:nvGraphicFramePr>
            <p:cNvPr id="2590724" name="Object 4"/>
            <p:cNvGraphicFramePr>
              <a:graphicFrameLocks/>
            </p:cNvGraphicFramePr>
            <p:nvPr/>
          </p:nvGraphicFramePr>
          <p:xfrm>
            <a:off x="376" y="1024"/>
            <a:ext cx="2208" cy="257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3958" name="Diagramm" r:id="rId4" imgW="3505200" imgH="4152900" progId="MSGraph.Chart.8">
                    <p:embed followColorScheme="full"/>
                  </p:oleObj>
                </mc:Choice>
                <mc:Fallback>
                  <p:oleObj name="Diagramm" r:id="rId4" imgW="3505200" imgH="4152900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376" y="1024"/>
                          <a:ext cx="2208" cy="257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590725" name="Object 5"/>
            <p:cNvGraphicFramePr>
              <a:graphicFrameLocks/>
            </p:cNvGraphicFramePr>
            <p:nvPr/>
          </p:nvGraphicFramePr>
          <p:xfrm>
            <a:off x="3126" y="988"/>
            <a:ext cx="2207" cy="259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3959" name="Diagramm" r:id="rId6" imgW="3505200" imgH="4114800" progId="MSGraph.Chart.8">
                    <p:embed followColorScheme="full"/>
                  </p:oleObj>
                </mc:Choice>
                <mc:Fallback>
                  <p:oleObj name="Diagramm" r:id="rId6" imgW="3505200" imgH="4114800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7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3126" y="988"/>
                          <a:ext cx="2207" cy="2591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90726" name="Rectangle 6"/>
            <p:cNvSpPr>
              <a:spLocks noChangeArrowheads="1"/>
            </p:cNvSpPr>
            <p:nvPr/>
          </p:nvSpPr>
          <p:spPr bwMode="gray">
            <a:xfrm>
              <a:off x="1225" y="908"/>
              <a:ext cx="1324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27" name="Rectangle 7"/>
            <p:cNvSpPr>
              <a:spLocks noChangeArrowheads="1"/>
            </p:cNvSpPr>
            <p:nvPr/>
          </p:nvSpPr>
          <p:spPr bwMode="gray">
            <a:xfrm>
              <a:off x="3235" y="908"/>
              <a:ext cx="1324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28" name="Rectangle 8"/>
            <p:cNvSpPr>
              <a:spLocks noChangeArrowheads="1"/>
            </p:cNvSpPr>
            <p:nvPr/>
          </p:nvSpPr>
          <p:spPr bwMode="gray">
            <a:xfrm>
              <a:off x="2700" y="1145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29" name="Rectangle 9"/>
            <p:cNvSpPr>
              <a:spLocks noChangeArrowheads="1"/>
            </p:cNvSpPr>
            <p:nvPr/>
          </p:nvSpPr>
          <p:spPr bwMode="gray">
            <a:xfrm>
              <a:off x="2700" y="1384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30" name="Rectangle 10"/>
            <p:cNvSpPr>
              <a:spLocks noChangeArrowheads="1"/>
            </p:cNvSpPr>
            <p:nvPr/>
          </p:nvSpPr>
          <p:spPr bwMode="gray">
            <a:xfrm>
              <a:off x="2700" y="1623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31" name="Rectangle 11"/>
            <p:cNvSpPr>
              <a:spLocks noChangeArrowheads="1"/>
            </p:cNvSpPr>
            <p:nvPr/>
          </p:nvSpPr>
          <p:spPr bwMode="gray">
            <a:xfrm>
              <a:off x="2700" y="1863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32" name="Rectangle 12"/>
            <p:cNvSpPr>
              <a:spLocks noChangeArrowheads="1"/>
            </p:cNvSpPr>
            <p:nvPr/>
          </p:nvSpPr>
          <p:spPr bwMode="gray">
            <a:xfrm>
              <a:off x="2700" y="2108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33" name="Rectangle 13"/>
            <p:cNvSpPr>
              <a:spLocks noChangeArrowheads="1"/>
            </p:cNvSpPr>
            <p:nvPr/>
          </p:nvSpPr>
          <p:spPr bwMode="gray">
            <a:xfrm>
              <a:off x="2700" y="2347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34" name="Rectangle 14"/>
            <p:cNvSpPr>
              <a:spLocks noChangeArrowheads="1"/>
            </p:cNvSpPr>
            <p:nvPr/>
          </p:nvSpPr>
          <p:spPr bwMode="gray">
            <a:xfrm>
              <a:off x="2700" y="2581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35" name="Rectangle 15"/>
            <p:cNvSpPr>
              <a:spLocks noChangeArrowheads="1"/>
            </p:cNvSpPr>
            <p:nvPr/>
          </p:nvSpPr>
          <p:spPr bwMode="gray">
            <a:xfrm>
              <a:off x="2700" y="2826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36" name="Rectangle 16"/>
            <p:cNvSpPr>
              <a:spLocks noChangeArrowheads="1"/>
            </p:cNvSpPr>
            <p:nvPr/>
          </p:nvSpPr>
          <p:spPr bwMode="gray">
            <a:xfrm>
              <a:off x="2700" y="3059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37" name="Rectangle 17"/>
            <p:cNvSpPr>
              <a:spLocks noChangeArrowheads="1"/>
            </p:cNvSpPr>
            <p:nvPr/>
          </p:nvSpPr>
          <p:spPr bwMode="gray">
            <a:xfrm>
              <a:off x="2700" y="3311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38" name="Rectangle 18"/>
            <p:cNvSpPr>
              <a:spLocks noChangeArrowheads="1"/>
            </p:cNvSpPr>
            <p:nvPr/>
          </p:nvSpPr>
          <p:spPr bwMode="gray">
            <a:xfrm>
              <a:off x="4975" y="1145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39" name="Rectangle 19"/>
            <p:cNvSpPr>
              <a:spLocks noChangeArrowheads="1"/>
            </p:cNvSpPr>
            <p:nvPr/>
          </p:nvSpPr>
          <p:spPr bwMode="gray">
            <a:xfrm>
              <a:off x="4807" y="1384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40" name="Rectangle 20"/>
            <p:cNvSpPr>
              <a:spLocks noChangeArrowheads="1"/>
            </p:cNvSpPr>
            <p:nvPr/>
          </p:nvSpPr>
          <p:spPr bwMode="gray">
            <a:xfrm>
              <a:off x="4627" y="1623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41" name="Rectangle 21"/>
            <p:cNvSpPr>
              <a:spLocks noChangeArrowheads="1"/>
            </p:cNvSpPr>
            <p:nvPr/>
          </p:nvSpPr>
          <p:spPr bwMode="gray">
            <a:xfrm>
              <a:off x="4459" y="1863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42" name="Rectangle 22"/>
            <p:cNvSpPr>
              <a:spLocks noChangeArrowheads="1"/>
            </p:cNvSpPr>
            <p:nvPr/>
          </p:nvSpPr>
          <p:spPr bwMode="gray">
            <a:xfrm>
              <a:off x="4291" y="2108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43" name="Rectangle 23"/>
            <p:cNvSpPr>
              <a:spLocks noChangeArrowheads="1"/>
            </p:cNvSpPr>
            <p:nvPr/>
          </p:nvSpPr>
          <p:spPr bwMode="gray">
            <a:xfrm>
              <a:off x="4129" y="2347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44" name="Rectangle 24"/>
            <p:cNvSpPr>
              <a:spLocks noChangeArrowheads="1"/>
            </p:cNvSpPr>
            <p:nvPr/>
          </p:nvSpPr>
          <p:spPr bwMode="gray">
            <a:xfrm>
              <a:off x="3961" y="2581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45" name="Rectangle 25"/>
            <p:cNvSpPr>
              <a:spLocks noChangeArrowheads="1"/>
            </p:cNvSpPr>
            <p:nvPr/>
          </p:nvSpPr>
          <p:spPr bwMode="gray">
            <a:xfrm>
              <a:off x="3787" y="2826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46" name="Rectangle 26"/>
            <p:cNvSpPr>
              <a:spLocks noChangeArrowheads="1"/>
            </p:cNvSpPr>
            <p:nvPr/>
          </p:nvSpPr>
          <p:spPr bwMode="gray">
            <a:xfrm>
              <a:off x="3625" y="3059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47" name="Rectangle 27"/>
            <p:cNvSpPr>
              <a:spLocks noChangeArrowheads="1"/>
            </p:cNvSpPr>
            <p:nvPr/>
          </p:nvSpPr>
          <p:spPr bwMode="gray">
            <a:xfrm>
              <a:off x="3451" y="3311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48" name="Rectangle 28"/>
            <p:cNvSpPr>
              <a:spLocks noChangeArrowheads="1"/>
            </p:cNvSpPr>
            <p:nvPr/>
          </p:nvSpPr>
          <p:spPr bwMode="gray">
            <a:xfrm>
              <a:off x="1303" y="1145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49" name="Rectangle 29"/>
            <p:cNvSpPr>
              <a:spLocks noChangeArrowheads="1"/>
            </p:cNvSpPr>
            <p:nvPr/>
          </p:nvSpPr>
          <p:spPr bwMode="gray">
            <a:xfrm>
              <a:off x="1063" y="1384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50" name="Rectangle 30"/>
            <p:cNvSpPr>
              <a:spLocks noChangeArrowheads="1"/>
            </p:cNvSpPr>
            <p:nvPr/>
          </p:nvSpPr>
          <p:spPr bwMode="gray">
            <a:xfrm>
              <a:off x="805" y="1623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51" name="Rectangle 31"/>
            <p:cNvSpPr>
              <a:spLocks noChangeArrowheads="1"/>
            </p:cNvSpPr>
            <p:nvPr/>
          </p:nvSpPr>
          <p:spPr bwMode="gray">
            <a:xfrm>
              <a:off x="1819" y="1863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52" name="Rectangle 32"/>
            <p:cNvSpPr>
              <a:spLocks noChangeArrowheads="1"/>
            </p:cNvSpPr>
            <p:nvPr/>
          </p:nvSpPr>
          <p:spPr bwMode="gray">
            <a:xfrm>
              <a:off x="1819" y="2108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53" name="Rectangle 33"/>
            <p:cNvSpPr>
              <a:spLocks noChangeArrowheads="1"/>
            </p:cNvSpPr>
            <p:nvPr/>
          </p:nvSpPr>
          <p:spPr bwMode="gray">
            <a:xfrm>
              <a:off x="1063" y="2347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54" name="Rectangle 34"/>
            <p:cNvSpPr>
              <a:spLocks noChangeArrowheads="1"/>
            </p:cNvSpPr>
            <p:nvPr/>
          </p:nvSpPr>
          <p:spPr bwMode="gray">
            <a:xfrm>
              <a:off x="2071" y="2581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55" name="Rectangle 35"/>
            <p:cNvSpPr>
              <a:spLocks noChangeArrowheads="1"/>
            </p:cNvSpPr>
            <p:nvPr/>
          </p:nvSpPr>
          <p:spPr bwMode="gray">
            <a:xfrm>
              <a:off x="1567" y="2826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56" name="Rectangle 36"/>
            <p:cNvSpPr>
              <a:spLocks noChangeArrowheads="1"/>
            </p:cNvSpPr>
            <p:nvPr/>
          </p:nvSpPr>
          <p:spPr bwMode="gray">
            <a:xfrm>
              <a:off x="1309" y="3059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0757" name="Rectangle 37"/>
            <p:cNvSpPr>
              <a:spLocks noChangeArrowheads="1"/>
            </p:cNvSpPr>
            <p:nvPr/>
          </p:nvSpPr>
          <p:spPr bwMode="gray">
            <a:xfrm>
              <a:off x="1306" y="3311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96773"/>
      </p:ext>
    </p:extLst>
  </p:cSld>
  <p:clrMapOvr>
    <a:masterClrMapping/>
  </p:clrMapOvr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2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3 Bar Diagrams 10 Bars</a:t>
            </a:r>
          </a:p>
        </p:txBody>
      </p:sp>
      <p:grpSp>
        <p:nvGrpSpPr>
          <p:cNvPr id="2592771" name="Group 3"/>
          <p:cNvGrpSpPr>
            <a:grpSpLocks/>
          </p:cNvGrpSpPr>
          <p:nvPr/>
        </p:nvGrpSpPr>
        <p:grpSpPr bwMode="auto">
          <a:xfrm>
            <a:off x="1906588" y="1937886"/>
            <a:ext cx="8386762" cy="4171950"/>
            <a:chOff x="247" y="937"/>
            <a:chExt cx="5283" cy="2628"/>
          </a:xfrm>
        </p:grpSpPr>
        <p:sp>
          <p:nvSpPr>
            <p:cNvPr id="2592772" name="Rectangle 4"/>
            <p:cNvSpPr>
              <a:spLocks noChangeArrowheads="1"/>
            </p:cNvSpPr>
            <p:nvPr/>
          </p:nvSpPr>
          <p:spPr bwMode="gray">
            <a:xfrm>
              <a:off x="3832" y="937"/>
              <a:ext cx="1646" cy="25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/>
                <a:t>Text</a:t>
              </a:r>
            </a:p>
          </p:txBody>
        </p:sp>
        <p:sp>
          <p:nvSpPr>
            <p:cNvPr id="2592773" name="Rectangle 5"/>
            <p:cNvSpPr>
              <a:spLocks noChangeArrowheads="1"/>
            </p:cNvSpPr>
            <p:nvPr/>
          </p:nvSpPr>
          <p:spPr bwMode="gray">
            <a:xfrm>
              <a:off x="3832" y="1187"/>
              <a:ext cx="1646" cy="233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endParaRPr lang="en-US"/>
            </a:p>
          </p:txBody>
        </p:sp>
        <p:graphicFrame>
          <p:nvGraphicFramePr>
            <p:cNvPr id="2592774" name="Object 6"/>
            <p:cNvGraphicFramePr>
              <a:graphicFrameLocks/>
            </p:cNvGraphicFramePr>
            <p:nvPr/>
          </p:nvGraphicFramePr>
          <p:xfrm>
            <a:off x="4009" y="1161"/>
            <a:ext cx="1521" cy="240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5039" name="Diagramm" r:id="rId4" imgW="2419350" imgH="3819525" progId="MSGraph.Chart.8">
                    <p:embed followColorScheme="full"/>
                  </p:oleObj>
                </mc:Choice>
                <mc:Fallback>
                  <p:oleObj name="Diagramm" r:id="rId4" imgW="2419350" imgH="3819525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4009" y="1161"/>
                          <a:ext cx="1521" cy="240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92775" name="Rectangle 7"/>
            <p:cNvSpPr>
              <a:spLocks noChangeArrowheads="1"/>
            </p:cNvSpPr>
            <p:nvPr/>
          </p:nvSpPr>
          <p:spPr bwMode="gray">
            <a:xfrm>
              <a:off x="3901" y="1310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776" name="Rectangle 8"/>
            <p:cNvSpPr>
              <a:spLocks noChangeArrowheads="1"/>
            </p:cNvSpPr>
            <p:nvPr/>
          </p:nvSpPr>
          <p:spPr bwMode="gray">
            <a:xfrm>
              <a:off x="3901" y="1538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777" name="Rectangle 9"/>
            <p:cNvSpPr>
              <a:spLocks noChangeArrowheads="1"/>
            </p:cNvSpPr>
            <p:nvPr/>
          </p:nvSpPr>
          <p:spPr bwMode="gray">
            <a:xfrm>
              <a:off x="3901" y="176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778" name="Rectangle 10"/>
            <p:cNvSpPr>
              <a:spLocks noChangeArrowheads="1"/>
            </p:cNvSpPr>
            <p:nvPr/>
          </p:nvSpPr>
          <p:spPr bwMode="gray">
            <a:xfrm>
              <a:off x="3901" y="1978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779" name="Rectangle 11"/>
            <p:cNvSpPr>
              <a:spLocks noChangeArrowheads="1"/>
            </p:cNvSpPr>
            <p:nvPr/>
          </p:nvSpPr>
          <p:spPr bwMode="gray">
            <a:xfrm>
              <a:off x="3901" y="220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780" name="Rectangle 12"/>
            <p:cNvSpPr>
              <a:spLocks noChangeArrowheads="1"/>
            </p:cNvSpPr>
            <p:nvPr/>
          </p:nvSpPr>
          <p:spPr bwMode="gray">
            <a:xfrm>
              <a:off x="3901" y="2426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781" name="Rectangle 13"/>
            <p:cNvSpPr>
              <a:spLocks noChangeArrowheads="1"/>
            </p:cNvSpPr>
            <p:nvPr/>
          </p:nvSpPr>
          <p:spPr bwMode="gray">
            <a:xfrm>
              <a:off x="3901" y="2656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782" name="Rectangle 14"/>
            <p:cNvSpPr>
              <a:spLocks noChangeArrowheads="1"/>
            </p:cNvSpPr>
            <p:nvPr/>
          </p:nvSpPr>
          <p:spPr bwMode="gray">
            <a:xfrm>
              <a:off x="3901" y="2874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783" name="Rectangle 15"/>
            <p:cNvSpPr>
              <a:spLocks noChangeArrowheads="1"/>
            </p:cNvSpPr>
            <p:nvPr/>
          </p:nvSpPr>
          <p:spPr bwMode="gray">
            <a:xfrm>
              <a:off x="3901" y="3094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784" name="Rectangle 16"/>
            <p:cNvSpPr>
              <a:spLocks noChangeArrowheads="1"/>
            </p:cNvSpPr>
            <p:nvPr/>
          </p:nvSpPr>
          <p:spPr bwMode="gray">
            <a:xfrm>
              <a:off x="3901" y="331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785" name="Rectangle 17"/>
            <p:cNvSpPr>
              <a:spLocks noChangeArrowheads="1"/>
            </p:cNvSpPr>
            <p:nvPr/>
          </p:nvSpPr>
          <p:spPr bwMode="gray">
            <a:xfrm>
              <a:off x="5269" y="1310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786" name="Rectangle 18"/>
            <p:cNvSpPr>
              <a:spLocks noChangeArrowheads="1"/>
            </p:cNvSpPr>
            <p:nvPr/>
          </p:nvSpPr>
          <p:spPr bwMode="gray">
            <a:xfrm>
              <a:off x="5153" y="1538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787" name="Rectangle 19"/>
            <p:cNvSpPr>
              <a:spLocks noChangeArrowheads="1"/>
            </p:cNvSpPr>
            <p:nvPr/>
          </p:nvSpPr>
          <p:spPr bwMode="gray">
            <a:xfrm>
              <a:off x="5039" y="176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788" name="Rectangle 20"/>
            <p:cNvSpPr>
              <a:spLocks noChangeArrowheads="1"/>
            </p:cNvSpPr>
            <p:nvPr/>
          </p:nvSpPr>
          <p:spPr bwMode="gray">
            <a:xfrm>
              <a:off x="4927" y="1978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789" name="Rectangle 21"/>
            <p:cNvSpPr>
              <a:spLocks noChangeArrowheads="1"/>
            </p:cNvSpPr>
            <p:nvPr/>
          </p:nvSpPr>
          <p:spPr bwMode="gray">
            <a:xfrm>
              <a:off x="4819" y="220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790" name="Rectangle 22"/>
            <p:cNvSpPr>
              <a:spLocks noChangeArrowheads="1"/>
            </p:cNvSpPr>
            <p:nvPr/>
          </p:nvSpPr>
          <p:spPr bwMode="gray">
            <a:xfrm>
              <a:off x="4705" y="2426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791" name="Rectangle 23"/>
            <p:cNvSpPr>
              <a:spLocks noChangeArrowheads="1"/>
            </p:cNvSpPr>
            <p:nvPr/>
          </p:nvSpPr>
          <p:spPr bwMode="gray">
            <a:xfrm>
              <a:off x="4597" y="2660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792" name="Rectangle 24"/>
            <p:cNvSpPr>
              <a:spLocks noChangeArrowheads="1"/>
            </p:cNvSpPr>
            <p:nvPr/>
          </p:nvSpPr>
          <p:spPr bwMode="gray">
            <a:xfrm>
              <a:off x="4477" y="2874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793" name="Rectangle 25"/>
            <p:cNvSpPr>
              <a:spLocks noChangeArrowheads="1"/>
            </p:cNvSpPr>
            <p:nvPr/>
          </p:nvSpPr>
          <p:spPr bwMode="gray">
            <a:xfrm>
              <a:off x="4369" y="3094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794" name="Rectangle 26"/>
            <p:cNvSpPr>
              <a:spLocks noChangeArrowheads="1"/>
            </p:cNvSpPr>
            <p:nvPr/>
          </p:nvSpPr>
          <p:spPr bwMode="gray">
            <a:xfrm>
              <a:off x="4249" y="331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795" name="Rectangle 27"/>
            <p:cNvSpPr>
              <a:spLocks noChangeArrowheads="1"/>
            </p:cNvSpPr>
            <p:nvPr/>
          </p:nvSpPr>
          <p:spPr bwMode="gray">
            <a:xfrm>
              <a:off x="2039" y="937"/>
              <a:ext cx="1646" cy="25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/>
                <a:t>Text</a:t>
              </a:r>
            </a:p>
          </p:txBody>
        </p:sp>
        <p:sp>
          <p:nvSpPr>
            <p:cNvPr id="2592796" name="Rectangle 28"/>
            <p:cNvSpPr>
              <a:spLocks noChangeArrowheads="1"/>
            </p:cNvSpPr>
            <p:nvPr/>
          </p:nvSpPr>
          <p:spPr bwMode="gray">
            <a:xfrm>
              <a:off x="2039" y="1187"/>
              <a:ext cx="1646" cy="233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endParaRPr lang="en-US"/>
            </a:p>
          </p:txBody>
        </p:sp>
        <p:graphicFrame>
          <p:nvGraphicFramePr>
            <p:cNvPr id="2592797" name="Object 29"/>
            <p:cNvGraphicFramePr>
              <a:graphicFrameLocks/>
            </p:cNvGraphicFramePr>
            <p:nvPr/>
          </p:nvGraphicFramePr>
          <p:xfrm>
            <a:off x="2216" y="1161"/>
            <a:ext cx="1521" cy="240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5040" name="Diagramm" r:id="rId6" imgW="2419350" imgH="3819525" progId="MSGraph.Chart.8">
                    <p:embed followColorScheme="full"/>
                  </p:oleObj>
                </mc:Choice>
                <mc:Fallback>
                  <p:oleObj name="Diagramm" r:id="rId6" imgW="2419350" imgH="3819525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7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2216" y="1161"/>
                          <a:ext cx="1521" cy="240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92798" name="Rectangle 30"/>
            <p:cNvSpPr>
              <a:spLocks noChangeArrowheads="1"/>
            </p:cNvSpPr>
            <p:nvPr/>
          </p:nvSpPr>
          <p:spPr bwMode="gray">
            <a:xfrm>
              <a:off x="2108" y="1310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799" name="Rectangle 31"/>
            <p:cNvSpPr>
              <a:spLocks noChangeArrowheads="1"/>
            </p:cNvSpPr>
            <p:nvPr/>
          </p:nvSpPr>
          <p:spPr bwMode="gray">
            <a:xfrm>
              <a:off x="2108" y="1538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00" name="Rectangle 32"/>
            <p:cNvSpPr>
              <a:spLocks noChangeArrowheads="1"/>
            </p:cNvSpPr>
            <p:nvPr/>
          </p:nvSpPr>
          <p:spPr bwMode="gray">
            <a:xfrm>
              <a:off x="2108" y="176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01" name="Rectangle 33"/>
            <p:cNvSpPr>
              <a:spLocks noChangeArrowheads="1"/>
            </p:cNvSpPr>
            <p:nvPr/>
          </p:nvSpPr>
          <p:spPr bwMode="gray">
            <a:xfrm>
              <a:off x="2108" y="1978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02" name="Rectangle 34"/>
            <p:cNvSpPr>
              <a:spLocks noChangeArrowheads="1"/>
            </p:cNvSpPr>
            <p:nvPr/>
          </p:nvSpPr>
          <p:spPr bwMode="gray">
            <a:xfrm>
              <a:off x="2108" y="220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03" name="Rectangle 35"/>
            <p:cNvSpPr>
              <a:spLocks noChangeArrowheads="1"/>
            </p:cNvSpPr>
            <p:nvPr/>
          </p:nvSpPr>
          <p:spPr bwMode="gray">
            <a:xfrm>
              <a:off x="2108" y="2426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04" name="Rectangle 36"/>
            <p:cNvSpPr>
              <a:spLocks noChangeArrowheads="1"/>
            </p:cNvSpPr>
            <p:nvPr/>
          </p:nvSpPr>
          <p:spPr bwMode="gray">
            <a:xfrm>
              <a:off x="2108" y="2656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05" name="Rectangle 37"/>
            <p:cNvSpPr>
              <a:spLocks noChangeArrowheads="1"/>
            </p:cNvSpPr>
            <p:nvPr/>
          </p:nvSpPr>
          <p:spPr bwMode="gray">
            <a:xfrm>
              <a:off x="2108" y="2874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06" name="Rectangle 38"/>
            <p:cNvSpPr>
              <a:spLocks noChangeArrowheads="1"/>
            </p:cNvSpPr>
            <p:nvPr/>
          </p:nvSpPr>
          <p:spPr bwMode="gray">
            <a:xfrm>
              <a:off x="2108" y="3094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07" name="Rectangle 39"/>
            <p:cNvSpPr>
              <a:spLocks noChangeArrowheads="1"/>
            </p:cNvSpPr>
            <p:nvPr/>
          </p:nvSpPr>
          <p:spPr bwMode="gray">
            <a:xfrm>
              <a:off x="2108" y="331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08" name="Rectangle 40"/>
            <p:cNvSpPr>
              <a:spLocks noChangeArrowheads="1"/>
            </p:cNvSpPr>
            <p:nvPr/>
          </p:nvSpPr>
          <p:spPr bwMode="gray">
            <a:xfrm>
              <a:off x="3476" y="1310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09" name="Rectangle 41"/>
            <p:cNvSpPr>
              <a:spLocks noChangeArrowheads="1"/>
            </p:cNvSpPr>
            <p:nvPr/>
          </p:nvSpPr>
          <p:spPr bwMode="gray">
            <a:xfrm>
              <a:off x="3360" y="1538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10" name="Rectangle 42"/>
            <p:cNvSpPr>
              <a:spLocks noChangeArrowheads="1"/>
            </p:cNvSpPr>
            <p:nvPr/>
          </p:nvSpPr>
          <p:spPr bwMode="gray">
            <a:xfrm>
              <a:off x="3246" y="176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11" name="Rectangle 43"/>
            <p:cNvSpPr>
              <a:spLocks noChangeArrowheads="1"/>
            </p:cNvSpPr>
            <p:nvPr/>
          </p:nvSpPr>
          <p:spPr bwMode="gray">
            <a:xfrm>
              <a:off x="3134" y="1978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12" name="Rectangle 44"/>
            <p:cNvSpPr>
              <a:spLocks noChangeArrowheads="1"/>
            </p:cNvSpPr>
            <p:nvPr/>
          </p:nvSpPr>
          <p:spPr bwMode="gray">
            <a:xfrm>
              <a:off x="3026" y="220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13" name="Rectangle 45"/>
            <p:cNvSpPr>
              <a:spLocks noChangeArrowheads="1"/>
            </p:cNvSpPr>
            <p:nvPr/>
          </p:nvSpPr>
          <p:spPr bwMode="gray">
            <a:xfrm>
              <a:off x="2912" y="2426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14" name="Rectangle 46"/>
            <p:cNvSpPr>
              <a:spLocks noChangeArrowheads="1"/>
            </p:cNvSpPr>
            <p:nvPr/>
          </p:nvSpPr>
          <p:spPr bwMode="gray">
            <a:xfrm>
              <a:off x="2804" y="2660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15" name="Rectangle 47"/>
            <p:cNvSpPr>
              <a:spLocks noChangeArrowheads="1"/>
            </p:cNvSpPr>
            <p:nvPr/>
          </p:nvSpPr>
          <p:spPr bwMode="gray">
            <a:xfrm>
              <a:off x="2684" y="2874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16" name="Rectangle 48"/>
            <p:cNvSpPr>
              <a:spLocks noChangeArrowheads="1"/>
            </p:cNvSpPr>
            <p:nvPr/>
          </p:nvSpPr>
          <p:spPr bwMode="gray">
            <a:xfrm>
              <a:off x="2576" y="3094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17" name="Rectangle 49"/>
            <p:cNvSpPr>
              <a:spLocks noChangeArrowheads="1"/>
            </p:cNvSpPr>
            <p:nvPr/>
          </p:nvSpPr>
          <p:spPr bwMode="gray">
            <a:xfrm>
              <a:off x="2456" y="331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18" name="Rectangle 50"/>
            <p:cNvSpPr>
              <a:spLocks noChangeArrowheads="1"/>
            </p:cNvSpPr>
            <p:nvPr/>
          </p:nvSpPr>
          <p:spPr bwMode="gray">
            <a:xfrm>
              <a:off x="247" y="937"/>
              <a:ext cx="1646" cy="25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/>
                <a:t>Text</a:t>
              </a:r>
            </a:p>
          </p:txBody>
        </p:sp>
        <p:sp>
          <p:nvSpPr>
            <p:cNvPr id="2592819" name="Rectangle 51"/>
            <p:cNvSpPr>
              <a:spLocks noChangeArrowheads="1"/>
            </p:cNvSpPr>
            <p:nvPr/>
          </p:nvSpPr>
          <p:spPr bwMode="gray">
            <a:xfrm>
              <a:off x="247" y="1187"/>
              <a:ext cx="1646" cy="233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endParaRPr lang="en-US"/>
            </a:p>
          </p:txBody>
        </p:sp>
        <p:graphicFrame>
          <p:nvGraphicFramePr>
            <p:cNvPr id="2592820" name="Object 52"/>
            <p:cNvGraphicFramePr>
              <a:graphicFrameLocks/>
            </p:cNvGraphicFramePr>
            <p:nvPr/>
          </p:nvGraphicFramePr>
          <p:xfrm>
            <a:off x="424" y="1161"/>
            <a:ext cx="1521" cy="240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5041" name="Diagramm" r:id="rId8" imgW="2419350" imgH="3819525" progId="MSGraph.Chart.8">
                    <p:embed followColorScheme="full"/>
                  </p:oleObj>
                </mc:Choice>
                <mc:Fallback>
                  <p:oleObj name="Diagramm" r:id="rId8" imgW="2419350" imgH="3819525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9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424" y="1161"/>
                          <a:ext cx="1521" cy="240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92821" name="Rectangle 53"/>
            <p:cNvSpPr>
              <a:spLocks noChangeArrowheads="1"/>
            </p:cNvSpPr>
            <p:nvPr/>
          </p:nvSpPr>
          <p:spPr bwMode="gray">
            <a:xfrm>
              <a:off x="316" y="1310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22" name="Rectangle 54"/>
            <p:cNvSpPr>
              <a:spLocks noChangeArrowheads="1"/>
            </p:cNvSpPr>
            <p:nvPr/>
          </p:nvSpPr>
          <p:spPr bwMode="gray">
            <a:xfrm>
              <a:off x="316" y="1538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23" name="Rectangle 55"/>
            <p:cNvSpPr>
              <a:spLocks noChangeArrowheads="1"/>
            </p:cNvSpPr>
            <p:nvPr/>
          </p:nvSpPr>
          <p:spPr bwMode="gray">
            <a:xfrm>
              <a:off x="316" y="176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24" name="Rectangle 56"/>
            <p:cNvSpPr>
              <a:spLocks noChangeArrowheads="1"/>
            </p:cNvSpPr>
            <p:nvPr/>
          </p:nvSpPr>
          <p:spPr bwMode="gray">
            <a:xfrm>
              <a:off x="316" y="1978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25" name="Rectangle 57"/>
            <p:cNvSpPr>
              <a:spLocks noChangeArrowheads="1"/>
            </p:cNvSpPr>
            <p:nvPr/>
          </p:nvSpPr>
          <p:spPr bwMode="gray">
            <a:xfrm>
              <a:off x="316" y="220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26" name="Rectangle 58"/>
            <p:cNvSpPr>
              <a:spLocks noChangeArrowheads="1"/>
            </p:cNvSpPr>
            <p:nvPr/>
          </p:nvSpPr>
          <p:spPr bwMode="gray">
            <a:xfrm>
              <a:off x="316" y="2426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27" name="Rectangle 59"/>
            <p:cNvSpPr>
              <a:spLocks noChangeArrowheads="1"/>
            </p:cNvSpPr>
            <p:nvPr/>
          </p:nvSpPr>
          <p:spPr bwMode="gray">
            <a:xfrm>
              <a:off x="316" y="2656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28" name="Rectangle 60"/>
            <p:cNvSpPr>
              <a:spLocks noChangeArrowheads="1"/>
            </p:cNvSpPr>
            <p:nvPr/>
          </p:nvSpPr>
          <p:spPr bwMode="gray">
            <a:xfrm>
              <a:off x="316" y="2874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29" name="Rectangle 61"/>
            <p:cNvSpPr>
              <a:spLocks noChangeArrowheads="1"/>
            </p:cNvSpPr>
            <p:nvPr/>
          </p:nvSpPr>
          <p:spPr bwMode="gray">
            <a:xfrm>
              <a:off x="316" y="3094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30" name="Rectangle 62"/>
            <p:cNvSpPr>
              <a:spLocks noChangeArrowheads="1"/>
            </p:cNvSpPr>
            <p:nvPr/>
          </p:nvSpPr>
          <p:spPr bwMode="gray">
            <a:xfrm>
              <a:off x="316" y="331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sz="1000"/>
                <a:t>Text</a:t>
              </a:r>
            </a:p>
          </p:txBody>
        </p:sp>
        <p:sp>
          <p:nvSpPr>
            <p:cNvPr id="2592831" name="Rectangle 63"/>
            <p:cNvSpPr>
              <a:spLocks noChangeArrowheads="1"/>
            </p:cNvSpPr>
            <p:nvPr/>
          </p:nvSpPr>
          <p:spPr bwMode="gray">
            <a:xfrm>
              <a:off x="1684" y="1310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32" name="Rectangle 64"/>
            <p:cNvSpPr>
              <a:spLocks noChangeArrowheads="1"/>
            </p:cNvSpPr>
            <p:nvPr/>
          </p:nvSpPr>
          <p:spPr bwMode="gray">
            <a:xfrm>
              <a:off x="1568" y="1538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33" name="Rectangle 65"/>
            <p:cNvSpPr>
              <a:spLocks noChangeArrowheads="1"/>
            </p:cNvSpPr>
            <p:nvPr/>
          </p:nvSpPr>
          <p:spPr bwMode="gray">
            <a:xfrm>
              <a:off x="1454" y="176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34" name="Rectangle 66"/>
            <p:cNvSpPr>
              <a:spLocks noChangeArrowheads="1"/>
            </p:cNvSpPr>
            <p:nvPr/>
          </p:nvSpPr>
          <p:spPr bwMode="gray">
            <a:xfrm>
              <a:off x="1342" y="1978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35" name="Rectangle 67"/>
            <p:cNvSpPr>
              <a:spLocks noChangeArrowheads="1"/>
            </p:cNvSpPr>
            <p:nvPr/>
          </p:nvSpPr>
          <p:spPr bwMode="gray">
            <a:xfrm>
              <a:off x="1234" y="220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36" name="Rectangle 68"/>
            <p:cNvSpPr>
              <a:spLocks noChangeArrowheads="1"/>
            </p:cNvSpPr>
            <p:nvPr/>
          </p:nvSpPr>
          <p:spPr bwMode="gray">
            <a:xfrm>
              <a:off x="1120" y="2426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37" name="Rectangle 69"/>
            <p:cNvSpPr>
              <a:spLocks noChangeArrowheads="1"/>
            </p:cNvSpPr>
            <p:nvPr/>
          </p:nvSpPr>
          <p:spPr bwMode="gray">
            <a:xfrm>
              <a:off x="1012" y="2660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38" name="Rectangle 70"/>
            <p:cNvSpPr>
              <a:spLocks noChangeArrowheads="1"/>
            </p:cNvSpPr>
            <p:nvPr/>
          </p:nvSpPr>
          <p:spPr bwMode="gray">
            <a:xfrm>
              <a:off x="892" y="2874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39" name="Rectangle 71"/>
            <p:cNvSpPr>
              <a:spLocks noChangeArrowheads="1"/>
            </p:cNvSpPr>
            <p:nvPr/>
          </p:nvSpPr>
          <p:spPr bwMode="gray">
            <a:xfrm>
              <a:off x="784" y="3094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  <p:sp>
          <p:nvSpPr>
            <p:cNvPr id="2592840" name="Rectangle 72"/>
            <p:cNvSpPr>
              <a:spLocks noChangeArrowheads="1"/>
            </p:cNvSpPr>
            <p:nvPr/>
          </p:nvSpPr>
          <p:spPr bwMode="gray">
            <a:xfrm>
              <a:off x="664" y="3312"/>
              <a:ext cx="15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000"/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162130"/>
      </p:ext>
    </p:extLst>
  </p:cSld>
  <p:clrMapOvr>
    <a:masterClrMapping/>
  </p:clrMapOvr>
  <p:transition/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48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r Graph 5 Bars</a:t>
            </a:r>
          </a:p>
        </p:txBody>
      </p:sp>
      <p:grpSp>
        <p:nvGrpSpPr>
          <p:cNvPr id="2594819" name="Group 3"/>
          <p:cNvGrpSpPr>
            <a:grpSpLocks/>
          </p:cNvGrpSpPr>
          <p:nvPr/>
        </p:nvGrpSpPr>
        <p:grpSpPr bwMode="auto">
          <a:xfrm>
            <a:off x="2259014" y="1308101"/>
            <a:ext cx="7805737" cy="4371975"/>
            <a:chOff x="463" y="818"/>
            <a:chExt cx="4917" cy="2754"/>
          </a:xfrm>
        </p:grpSpPr>
        <p:graphicFrame>
          <p:nvGraphicFramePr>
            <p:cNvPr id="2594820" name="Object 4"/>
            <p:cNvGraphicFramePr>
              <a:graphicFrameLocks noChangeAspect="1"/>
            </p:cNvGraphicFramePr>
            <p:nvPr/>
          </p:nvGraphicFramePr>
          <p:xfrm>
            <a:off x="681" y="818"/>
            <a:ext cx="4699" cy="263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5949" name="Diagramm" r:id="rId4" imgW="7477125" imgH="4191000" progId="MSGraph.Chart.8">
                    <p:embed followColorScheme="full"/>
                  </p:oleObj>
                </mc:Choice>
                <mc:Fallback>
                  <p:oleObj name="Diagramm" r:id="rId4" imgW="7477125" imgH="4191000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681" y="818"/>
                          <a:ext cx="4699" cy="263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94821" name="Rectangle 5"/>
            <p:cNvSpPr>
              <a:spLocks noChangeArrowheads="1"/>
            </p:cNvSpPr>
            <p:nvPr/>
          </p:nvSpPr>
          <p:spPr bwMode="gray">
            <a:xfrm>
              <a:off x="1057" y="2472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22" name="Rectangle 6"/>
            <p:cNvSpPr>
              <a:spLocks noChangeArrowheads="1"/>
            </p:cNvSpPr>
            <p:nvPr/>
          </p:nvSpPr>
          <p:spPr bwMode="gray">
            <a:xfrm>
              <a:off x="1951" y="2472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23" name="Rectangle 7"/>
            <p:cNvSpPr>
              <a:spLocks noChangeArrowheads="1"/>
            </p:cNvSpPr>
            <p:nvPr/>
          </p:nvSpPr>
          <p:spPr bwMode="gray">
            <a:xfrm>
              <a:off x="2851" y="2292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24" name="Rectangle 8"/>
            <p:cNvSpPr>
              <a:spLocks noChangeArrowheads="1"/>
            </p:cNvSpPr>
            <p:nvPr/>
          </p:nvSpPr>
          <p:spPr bwMode="gray">
            <a:xfrm>
              <a:off x="3751" y="912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25" name="Rectangle 9"/>
            <p:cNvSpPr>
              <a:spLocks noChangeArrowheads="1"/>
            </p:cNvSpPr>
            <p:nvPr/>
          </p:nvSpPr>
          <p:spPr bwMode="gray">
            <a:xfrm>
              <a:off x="4639" y="2568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26" name="Rectangle 10"/>
            <p:cNvSpPr>
              <a:spLocks noChangeArrowheads="1"/>
            </p:cNvSpPr>
            <p:nvPr/>
          </p:nvSpPr>
          <p:spPr bwMode="gray">
            <a:xfrm>
              <a:off x="463" y="2688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27" name="Rectangle 11"/>
            <p:cNvSpPr>
              <a:spLocks noChangeArrowheads="1"/>
            </p:cNvSpPr>
            <p:nvPr/>
          </p:nvSpPr>
          <p:spPr bwMode="gray">
            <a:xfrm>
              <a:off x="463" y="2934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28" name="Rectangle 12"/>
            <p:cNvSpPr>
              <a:spLocks noChangeArrowheads="1"/>
            </p:cNvSpPr>
            <p:nvPr/>
          </p:nvSpPr>
          <p:spPr bwMode="gray">
            <a:xfrm>
              <a:off x="463" y="3180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29" name="Rectangle 13"/>
            <p:cNvSpPr>
              <a:spLocks noChangeArrowheads="1"/>
            </p:cNvSpPr>
            <p:nvPr/>
          </p:nvSpPr>
          <p:spPr bwMode="gray">
            <a:xfrm>
              <a:off x="1057" y="2706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30" name="Rectangle 14"/>
            <p:cNvSpPr>
              <a:spLocks noChangeArrowheads="1"/>
            </p:cNvSpPr>
            <p:nvPr/>
          </p:nvSpPr>
          <p:spPr bwMode="gray">
            <a:xfrm>
              <a:off x="1951" y="2706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31" name="Rectangle 15"/>
            <p:cNvSpPr>
              <a:spLocks noChangeArrowheads="1"/>
            </p:cNvSpPr>
            <p:nvPr/>
          </p:nvSpPr>
          <p:spPr bwMode="gray">
            <a:xfrm>
              <a:off x="2851" y="2526"/>
              <a:ext cx="21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32" name="Rectangle 16"/>
            <p:cNvSpPr>
              <a:spLocks noChangeArrowheads="1"/>
            </p:cNvSpPr>
            <p:nvPr/>
          </p:nvSpPr>
          <p:spPr bwMode="gray">
            <a:xfrm>
              <a:off x="3751" y="1146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33" name="Rectangle 17"/>
            <p:cNvSpPr>
              <a:spLocks noChangeArrowheads="1"/>
            </p:cNvSpPr>
            <p:nvPr/>
          </p:nvSpPr>
          <p:spPr bwMode="gray">
            <a:xfrm>
              <a:off x="4645" y="2772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34" name="Rectangle 18"/>
            <p:cNvSpPr>
              <a:spLocks noChangeArrowheads="1"/>
            </p:cNvSpPr>
            <p:nvPr/>
          </p:nvSpPr>
          <p:spPr bwMode="gray">
            <a:xfrm>
              <a:off x="1057" y="2946"/>
              <a:ext cx="21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35" name="Rectangle 19"/>
            <p:cNvSpPr>
              <a:spLocks noChangeArrowheads="1"/>
            </p:cNvSpPr>
            <p:nvPr/>
          </p:nvSpPr>
          <p:spPr bwMode="gray">
            <a:xfrm>
              <a:off x="1951" y="2946"/>
              <a:ext cx="21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36" name="Rectangle 20"/>
            <p:cNvSpPr>
              <a:spLocks noChangeArrowheads="1"/>
            </p:cNvSpPr>
            <p:nvPr/>
          </p:nvSpPr>
          <p:spPr bwMode="gray">
            <a:xfrm>
              <a:off x="2851" y="2880"/>
              <a:ext cx="21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37" name="Rectangle 21"/>
            <p:cNvSpPr>
              <a:spLocks noChangeArrowheads="1"/>
            </p:cNvSpPr>
            <p:nvPr/>
          </p:nvSpPr>
          <p:spPr bwMode="gray">
            <a:xfrm>
              <a:off x="3751" y="1986"/>
              <a:ext cx="21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38" name="Rectangle 22"/>
            <p:cNvSpPr>
              <a:spLocks noChangeArrowheads="1"/>
            </p:cNvSpPr>
            <p:nvPr/>
          </p:nvSpPr>
          <p:spPr bwMode="gray">
            <a:xfrm>
              <a:off x="4645" y="3012"/>
              <a:ext cx="21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39" name="Rectangle 23"/>
            <p:cNvSpPr>
              <a:spLocks noChangeArrowheads="1"/>
            </p:cNvSpPr>
            <p:nvPr/>
          </p:nvSpPr>
          <p:spPr bwMode="gray">
            <a:xfrm>
              <a:off x="3751" y="2760"/>
              <a:ext cx="21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40" name="Rectangle 24"/>
            <p:cNvSpPr>
              <a:spLocks noChangeArrowheads="1"/>
            </p:cNvSpPr>
            <p:nvPr/>
          </p:nvSpPr>
          <p:spPr bwMode="gray">
            <a:xfrm>
              <a:off x="1057" y="3144"/>
              <a:ext cx="21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41" name="Rectangle 25"/>
            <p:cNvSpPr>
              <a:spLocks noChangeArrowheads="1"/>
            </p:cNvSpPr>
            <p:nvPr/>
          </p:nvSpPr>
          <p:spPr bwMode="gray">
            <a:xfrm>
              <a:off x="1951" y="3438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42" name="Rectangle 26"/>
            <p:cNvSpPr>
              <a:spLocks noChangeArrowheads="1"/>
            </p:cNvSpPr>
            <p:nvPr/>
          </p:nvSpPr>
          <p:spPr bwMode="gray">
            <a:xfrm>
              <a:off x="2851" y="3438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43" name="Rectangle 27"/>
            <p:cNvSpPr>
              <a:spLocks noChangeArrowheads="1"/>
            </p:cNvSpPr>
            <p:nvPr/>
          </p:nvSpPr>
          <p:spPr bwMode="gray">
            <a:xfrm>
              <a:off x="4645" y="3438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44" name="Rectangle 28"/>
            <p:cNvSpPr>
              <a:spLocks noChangeArrowheads="1"/>
            </p:cNvSpPr>
            <p:nvPr/>
          </p:nvSpPr>
          <p:spPr bwMode="gray">
            <a:xfrm>
              <a:off x="3751" y="3438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4845" name="Rectangle 29"/>
            <p:cNvSpPr>
              <a:spLocks noChangeArrowheads="1"/>
            </p:cNvSpPr>
            <p:nvPr/>
          </p:nvSpPr>
          <p:spPr bwMode="gray">
            <a:xfrm>
              <a:off x="1057" y="3438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4279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68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 Bar Diagrams 2 Bars</a:t>
            </a:r>
          </a:p>
        </p:txBody>
      </p:sp>
      <p:grpSp>
        <p:nvGrpSpPr>
          <p:cNvPr id="2596867" name="Group 3"/>
          <p:cNvGrpSpPr>
            <a:grpSpLocks/>
          </p:cNvGrpSpPr>
          <p:nvPr/>
        </p:nvGrpSpPr>
        <p:grpSpPr bwMode="auto">
          <a:xfrm>
            <a:off x="2343150" y="1457325"/>
            <a:ext cx="7461250" cy="4349750"/>
            <a:chOff x="516" y="906"/>
            <a:chExt cx="4700" cy="2740"/>
          </a:xfrm>
        </p:grpSpPr>
        <p:sp>
          <p:nvSpPr>
            <p:cNvPr id="2596868" name="Rectangle 4"/>
            <p:cNvSpPr>
              <a:spLocks noChangeArrowheads="1"/>
            </p:cNvSpPr>
            <p:nvPr/>
          </p:nvSpPr>
          <p:spPr bwMode="gray">
            <a:xfrm>
              <a:off x="520" y="1404"/>
              <a:ext cx="2304" cy="224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96869" name="Rectangle 5"/>
            <p:cNvSpPr>
              <a:spLocks noChangeArrowheads="1"/>
            </p:cNvSpPr>
            <p:nvPr/>
          </p:nvSpPr>
          <p:spPr bwMode="gray">
            <a:xfrm>
              <a:off x="2912" y="1404"/>
              <a:ext cx="2304" cy="224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aphicFrame>
          <p:nvGraphicFramePr>
            <p:cNvPr id="2596870" name="Object 6"/>
            <p:cNvGraphicFramePr>
              <a:graphicFrameLocks/>
            </p:cNvGraphicFramePr>
            <p:nvPr/>
          </p:nvGraphicFramePr>
          <p:xfrm>
            <a:off x="658" y="1611"/>
            <a:ext cx="2078" cy="183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7030" name="Diagramm" r:id="rId4" imgW="3305175" imgH="2924175" progId="MSGraph.Chart.8">
                    <p:embed followColorScheme="full"/>
                  </p:oleObj>
                </mc:Choice>
                <mc:Fallback>
                  <p:oleObj name="Diagramm" r:id="rId4" imgW="3305175" imgH="2924175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658" y="1611"/>
                          <a:ext cx="2078" cy="1837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bg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 algn="ctr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596871" name="Object 7"/>
            <p:cNvGraphicFramePr>
              <a:graphicFrameLocks/>
            </p:cNvGraphicFramePr>
            <p:nvPr/>
          </p:nvGraphicFramePr>
          <p:xfrm>
            <a:off x="3136" y="1605"/>
            <a:ext cx="2077" cy="183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7031" name="Diagramm" r:id="rId6" imgW="3305175" imgH="2924175" progId="MSGraph.Chart.8">
                    <p:embed followColorScheme="full"/>
                  </p:oleObj>
                </mc:Choice>
                <mc:Fallback>
                  <p:oleObj name="Diagramm" r:id="rId6" imgW="3305175" imgH="2924175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7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3136" y="1605"/>
                          <a:ext cx="2077" cy="1837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bg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 algn="ctr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96872" name="Text Box 8"/>
            <p:cNvSpPr txBox="1">
              <a:spLocks noChangeArrowheads="1"/>
            </p:cNvSpPr>
            <p:nvPr/>
          </p:nvSpPr>
          <p:spPr bwMode="gray">
            <a:xfrm>
              <a:off x="4551" y="1474"/>
              <a:ext cx="244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136525" indent="-134938"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269875" indent="-131763"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403225" indent="-131763"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536575" indent="-131763"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993775" indent="-131763"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1450975" indent="-131763"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1908175" indent="-131763"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2365375" indent="-131763"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Aft>
                  <a:spcPct val="20000"/>
                </a:spcAft>
              </a:pPr>
              <a:r>
                <a:rPr lang="en-GB" sz="1200" b="1">
                  <a:latin typeface="Baskerville" charset="0"/>
                  <a:ea typeface="Baskerville" charset="0"/>
                  <a:cs typeface="Baskerville" charset="0"/>
                </a:rPr>
                <a:t>100%</a:t>
              </a:r>
            </a:p>
          </p:txBody>
        </p:sp>
        <p:sp>
          <p:nvSpPr>
            <p:cNvPr id="2596873" name="Text Box 9"/>
            <p:cNvSpPr txBox="1">
              <a:spLocks noChangeArrowheads="1"/>
            </p:cNvSpPr>
            <p:nvPr/>
          </p:nvSpPr>
          <p:spPr bwMode="gray">
            <a:xfrm>
              <a:off x="3549" y="1474"/>
              <a:ext cx="244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136525" indent="-134938"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269875" indent="-131763"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403225" indent="-131763"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536575" indent="-131763"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993775" indent="-131763"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1450975" indent="-131763"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1908175" indent="-131763"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2365375" indent="-131763"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Aft>
                  <a:spcPct val="20000"/>
                </a:spcAft>
              </a:pPr>
              <a:r>
                <a:rPr lang="en-GB" sz="1200" b="1">
                  <a:latin typeface="Baskerville" charset="0"/>
                  <a:ea typeface="Baskerville" charset="0"/>
                  <a:cs typeface="Baskerville" charset="0"/>
                </a:rPr>
                <a:t>100%</a:t>
              </a:r>
            </a:p>
          </p:txBody>
        </p:sp>
        <p:sp>
          <p:nvSpPr>
            <p:cNvPr id="2596874" name="Rectangle 10"/>
            <p:cNvSpPr>
              <a:spLocks noChangeArrowheads="1"/>
            </p:cNvSpPr>
            <p:nvPr/>
          </p:nvSpPr>
          <p:spPr bwMode="gray">
            <a:xfrm>
              <a:off x="520" y="1180"/>
              <a:ext cx="2304" cy="23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75" name="Rectangle 11"/>
            <p:cNvSpPr>
              <a:spLocks noChangeArrowheads="1"/>
            </p:cNvSpPr>
            <p:nvPr/>
          </p:nvSpPr>
          <p:spPr bwMode="gray">
            <a:xfrm>
              <a:off x="2912" y="1180"/>
              <a:ext cx="2304" cy="23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76" name="Rectangle 12"/>
            <p:cNvSpPr>
              <a:spLocks noChangeArrowheads="1"/>
            </p:cNvSpPr>
            <p:nvPr/>
          </p:nvSpPr>
          <p:spPr bwMode="gray">
            <a:xfrm>
              <a:off x="607" y="2802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77" name="Rectangle 13"/>
            <p:cNvSpPr>
              <a:spLocks noChangeArrowheads="1"/>
            </p:cNvSpPr>
            <p:nvPr/>
          </p:nvSpPr>
          <p:spPr bwMode="gray">
            <a:xfrm>
              <a:off x="607" y="3048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78" name="Rectangle 14"/>
            <p:cNvSpPr>
              <a:spLocks noChangeArrowheads="1"/>
            </p:cNvSpPr>
            <p:nvPr/>
          </p:nvSpPr>
          <p:spPr bwMode="gray">
            <a:xfrm>
              <a:off x="607" y="3294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79" name="Rectangle 15"/>
            <p:cNvSpPr>
              <a:spLocks noChangeArrowheads="1"/>
            </p:cNvSpPr>
            <p:nvPr/>
          </p:nvSpPr>
          <p:spPr bwMode="gray">
            <a:xfrm>
              <a:off x="1093" y="2802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solidFill>
                    <a:srgbClr val="FFFFFF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80" name="Rectangle 16"/>
            <p:cNvSpPr>
              <a:spLocks noChangeArrowheads="1"/>
            </p:cNvSpPr>
            <p:nvPr/>
          </p:nvSpPr>
          <p:spPr bwMode="gray">
            <a:xfrm>
              <a:off x="1093" y="3048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81" name="Rectangle 17"/>
            <p:cNvSpPr>
              <a:spLocks noChangeArrowheads="1"/>
            </p:cNvSpPr>
            <p:nvPr/>
          </p:nvSpPr>
          <p:spPr bwMode="gray">
            <a:xfrm>
              <a:off x="1093" y="3294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82" name="Rectangle 18"/>
            <p:cNvSpPr>
              <a:spLocks noChangeArrowheads="1"/>
            </p:cNvSpPr>
            <p:nvPr/>
          </p:nvSpPr>
          <p:spPr bwMode="gray">
            <a:xfrm>
              <a:off x="1093" y="2640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83" name="Rectangle 19"/>
            <p:cNvSpPr>
              <a:spLocks noChangeArrowheads="1"/>
            </p:cNvSpPr>
            <p:nvPr/>
          </p:nvSpPr>
          <p:spPr bwMode="gray">
            <a:xfrm>
              <a:off x="1093" y="3444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84" name="Rectangle 20"/>
            <p:cNvSpPr>
              <a:spLocks noChangeArrowheads="1"/>
            </p:cNvSpPr>
            <p:nvPr/>
          </p:nvSpPr>
          <p:spPr bwMode="gray">
            <a:xfrm>
              <a:off x="2107" y="3444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85" name="Rectangle 21"/>
            <p:cNvSpPr>
              <a:spLocks noChangeArrowheads="1"/>
            </p:cNvSpPr>
            <p:nvPr/>
          </p:nvSpPr>
          <p:spPr bwMode="gray">
            <a:xfrm>
              <a:off x="3578" y="3444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86" name="Rectangle 22"/>
            <p:cNvSpPr>
              <a:spLocks noChangeArrowheads="1"/>
            </p:cNvSpPr>
            <p:nvPr/>
          </p:nvSpPr>
          <p:spPr bwMode="gray">
            <a:xfrm>
              <a:off x="4580" y="3444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87" name="Rectangle 23"/>
            <p:cNvSpPr>
              <a:spLocks noChangeArrowheads="1"/>
            </p:cNvSpPr>
            <p:nvPr/>
          </p:nvSpPr>
          <p:spPr bwMode="gray">
            <a:xfrm>
              <a:off x="2107" y="3102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88" name="Rectangle 24"/>
            <p:cNvSpPr>
              <a:spLocks noChangeArrowheads="1"/>
            </p:cNvSpPr>
            <p:nvPr/>
          </p:nvSpPr>
          <p:spPr bwMode="gray">
            <a:xfrm>
              <a:off x="2107" y="2808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89" name="Rectangle 25"/>
            <p:cNvSpPr>
              <a:spLocks noChangeArrowheads="1"/>
            </p:cNvSpPr>
            <p:nvPr/>
          </p:nvSpPr>
          <p:spPr bwMode="gray">
            <a:xfrm>
              <a:off x="2107" y="1938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solidFill>
                    <a:srgbClr val="FFFFFF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90" name="Rectangle 26"/>
            <p:cNvSpPr>
              <a:spLocks noChangeArrowheads="1"/>
            </p:cNvSpPr>
            <p:nvPr/>
          </p:nvSpPr>
          <p:spPr bwMode="gray">
            <a:xfrm>
              <a:off x="2107" y="1776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91" name="Rectangle 27"/>
            <p:cNvSpPr>
              <a:spLocks noChangeArrowheads="1"/>
            </p:cNvSpPr>
            <p:nvPr/>
          </p:nvSpPr>
          <p:spPr bwMode="gray">
            <a:xfrm>
              <a:off x="3067" y="1896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92" name="Rectangle 28"/>
            <p:cNvSpPr>
              <a:spLocks noChangeArrowheads="1"/>
            </p:cNvSpPr>
            <p:nvPr/>
          </p:nvSpPr>
          <p:spPr bwMode="gray">
            <a:xfrm>
              <a:off x="3067" y="2622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93" name="Rectangle 29"/>
            <p:cNvSpPr>
              <a:spLocks noChangeArrowheads="1"/>
            </p:cNvSpPr>
            <p:nvPr/>
          </p:nvSpPr>
          <p:spPr bwMode="gray">
            <a:xfrm>
              <a:off x="3067" y="3168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94" name="Rectangle 30"/>
            <p:cNvSpPr>
              <a:spLocks noChangeArrowheads="1"/>
            </p:cNvSpPr>
            <p:nvPr/>
          </p:nvSpPr>
          <p:spPr bwMode="gray">
            <a:xfrm>
              <a:off x="3578" y="1896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95" name="Rectangle 31"/>
            <p:cNvSpPr>
              <a:spLocks noChangeArrowheads="1"/>
            </p:cNvSpPr>
            <p:nvPr/>
          </p:nvSpPr>
          <p:spPr bwMode="gray">
            <a:xfrm>
              <a:off x="3578" y="3168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96" name="Rectangle 32"/>
            <p:cNvSpPr>
              <a:spLocks noChangeArrowheads="1"/>
            </p:cNvSpPr>
            <p:nvPr/>
          </p:nvSpPr>
          <p:spPr bwMode="gray">
            <a:xfrm>
              <a:off x="4580" y="1896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97" name="Rectangle 33"/>
            <p:cNvSpPr>
              <a:spLocks noChangeArrowheads="1"/>
            </p:cNvSpPr>
            <p:nvPr/>
          </p:nvSpPr>
          <p:spPr bwMode="gray">
            <a:xfrm>
              <a:off x="4580" y="3168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898" name="Rectangle 34"/>
            <p:cNvSpPr>
              <a:spLocks noChangeArrowheads="1"/>
            </p:cNvSpPr>
            <p:nvPr/>
          </p:nvSpPr>
          <p:spPr bwMode="gray">
            <a:xfrm>
              <a:off x="516" y="906"/>
              <a:ext cx="4698" cy="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80975" indent="-180975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Comparison</a:t>
              </a:r>
            </a:p>
          </p:txBody>
        </p:sp>
        <p:sp>
          <p:nvSpPr>
            <p:cNvPr id="2596899" name="Rectangle 35"/>
            <p:cNvSpPr>
              <a:spLocks noChangeArrowheads="1"/>
            </p:cNvSpPr>
            <p:nvPr/>
          </p:nvSpPr>
          <p:spPr bwMode="gray">
            <a:xfrm>
              <a:off x="3595" y="2622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6900" name="Rectangle 36"/>
            <p:cNvSpPr>
              <a:spLocks noChangeArrowheads="1"/>
            </p:cNvSpPr>
            <p:nvPr/>
          </p:nvSpPr>
          <p:spPr bwMode="gray">
            <a:xfrm>
              <a:off x="4609" y="2742"/>
              <a:ext cx="18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8107516"/>
      </p:ext>
    </p:extLst>
  </p:cSld>
  <p:clrMapOvr>
    <a:masterClrMapping/>
  </p:clrMapOvr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89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r Diagram</a:t>
            </a:r>
          </a:p>
        </p:txBody>
      </p:sp>
      <p:grpSp>
        <p:nvGrpSpPr>
          <p:cNvPr id="2598941" name="Group 29"/>
          <p:cNvGrpSpPr>
            <a:grpSpLocks/>
          </p:cNvGrpSpPr>
          <p:nvPr/>
        </p:nvGrpSpPr>
        <p:grpSpPr bwMode="auto">
          <a:xfrm>
            <a:off x="2343151" y="1006476"/>
            <a:ext cx="7472363" cy="4365625"/>
            <a:chOff x="516" y="910"/>
            <a:chExt cx="4707" cy="2750"/>
          </a:xfrm>
        </p:grpSpPr>
        <p:graphicFrame>
          <p:nvGraphicFramePr>
            <p:cNvPr id="2598916" name="Object 4"/>
            <p:cNvGraphicFramePr>
              <a:graphicFrameLocks noChangeAspect="1"/>
            </p:cNvGraphicFramePr>
            <p:nvPr/>
          </p:nvGraphicFramePr>
          <p:xfrm>
            <a:off x="516" y="910"/>
            <a:ext cx="4707" cy="263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7997" name="Diagramm" r:id="rId4" imgW="7477125" imgH="4191000" progId="MSGraph.Chart.8">
                    <p:embed followColorScheme="full"/>
                  </p:oleObj>
                </mc:Choice>
                <mc:Fallback>
                  <p:oleObj name="Diagramm" r:id="rId4" imgW="7477125" imgH="4191000" progId="MSGraph.Chart.8">
                    <p:embed followColorScheme="full"/>
                    <p:pic>
                      <p:nvPicPr>
                        <p:cNvPr id="0" name=""/>
                        <p:cNvPicPr preferRelativeResize="0">
                          <a:picLocks noChangeAspect="1"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516" y="910"/>
                          <a:ext cx="4707" cy="263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bg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 algn="ctr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598917" name="Rectangle 5"/>
            <p:cNvSpPr>
              <a:spLocks noChangeArrowheads="1"/>
            </p:cNvSpPr>
            <p:nvPr/>
          </p:nvSpPr>
          <p:spPr bwMode="gray">
            <a:xfrm>
              <a:off x="701" y="2660"/>
              <a:ext cx="17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8918" name="Rectangle 6"/>
            <p:cNvSpPr>
              <a:spLocks noChangeArrowheads="1"/>
            </p:cNvSpPr>
            <p:nvPr/>
          </p:nvSpPr>
          <p:spPr bwMode="gray">
            <a:xfrm>
              <a:off x="921" y="2900"/>
              <a:ext cx="17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8919" name="Rectangle 7"/>
            <p:cNvSpPr>
              <a:spLocks noChangeArrowheads="1"/>
            </p:cNvSpPr>
            <p:nvPr/>
          </p:nvSpPr>
          <p:spPr bwMode="gray">
            <a:xfrm>
              <a:off x="1155" y="2660"/>
              <a:ext cx="17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8920" name="Rectangle 8"/>
            <p:cNvSpPr>
              <a:spLocks noChangeArrowheads="1"/>
            </p:cNvSpPr>
            <p:nvPr/>
          </p:nvSpPr>
          <p:spPr bwMode="gray">
            <a:xfrm>
              <a:off x="1813" y="2168"/>
              <a:ext cx="17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8921" name="Rectangle 9"/>
            <p:cNvSpPr>
              <a:spLocks noChangeArrowheads="1"/>
            </p:cNvSpPr>
            <p:nvPr/>
          </p:nvSpPr>
          <p:spPr bwMode="gray">
            <a:xfrm>
              <a:off x="2048" y="2660"/>
              <a:ext cx="17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8922" name="Rectangle 10"/>
            <p:cNvSpPr>
              <a:spLocks noChangeArrowheads="1"/>
            </p:cNvSpPr>
            <p:nvPr/>
          </p:nvSpPr>
          <p:spPr bwMode="gray">
            <a:xfrm>
              <a:off x="2489" y="1922"/>
              <a:ext cx="17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8923" name="Rectangle 11"/>
            <p:cNvSpPr>
              <a:spLocks noChangeArrowheads="1"/>
            </p:cNvSpPr>
            <p:nvPr/>
          </p:nvSpPr>
          <p:spPr bwMode="gray">
            <a:xfrm>
              <a:off x="2724" y="2414"/>
              <a:ext cx="17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8924" name="Rectangle 12"/>
            <p:cNvSpPr>
              <a:spLocks noChangeArrowheads="1"/>
            </p:cNvSpPr>
            <p:nvPr/>
          </p:nvSpPr>
          <p:spPr bwMode="gray">
            <a:xfrm>
              <a:off x="3395" y="1676"/>
              <a:ext cx="17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8925" name="Rectangle 13"/>
            <p:cNvSpPr>
              <a:spLocks noChangeArrowheads="1"/>
            </p:cNvSpPr>
            <p:nvPr/>
          </p:nvSpPr>
          <p:spPr bwMode="gray">
            <a:xfrm>
              <a:off x="3624" y="1436"/>
              <a:ext cx="17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8926" name="Rectangle 14"/>
            <p:cNvSpPr>
              <a:spLocks noChangeArrowheads="1"/>
            </p:cNvSpPr>
            <p:nvPr/>
          </p:nvSpPr>
          <p:spPr bwMode="gray">
            <a:xfrm>
              <a:off x="3840" y="1190"/>
              <a:ext cx="17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8927" name="Rectangle 15"/>
            <p:cNvSpPr>
              <a:spLocks noChangeArrowheads="1"/>
            </p:cNvSpPr>
            <p:nvPr/>
          </p:nvSpPr>
          <p:spPr bwMode="gray">
            <a:xfrm>
              <a:off x="4293" y="2168"/>
              <a:ext cx="17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8928" name="Rectangle 16"/>
            <p:cNvSpPr>
              <a:spLocks noChangeArrowheads="1"/>
            </p:cNvSpPr>
            <p:nvPr/>
          </p:nvSpPr>
          <p:spPr bwMode="gray">
            <a:xfrm>
              <a:off x="4745" y="2906"/>
              <a:ext cx="17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98929" name="Rectangle 17"/>
            <p:cNvSpPr>
              <a:spLocks noChangeArrowheads="1"/>
            </p:cNvSpPr>
            <p:nvPr/>
          </p:nvSpPr>
          <p:spPr bwMode="gray">
            <a:xfrm>
              <a:off x="756" y="3544"/>
              <a:ext cx="6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A</a:t>
              </a:r>
            </a:p>
          </p:txBody>
        </p:sp>
        <p:sp>
          <p:nvSpPr>
            <p:cNvPr id="2598930" name="Rectangle 18"/>
            <p:cNvSpPr>
              <a:spLocks noChangeArrowheads="1"/>
            </p:cNvSpPr>
            <p:nvPr/>
          </p:nvSpPr>
          <p:spPr bwMode="gray">
            <a:xfrm>
              <a:off x="976" y="3544"/>
              <a:ext cx="6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B</a:t>
              </a:r>
            </a:p>
          </p:txBody>
        </p:sp>
        <p:sp>
          <p:nvSpPr>
            <p:cNvPr id="2598931" name="Rectangle 19"/>
            <p:cNvSpPr>
              <a:spLocks noChangeArrowheads="1"/>
            </p:cNvSpPr>
            <p:nvPr/>
          </p:nvSpPr>
          <p:spPr bwMode="gray">
            <a:xfrm>
              <a:off x="1208" y="3544"/>
              <a:ext cx="7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C</a:t>
              </a:r>
            </a:p>
          </p:txBody>
        </p:sp>
        <p:sp>
          <p:nvSpPr>
            <p:cNvPr id="2598932" name="Rectangle 20"/>
            <p:cNvSpPr>
              <a:spLocks noChangeArrowheads="1"/>
            </p:cNvSpPr>
            <p:nvPr/>
          </p:nvSpPr>
          <p:spPr bwMode="gray">
            <a:xfrm>
              <a:off x="2544" y="3544"/>
              <a:ext cx="6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A</a:t>
              </a:r>
            </a:p>
          </p:txBody>
        </p:sp>
        <p:sp>
          <p:nvSpPr>
            <p:cNvPr id="2598933" name="Rectangle 21"/>
            <p:cNvSpPr>
              <a:spLocks noChangeArrowheads="1"/>
            </p:cNvSpPr>
            <p:nvPr/>
          </p:nvSpPr>
          <p:spPr bwMode="gray">
            <a:xfrm>
              <a:off x="3450" y="3544"/>
              <a:ext cx="6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A</a:t>
              </a:r>
            </a:p>
          </p:txBody>
        </p:sp>
        <p:sp>
          <p:nvSpPr>
            <p:cNvPr id="2598934" name="Rectangle 22"/>
            <p:cNvSpPr>
              <a:spLocks noChangeArrowheads="1"/>
            </p:cNvSpPr>
            <p:nvPr/>
          </p:nvSpPr>
          <p:spPr bwMode="gray">
            <a:xfrm>
              <a:off x="4348" y="3544"/>
              <a:ext cx="6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A</a:t>
              </a:r>
            </a:p>
          </p:txBody>
        </p:sp>
        <p:sp>
          <p:nvSpPr>
            <p:cNvPr id="2598935" name="Rectangle 23"/>
            <p:cNvSpPr>
              <a:spLocks noChangeArrowheads="1"/>
            </p:cNvSpPr>
            <p:nvPr/>
          </p:nvSpPr>
          <p:spPr bwMode="gray">
            <a:xfrm>
              <a:off x="1868" y="3544"/>
              <a:ext cx="6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B</a:t>
              </a:r>
            </a:p>
          </p:txBody>
        </p:sp>
        <p:sp>
          <p:nvSpPr>
            <p:cNvPr id="2598936" name="Rectangle 24"/>
            <p:cNvSpPr>
              <a:spLocks noChangeArrowheads="1"/>
            </p:cNvSpPr>
            <p:nvPr/>
          </p:nvSpPr>
          <p:spPr bwMode="gray">
            <a:xfrm>
              <a:off x="2779" y="3544"/>
              <a:ext cx="6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B</a:t>
              </a:r>
            </a:p>
          </p:txBody>
        </p:sp>
        <p:sp>
          <p:nvSpPr>
            <p:cNvPr id="2598937" name="Rectangle 25"/>
            <p:cNvSpPr>
              <a:spLocks noChangeArrowheads="1"/>
            </p:cNvSpPr>
            <p:nvPr/>
          </p:nvSpPr>
          <p:spPr bwMode="gray">
            <a:xfrm>
              <a:off x="3679" y="3544"/>
              <a:ext cx="67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B</a:t>
              </a:r>
            </a:p>
          </p:txBody>
        </p:sp>
        <p:sp>
          <p:nvSpPr>
            <p:cNvPr id="2598938" name="Rectangle 26"/>
            <p:cNvSpPr>
              <a:spLocks noChangeArrowheads="1"/>
            </p:cNvSpPr>
            <p:nvPr/>
          </p:nvSpPr>
          <p:spPr bwMode="gray">
            <a:xfrm>
              <a:off x="2101" y="3544"/>
              <a:ext cx="7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C</a:t>
              </a:r>
            </a:p>
          </p:txBody>
        </p:sp>
        <p:sp>
          <p:nvSpPr>
            <p:cNvPr id="2598939" name="Rectangle 27"/>
            <p:cNvSpPr>
              <a:spLocks noChangeArrowheads="1"/>
            </p:cNvSpPr>
            <p:nvPr/>
          </p:nvSpPr>
          <p:spPr bwMode="gray">
            <a:xfrm>
              <a:off x="3893" y="3544"/>
              <a:ext cx="7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C</a:t>
              </a:r>
            </a:p>
          </p:txBody>
        </p:sp>
        <p:sp>
          <p:nvSpPr>
            <p:cNvPr id="2598940" name="Rectangle 28"/>
            <p:cNvSpPr>
              <a:spLocks noChangeArrowheads="1"/>
            </p:cNvSpPr>
            <p:nvPr/>
          </p:nvSpPr>
          <p:spPr bwMode="gray">
            <a:xfrm>
              <a:off x="4798" y="3544"/>
              <a:ext cx="7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C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2449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30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 Combined Pie Charts</a:t>
            </a:r>
          </a:p>
        </p:txBody>
      </p:sp>
      <p:grpSp>
        <p:nvGrpSpPr>
          <p:cNvPr id="2603019" name="Group 11"/>
          <p:cNvGrpSpPr>
            <a:grpSpLocks/>
          </p:cNvGrpSpPr>
          <p:nvPr/>
        </p:nvGrpSpPr>
        <p:grpSpPr bwMode="auto">
          <a:xfrm>
            <a:off x="2895601" y="1131889"/>
            <a:ext cx="6665914" cy="4287837"/>
            <a:chOff x="858" y="905"/>
            <a:chExt cx="4199" cy="2701"/>
          </a:xfrm>
        </p:grpSpPr>
        <p:graphicFrame>
          <p:nvGraphicFramePr>
            <p:cNvPr id="2603012" name="Object 4"/>
            <p:cNvGraphicFramePr>
              <a:graphicFrameLocks noChangeAspect="1"/>
            </p:cNvGraphicFramePr>
            <p:nvPr/>
          </p:nvGraphicFramePr>
          <p:xfrm>
            <a:off x="1037" y="905"/>
            <a:ext cx="4020" cy="270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70045" name="Diagramm" r:id="rId4" imgW="6381750" imgH="4286250" progId="MSGraph.Chart.8">
                    <p:embed followColorScheme="full"/>
                  </p:oleObj>
                </mc:Choice>
                <mc:Fallback>
                  <p:oleObj name="Diagramm" r:id="rId4" imgW="6381750" imgH="4286250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1037" y="905"/>
                          <a:ext cx="4020" cy="2701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603013" name="Rectangle 5"/>
            <p:cNvSpPr>
              <a:spLocks noChangeArrowheads="1"/>
            </p:cNvSpPr>
            <p:nvPr/>
          </p:nvSpPr>
          <p:spPr bwMode="gray">
            <a:xfrm>
              <a:off x="3881" y="2368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3014" name="Rectangle 6"/>
            <p:cNvSpPr>
              <a:spLocks noChangeArrowheads="1"/>
            </p:cNvSpPr>
            <p:nvPr/>
          </p:nvSpPr>
          <p:spPr bwMode="gray">
            <a:xfrm>
              <a:off x="858" y="2169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3015" name="Rectangle 7"/>
            <p:cNvSpPr>
              <a:spLocks noChangeArrowheads="1"/>
            </p:cNvSpPr>
            <p:nvPr/>
          </p:nvSpPr>
          <p:spPr bwMode="gray">
            <a:xfrm>
              <a:off x="1560" y="1991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3016" name="Rectangle 8"/>
            <p:cNvSpPr>
              <a:spLocks noChangeArrowheads="1"/>
            </p:cNvSpPr>
            <p:nvPr/>
          </p:nvSpPr>
          <p:spPr bwMode="gray">
            <a:xfrm>
              <a:off x="1560" y="2549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3017" name="Rectangle 9"/>
            <p:cNvSpPr>
              <a:spLocks noChangeArrowheads="1"/>
            </p:cNvSpPr>
            <p:nvPr/>
          </p:nvSpPr>
          <p:spPr bwMode="gray">
            <a:xfrm>
              <a:off x="2358" y="2189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3018" name="Rectangle 10"/>
            <p:cNvSpPr>
              <a:spLocks noChangeArrowheads="1"/>
            </p:cNvSpPr>
            <p:nvPr/>
          </p:nvSpPr>
          <p:spPr bwMode="gray">
            <a:xfrm>
              <a:off x="4134" y="1955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755797"/>
      </p:ext>
    </p:extLst>
  </p:cSld>
  <p:clrMapOvr>
    <a:masterClrMapping/>
  </p:clrMapOvr>
  <p:transition/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50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pination Pie and Bar Chart</a:t>
            </a:r>
          </a:p>
        </p:txBody>
      </p:sp>
      <p:grpSp>
        <p:nvGrpSpPr>
          <p:cNvPr id="2605077" name="Group 21"/>
          <p:cNvGrpSpPr>
            <a:grpSpLocks/>
          </p:cNvGrpSpPr>
          <p:nvPr/>
        </p:nvGrpSpPr>
        <p:grpSpPr bwMode="auto">
          <a:xfrm>
            <a:off x="1524000" y="1655763"/>
            <a:ext cx="8034338" cy="4146550"/>
            <a:chOff x="0" y="1019"/>
            <a:chExt cx="5061" cy="2612"/>
          </a:xfrm>
        </p:grpSpPr>
        <p:graphicFrame>
          <p:nvGraphicFramePr>
            <p:cNvPr id="2605060" name="Object 4"/>
            <p:cNvGraphicFramePr>
              <a:graphicFrameLocks/>
            </p:cNvGraphicFramePr>
            <p:nvPr/>
          </p:nvGraphicFramePr>
          <p:xfrm>
            <a:off x="0" y="1019"/>
            <a:ext cx="5036" cy="261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71069" name="Diagramm" r:id="rId4" imgW="7991475" imgH="4143375" progId="MSGraph.Chart.8">
                    <p:embed followColorScheme="full"/>
                  </p:oleObj>
                </mc:Choice>
                <mc:Fallback>
                  <p:oleObj name="Diagramm" r:id="rId4" imgW="7991475" imgH="4143375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0" y="1019"/>
                          <a:ext cx="5036" cy="261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bg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 algn="ctr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605061" name="Rectangle 5"/>
            <p:cNvSpPr>
              <a:spLocks noChangeArrowheads="1"/>
            </p:cNvSpPr>
            <p:nvPr/>
          </p:nvSpPr>
          <p:spPr bwMode="gray">
            <a:xfrm>
              <a:off x="4866" y="1185"/>
              <a:ext cx="19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5062" name="Rectangle 6"/>
            <p:cNvSpPr>
              <a:spLocks noChangeArrowheads="1"/>
            </p:cNvSpPr>
            <p:nvPr/>
          </p:nvSpPr>
          <p:spPr bwMode="gray">
            <a:xfrm>
              <a:off x="4866" y="1390"/>
              <a:ext cx="19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5063" name="Rectangle 7"/>
            <p:cNvSpPr>
              <a:spLocks noChangeArrowheads="1"/>
            </p:cNvSpPr>
            <p:nvPr/>
          </p:nvSpPr>
          <p:spPr bwMode="gray">
            <a:xfrm>
              <a:off x="4866" y="1769"/>
              <a:ext cx="19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5064" name="Rectangle 8"/>
            <p:cNvSpPr>
              <a:spLocks noChangeArrowheads="1"/>
            </p:cNvSpPr>
            <p:nvPr/>
          </p:nvSpPr>
          <p:spPr bwMode="gray">
            <a:xfrm>
              <a:off x="4866" y="2322"/>
              <a:ext cx="19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5065" name="Rectangle 9"/>
            <p:cNvSpPr>
              <a:spLocks noChangeArrowheads="1"/>
            </p:cNvSpPr>
            <p:nvPr/>
          </p:nvSpPr>
          <p:spPr bwMode="gray">
            <a:xfrm>
              <a:off x="4866" y="2949"/>
              <a:ext cx="19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5066" name="Rectangle 10"/>
            <p:cNvSpPr>
              <a:spLocks noChangeArrowheads="1"/>
            </p:cNvSpPr>
            <p:nvPr/>
          </p:nvSpPr>
          <p:spPr bwMode="gray">
            <a:xfrm>
              <a:off x="4098" y="1186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5067" name="Rectangle 11"/>
            <p:cNvSpPr>
              <a:spLocks noChangeArrowheads="1"/>
            </p:cNvSpPr>
            <p:nvPr/>
          </p:nvSpPr>
          <p:spPr bwMode="gray">
            <a:xfrm>
              <a:off x="4098" y="1391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5068" name="Rectangle 12"/>
            <p:cNvSpPr>
              <a:spLocks noChangeArrowheads="1"/>
            </p:cNvSpPr>
            <p:nvPr/>
          </p:nvSpPr>
          <p:spPr bwMode="gray">
            <a:xfrm>
              <a:off x="4098" y="1770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5069" name="Rectangle 13"/>
            <p:cNvSpPr>
              <a:spLocks noChangeArrowheads="1"/>
            </p:cNvSpPr>
            <p:nvPr/>
          </p:nvSpPr>
          <p:spPr bwMode="gray">
            <a:xfrm>
              <a:off x="4098" y="2323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5070" name="Rectangle 14"/>
            <p:cNvSpPr>
              <a:spLocks noChangeArrowheads="1"/>
            </p:cNvSpPr>
            <p:nvPr/>
          </p:nvSpPr>
          <p:spPr bwMode="gray">
            <a:xfrm>
              <a:off x="4098" y="2950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5071" name="Rectangle 15"/>
            <p:cNvSpPr>
              <a:spLocks noChangeArrowheads="1"/>
            </p:cNvSpPr>
            <p:nvPr/>
          </p:nvSpPr>
          <p:spPr bwMode="gray">
            <a:xfrm>
              <a:off x="1416" y="2845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5072" name="Rectangle 16"/>
            <p:cNvSpPr>
              <a:spLocks noChangeArrowheads="1"/>
            </p:cNvSpPr>
            <p:nvPr/>
          </p:nvSpPr>
          <p:spPr bwMode="gray">
            <a:xfrm>
              <a:off x="2244" y="2227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5073" name="Rectangle 17"/>
            <p:cNvSpPr>
              <a:spLocks noChangeArrowheads="1"/>
            </p:cNvSpPr>
            <p:nvPr/>
          </p:nvSpPr>
          <p:spPr bwMode="gray">
            <a:xfrm>
              <a:off x="540" y="2431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5074" name="Rectangle 18"/>
            <p:cNvSpPr>
              <a:spLocks noChangeArrowheads="1"/>
            </p:cNvSpPr>
            <p:nvPr/>
          </p:nvSpPr>
          <p:spPr bwMode="gray">
            <a:xfrm>
              <a:off x="690" y="1723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5075" name="Rectangle 19"/>
            <p:cNvSpPr>
              <a:spLocks noChangeArrowheads="1"/>
            </p:cNvSpPr>
            <p:nvPr/>
          </p:nvSpPr>
          <p:spPr bwMode="gray">
            <a:xfrm>
              <a:off x="1296" y="1465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5076" name="Rectangle 20"/>
            <p:cNvSpPr>
              <a:spLocks noChangeArrowheads="1"/>
            </p:cNvSpPr>
            <p:nvPr/>
          </p:nvSpPr>
          <p:spPr bwMode="gray">
            <a:xfrm>
              <a:off x="1818" y="1783"/>
              <a:ext cx="19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2600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07139" name="Group 35"/>
          <p:cNvGrpSpPr>
            <a:grpSpLocks/>
          </p:cNvGrpSpPr>
          <p:nvPr/>
        </p:nvGrpSpPr>
        <p:grpSpPr bwMode="auto">
          <a:xfrm>
            <a:off x="1714500" y="1482137"/>
            <a:ext cx="5456238" cy="4151313"/>
            <a:chOff x="120" y="628"/>
            <a:chExt cx="3437" cy="2615"/>
          </a:xfrm>
        </p:grpSpPr>
        <p:graphicFrame>
          <p:nvGraphicFramePr>
            <p:cNvPr id="2607107" name="Object 3"/>
            <p:cNvGraphicFramePr>
              <a:graphicFrameLocks/>
            </p:cNvGraphicFramePr>
            <p:nvPr/>
          </p:nvGraphicFramePr>
          <p:xfrm>
            <a:off x="120" y="628"/>
            <a:ext cx="3437" cy="261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72150" name="Diagramm" r:id="rId4" imgW="5457825" imgH="4152900" progId="MSGraph.Chart.8">
                    <p:embed followColorScheme="full"/>
                  </p:oleObj>
                </mc:Choice>
                <mc:Fallback>
                  <p:oleObj name="Diagramm" r:id="rId4" imgW="5457825" imgH="4152900" progId="MSGraph.Chart.8">
                    <p:embed followColorScheme="full"/>
                    <p:pic>
                      <p:nvPicPr>
                        <p:cNvPr id="0" name=""/>
                        <p:cNvPicPr preferRelativeResize="0">
                          <a:picLocks noChangeArrowheads="1"/>
                        </p:cNvPicPr>
                        <p:nvPr/>
                      </p:nvPicPr>
                      <p:blipFill>
                        <a:blip r:embed="rId5"/>
                        <a:srcRect/>
                        <a:stretch>
                          <a:fillRect/>
                        </a:stretch>
                      </p:blipFill>
                      <p:spPr bwMode="gray">
                        <a:xfrm>
                          <a:off x="120" y="628"/>
                          <a:ext cx="3437" cy="261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2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9050" algn="ctr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607108" name="Line 4"/>
            <p:cNvSpPr>
              <a:spLocks noChangeShapeType="1"/>
            </p:cNvSpPr>
            <p:nvPr/>
          </p:nvSpPr>
          <p:spPr bwMode="gray">
            <a:xfrm>
              <a:off x="1571" y="1713"/>
              <a:ext cx="136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 sz="28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07109" name="Line 5"/>
            <p:cNvSpPr>
              <a:spLocks noChangeShapeType="1"/>
            </p:cNvSpPr>
            <p:nvPr/>
          </p:nvSpPr>
          <p:spPr bwMode="gray">
            <a:xfrm>
              <a:off x="2960" y="1039"/>
              <a:ext cx="136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 sz="28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07110" name="Line 6"/>
            <p:cNvSpPr>
              <a:spLocks noChangeShapeType="1"/>
            </p:cNvSpPr>
            <p:nvPr/>
          </p:nvSpPr>
          <p:spPr bwMode="gray">
            <a:xfrm>
              <a:off x="2499" y="1120"/>
              <a:ext cx="136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 sz="28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07111" name="Line 7"/>
            <p:cNvSpPr>
              <a:spLocks noChangeShapeType="1"/>
            </p:cNvSpPr>
            <p:nvPr/>
          </p:nvSpPr>
          <p:spPr bwMode="gray">
            <a:xfrm>
              <a:off x="2037" y="1409"/>
              <a:ext cx="136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 sz="28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07112" name="Line 8"/>
            <p:cNvSpPr>
              <a:spLocks noChangeShapeType="1"/>
            </p:cNvSpPr>
            <p:nvPr/>
          </p:nvSpPr>
          <p:spPr bwMode="gray">
            <a:xfrm>
              <a:off x="1105" y="2146"/>
              <a:ext cx="136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 sz="28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07113" name="Line 9"/>
            <p:cNvSpPr>
              <a:spLocks noChangeShapeType="1"/>
            </p:cNvSpPr>
            <p:nvPr/>
          </p:nvSpPr>
          <p:spPr bwMode="gray">
            <a:xfrm>
              <a:off x="643" y="2577"/>
              <a:ext cx="136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 sz="2800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607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bination Cascade – Pie Chart</a:t>
            </a:r>
          </a:p>
        </p:txBody>
      </p:sp>
      <p:sp>
        <p:nvSpPr>
          <p:cNvPr id="2607114" name="Line 10"/>
          <p:cNvSpPr>
            <a:spLocks noChangeShapeType="1"/>
          </p:cNvSpPr>
          <p:nvPr/>
        </p:nvSpPr>
        <p:spPr bwMode="gray">
          <a:xfrm>
            <a:off x="7080250" y="2181446"/>
            <a:ext cx="1881188" cy="48260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en-US" sz="280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2607115" name="Line 11"/>
          <p:cNvSpPr>
            <a:spLocks noChangeShapeType="1"/>
          </p:cNvSpPr>
          <p:nvPr/>
        </p:nvSpPr>
        <p:spPr bwMode="gray">
          <a:xfrm flipH="1">
            <a:off x="7061201" y="4962746"/>
            <a:ext cx="2028825" cy="557212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en-US" sz="2800">
              <a:latin typeface="Baskerville" charset="0"/>
              <a:ea typeface="Baskerville" charset="0"/>
              <a:cs typeface="Baskerville" charset="0"/>
            </a:endParaRPr>
          </a:p>
        </p:txBody>
      </p:sp>
      <p:graphicFrame>
        <p:nvGraphicFramePr>
          <p:cNvPr id="2607116" name="Objec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4574370"/>
              </p:ext>
            </p:extLst>
          </p:nvPr>
        </p:nvGraphicFramePr>
        <p:xfrm>
          <a:off x="7686676" y="2365597"/>
          <a:ext cx="2574925" cy="2917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151" name="Diagramm" r:id="rId6" imgW="2571750" imgH="2914650" progId="MSGraph.Chart.8">
                  <p:embed followColorScheme="full"/>
                </p:oleObj>
              </mc:Choice>
              <mc:Fallback>
                <p:oleObj name="Diagramm" r:id="rId6" imgW="2571750" imgH="2914650" progId="MSGraph.Chart.8">
                  <p:embed followColorScheme="full"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7686676" y="2365597"/>
                        <a:ext cx="2574925" cy="29178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2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9050" algn="ctr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1400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61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ext Model 1</a:t>
            </a:r>
          </a:p>
        </p:txBody>
      </p:sp>
      <p:sp>
        <p:nvSpPr>
          <p:cNvPr id="3036163" name="DPIC_Message_Title"/>
          <p:cNvSpPr txBox="1">
            <a:spLocks noChangeArrowheads="1"/>
          </p:cNvSpPr>
          <p:nvPr/>
        </p:nvSpPr>
        <p:spPr bwMode="gray">
          <a:xfrm>
            <a:off x="1668463" y="377826"/>
            <a:ext cx="6972300" cy="24447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anchor="b"/>
          <a:lstStyle>
            <a:lvl1pPr algn="l" defTabSz="873125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434975" algn="l" defTabSz="873125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873125" algn="l" defTabSz="873125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308100" algn="l" defTabSz="873125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746250" algn="l" defTabSz="873125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203450" defTabSz="8731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660650" defTabSz="8731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117850" defTabSz="8731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575050" defTabSz="8731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buClrTx/>
              <a:buSzTx/>
              <a:buFontTx/>
              <a:buNone/>
            </a:pPr>
            <a:r>
              <a:rPr lang="en-US" sz="1600">
                <a:latin typeface="Arial" pitchFamily="34" charset="0"/>
              </a:rPr>
              <a:t> </a:t>
            </a:r>
          </a:p>
        </p:txBody>
      </p:sp>
      <p:grpSp>
        <p:nvGrpSpPr>
          <p:cNvPr id="3036175" name="Group 15"/>
          <p:cNvGrpSpPr>
            <a:grpSpLocks/>
          </p:cNvGrpSpPr>
          <p:nvPr/>
        </p:nvGrpSpPr>
        <p:grpSpPr bwMode="auto">
          <a:xfrm>
            <a:off x="1906589" y="1490664"/>
            <a:ext cx="8301037" cy="4664075"/>
            <a:chOff x="241" y="939"/>
            <a:chExt cx="5229" cy="2938"/>
          </a:xfrm>
        </p:grpSpPr>
        <p:pic>
          <p:nvPicPr>
            <p:cNvPr id="3036166" name="Picture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072"/>
            <a:stretch>
              <a:fillRect/>
            </a:stretch>
          </p:blipFill>
          <p:spPr bwMode="gray">
            <a:xfrm>
              <a:off x="241" y="939"/>
              <a:ext cx="5229" cy="29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4051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036167" name="Rectangle 7"/>
            <p:cNvSpPr>
              <a:spLocks noChangeArrowheads="1"/>
            </p:cNvSpPr>
            <p:nvPr/>
          </p:nvSpPr>
          <p:spPr bwMode="gray">
            <a:xfrm>
              <a:off x="410" y="1020"/>
              <a:ext cx="2367" cy="6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I ###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36168" name="Rectangle 8"/>
            <p:cNvSpPr>
              <a:spLocks noChangeArrowheads="1"/>
            </p:cNvSpPr>
            <p:nvPr/>
          </p:nvSpPr>
          <p:spPr bwMode="gray">
            <a:xfrm>
              <a:off x="3062" y="1020"/>
              <a:ext cx="2367" cy="6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II ###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36169" name="Rectangle 9"/>
            <p:cNvSpPr>
              <a:spLocks noChangeArrowheads="1"/>
            </p:cNvSpPr>
            <p:nvPr/>
          </p:nvSpPr>
          <p:spPr bwMode="gray">
            <a:xfrm>
              <a:off x="410" y="2525"/>
              <a:ext cx="1515" cy="6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V ###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36170" name="Rectangle 10"/>
            <p:cNvSpPr>
              <a:spLocks noChangeArrowheads="1"/>
            </p:cNvSpPr>
            <p:nvPr/>
          </p:nvSpPr>
          <p:spPr bwMode="gray">
            <a:xfrm>
              <a:off x="2294" y="3161"/>
              <a:ext cx="1190" cy="6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IV ###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36171" name="Rectangle 11"/>
            <p:cNvSpPr>
              <a:spLocks noChangeArrowheads="1"/>
            </p:cNvSpPr>
            <p:nvPr/>
          </p:nvSpPr>
          <p:spPr bwMode="gray">
            <a:xfrm>
              <a:off x="3735" y="2525"/>
              <a:ext cx="1515" cy="6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III ###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36172" name="AutoShape 12"/>
            <p:cNvSpPr>
              <a:spLocks noChangeArrowheads="1"/>
            </p:cNvSpPr>
            <p:nvPr/>
          </p:nvSpPr>
          <p:spPr bwMode="gray">
            <a:xfrm>
              <a:off x="2132" y="2072"/>
              <a:ext cx="1451" cy="674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r>
                <a:rPr lang="en-GB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####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49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9108" name="Oval 4"/>
          <p:cNvSpPr>
            <a:spLocks noChangeArrowheads="1"/>
          </p:cNvSpPr>
          <p:nvPr/>
        </p:nvSpPr>
        <p:spPr bwMode="gray">
          <a:xfrm>
            <a:off x="803988" y="652039"/>
            <a:ext cx="3060201" cy="86558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4000" b="1" dirty="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  <a:t>Matrix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662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04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rtfolio</a:t>
            </a:r>
          </a:p>
        </p:txBody>
      </p:sp>
      <p:grpSp>
        <p:nvGrpSpPr>
          <p:cNvPr id="2580503" name="Group 23"/>
          <p:cNvGrpSpPr>
            <a:grpSpLocks/>
          </p:cNvGrpSpPr>
          <p:nvPr/>
        </p:nvGrpSpPr>
        <p:grpSpPr bwMode="auto">
          <a:xfrm>
            <a:off x="2687870" y="1576452"/>
            <a:ext cx="5887805" cy="4281487"/>
            <a:chOff x="929" y="899"/>
            <a:chExt cx="3553" cy="2697"/>
          </a:xfrm>
        </p:grpSpPr>
        <p:sp>
          <p:nvSpPr>
            <p:cNvPr id="2580484" name="Rectangle 4"/>
            <p:cNvSpPr>
              <a:spLocks noChangeArrowheads="1"/>
            </p:cNvSpPr>
            <p:nvPr/>
          </p:nvSpPr>
          <p:spPr bwMode="gray">
            <a:xfrm>
              <a:off x="1355" y="944"/>
              <a:ext cx="3127" cy="243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0485" name="AutoShape 5"/>
            <p:cNvSpPr>
              <a:spLocks noChangeArrowheads="1"/>
            </p:cNvSpPr>
            <p:nvPr/>
          </p:nvSpPr>
          <p:spPr bwMode="gray">
            <a:xfrm rot="-21600000">
              <a:off x="1355" y="1883"/>
              <a:ext cx="1876" cy="1491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0486" name="AutoShape 6"/>
            <p:cNvSpPr>
              <a:spLocks noChangeArrowheads="1"/>
            </p:cNvSpPr>
            <p:nvPr/>
          </p:nvSpPr>
          <p:spPr bwMode="gray">
            <a:xfrm rot="-10800000">
              <a:off x="2605" y="944"/>
              <a:ext cx="1877" cy="1491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wrap="none" lIns="72000" tIns="72000" rIns="72000" bIns="7200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0487" name="Rectangle 7"/>
            <p:cNvSpPr>
              <a:spLocks noChangeArrowheads="1"/>
            </p:cNvSpPr>
            <p:nvPr/>
          </p:nvSpPr>
          <p:spPr bwMode="gray">
            <a:xfrm>
              <a:off x="1355" y="944"/>
              <a:ext cx="1563" cy="121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0488" name="Rectangle 8"/>
            <p:cNvSpPr>
              <a:spLocks noChangeArrowheads="1"/>
            </p:cNvSpPr>
            <p:nvPr/>
          </p:nvSpPr>
          <p:spPr bwMode="gray">
            <a:xfrm>
              <a:off x="1355" y="2159"/>
              <a:ext cx="1563" cy="121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0489" name="Rectangle 9"/>
            <p:cNvSpPr>
              <a:spLocks noChangeArrowheads="1"/>
            </p:cNvSpPr>
            <p:nvPr/>
          </p:nvSpPr>
          <p:spPr bwMode="gray">
            <a:xfrm>
              <a:off x="2918" y="944"/>
              <a:ext cx="1564" cy="121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0490" name="Rectangle 10"/>
            <p:cNvSpPr>
              <a:spLocks noChangeArrowheads="1"/>
            </p:cNvSpPr>
            <p:nvPr/>
          </p:nvSpPr>
          <p:spPr bwMode="gray">
            <a:xfrm>
              <a:off x="2918" y="2159"/>
              <a:ext cx="1564" cy="121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0491" name="Oval 11"/>
            <p:cNvSpPr>
              <a:spLocks noChangeArrowheads="1"/>
            </p:cNvSpPr>
            <p:nvPr/>
          </p:nvSpPr>
          <p:spPr bwMode="gray">
            <a:xfrm>
              <a:off x="1427" y="1534"/>
              <a:ext cx="593" cy="594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0492" name="Oval 12"/>
            <p:cNvSpPr>
              <a:spLocks noChangeArrowheads="1"/>
            </p:cNvSpPr>
            <p:nvPr/>
          </p:nvSpPr>
          <p:spPr bwMode="gray">
            <a:xfrm>
              <a:off x="2021" y="2848"/>
              <a:ext cx="377" cy="378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0493" name="Oval 13"/>
            <p:cNvSpPr>
              <a:spLocks noChangeArrowheads="1"/>
            </p:cNvSpPr>
            <p:nvPr/>
          </p:nvSpPr>
          <p:spPr bwMode="gray">
            <a:xfrm>
              <a:off x="3623" y="1073"/>
              <a:ext cx="760" cy="76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0494" name="Rectangle 14"/>
            <p:cNvSpPr>
              <a:spLocks noChangeArrowheads="1"/>
            </p:cNvSpPr>
            <p:nvPr/>
          </p:nvSpPr>
          <p:spPr bwMode="gray">
            <a:xfrm>
              <a:off x="1355" y="3422"/>
              <a:ext cx="217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i="1">
                  <a:latin typeface="Baskerville" charset="0"/>
                  <a:ea typeface="Baskerville" charset="0"/>
                  <a:cs typeface="Baskerville" charset="0"/>
                </a:rPr>
                <a:t>low</a:t>
              </a:r>
            </a:p>
          </p:txBody>
        </p:sp>
        <p:sp>
          <p:nvSpPr>
            <p:cNvPr id="2580495" name="Rectangle 15"/>
            <p:cNvSpPr>
              <a:spLocks noChangeArrowheads="1"/>
            </p:cNvSpPr>
            <p:nvPr/>
          </p:nvSpPr>
          <p:spPr bwMode="gray">
            <a:xfrm>
              <a:off x="1075" y="3232"/>
              <a:ext cx="217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i="1">
                  <a:latin typeface="Baskerville" charset="0"/>
                  <a:ea typeface="Baskerville" charset="0"/>
                  <a:cs typeface="Baskerville" charset="0"/>
                </a:rPr>
                <a:t>low</a:t>
              </a:r>
            </a:p>
          </p:txBody>
        </p:sp>
        <p:sp>
          <p:nvSpPr>
            <p:cNvPr id="2580496" name="Rectangle 16"/>
            <p:cNvSpPr>
              <a:spLocks noChangeArrowheads="1"/>
            </p:cNvSpPr>
            <p:nvPr/>
          </p:nvSpPr>
          <p:spPr bwMode="gray">
            <a:xfrm>
              <a:off x="1075" y="899"/>
              <a:ext cx="217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i="1">
                  <a:latin typeface="Baskerville" charset="0"/>
                  <a:ea typeface="Baskerville" charset="0"/>
                  <a:cs typeface="Baskerville" charset="0"/>
                </a:rPr>
                <a:t>high</a:t>
              </a:r>
            </a:p>
          </p:txBody>
        </p:sp>
        <p:sp>
          <p:nvSpPr>
            <p:cNvPr id="2580497" name="Rectangle 17"/>
            <p:cNvSpPr>
              <a:spLocks noChangeArrowheads="1"/>
            </p:cNvSpPr>
            <p:nvPr/>
          </p:nvSpPr>
          <p:spPr bwMode="gray">
            <a:xfrm>
              <a:off x="4265" y="3422"/>
              <a:ext cx="217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i="1">
                  <a:latin typeface="Baskerville" charset="0"/>
                  <a:ea typeface="Baskerville" charset="0"/>
                  <a:cs typeface="Baskerville" charset="0"/>
                </a:rPr>
                <a:t>high</a:t>
              </a:r>
            </a:p>
          </p:txBody>
        </p:sp>
        <p:sp>
          <p:nvSpPr>
            <p:cNvPr id="2580498" name="Rectangle 18"/>
            <p:cNvSpPr>
              <a:spLocks noChangeArrowheads="1"/>
            </p:cNvSpPr>
            <p:nvPr/>
          </p:nvSpPr>
          <p:spPr bwMode="gray">
            <a:xfrm>
              <a:off x="2330" y="3422"/>
              <a:ext cx="119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Attractiveness</a:t>
              </a:r>
            </a:p>
          </p:txBody>
        </p:sp>
        <p:sp>
          <p:nvSpPr>
            <p:cNvPr id="2580499" name="Rectangle 19"/>
            <p:cNvSpPr>
              <a:spLocks noChangeArrowheads="1"/>
            </p:cNvSpPr>
            <p:nvPr/>
          </p:nvSpPr>
          <p:spPr bwMode="gray">
            <a:xfrm>
              <a:off x="929" y="2083"/>
              <a:ext cx="363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ROI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791305"/>
      </p:ext>
    </p:extLst>
  </p:cSld>
  <p:clrMapOvr>
    <a:masterClrMapping/>
  </p:clrMapOvr>
  <p:transition/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2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fference Between Linear and Exponential Portfolios</a:t>
            </a:r>
          </a:p>
        </p:txBody>
      </p:sp>
      <p:grpSp>
        <p:nvGrpSpPr>
          <p:cNvPr id="2582575" name="Group 47"/>
          <p:cNvGrpSpPr>
            <a:grpSpLocks/>
          </p:cNvGrpSpPr>
          <p:nvPr/>
        </p:nvGrpSpPr>
        <p:grpSpPr bwMode="auto">
          <a:xfrm>
            <a:off x="2108200" y="2353840"/>
            <a:ext cx="3924300" cy="3646488"/>
            <a:chOff x="368" y="942"/>
            <a:chExt cx="2472" cy="2297"/>
          </a:xfrm>
        </p:grpSpPr>
        <p:sp>
          <p:nvSpPr>
            <p:cNvPr id="2582533" name="Rectangle 5"/>
            <p:cNvSpPr>
              <a:spLocks noChangeArrowheads="1"/>
            </p:cNvSpPr>
            <p:nvPr/>
          </p:nvSpPr>
          <p:spPr bwMode="gray">
            <a:xfrm>
              <a:off x="368" y="942"/>
              <a:ext cx="2472" cy="28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3600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2534" name="Rectangle 6"/>
            <p:cNvSpPr>
              <a:spLocks noChangeArrowheads="1"/>
            </p:cNvSpPr>
            <p:nvPr/>
          </p:nvSpPr>
          <p:spPr bwMode="gray">
            <a:xfrm>
              <a:off x="368" y="1223"/>
              <a:ext cx="2472" cy="201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2535" name="Rectangle 7"/>
            <p:cNvSpPr>
              <a:spLocks noChangeArrowheads="1"/>
            </p:cNvSpPr>
            <p:nvPr/>
          </p:nvSpPr>
          <p:spPr bwMode="gray">
            <a:xfrm>
              <a:off x="647" y="1314"/>
              <a:ext cx="2082" cy="161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2536" name="AutoShape 8"/>
            <p:cNvSpPr>
              <a:spLocks noChangeArrowheads="1"/>
            </p:cNvSpPr>
            <p:nvPr/>
          </p:nvSpPr>
          <p:spPr bwMode="gray">
            <a:xfrm rot="-21600000">
              <a:off x="647" y="1939"/>
              <a:ext cx="1249" cy="993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2537" name="AutoShape 9"/>
            <p:cNvSpPr>
              <a:spLocks noChangeArrowheads="1"/>
            </p:cNvSpPr>
            <p:nvPr/>
          </p:nvSpPr>
          <p:spPr bwMode="gray">
            <a:xfrm rot="-10800000">
              <a:off x="1480" y="1314"/>
              <a:ext cx="1249" cy="993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2538" name="Rectangle 10"/>
            <p:cNvSpPr>
              <a:spLocks noChangeArrowheads="1"/>
            </p:cNvSpPr>
            <p:nvPr/>
          </p:nvSpPr>
          <p:spPr bwMode="gray">
            <a:xfrm>
              <a:off x="647" y="1314"/>
              <a:ext cx="1041" cy="8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2539" name="Rectangle 11"/>
            <p:cNvSpPr>
              <a:spLocks noChangeArrowheads="1"/>
            </p:cNvSpPr>
            <p:nvPr/>
          </p:nvSpPr>
          <p:spPr bwMode="gray">
            <a:xfrm>
              <a:off x="647" y="2123"/>
              <a:ext cx="1041" cy="8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2540" name="Rectangle 12"/>
            <p:cNvSpPr>
              <a:spLocks noChangeArrowheads="1"/>
            </p:cNvSpPr>
            <p:nvPr/>
          </p:nvSpPr>
          <p:spPr bwMode="gray">
            <a:xfrm>
              <a:off x="1688" y="1314"/>
              <a:ext cx="1041" cy="8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2541" name="Rectangle 13"/>
            <p:cNvSpPr>
              <a:spLocks noChangeArrowheads="1"/>
            </p:cNvSpPr>
            <p:nvPr/>
          </p:nvSpPr>
          <p:spPr bwMode="gray">
            <a:xfrm>
              <a:off x="1688" y="2123"/>
              <a:ext cx="1041" cy="8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2542" name="Oval 14"/>
            <p:cNvSpPr>
              <a:spLocks noChangeArrowheads="1"/>
            </p:cNvSpPr>
            <p:nvPr/>
          </p:nvSpPr>
          <p:spPr bwMode="gray">
            <a:xfrm>
              <a:off x="695" y="1707"/>
              <a:ext cx="395" cy="39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2543" name="Oval 15"/>
            <p:cNvSpPr>
              <a:spLocks noChangeArrowheads="1"/>
            </p:cNvSpPr>
            <p:nvPr/>
          </p:nvSpPr>
          <p:spPr bwMode="gray">
            <a:xfrm>
              <a:off x="1091" y="2547"/>
              <a:ext cx="286" cy="286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2544" name="Oval 16"/>
            <p:cNvSpPr>
              <a:spLocks noChangeArrowheads="1"/>
            </p:cNvSpPr>
            <p:nvPr/>
          </p:nvSpPr>
          <p:spPr bwMode="gray">
            <a:xfrm>
              <a:off x="2157" y="1400"/>
              <a:ext cx="506" cy="507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grpSp>
          <p:nvGrpSpPr>
            <p:cNvPr id="2582571" name="Group 43"/>
            <p:cNvGrpSpPr>
              <a:grpSpLocks/>
            </p:cNvGrpSpPr>
            <p:nvPr/>
          </p:nvGrpSpPr>
          <p:grpSpPr bwMode="auto">
            <a:xfrm>
              <a:off x="394" y="1311"/>
              <a:ext cx="2323" cy="1766"/>
              <a:chOff x="394" y="1305"/>
              <a:chExt cx="2323" cy="1766"/>
            </a:xfrm>
          </p:grpSpPr>
          <p:sp>
            <p:nvSpPr>
              <p:cNvPr id="2582557" name="Rectangle 29"/>
              <p:cNvSpPr>
                <a:spLocks noChangeArrowheads="1"/>
              </p:cNvSpPr>
              <p:nvPr/>
            </p:nvSpPr>
            <p:spPr bwMode="gray">
              <a:xfrm>
                <a:off x="394" y="2815"/>
                <a:ext cx="217" cy="1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algn="r" defTabSz="912813"/>
                <a:r>
                  <a:rPr lang="en-US" sz="1200" i="1">
                    <a:latin typeface="Baskerville" charset="0"/>
                    <a:ea typeface="Baskerville" charset="0"/>
                    <a:cs typeface="Baskerville" charset="0"/>
                  </a:rPr>
                  <a:t>low</a:t>
                </a:r>
              </a:p>
            </p:txBody>
          </p:sp>
          <p:sp>
            <p:nvSpPr>
              <p:cNvPr id="2582558" name="Rectangle 30"/>
              <p:cNvSpPr>
                <a:spLocks noChangeArrowheads="1"/>
              </p:cNvSpPr>
              <p:nvPr/>
            </p:nvSpPr>
            <p:spPr bwMode="gray">
              <a:xfrm>
                <a:off x="394" y="1305"/>
                <a:ext cx="217" cy="1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algn="r" defTabSz="912813"/>
                <a:r>
                  <a:rPr lang="en-US" sz="1200" i="1">
                    <a:latin typeface="Baskerville" charset="0"/>
                    <a:ea typeface="Baskerville" charset="0"/>
                    <a:cs typeface="Baskerville" charset="0"/>
                  </a:rPr>
                  <a:t>high</a:t>
                </a:r>
              </a:p>
            </p:txBody>
          </p:sp>
          <p:sp>
            <p:nvSpPr>
              <p:cNvPr id="2582559" name="Rectangle 31"/>
              <p:cNvSpPr>
                <a:spLocks noChangeArrowheads="1"/>
              </p:cNvSpPr>
              <p:nvPr/>
            </p:nvSpPr>
            <p:spPr bwMode="gray">
              <a:xfrm>
                <a:off x="394" y="2046"/>
                <a:ext cx="217" cy="1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algn="r" defTabSz="912813"/>
                <a:r>
                  <a:rPr lang="en-US" sz="1200" b="1">
                    <a:latin typeface="Baskerville" charset="0"/>
                    <a:ea typeface="Baskerville" charset="0"/>
                    <a:cs typeface="Baskerville" charset="0"/>
                  </a:rPr>
                  <a:t>ROI</a:t>
                </a:r>
              </a:p>
            </p:txBody>
          </p:sp>
          <p:sp>
            <p:nvSpPr>
              <p:cNvPr id="2582560" name="Rectangle 32"/>
              <p:cNvSpPr>
                <a:spLocks noChangeArrowheads="1"/>
              </p:cNvSpPr>
              <p:nvPr/>
            </p:nvSpPr>
            <p:spPr bwMode="gray">
              <a:xfrm>
                <a:off x="647" y="2955"/>
                <a:ext cx="217" cy="1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sz="1200" i="1">
                    <a:latin typeface="Baskerville" charset="0"/>
                    <a:ea typeface="Baskerville" charset="0"/>
                    <a:cs typeface="Baskerville" charset="0"/>
                  </a:rPr>
                  <a:t>low</a:t>
                </a:r>
              </a:p>
            </p:txBody>
          </p:sp>
          <p:sp>
            <p:nvSpPr>
              <p:cNvPr id="2582561" name="Rectangle 33"/>
              <p:cNvSpPr>
                <a:spLocks noChangeArrowheads="1"/>
              </p:cNvSpPr>
              <p:nvPr/>
            </p:nvSpPr>
            <p:spPr bwMode="gray">
              <a:xfrm>
                <a:off x="1088" y="2955"/>
                <a:ext cx="1196" cy="1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sz="1200" b="1">
                    <a:latin typeface="Baskerville" charset="0"/>
                    <a:ea typeface="Baskerville" charset="0"/>
                    <a:cs typeface="Baskerville" charset="0"/>
                  </a:rPr>
                  <a:t>Attractiveness</a:t>
                </a:r>
              </a:p>
            </p:txBody>
          </p:sp>
          <p:sp>
            <p:nvSpPr>
              <p:cNvPr id="2582562" name="Rectangle 34"/>
              <p:cNvSpPr>
                <a:spLocks noChangeArrowheads="1"/>
              </p:cNvSpPr>
              <p:nvPr/>
            </p:nvSpPr>
            <p:spPr bwMode="gray">
              <a:xfrm>
                <a:off x="2500" y="2955"/>
                <a:ext cx="217" cy="1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algn="r" defTabSz="912813"/>
                <a:r>
                  <a:rPr lang="en-US" sz="1200" i="1">
                    <a:latin typeface="Baskerville" charset="0"/>
                    <a:ea typeface="Baskerville" charset="0"/>
                    <a:cs typeface="Baskerville" charset="0"/>
                  </a:rPr>
                  <a:t>high</a:t>
                </a:r>
              </a:p>
            </p:txBody>
          </p:sp>
        </p:grpSp>
      </p:grpSp>
      <p:grpSp>
        <p:nvGrpSpPr>
          <p:cNvPr id="2582576" name="Group 48"/>
          <p:cNvGrpSpPr>
            <a:grpSpLocks/>
          </p:cNvGrpSpPr>
          <p:nvPr/>
        </p:nvGrpSpPr>
        <p:grpSpPr bwMode="auto">
          <a:xfrm>
            <a:off x="6137275" y="2353840"/>
            <a:ext cx="3924300" cy="3646488"/>
            <a:chOff x="2906" y="942"/>
            <a:chExt cx="2472" cy="2297"/>
          </a:xfrm>
        </p:grpSpPr>
        <p:sp>
          <p:nvSpPr>
            <p:cNvPr id="2582532" name="Rectangle 4"/>
            <p:cNvSpPr>
              <a:spLocks noChangeArrowheads="1"/>
            </p:cNvSpPr>
            <p:nvPr/>
          </p:nvSpPr>
          <p:spPr bwMode="gray">
            <a:xfrm>
              <a:off x="2906" y="942"/>
              <a:ext cx="2472" cy="28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3600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2545" name="Rectangle 17"/>
            <p:cNvSpPr>
              <a:spLocks noChangeArrowheads="1"/>
            </p:cNvSpPr>
            <p:nvPr/>
          </p:nvSpPr>
          <p:spPr bwMode="gray">
            <a:xfrm>
              <a:off x="2906" y="1223"/>
              <a:ext cx="2472" cy="201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2546" name="Rectangle 18"/>
            <p:cNvSpPr>
              <a:spLocks noChangeArrowheads="1"/>
            </p:cNvSpPr>
            <p:nvPr/>
          </p:nvSpPr>
          <p:spPr bwMode="gray">
            <a:xfrm>
              <a:off x="3185" y="1314"/>
              <a:ext cx="2082" cy="161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2547" name="AutoShape 19"/>
            <p:cNvSpPr>
              <a:spLocks noChangeArrowheads="1"/>
            </p:cNvSpPr>
            <p:nvPr/>
          </p:nvSpPr>
          <p:spPr bwMode="gray">
            <a:xfrm flipV="1">
              <a:off x="3057" y="1314"/>
              <a:ext cx="1249" cy="993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2549" name="Rectangle 21"/>
            <p:cNvSpPr>
              <a:spLocks noChangeArrowheads="1"/>
            </p:cNvSpPr>
            <p:nvPr/>
          </p:nvSpPr>
          <p:spPr bwMode="gray">
            <a:xfrm>
              <a:off x="3185" y="1314"/>
              <a:ext cx="1041" cy="8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2551" name="Rectangle 23"/>
            <p:cNvSpPr>
              <a:spLocks noChangeArrowheads="1"/>
            </p:cNvSpPr>
            <p:nvPr/>
          </p:nvSpPr>
          <p:spPr bwMode="gray">
            <a:xfrm>
              <a:off x="4226" y="1314"/>
              <a:ext cx="1041" cy="8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2553" name="Oval 25"/>
            <p:cNvSpPr>
              <a:spLocks noChangeArrowheads="1"/>
            </p:cNvSpPr>
            <p:nvPr/>
          </p:nvSpPr>
          <p:spPr bwMode="gray">
            <a:xfrm>
              <a:off x="3233" y="1707"/>
              <a:ext cx="395" cy="39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2554" name="Oval 26"/>
            <p:cNvSpPr>
              <a:spLocks noChangeArrowheads="1"/>
            </p:cNvSpPr>
            <p:nvPr/>
          </p:nvSpPr>
          <p:spPr bwMode="gray">
            <a:xfrm>
              <a:off x="3629" y="2547"/>
              <a:ext cx="286" cy="286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582555" name="Oval 27"/>
            <p:cNvSpPr>
              <a:spLocks noChangeArrowheads="1"/>
            </p:cNvSpPr>
            <p:nvPr/>
          </p:nvSpPr>
          <p:spPr bwMode="gray">
            <a:xfrm>
              <a:off x="4695" y="1400"/>
              <a:ext cx="506" cy="507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grpSp>
          <p:nvGrpSpPr>
            <p:cNvPr id="2582570" name="Group 42"/>
            <p:cNvGrpSpPr>
              <a:grpSpLocks/>
            </p:cNvGrpSpPr>
            <p:nvPr/>
          </p:nvGrpSpPr>
          <p:grpSpPr bwMode="auto">
            <a:xfrm>
              <a:off x="2930" y="1311"/>
              <a:ext cx="2323" cy="1766"/>
              <a:chOff x="2930" y="1305"/>
              <a:chExt cx="2323" cy="1766"/>
            </a:xfrm>
          </p:grpSpPr>
          <p:sp>
            <p:nvSpPr>
              <p:cNvPr id="2582564" name="Rectangle 36"/>
              <p:cNvSpPr>
                <a:spLocks noChangeArrowheads="1"/>
              </p:cNvSpPr>
              <p:nvPr/>
            </p:nvSpPr>
            <p:spPr bwMode="gray">
              <a:xfrm>
                <a:off x="2930" y="2815"/>
                <a:ext cx="217" cy="1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algn="r" defTabSz="912813"/>
                <a:r>
                  <a:rPr lang="en-US" sz="1200" i="1">
                    <a:latin typeface="Baskerville" charset="0"/>
                    <a:ea typeface="Baskerville" charset="0"/>
                    <a:cs typeface="Baskerville" charset="0"/>
                  </a:rPr>
                  <a:t>low</a:t>
                </a:r>
              </a:p>
            </p:txBody>
          </p:sp>
          <p:sp>
            <p:nvSpPr>
              <p:cNvPr id="2582565" name="Rectangle 37"/>
              <p:cNvSpPr>
                <a:spLocks noChangeArrowheads="1"/>
              </p:cNvSpPr>
              <p:nvPr/>
            </p:nvSpPr>
            <p:spPr bwMode="gray">
              <a:xfrm>
                <a:off x="2930" y="1305"/>
                <a:ext cx="217" cy="1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algn="r" defTabSz="912813"/>
                <a:r>
                  <a:rPr lang="en-US" sz="1200" i="1">
                    <a:latin typeface="Baskerville" charset="0"/>
                    <a:ea typeface="Baskerville" charset="0"/>
                    <a:cs typeface="Baskerville" charset="0"/>
                  </a:rPr>
                  <a:t>high</a:t>
                </a:r>
              </a:p>
            </p:txBody>
          </p:sp>
          <p:sp>
            <p:nvSpPr>
              <p:cNvPr id="2582566" name="Rectangle 38"/>
              <p:cNvSpPr>
                <a:spLocks noChangeArrowheads="1"/>
              </p:cNvSpPr>
              <p:nvPr/>
            </p:nvSpPr>
            <p:spPr bwMode="gray">
              <a:xfrm>
                <a:off x="2930" y="2046"/>
                <a:ext cx="217" cy="1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algn="r" defTabSz="912813"/>
                <a:r>
                  <a:rPr lang="en-US" sz="1200" b="1">
                    <a:latin typeface="Baskerville" charset="0"/>
                    <a:ea typeface="Baskerville" charset="0"/>
                    <a:cs typeface="Baskerville" charset="0"/>
                  </a:rPr>
                  <a:t>ROI</a:t>
                </a:r>
              </a:p>
            </p:txBody>
          </p:sp>
          <p:sp>
            <p:nvSpPr>
              <p:cNvPr id="2582567" name="Rectangle 39"/>
              <p:cNvSpPr>
                <a:spLocks noChangeArrowheads="1"/>
              </p:cNvSpPr>
              <p:nvPr/>
            </p:nvSpPr>
            <p:spPr bwMode="gray">
              <a:xfrm>
                <a:off x="3185" y="2955"/>
                <a:ext cx="217" cy="1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sz="1200" i="1">
                    <a:latin typeface="Baskerville" charset="0"/>
                    <a:ea typeface="Baskerville" charset="0"/>
                    <a:cs typeface="Baskerville" charset="0"/>
                  </a:rPr>
                  <a:t>low</a:t>
                </a:r>
              </a:p>
            </p:txBody>
          </p:sp>
          <p:sp>
            <p:nvSpPr>
              <p:cNvPr id="2582568" name="Rectangle 40"/>
              <p:cNvSpPr>
                <a:spLocks noChangeArrowheads="1"/>
              </p:cNvSpPr>
              <p:nvPr/>
            </p:nvSpPr>
            <p:spPr bwMode="gray">
              <a:xfrm>
                <a:off x="3624" y="2955"/>
                <a:ext cx="1196" cy="1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/>
                <a:r>
                  <a:rPr lang="en-US" sz="1200" b="1">
                    <a:latin typeface="Baskerville" charset="0"/>
                    <a:ea typeface="Baskerville" charset="0"/>
                    <a:cs typeface="Baskerville" charset="0"/>
                  </a:rPr>
                  <a:t>Attractiveness</a:t>
                </a:r>
              </a:p>
            </p:txBody>
          </p:sp>
          <p:sp>
            <p:nvSpPr>
              <p:cNvPr id="2582569" name="Rectangle 41"/>
              <p:cNvSpPr>
                <a:spLocks noChangeArrowheads="1"/>
              </p:cNvSpPr>
              <p:nvPr/>
            </p:nvSpPr>
            <p:spPr bwMode="gray">
              <a:xfrm>
                <a:off x="5036" y="2955"/>
                <a:ext cx="217" cy="1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algn="r" defTabSz="912813"/>
                <a:r>
                  <a:rPr lang="en-US" sz="1200" i="1">
                    <a:latin typeface="Baskerville" charset="0"/>
                    <a:ea typeface="Baskerville" charset="0"/>
                    <a:cs typeface="Baskerville" charset="0"/>
                  </a:rPr>
                  <a:t>high</a:t>
                </a:r>
              </a:p>
            </p:txBody>
          </p:sp>
        </p:grpSp>
        <p:sp>
          <p:nvSpPr>
            <p:cNvPr id="2582574" name="AutoShape 46"/>
            <p:cNvSpPr>
              <a:spLocks noChangeArrowheads="1"/>
            </p:cNvSpPr>
            <p:nvPr/>
          </p:nvSpPr>
          <p:spPr bwMode="gray">
            <a:xfrm flipH="1">
              <a:off x="4019" y="1940"/>
              <a:ext cx="1249" cy="993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2550" name="Rectangle 22"/>
            <p:cNvSpPr>
              <a:spLocks noChangeArrowheads="1"/>
            </p:cNvSpPr>
            <p:nvPr/>
          </p:nvSpPr>
          <p:spPr bwMode="gray">
            <a:xfrm>
              <a:off x="3185" y="2123"/>
              <a:ext cx="1041" cy="8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582552" name="Rectangle 24"/>
            <p:cNvSpPr>
              <a:spLocks noChangeArrowheads="1"/>
            </p:cNvSpPr>
            <p:nvPr/>
          </p:nvSpPr>
          <p:spPr bwMode="gray">
            <a:xfrm>
              <a:off x="4226" y="2123"/>
              <a:ext cx="1041" cy="80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5596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55266" name="Group 2"/>
          <p:cNvGrpSpPr>
            <a:grpSpLocks/>
          </p:cNvGrpSpPr>
          <p:nvPr/>
        </p:nvGrpSpPr>
        <p:grpSpPr bwMode="auto">
          <a:xfrm>
            <a:off x="3189289" y="1495426"/>
            <a:ext cx="5265737" cy="4359275"/>
            <a:chOff x="1049" y="1152"/>
            <a:chExt cx="3317" cy="2746"/>
          </a:xfrm>
        </p:grpSpPr>
        <p:sp>
          <p:nvSpPr>
            <p:cNvPr id="2955267" name="Rectangle 3"/>
            <p:cNvSpPr>
              <a:spLocks noChangeArrowheads="1"/>
            </p:cNvSpPr>
            <p:nvPr/>
          </p:nvSpPr>
          <p:spPr bwMode="gray">
            <a:xfrm>
              <a:off x="1368" y="1152"/>
              <a:ext cx="2994" cy="232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endParaRPr lang="de-DE"/>
            </a:p>
          </p:txBody>
        </p:sp>
        <p:sp>
          <p:nvSpPr>
            <p:cNvPr id="2955268" name="Line 4"/>
            <p:cNvSpPr>
              <a:spLocks noChangeShapeType="1"/>
            </p:cNvSpPr>
            <p:nvPr/>
          </p:nvSpPr>
          <p:spPr bwMode="gray">
            <a:xfrm rot="-5400000">
              <a:off x="1711" y="2315"/>
              <a:ext cx="232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endParaRPr lang="en-US"/>
            </a:p>
          </p:txBody>
        </p:sp>
        <p:sp>
          <p:nvSpPr>
            <p:cNvPr id="2955269" name="Text Box 5"/>
            <p:cNvSpPr txBox="1">
              <a:spLocks noChangeArrowheads="1"/>
            </p:cNvSpPr>
            <p:nvPr/>
          </p:nvSpPr>
          <p:spPr bwMode="gray">
            <a:xfrm>
              <a:off x="1049" y="1521"/>
              <a:ext cx="269" cy="4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4800" b="1"/>
                <a:t>+</a:t>
              </a:r>
            </a:p>
          </p:txBody>
        </p:sp>
        <p:sp>
          <p:nvSpPr>
            <p:cNvPr id="2955270" name="Text Box 6"/>
            <p:cNvSpPr txBox="1">
              <a:spLocks noChangeArrowheads="1"/>
            </p:cNvSpPr>
            <p:nvPr/>
          </p:nvSpPr>
          <p:spPr bwMode="gray">
            <a:xfrm>
              <a:off x="1054" y="2649"/>
              <a:ext cx="259" cy="4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4800" b="1"/>
                <a:t>–</a:t>
              </a:r>
            </a:p>
          </p:txBody>
        </p:sp>
        <p:sp>
          <p:nvSpPr>
            <p:cNvPr id="2955271" name="Text Box 7"/>
            <p:cNvSpPr txBox="1">
              <a:spLocks noChangeArrowheads="1"/>
            </p:cNvSpPr>
            <p:nvPr/>
          </p:nvSpPr>
          <p:spPr bwMode="gray">
            <a:xfrm>
              <a:off x="1946" y="3437"/>
              <a:ext cx="382" cy="4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4800" b="1"/>
                <a:t>–</a:t>
              </a:r>
            </a:p>
          </p:txBody>
        </p:sp>
        <p:sp>
          <p:nvSpPr>
            <p:cNvPr id="2955272" name="Text Box 8"/>
            <p:cNvSpPr txBox="1">
              <a:spLocks noChangeArrowheads="1"/>
            </p:cNvSpPr>
            <p:nvPr/>
          </p:nvSpPr>
          <p:spPr bwMode="gray">
            <a:xfrm>
              <a:off x="3391" y="3437"/>
              <a:ext cx="417" cy="4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4800" b="1"/>
                <a:t>+</a:t>
              </a:r>
            </a:p>
          </p:txBody>
        </p:sp>
        <p:sp>
          <p:nvSpPr>
            <p:cNvPr id="2955273" name="Line 9"/>
            <p:cNvSpPr>
              <a:spLocks noChangeShapeType="1"/>
            </p:cNvSpPr>
            <p:nvPr/>
          </p:nvSpPr>
          <p:spPr bwMode="gray">
            <a:xfrm>
              <a:off x="1375" y="2360"/>
              <a:ext cx="2991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</p:grpSp>
      <p:sp>
        <p:nvSpPr>
          <p:cNvPr id="2955274" name="Rectangle 1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rtfolio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9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206559"/>
      </p:ext>
    </p:extLst>
  </p:cSld>
  <p:clrMapOvr>
    <a:masterClrMapping/>
  </p:clrMapOvr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92159" name="Group 31"/>
          <p:cNvGrpSpPr>
            <a:grpSpLocks/>
          </p:cNvGrpSpPr>
          <p:nvPr/>
        </p:nvGrpSpPr>
        <p:grpSpPr bwMode="auto">
          <a:xfrm>
            <a:off x="3819526" y="1716183"/>
            <a:ext cx="4579938" cy="4402138"/>
            <a:chOff x="1446" y="940"/>
            <a:chExt cx="2885" cy="2773"/>
          </a:xfrm>
        </p:grpSpPr>
        <p:sp>
          <p:nvSpPr>
            <p:cNvPr id="2992131" name="Line 3"/>
            <p:cNvSpPr>
              <a:spLocks noChangeShapeType="1"/>
            </p:cNvSpPr>
            <p:nvPr/>
          </p:nvSpPr>
          <p:spPr bwMode="gray">
            <a:xfrm>
              <a:off x="1668" y="940"/>
              <a:ext cx="0" cy="230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2992153" name="Group 25"/>
            <p:cNvGrpSpPr>
              <a:grpSpLocks/>
            </p:cNvGrpSpPr>
            <p:nvPr/>
          </p:nvGrpSpPr>
          <p:grpSpPr bwMode="auto">
            <a:xfrm>
              <a:off x="1935" y="940"/>
              <a:ext cx="2378" cy="2300"/>
              <a:chOff x="1935" y="936"/>
              <a:chExt cx="2378" cy="2300"/>
            </a:xfrm>
          </p:grpSpPr>
          <p:sp>
            <p:nvSpPr>
              <p:cNvPr id="2992136" name="Rectangle 8"/>
              <p:cNvSpPr>
                <a:spLocks noChangeArrowheads="1"/>
              </p:cNvSpPr>
              <p:nvPr/>
            </p:nvSpPr>
            <p:spPr bwMode="gray">
              <a:xfrm>
                <a:off x="1935" y="1701"/>
                <a:ext cx="793" cy="77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92133" name="Rectangle 5"/>
              <p:cNvSpPr>
                <a:spLocks noChangeArrowheads="1"/>
              </p:cNvSpPr>
              <p:nvPr/>
            </p:nvSpPr>
            <p:spPr bwMode="gray">
              <a:xfrm>
                <a:off x="2728" y="1701"/>
                <a:ext cx="792" cy="77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92134" name="Rectangle 6"/>
              <p:cNvSpPr>
                <a:spLocks noChangeArrowheads="1"/>
              </p:cNvSpPr>
              <p:nvPr/>
            </p:nvSpPr>
            <p:spPr bwMode="gray">
              <a:xfrm>
                <a:off x="1935" y="936"/>
                <a:ext cx="793" cy="76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92135" name="Rectangle 7"/>
              <p:cNvSpPr>
                <a:spLocks noChangeArrowheads="1"/>
              </p:cNvSpPr>
              <p:nvPr/>
            </p:nvSpPr>
            <p:spPr bwMode="gray">
              <a:xfrm>
                <a:off x="2728" y="936"/>
                <a:ext cx="792" cy="76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92137" name="Rectangle 9"/>
              <p:cNvSpPr>
                <a:spLocks noChangeArrowheads="1"/>
              </p:cNvSpPr>
              <p:nvPr/>
            </p:nvSpPr>
            <p:spPr bwMode="gray">
              <a:xfrm>
                <a:off x="3520" y="1701"/>
                <a:ext cx="793" cy="77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92138" name="Rectangle 10"/>
              <p:cNvSpPr>
                <a:spLocks noChangeArrowheads="1"/>
              </p:cNvSpPr>
              <p:nvPr/>
            </p:nvSpPr>
            <p:spPr bwMode="gray">
              <a:xfrm>
                <a:off x="1935" y="2467"/>
                <a:ext cx="793" cy="76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92139" name="Rectangle 11"/>
              <p:cNvSpPr>
                <a:spLocks noChangeArrowheads="1"/>
              </p:cNvSpPr>
              <p:nvPr/>
            </p:nvSpPr>
            <p:spPr bwMode="gray">
              <a:xfrm>
                <a:off x="2728" y="2467"/>
                <a:ext cx="792" cy="76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92140" name="Rectangle 12"/>
              <p:cNvSpPr>
                <a:spLocks noChangeArrowheads="1"/>
              </p:cNvSpPr>
              <p:nvPr/>
            </p:nvSpPr>
            <p:spPr bwMode="gray">
              <a:xfrm>
                <a:off x="3520" y="2467"/>
                <a:ext cx="793" cy="76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92141" name="Rectangle 13"/>
              <p:cNvSpPr>
                <a:spLocks noChangeArrowheads="1"/>
              </p:cNvSpPr>
              <p:nvPr/>
            </p:nvSpPr>
            <p:spPr bwMode="gray">
              <a:xfrm>
                <a:off x="3520" y="936"/>
                <a:ext cx="793" cy="76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sp>
          <p:nvSpPr>
            <p:cNvPr id="2992142" name="Rectangle 14"/>
            <p:cNvSpPr>
              <a:spLocks noChangeArrowheads="1"/>
            </p:cNvSpPr>
            <p:nvPr/>
          </p:nvSpPr>
          <p:spPr bwMode="gray">
            <a:xfrm rot="16200000">
              <a:off x="851" y="2010"/>
              <a:ext cx="1345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Competitor´s Position</a:t>
              </a:r>
            </a:p>
          </p:txBody>
        </p:sp>
        <p:sp>
          <p:nvSpPr>
            <p:cNvPr id="2992143" name="Rectangle 15"/>
            <p:cNvSpPr>
              <a:spLocks noChangeArrowheads="1"/>
            </p:cNvSpPr>
            <p:nvPr/>
          </p:nvSpPr>
          <p:spPr bwMode="gray">
            <a:xfrm rot="16200000">
              <a:off x="1667" y="2774"/>
              <a:ext cx="22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Low</a:t>
              </a:r>
            </a:p>
          </p:txBody>
        </p:sp>
        <p:sp>
          <p:nvSpPr>
            <p:cNvPr id="2992144" name="Rectangle 16"/>
            <p:cNvSpPr>
              <a:spLocks noChangeArrowheads="1"/>
            </p:cNvSpPr>
            <p:nvPr/>
          </p:nvSpPr>
          <p:spPr bwMode="gray">
            <a:xfrm rot="16200000">
              <a:off x="1557" y="2019"/>
              <a:ext cx="448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Medium</a:t>
              </a:r>
            </a:p>
          </p:txBody>
        </p:sp>
        <p:sp>
          <p:nvSpPr>
            <p:cNvPr id="2992145" name="Rectangle 17"/>
            <p:cNvSpPr>
              <a:spLocks noChangeArrowheads="1"/>
            </p:cNvSpPr>
            <p:nvPr/>
          </p:nvSpPr>
          <p:spPr bwMode="gray">
            <a:xfrm rot="16200000">
              <a:off x="1654" y="1247"/>
              <a:ext cx="26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High</a:t>
              </a:r>
            </a:p>
          </p:txBody>
        </p:sp>
        <p:sp>
          <p:nvSpPr>
            <p:cNvPr id="2992146" name="Rectangle 18"/>
            <p:cNvSpPr>
              <a:spLocks noChangeArrowheads="1"/>
            </p:cNvSpPr>
            <p:nvPr/>
          </p:nvSpPr>
          <p:spPr bwMode="gray">
            <a:xfrm>
              <a:off x="2422" y="3558"/>
              <a:ext cx="190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Product/Market Attractiveness</a:t>
              </a:r>
            </a:p>
          </p:txBody>
        </p:sp>
        <p:sp>
          <p:nvSpPr>
            <p:cNvPr id="2992147" name="Rectangle 19"/>
            <p:cNvSpPr>
              <a:spLocks noChangeArrowheads="1"/>
            </p:cNvSpPr>
            <p:nvPr/>
          </p:nvSpPr>
          <p:spPr bwMode="gray">
            <a:xfrm>
              <a:off x="2239" y="3300"/>
              <a:ext cx="229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Low</a:t>
              </a:r>
            </a:p>
          </p:txBody>
        </p:sp>
        <p:sp>
          <p:nvSpPr>
            <p:cNvPr id="2992148" name="Rectangle 20"/>
            <p:cNvSpPr>
              <a:spLocks noChangeArrowheads="1"/>
            </p:cNvSpPr>
            <p:nvPr/>
          </p:nvSpPr>
          <p:spPr bwMode="gray">
            <a:xfrm>
              <a:off x="2959" y="3300"/>
              <a:ext cx="448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Medium</a:t>
              </a:r>
            </a:p>
          </p:txBody>
        </p:sp>
        <p:sp>
          <p:nvSpPr>
            <p:cNvPr id="2992149" name="Rectangle 21"/>
            <p:cNvSpPr>
              <a:spLocks noChangeArrowheads="1"/>
            </p:cNvSpPr>
            <p:nvPr/>
          </p:nvSpPr>
          <p:spPr bwMode="gray">
            <a:xfrm>
              <a:off x="3858" y="3300"/>
              <a:ext cx="26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813">
                <a:spcAft>
                  <a:spcPct val="0"/>
                </a:spcAft>
              </a:pPr>
              <a:r>
                <a:rPr lang="en-US" sz="1600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High</a:t>
              </a:r>
            </a:p>
          </p:txBody>
        </p:sp>
        <p:sp>
          <p:nvSpPr>
            <p:cNvPr id="2992150" name="Line 22"/>
            <p:cNvSpPr>
              <a:spLocks noChangeShapeType="1"/>
            </p:cNvSpPr>
            <p:nvPr/>
          </p:nvSpPr>
          <p:spPr bwMode="gray">
            <a:xfrm>
              <a:off x="1935" y="3480"/>
              <a:ext cx="237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992151" name="Rectangle 2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usiness Portfolio I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9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9556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41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usiness Portfolio VII</a:t>
            </a:r>
          </a:p>
        </p:txBody>
      </p:sp>
      <p:grpSp>
        <p:nvGrpSpPr>
          <p:cNvPr id="2994198" name="Group 22"/>
          <p:cNvGrpSpPr>
            <a:grpSpLocks/>
          </p:cNvGrpSpPr>
          <p:nvPr/>
        </p:nvGrpSpPr>
        <p:grpSpPr bwMode="auto">
          <a:xfrm>
            <a:off x="3606801" y="2055262"/>
            <a:ext cx="5038725" cy="4246563"/>
            <a:chOff x="1312" y="942"/>
            <a:chExt cx="3174" cy="2675"/>
          </a:xfrm>
          <a:solidFill>
            <a:schemeClr val="bg1"/>
          </a:solidFill>
        </p:grpSpPr>
        <p:sp>
          <p:nvSpPr>
            <p:cNvPr id="2994180" name="Text Box 4"/>
            <p:cNvSpPr txBox="1">
              <a:spLocks noChangeArrowheads="1"/>
            </p:cNvSpPr>
            <p:nvPr/>
          </p:nvSpPr>
          <p:spPr bwMode="gray">
            <a:xfrm>
              <a:off x="1312" y="1242"/>
              <a:ext cx="231" cy="192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sz="2800" b="1">
                  <a:latin typeface="Baskerville" charset="0"/>
                  <a:ea typeface="Baskerville" charset="0"/>
                  <a:cs typeface="Baskerville" charset="0"/>
                </a:rPr>
                <a:t>++</a:t>
              </a:r>
            </a:p>
          </p:txBody>
        </p:sp>
        <p:sp>
          <p:nvSpPr>
            <p:cNvPr id="2994181" name="Text Box 5"/>
            <p:cNvSpPr txBox="1">
              <a:spLocks noChangeArrowheads="1"/>
            </p:cNvSpPr>
            <p:nvPr/>
          </p:nvSpPr>
          <p:spPr bwMode="gray">
            <a:xfrm>
              <a:off x="1359" y="2034"/>
              <a:ext cx="138" cy="192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sz="2800" b="1">
                  <a:latin typeface="Baskerville" charset="0"/>
                  <a:ea typeface="Baskerville" charset="0"/>
                  <a:cs typeface="Baskerville" charset="0"/>
                </a:rPr>
                <a:t>+</a:t>
              </a:r>
            </a:p>
          </p:txBody>
        </p:sp>
        <p:sp>
          <p:nvSpPr>
            <p:cNvPr id="2994182" name="Text Box 6"/>
            <p:cNvSpPr txBox="1">
              <a:spLocks noChangeArrowheads="1"/>
            </p:cNvSpPr>
            <p:nvPr/>
          </p:nvSpPr>
          <p:spPr bwMode="gray">
            <a:xfrm>
              <a:off x="1361" y="2825"/>
              <a:ext cx="134" cy="192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sz="2800" b="1">
                  <a:latin typeface="Baskerville" charset="0"/>
                  <a:ea typeface="Baskerville" charset="0"/>
                  <a:cs typeface="Baskerville" charset="0"/>
                </a:rPr>
                <a:t>–</a:t>
              </a:r>
            </a:p>
          </p:txBody>
        </p:sp>
        <p:sp>
          <p:nvSpPr>
            <p:cNvPr id="2994183" name="Text Box 7"/>
            <p:cNvSpPr txBox="1">
              <a:spLocks noChangeArrowheads="1"/>
            </p:cNvSpPr>
            <p:nvPr/>
          </p:nvSpPr>
          <p:spPr bwMode="gray">
            <a:xfrm>
              <a:off x="2054" y="3425"/>
              <a:ext cx="264" cy="192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sz="2800" b="1">
                  <a:latin typeface="Baskerville" charset="0"/>
                  <a:ea typeface="Baskerville" charset="0"/>
                  <a:cs typeface="Baskerville" charset="0"/>
                </a:rPr>
                <a:t>–</a:t>
              </a:r>
            </a:p>
          </p:txBody>
        </p:sp>
        <p:sp>
          <p:nvSpPr>
            <p:cNvPr id="2994184" name="Text Box 8"/>
            <p:cNvSpPr txBox="1">
              <a:spLocks noChangeArrowheads="1"/>
            </p:cNvSpPr>
            <p:nvPr/>
          </p:nvSpPr>
          <p:spPr bwMode="gray">
            <a:xfrm>
              <a:off x="2970" y="3425"/>
              <a:ext cx="271" cy="192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sz="2800" b="1">
                  <a:latin typeface="Baskerville" charset="0"/>
                  <a:ea typeface="Baskerville" charset="0"/>
                  <a:cs typeface="Baskerville" charset="0"/>
                </a:rPr>
                <a:t>+</a:t>
              </a:r>
            </a:p>
          </p:txBody>
        </p:sp>
        <p:sp>
          <p:nvSpPr>
            <p:cNvPr id="2994185" name="Text Box 9"/>
            <p:cNvSpPr txBox="1">
              <a:spLocks noChangeArrowheads="1"/>
            </p:cNvSpPr>
            <p:nvPr/>
          </p:nvSpPr>
          <p:spPr bwMode="gray">
            <a:xfrm>
              <a:off x="3798" y="3425"/>
              <a:ext cx="456" cy="192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sz="2800" b="1">
                  <a:latin typeface="Baskerville" charset="0"/>
                  <a:ea typeface="Baskerville" charset="0"/>
                  <a:cs typeface="Baskerville" charset="0"/>
                </a:rPr>
                <a:t>++</a:t>
              </a:r>
            </a:p>
          </p:txBody>
        </p:sp>
        <p:grpSp>
          <p:nvGrpSpPr>
            <p:cNvPr id="2994186" name="Group 10"/>
            <p:cNvGrpSpPr>
              <a:grpSpLocks/>
            </p:cNvGrpSpPr>
            <p:nvPr/>
          </p:nvGrpSpPr>
          <p:grpSpPr bwMode="auto">
            <a:xfrm>
              <a:off x="1726" y="942"/>
              <a:ext cx="2760" cy="2375"/>
              <a:chOff x="1702" y="942"/>
              <a:chExt cx="2760" cy="2375"/>
            </a:xfrm>
            <a:grpFill/>
          </p:grpSpPr>
          <p:sp>
            <p:nvSpPr>
              <p:cNvPr id="2994187" name="Rectangle 11"/>
              <p:cNvSpPr>
                <a:spLocks noChangeArrowheads="1"/>
              </p:cNvSpPr>
              <p:nvPr/>
            </p:nvSpPr>
            <p:spPr bwMode="gray">
              <a:xfrm>
                <a:off x="1702" y="2525"/>
                <a:ext cx="920" cy="792"/>
              </a:xfrm>
              <a:prstGeom prst="rect">
                <a:avLst/>
              </a:prstGeom>
              <a:grp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72000" tIns="36000" rIns="0" bIns="0"/>
              <a:lstStyle/>
              <a:p>
                <a:pPr defTabSz="912813"/>
                <a:r>
                  <a:rPr lang="de-DE" sz="11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 sz="11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94188" name="Rectangle 12"/>
              <p:cNvSpPr>
                <a:spLocks noChangeArrowheads="1"/>
              </p:cNvSpPr>
              <p:nvPr/>
            </p:nvSpPr>
            <p:spPr bwMode="gray">
              <a:xfrm>
                <a:off x="2622" y="2525"/>
                <a:ext cx="920" cy="792"/>
              </a:xfrm>
              <a:prstGeom prst="rect">
                <a:avLst/>
              </a:prstGeom>
              <a:grp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72000" tIns="36000" rIns="0" bIns="0"/>
              <a:lstStyle/>
              <a:p>
                <a:pPr defTabSz="912813"/>
                <a:r>
                  <a:rPr lang="de-DE" sz="11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 sz="11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94189" name="Rectangle 13"/>
              <p:cNvSpPr>
                <a:spLocks noChangeArrowheads="1"/>
              </p:cNvSpPr>
              <p:nvPr/>
            </p:nvSpPr>
            <p:spPr bwMode="gray">
              <a:xfrm>
                <a:off x="3542" y="2525"/>
                <a:ext cx="920" cy="792"/>
              </a:xfrm>
              <a:prstGeom prst="rect">
                <a:avLst/>
              </a:prstGeom>
              <a:grp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72000" tIns="36000" rIns="0" bIns="0"/>
              <a:lstStyle/>
              <a:p>
                <a:pPr defTabSz="912813"/>
                <a:r>
                  <a:rPr lang="de-DE" sz="11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 sz="11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94190" name="Rectangle 14"/>
              <p:cNvSpPr>
                <a:spLocks noChangeArrowheads="1"/>
              </p:cNvSpPr>
              <p:nvPr/>
            </p:nvSpPr>
            <p:spPr bwMode="gray">
              <a:xfrm>
                <a:off x="1702" y="1734"/>
                <a:ext cx="920" cy="791"/>
              </a:xfrm>
              <a:prstGeom prst="rect">
                <a:avLst/>
              </a:prstGeom>
              <a:grp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72000" tIns="36000" rIns="0" bIns="0"/>
              <a:lstStyle/>
              <a:p>
                <a:pPr defTabSz="912813"/>
                <a:r>
                  <a:rPr lang="de-DE" sz="11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 sz="11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94191" name="Rectangle 15"/>
              <p:cNvSpPr>
                <a:spLocks noChangeArrowheads="1"/>
              </p:cNvSpPr>
              <p:nvPr/>
            </p:nvSpPr>
            <p:spPr bwMode="gray">
              <a:xfrm>
                <a:off x="2622" y="1734"/>
                <a:ext cx="920" cy="791"/>
              </a:xfrm>
              <a:prstGeom prst="rect">
                <a:avLst/>
              </a:prstGeom>
              <a:grp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72000" tIns="36000" rIns="0" bIns="0"/>
              <a:lstStyle/>
              <a:p>
                <a:pPr defTabSz="912813"/>
                <a:r>
                  <a:rPr lang="de-DE" sz="11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 sz="11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94192" name="Rectangle 16"/>
              <p:cNvSpPr>
                <a:spLocks noChangeArrowheads="1"/>
              </p:cNvSpPr>
              <p:nvPr/>
            </p:nvSpPr>
            <p:spPr bwMode="gray">
              <a:xfrm>
                <a:off x="3542" y="1734"/>
                <a:ext cx="920" cy="791"/>
              </a:xfrm>
              <a:prstGeom prst="rect">
                <a:avLst/>
              </a:prstGeom>
              <a:grp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72000" tIns="36000" rIns="0" bIns="0"/>
              <a:lstStyle/>
              <a:p>
                <a:pPr defTabSz="912813"/>
                <a:r>
                  <a:rPr lang="de-DE" sz="11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 sz="11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94193" name="Rectangle 17"/>
              <p:cNvSpPr>
                <a:spLocks noChangeArrowheads="1"/>
              </p:cNvSpPr>
              <p:nvPr/>
            </p:nvSpPr>
            <p:spPr bwMode="gray">
              <a:xfrm>
                <a:off x="1702" y="942"/>
                <a:ext cx="920" cy="792"/>
              </a:xfrm>
              <a:prstGeom prst="rect">
                <a:avLst/>
              </a:prstGeom>
              <a:grp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72000" tIns="36000" rIns="0" bIns="0"/>
              <a:lstStyle/>
              <a:p>
                <a:pPr defTabSz="912813"/>
                <a:r>
                  <a:rPr lang="de-DE" sz="11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 sz="11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94194" name="Rectangle 18"/>
              <p:cNvSpPr>
                <a:spLocks noChangeArrowheads="1"/>
              </p:cNvSpPr>
              <p:nvPr/>
            </p:nvSpPr>
            <p:spPr bwMode="gray">
              <a:xfrm>
                <a:off x="2622" y="942"/>
                <a:ext cx="920" cy="792"/>
              </a:xfrm>
              <a:prstGeom prst="rect">
                <a:avLst/>
              </a:prstGeom>
              <a:grp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72000" tIns="36000" rIns="0" bIns="0"/>
              <a:lstStyle/>
              <a:p>
                <a:pPr defTabSz="912813"/>
                <a:r>
                  <a:rPr lang="de-DE" sz="11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 sz="11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94195" name="Rectangle 19"/>
              <p:cNvSpPr>
                <a:spLocks noChangeArrowheads="1"/>
              </p:cNvSpPr>
              <p:nvPr/>
            </p:nvSpPr>
            <p:spPr bwMode="gray">
              <a:xfrm>
                <a:off x="3542" y="942"/>
                <a:ext cx="920" cy="792"/>
              </a:xfrm>
              <a:prstGeom prst="rect">
                <a:avLst/>
              </a:prstGeom>
              <a:grp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72000" tIns="36000" rIns="0" bIns="0"/>
              <a:lstStyle/>
              <a:p>
                <a:pPr defTabSz="912813"/>
                <a:r>
                  <a:rPr lang="de-DE" sz="11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 sz="11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9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090741"/>
      </p:ext>
    </p:extLst>
  </p:cSld>
  <p:clrMapOvr>
    <a:masterClrMapping/>
  </p:clrMapOvr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0132" name="Oval 4"/>
          <p:cNvSpPr>
            <a:spLocks noChangeArrowheads="1"/>
          </p:cNvSpPr>
          <p:nvPr/>
        </p:nvSpPr>
        <p:spPr bwMode="gray">
          <a:xfrm>
            <a:off x="572277" y="607571"/>
            <a:ext cx="3529781" cy="86558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4000" b="1" dirty="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  <a:t>Timetab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9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813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5351" name="Rectangle 3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chedule</a:t>
            </a:r>
          </a:p>
        </p:txBody>
      </p:sp>
      <p:grpSp>
        <p:nvGrpSpPr>
          <p:cNvPr id="3085359" name="Group 47"/>
          <p:cNvGrpSpPr>
            <a:grpSpLocks/>
          </p:cNvGrpSpPr>
          <p:nvPr/>
        </p:nvGrpSpPr>
        <p:grpSpPr bwMode="auto">
          <a:xfrm>
            <a:off x="1914526" y="1497013"/>
            <a:ext cx="8289925" cy="4648200"/>
            <a:chOff x="246" y="943"/>
            <a:chExt cx="5222" cy="2928"/>
          </a:xfrm>
        </p:grpSpPr>
        <p:sp>
          <p:nvSpPr>
            <p:cNvPr id="3085314" name="Rectangle 2"/>
            <p:cNvSpPr>
              <a:spLocks noChangeArrowheads="1"/>
            </p:cNvSpPr>
            <p:nvPr/>
          </p:nvSpPr>
          <p:spPr bwMode="gray">
            <a:xfrm>
              <a:off x="1499" y="1367"/>
              <a:ext cx="3873" cy="2504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de-DE" b="1"/>
            </a:p>
          </p:txBody>
        </p:sp>
        <p:sp>
          <p:nvSpPr>
            <p:cNvPr id="3085315" name="AutoShape 3"/>
            <p:cNvSpPr>
              <a:spLocks noChangeArrowheads="1"/>
            </p:cNvSpPr>
            <p:nvPr/>
          </p:nvSpPr>
          <p:spPr bwMode="gray">
            <a:xfrm>
              <a:off x="246" y="943"/>
              <a:ext cx="5222" cy="422"/>
            </a:xfrm>
            <a:prstGeom prst="homePlate">
              <a:avLst>
                <a:gd name="adj" fmla="val 22400"/>
              </a:avLst>
            </a:prstGeom>
            <a:solidFill>
              <a:srgbClr val="D0D0D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de-DE" b="1"/>
            </a:p>
          </p:txBody>
        </p:sp>
        <p:sp>
          <p:nvSpPr>
            <p:cNvPr id="3085316" name="Line 4"/>
            <p:cNvSpPr>
              <a:spLocks noChangeShapeType="1"/>
            </p:cNvSpPr>
            <p:nvPr/>
          </p:nvSpPr>
          <p:spPr bwMode="gray">
            <a:xfrm>
              <a:off x="246" y="947"/>
              <a:ext cx="1090" cy="41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3085317" name="Text Box 5"/>
            <p:cNvSpPr txBox="1">
              <a:spLocks noChangeArrowheads="1"/>
            </p:cNvSpPr>
            <p:nvPr/>
          </p:nvSpPr>
          <p:spPr bwMode="gray">
            <a:xfrm>
              <a:off x="1268" y="1212"/>
              <a:ext cx="172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r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Day</a:t>
              </a:r>
              <a:endParaRPr lang="en-US" sz="1200" b="1"/>
            </a:p>
          </p:txBody>
        </p:sp>
        <p:sp>
          <p:nvSpPr>
            <p:cNvPr id="3085318" name="Text Box 6"/>
            <p:cNvSpPr txBox="1">
              <a:spLocks noChangeArrowheads="1"/>
            </p:cNvSpPr>
            <p:nvPr/>
          </p:nvSpPr>
          <p:spPr bwMode="gray">
            <a:xfrm>
              <a:off x="1161" y="1003"/>
              <a:ext cx="279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r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Month</a:t>
              </a:r>
              <a:endParaRPr lang="en-US" sz="1200" b="1"/>
            </a:p>
          </p:txBody>
        </p:sp>
        <p:sp>
          <p:nvSpPr>
            <p:cNvPr id="3085319" name="Text Box 7"/>
            <p:cNvSpPr txBox="1">
              <a:spLocks noChangeArrowheads="1"/>
            </p:cNvSpPr>
            <p:nvPr/>
          </p:nvSpPr>
          <p:spPr bwMode="gray">
            <a:xfrm>
              <a:off x="1560" y="1014"/>
              <a:ext cx="3780" cy="1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Text</a:t>
              </a:r>
              <a:endParaRPr lang="en-US" sz="1200" b="1"/>
            </a:p>
          </p:txBody>
        </p:sp>
        <p:sp>
          <p:nvSpPr>
            <p:cNvPr id="3085320" name="Text Box 8"/>
            <p:cNvSpPr txBox="1">
              <a:spLocks noChangeArrowheads="1"/>
            </p:cNvSpPr>
            <p:nvPr/>
          </p:nvSpPr>
          <p:spPr bwMode="gray">
            <a:xfrm>
              <a:off x="1553" y="1212"/>
              <a:ext cx="14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01</a:t>
              </a:r>
              <a:endParaRPr lang="en-US" sz="1200" b="1"/>
            </a:p>
          </p:txBody>
        </p:sp>
        <p:sp>
          <p:nvSpPr>
            <p:cNvPr id="3085321" name="Text Box 9"/>
            <p:cNvSpPr txBox="1">
              <a:spLocks noChangeArrowheads="1"/>
            </p:cNvSpPr>
            <p:nvPr/>
          </p:nvSpPr>
          <p:spPr bwMode="gray">
            <a:xfrm>
              <a:off x="1812" y="1212"/>
              <a:ext cx="14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02</a:t>
              </a:r>
            </a:p>
          </p:txBody>
        </p:sp>
        <p:sp>
          <p:nvSpPr>
            <p:cNvPr id="3085322" name="Text Box 10"/>
            <p:cNvSpPr txBox="1">
              <a:spLocks noChangeArrowheads="1"/>
            </p:cNvSpPr>
            <p:nvPr/>
          </p:nvSpPr>
          <p:spPr bwMode="gray">
            <a:xfrm>
              <a:off x="2072" y="1212"/>
              <a:ext cx="142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03</a:t>
              </a:r>
            </a:p>
          </p:txBody>
        </p:sp>
        <p:sp>
          <p:nvSpPr>
            <p:cNvPr id="3085323" name="Text Box 11"/>
            <p:cNvSpPr txBox="1">
              <a:spLocks noChangeArrowheads="1"/>
            </p:cNvSpPr>
            <p:nvPr/>
          </p:nvSpPr>
          <p:spPr bwMode="gray">
            <a:xfrm>
              <a:off x="2328" y="1212"/>
              <a:ext cx="14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04</a:t>
              </a:r>
            </a:p>
          </p:txBody>
        </p:sp>
        <p:sp>
          <p:nvSpPr>
            <p:cNvPr id="3085324" name="Text Box 12"/>
            <p:cNvSpPr txBox="1">
              <a:spLocks noChangeArrowheads="1"/>
            </p:cNvSpPr>
            <p:nvPr/>
          </p:nvSpPr>
          <p:spPr bwMode="gray">
            <a:xfrm>
              <a:off x="2586" y="1212"/>
              <a:ext cx="14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05</a:t>
              </a:r>
            </a:p>
          </p:txBody>
        </p:sp>
        <p:sp>
          <p:nvSpPr>
            <p:cNvPr id="3085325" name="Text Box 13"/>
            <p:cNvSpPr txBox="1">
              <a:spLocks noChangeArrowheads="1"/>
            </p:cNvSpPr>
            <p:nvPr/>
          </p:nvSpPr>
          <p:spPr bwMode="gray">
            <a:xfrm>
              <a:off x="2845" y="1212"/>
              <a:ext cx="14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06</a:t>
              </a:r>
            </a:p>
          </p:txBody>
        </p:sp>
        <p:sp>
          <p:nvSpPr>
            <p:cNvPr id="3085326" name="Text Box 14"/>
            <p:cNvSpPr txBox="1">
              <a:spLocks noChangeArrowheads="1"/>
            </p:cNvSpPr>
            <p:nvPr/>
          </p:nvSpPr>
          <p:spPr bwMode="gray">
            <a:xfrm>
              <a:off x="3105" y="1212"/>
              <a:ext cx="14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07</a:t>
              </a:r>
            </a:p>
          </p:txBody>
        </p:sp>
        <p:sp>
          <p:nvSpPr>
            <p:cNvPr id="3085327" name="Text Box 15"/>
            <p:cNvSpPr txBox="1">
              <a:spLocks noChangeArrowheads="1"/>
            </p:cNvSpPr>
            <p:nvPr/>
          </p:nvSpPr>
          <p:spPr bwMode="gray">
            <a:xfrm>
              <a:off x="3363" y="1212"/>
              <a:ext cx="14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08</a:t>
              </a:r>
            </a:p>
          </p:txBody>
        </p:sp>
        <p:sp>
          <p:nvSpPr>
            <p:cNvPr id="3085328" name="Text Box 16"/>
            <p:cNvSpPr txBox="1">
              <a:spLocks noChangeArrowheads="1"/>
            </p:cNvSpPr>
            <p:nvPr/>
          </p:nvSpPr>
          <p:spPr bwMode="gray">
            <a:xfrm>
              <a:off x="3623" y="1212"/>
              <a:ext cx="14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09</a:t>
              </a:r>
            </a:p>
          </p:txBody>
        </p:sp>
        <p:sp>
          <p:nvSpPr>
            <p:cNvPr id="3085329" name="Text Box 17"/>
            <p:cNvSpPr txBox="1">
              <a:spLocks noChangeArrowheads="1"/>
            </p:cNvSpPr>
            <p:nvPr/>
          </p:nvSpPr>
          <p:spPr bwMode="gray">
            <a:xfrm>
              <a:off x="3881" y="1212"/>
              <a:ext cx="14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10</a:t>
              </a:r>
            </a:p>
          </p:txBody>
        </p:sp>
        <p:sp>
          <p:nvSpPr>
            <p:cNvPr id="3085330" name="Text Box 18"/>
            <p:cNvSpPr txBox="1">
              <a:spLocks noChangeArrowheads="1"/>
            </p:cNvSpPr>
            <p:nvPr/>
          </p:nvSpPr>
          <p:spPr bwMode="gray">
            <a:xfrm>
              <a:off x="4139" y="1212"/>
              <a:ext cx="14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11</a:t>
              </a:r>
            </a:p>
          </p:txBody>
        </p:sp>
        <p:sp>
          <p:nvSpPr>
            <p:cNvPr id="3085331" name="Text Box 19"/>
            <p:cNvSpPr txBox="1">
              <a:spLocks noChangeArrowheads="1"/>
            </p:cNvSpPr>
            <p:nvPr/>
          </p:nvSpPr>
          <p:spPr bwMode="gray">
            <a:xfrm>
              <a:off x="4397" y="1212"/>
              <a:ext cx="14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12</a:t>
              </a:r>
            </a:p>
          </p:txBody>
        </p:sp>
        <p:sp>
          <p:nvSpPr>
            <p:cNvPr id="3085332" name="Text Box 20"/>
            <p:cNvSpPr txBox="1">
              <a:spLocks noChangeArrowheads="1"/>
            </p:cNvSpPr>
            <p:nvPr/>
          </p:nvSpPr>
          <p:spPr bwMode="gray">
            <a:xfrm>
              <a:off x="4655" y="1212"/>
              <a:ext cx="14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13</a:t>
              </a:r>
            </a:p>
          </p:txBody>
        </p:sp>
        <p:sp>
          <p:nvSpPr>
            <p:cNvPr id="3085333" name="Text Box 21"/>
            <p:cNvSpPr txBox="1">
              <a:spLocks noChangeArrowheads="1"/>
            </p:cNvSpPr>
            <p:nvPr/>
          </p:nvSpPr>
          <p:spPr bwMode="gray">
            <a:xfrm>
              <a:off x="4915" y="1212"/>
              <a:ext cx="14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14</a:t>
              </a:r>
            </a:p>
          </p:txBody>
        </p:sp>
        <p:sp>
          <p:nvSpPr>
            <p:cNvPr id="3085334" name="Line 22"/>
            <p:cNvSpPr>
              <a:spLocks noChangeShapeType="1"/>
            </p:cNvSpPr>
            <p:nvPr/>
          </p:nvSpPr>
          <p:spPr bwMode="gray">
            <a:xfrm>
              <a:off x="1755" y="1157"/>
              <a:ext cx="0" cy="2714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3085335" name="Line 23"/>
            <p:cNvSpPr>
              <a:spLocks noChangeShapeType="1"/>
            </p:cNvSpPr>
            <p:nvPr/>
          </p:nvSpPr>
          <p:spPr bwMode="gray">
            <a:xfrm>
              <a:off x="2015" y="1157"/>
              <a:ext cx="0" cy="2714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3085336" name="Line 24"/>
            <p:cNvSpPr>
              <a:spLocks noChangeShapeType="1"/>
            </p:cNvSpPr>
            <p:nvPr/>
          </p:nvSpPr>
          <p:spPr bwMode="gray">
            <a:xfrm>
              <a:off x="2272" y="1157"/>
              <a:ext cx="0" cy="2714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3085337" name="Line 25"/>
            <p:cNvSpPr>
              <a:spLocks noChangeShapeType="1"/>
            </p:cNvSpPr>
            <p:nvPr/>
          </p:nvSpPr>
          <p:spPr bwMode="gray">
            <a:xfrm>
              <a:off x="2528" y="1157"/>
              <a:ext cx="0" cy="2714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3085338" name="Line 26"/>
            <p:cNvSpPr>
              <a:spLocks noChangeShapeType="1"/>
            </p:cNvSpPr>
            <p:nvPr/>
          </p:nvSpPr>
          <p:spPr bwMode="gray">
            <a:xfrm>
              <a:off x="2787" y="1157"/>
              <a:ext cx="0" cy="2714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3085339" name="Line 27"/>
            <p:cNvSpPr>
              <a:spLocks noChangeShapeType="1"/>
            </p:cNvSpPr>
            <p:nvPr/>
          </p:nvSpPr>
          <p:spPr bwMode="gray">
            <a:xfrm>
              <a:off x="3048" y="1157"/>
              <a:ext cx="0" cy="2714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3085340" name="Line 28"/>
            <p:cNvSpPr>
              <a:spLocks noChangeShapeType="1"/>
            </p:cNvSpPr>
            <p:nvPr/>
          </p:nvSpPr>
          <p:spPr bwMode="gray">
            <a:xfrm>
              <a:off x="3305" y="1157"/>
              <a:ext cx="0" cy="2714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3085341" name="Line 29"/>
            <p:cNvSpPr>
              <a:spLocks noChangeShapeType="1"/>
            </p:cNvSpPr>
            <p:nvPr/>
          </p:nvSpPr>
          <p:spPr bwMode="gray">
            <a:xfrm>
              <a:off x="3565" y="1157"/>
              <a:ext cx="0" cy="2714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3085342" name="Line 30"/>
            <p:cNvSpPr>
              <a:spLocks noChangeShapeType="1"/>
            </p:cNvSpPr>
            <p:nvPr/>
          </p:nvSpPr>
          <p:spPr bwMode="gray">
            <a:xfrm>
              <a:off x="3823" y="1157"/>
              <a:ext cx="0" cy="2714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3085343" name="Line 31"/>
            <p:cNvSpPr>
              <a:spLocks noChangeShapeType="1"/>
            </p:cNvSpPr>
            <p:nvPr/>
          </p:nvSpPr>
          <p:spPr bwMode="gray">
            <a:xfrm>
              <a:off x="4081" y="1157"/>
              <a:ext cx="0" cy="2714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3085344" name="Line 32"/>
            <p:cNvSpPr>
              <a:spLocks noChangeShapeType="1"/>
            </p:cNvSpPr>
            <p:nvPr/>
          </p:nvSpPr>
          <p:spPr bwMode="gray">
            <a:xfrm>
              <a:off x="4339" y="1157"/>
              <a:ext cx="0" cy="2714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3085345" name="Line 33"/>
            <p:cNvSpPr>
              <a:spLocks noChangeShapeType="1"/>
            </p:cNvSpPr>
            <p:nvPr/>
          </p:nvSpPr>
          <p:spPr bwMode="gray">
            <a:xfrm>
              <a:off x="4597" y="1157"/>
              <a:ext cx="0" cy="2714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3085346" name="Line 34"/>
            <p:cNvSpPr>
              <a:spLocks noChangeShapeType="1"/>
            </p:cNvSpPr>
            <p:nvPr/>
          </p:nvSpPr>
          <p:spPr bwMode="gray">
            <a:xfrm>
              <a:off x="4857" y="1157"/>
              <a:ext cx="0" cy="2714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3085347" name="Line 35"/>
            <p:cNvSpPr>
              <a:spLocks noChangeShapeType="1"/>
            </p:cNvSpPr>
            <p:nvPr/>
          </p:nvSpPr>
          <p:spPr bwMode="gray">
            <a:xfrm>
              <a:off x="5117" y="1157"/>
              <a:ext cx="0" cy="2714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3085348" name="Text Box 36"/>
            <p:cNvSpPr txBox="1">
              <a:spLocks noChangeArrowheads="1"/>
            </p:cNvSpPr>
            <p:nvPr/>
          </p:nvSpPr>
          <p:spPr bwMode="gray">
            <a:xfrm>
              <a:off x="5175" y="1212"/>
              <a:ext cx="14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15</a:t>
              </a:r>
            </a:p>
          </p:txBody>
        </p:sp>
        <p:sp>
          <p:nvSpPr>
            <p:cNvPr id="3085349" name="Text Box 37"/>
            <p:cNvSpPr txBox="1">
              <a:spLocks noChangeArrowheads="1"/>
            </p:cNvSpPr>
            <p:nvPr/>
          </p:nvSpPr>
          <p:spPr bwMode="gray">
            <a:xfrm>
              <a:off x="293" y="1212"/>
              <a:ext cx="32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l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/>
                <a:t>Content</a:t>
              </a:r>
              <a:endParaRPr lang="en-US" sz="1200" b="1"/>
            </a:p>
          </p:txBody>
        </p:sp>
        <p:sp>
          <p:nvSpPr>
            <p:cNvPr id="3085350" name="Rectangle 38"/>
            <p:cNvSpPr>
              <a:spLocks noChangeArrowheads="1"/>
            </p:cNvSpPr>
            <p:nvPr/>
          </p:nvSpPr>
          <p:spPr bwMode="gray">
            <a:xfrm>
              <a:off x="293" y="1488"/>
              <a:ext cx="119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000"/>
                <a:t>Text</a:t>
              </a:r>
            </a:p>
          </p:txBody>
        </p:sp>
        <p:sp>
          <p:nvSpPr>
            <p:cNvPr id="3085352" name="Rectangle 40"/>
            <p:cNvSpPr>
              <a:spLocks noChangeArrowheads="1"/>
            </p:cNvSpPr>
            <p:nvPr/>
          </p:nvSpPr>
          <p:spPr bwMode="gray">
            <a:xfrm>
              <a:off x="246" y="943"/>
              <a:ext cx="1253" cy="292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de-DE" b="1"/>
            </a:p>
          </p:txBody>
        </p:sp>
        <p:sp>
          <p:nvSpPr>
            <p:cNvPr id="3085353" name="AutoShape 41"/>
            <p:cNvSpPr>
              <a:spLocks noChangeArrowheads="1"/>
            </p:cNvSpPr>
            <p:nvPr/>
          </p:nvSpPr>
          <p:spPr bwMode="gray">
            <a:xfrm>
              <a:off x="1590" y="3497"/>
              <a:ext cx="91" cy="90"/>
            </a:xfrm>
            <a:prstGeom prst="triangle">
              <a:avLst>
                <a:gd name="adj" fmla="val 50000"/>
              </a:avLst>
            </a:prstGeom>
            <a:solidFill>
              <a:schemeClr val="tx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de-DE" b="1"/>
            </a:p>
          </p:txBody>
        </p:sp>
        <p:sp>
          <p:nvSpPr>
            <p:cNvPr id="3085354" name="Oval 42"/>
            <p:cNvSpPr>
              <a:spLocks noChangeArrowheads="1"/>
            </p:cNvSpPr>
            <p:nvPr/>
          </p:nvSpPr>
          <p:spPr bwMode="gray">
            <a:xfrm>
              <a:off x="1591" y="3730"/>
              <a:ext cx="91" cy="9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de-DE" b="1"/>
            </a:p>
          </p:txBody>
        </p:sp>
        <p:grpSp>
          <p:nvGrpSpPr>
            <p:cNvPr id="3085355" name="Group 43"/>
            <p:cNvGrpSpPr>
              <a:grpSpLocks/>
            </p:cNvGrpSpPr>
            <p:nvPr/>
          </p:nvGrpSpPr>
          <p:grpSpPr bwMode="auto">
            <a:xfrm>
              <a:off x="248" y="3451"/>
              <a:ext cx="5115" cy="219"/>
              <a:chOff x="248" y="3451"/>
              <a:chExt cx="5161" cy="219"/>
            </a:xfrm>
          </p:grpSpPr>
          <p:sp>
            <p:nvSpPr>
              <p:cNvPr id="3085356" name="Line 44"/>
              <p:cNvSpPr>
                <a:spLocks noChangeShapeType="1"/>
              </p:cNvSpPr>
              <p:nvPr/>
            </p:nvSpPr>
            <p:spPr bwMode="gray">
              <a:xfrm>
                <a:off x="248" y="3451"/>
                <a:ext cx="5161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85357" name="Line 45"/>
              <p:cNvSpPr>
                <a:spLocks noChangeShapeType="1"/>
              </p:cNvSpPr>
              <p:nvPr/>
            </p:nvSpPr>
            <p:spPr bwMode="gray">
              <a:xfrm>
                <a:off x="248" y="3670"/>
                <a:ext cx="5161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</p:grpSp>
        <p:sp>
          <p:nvSpPr>
            <p:cNvPr id="3085358" name="Line 46"/>
            <p:cNvSpPr>
              <a:spLocks noChangeShapeType="1"/>
            </p:cNvSpPr>
            <p:nvPr/>
          </p:nvSpPr>
          <p:spPr bwMode="gray">
            <a:xfrm>
              <a:off x="1499" y="1157"/>
              <a:ext cx="396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9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359930"/>
      </p:ext>
    </p:extLst>
  </p:cSld>
  <p:clrMapOvr>
    <a:masterClrMapping/>
  </p:clrMapOvr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94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lendar</a:t>
            </a:r>
          </a:p>
        </p:txBody>
      </p:sp>
      <p:sp>
        <p:nvSpPr>
          <p:cNvPr id="3089411" name="Rectangle 3"/>
          <p:cNvSpPr>
            <a:spLocks noChangeArrowheads="1"/>
          </p:cNvSpPr>
          <p:nvPr/>
        </p:nvSpPr>
        <p:spPr bwMode="gray">
          <a:xfrm>
            <a:off x="1914526" y="2135188"/>
            <a:ext cx="8196263" cy="4013200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de-DE" b="1"/>
          </a:p>
        </p:txBody>
      </p:sp>
      <p:sp>
        <p:nvSpPr>
          <p:cNvPr id="3089412" name="Rectangle 4"/>
          <p:cNvSpPr>
            <a:spLocks noChangeArrowheads="1"/>
          </p:cNvSpPr>
          <p:nvPr/>
        </p:nvSpPr>
        <p:spPr bwMode="gray">
          <a:xfrm>
            <a:off x="1911351" y="1503364"/>
            <a:ext cx="2054225" cy="4649787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de-DE" b="1"/>
          </a:p>
        </p:txBody>
      </p:sp>
      <p:sp>
        <p:nvSpPr>
          <p:cNvPr id="3089413" name="Line 5"/>
          <p:cNvSpPr>
            <a:spLocks noChangeShapeType="1"/>
          </p:cNvSpPr>
          <p:nvPr/>
        </p:nvSpPr>
        <p:spPr bwMode="gray">
          <a:xfrm>
            <a:off x="1911351" y="1492250"/>
            <a:ext cx="1704975" cy="6429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3089414" name="AutoShape 6"/>
          <p:cNvSpPr>
            <a:spLocks noChangeArrowheads="1"/>
          </p:cNvSpPr>
          <p:nvPr/>
        </p:nvSpPr>
        <p:spPr bwMode="gray">
          <a:xfrm>
            <a:off x="1911350" y="1501776"/>
            <a:ext cx="8318500" cy="633413"/>
          </a:xfrm>
          <a:prstGeom prst="homePlate">
            <a:avLst>
              <a:gd name="adj" fmla="val 18240"/>
            </a:avLst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de-DE" b="1"/>
          </a:p>
        </p:txBody>
      </p:sp>
      <p:sp>
        <p:nvSpPr>
          <p:cNvPr id="3089415" name="Line 7"/>
          <p:cNvSpPr>
            <a:spLocks noChangeShapeType="1"/>
          </p:cNvSpPr>
          <p:nvPr/>
        </p:nvSpPr>
        <p:spPr bwMode="gray">
          <a:xfrm>
            <a:off x="3965576" y="1817688"/>
            <a:ext cx="62452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3089416" name="Rectangle 8"/>
          <p:cNvSpPr>
            <a:spLocks noGrp="1" noChangeArrowheads="1"/>
          </p:cNvSpPr>
          <p:nvPr>
            <p:ph type="body" idx="4294967295"/>
          </p:nvPr>
        </p:nvSpPr>
        <p:spPr>
          <a:xfrm>
            <a:off x="3089276" y="1589089"/>
            <a:ext cx="790575" cy="13493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40000" lnSpcReduction="20000"/>
          </a:bodyPr>
          <a:lstStyle/>
          <a:p>
            <a:pPr algn="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Month </a:t>
            </a:r>
          </a:p>
        </p:txBody>
      </p:sp>
      <p:sp>
        <p:nvSpPr>
          <p:cNvPr id="3089417" name="Rectangle 9"/>
          <p:cNvSpPr>
            <a:spLocks noGrp="1" noChangeArrowheads="1"/>
          </p:cNvSpPr>
          <p:nvPr>
            <p:ph type="body" idx="4294967295"/>
          </p:nvPr>
        </p:nvSpPr>
        <p:spPr>
          <a:xfrm>
            <a:off x="3311525" y="1903414"/>
            <a:ext cx="541338" cy="1365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40000" lnSpcReduction="20000"/>
          </a:bodyPr>
          <a:lstStyle/>
          <a:p>
            <a:pPr algn="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CW </a:t>
            </a:r>
          </a:p>
        </p:txBody>
      </p:sp>
      <p:sp>
        <p:nvSpPr>
          <p:cNvPr id="3089418" name="AutoShape 10"/>
          <p:cNvSpPr>
            <a:spLocks noChangeArrowheads="1"/>
          </p:cNvSpPr>
          <p:nvPr/>
        </p:nvSpPr>
        <p:spPr bwMode="gray">
          <a:xfrm>
            <a:off x="4048126" y="5551489"/>
            <a:ext cx="144463" cy="142875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de-DE" b="1"/>
          </a:p>
        </p:txBody>
      </p:sp>
      <p:sp>
        <p:nvSpPr>
          <p:cNvPr id="3089419" name="Oval 11"/>
          <p:cNvSpPr>
            <a:spLocks noChangeArrowheads="1"/>
          </p:cNvSpPr>
          <p:nvPr/>
        </p:nvSpPr>
        <p:spPr bwMode="gray">
          <a:xfrm>
            <a:off x="4049713" y="5921376"/>
            <a:ext cx="144462" cy="142875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de-DE" b="1"/>
          </a:p>
        </p:txBody>
      </p:sp>
      <p:sp>
        <p:nvSpPr>
          <p:cNvPr id="3089420" name="Line 12"/>
          <p:cNvSpPr>
            <a:spLocks noChangeShapeType="1"/>
          </p:cNvSpPr>
          <p:nvPr/>
        </p:nvSpPr>
        <p:spPr bwMode="gray">
          <a:xfrm>
            <a:off x="1917700" y="5478463"/>
            <a:ext cx="819308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3089421" name="Line 13"/>
          <p:cNvSpPr>
            <a:spLocks noChangeShapeType="1"/>
          </p:cNvSpPr>
          <p:nvPr/>
        </p:nvSpPr>
        <p:spPr bwMode="gray">
          <a:xfrm>
            <a:off x="1917700" y="5826125"/>
            <a:ext cx="819308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3089422" name="Rectangle 14"/>
          <p:cNvSpPr>
            <a:spLocks noGrp="1" noChangeArrowheads="1"/>
          </p:cNvSpPr>
          <p:nvPr>
            <p:ph type="body" idx="4294967295"/>
          </p:nvPr>
        </p:nvSpPr>
        <p:spPr>
          <a:xfrm>
            <a:off x="2024064" y="1903414"/>
            <a:ext cx="822325" cy="1365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40000" lnSpcReduction="20000"/>
          </a:bodyPr>
          <a:lstStyle/>
          <a:p>
            <a:pPr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Content </a:t>
            </a:r>
          </a:p>
        </p:txBody>
      </p:sp>
      <p:sp>
        <p:nvSpPr>
          <p:cNvPr id="3089423" name="Rectangle 15"/>
          <p:cNvSpPr>
            <a:spLocks noGrp="1" noChangeArrowheads="1"/>
          </p:cNvSpPr>
          <p:nvPr>
            <p:ph type="body" idx="4294967295"/>
          </p:nvPr>
        </p:nvSpPr>
        <p:spPr>
          <a:xfrm>
            <a:off x="4003676" y="1582739"/>
            <a:ext cx="1444625" cy="14763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normAutofit fontScale="475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/>
              <a:t>Text </a:t>
            </a:r>
          </a:p>
        </p:txBody>
      </p:sp>
      <p:sp>
        <p:nvSpPr>
          <p:cNvPr id="3089424" name="Rectangle 16"/>
          <p:cNvSpPr>
            <a:spLocks noGrp="1" noChangeArrowheads="1"/>
          </p:cNvSpPr>
          <p:nvPr>
            <p:ph type="body" idx="4294967295"/>
          </p:nvPr>
        </p:nvSpPr>
        <p:spPr>
          <a:xfrm>
            <a:off x="5541964" y="1582739"/>
            <a:ext cx="1444625" cy="14763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normAutofit fontScale="475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/>
              <a:t>Text</a:t>
            </a:r>
          </a:p>
        </p:txBody>
      </p:sp>
      <p:sp>
        <p:nvSpPr>
          <p:cNvPr id="3089425" name="Rectangle 17"/>
          <p:cNvSpPr>
            <a:spLocks noGrp="1" noChangeArrowheads="1"/>
          </p:cNvSpPr>
          <p:nvPr>
            <p:ph type="body" idx="4294967295"/>
          </p:nvPr>
        </p:nvSpPr>
        <p:spPr>
          <a:xfrm>
            <a:off x="7081839" y="1582739"/>
            <a:ext cx="1444625" cy="14763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normAutofit fontScale="475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/>
              <a:t>Text</a:t>
            </a:r>
          </a:p>
        </p:txBody>
      </p:sp>
      <p:sp>
        <p:nvSpPr>
          <p:cNvPr id="3089426" name="Rectangle 18"/>
          <p:cNvSpPr>
            <a:spLocks noGrp="1" noChangeArrowheads="1"/>
          </p:cNvSpPr>
          <p:nvPr>
            <p:ph type="body" idx="4294967295"/>
          </p:nvPr>
        </p:nvSpPr>
        <p:spPr>
          <a:xfrm>
            <a:off x="8626476" y="1582739"/>
            <a:ext cx="1444625" cy="14763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normAutofit fontScale="475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/>
              <a:t>Text</a:t>
            </a:r>
          </a:p>
        </p:txBody>
      </p:sp>
      <p:sp>
        <p:nvSpPr>
          <p:cNvPr id="3089427" name="Rectangle 19"/>
          <p:cNvSpPr>
            <a:spLocks noGrp="1" noChangeArrowheads="1"/>
          </p:cNvSpPr>
          <p:nvPr>
            <p:ph type="body" idx="4294967295"/>
          </p:nvPr>
        </p:nvSpPr>
        <p:spPr>
          <a:xfrm>
            <a:off x="3981450" y="1895475"/>
            <a:ext cx="273050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01</a:t>
            </a:r>
          </a:p>
        </p:txBody>
      </p:sp>
      <p:sp>
        <p:nvSpPr>
          <p:cNvPr id="3089428" name="Rectangle 20"/>
          <p:cNvSpPr>
            <a:spLocks noGrp="1" noChangeArrowheads="1"/>
          </p:cNvSpPr>
          <p:nvPr>
            <p:ph type="body" idx="4294967295"/>
          </p:nvPr>
        </p:nvSpPr>
        <p:spPr>
          <a:xfrm>
            <a:off x="4286250" y="1895475"/>
            <a:ext cx="273050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02</a:t>
            </a:r>
          </a:p>
        </p:txBody>
      </p:sp>
      <p:sp>
        <p:nvSpPr>
          <p:cNvPr id="3089429" name="Rectangle 21"/>
          <p:cNvSpPr>
            <a:spLocks noGrp="1" noChangeArrowheads="1"/>
          </p:cNvSpPr>
          <p:nvPr>
            <p:ph type="body" idx="4294967295"/>
          </p:nvPr>
        </p:nvSpPr>
        <p:spPr>
          <a:xfrm>
            <a:off x="4592638" y="1895475"/>
            <a:ext cx="271462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03</a:t>
            </a:r>
          </a:p>
        </p:txBody>
      </p:sp>
      <p:sp>
        <p:nvSpPr>
          <p:cNvPr id="3089430" name="Rectangle 22"/>
          <p:cNvSpPr>
            <a:spLocks noGrp="1" noChangeArrowheads="1"/>
          </p:cNvSpPr>
          <p:nvPr>
            <p:ph type="body" idx="4294967295"/>
          </p:nvPr>
        </p:nvSpPr>
        <p:spPr>
          <a:xfrm>
            <a:off x="4897439" y="1895475"/>
            <a:ext cx="274637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04</a:t>
            </a:r>
          </a:p>
        </p:txBody>
      </p:sp>
      <p:sp>
        <p:nvSpPr>
          <p:cNvPr id="3089431" name="Rectangle 23"/>
          <p:cNvSpPr>
            <a:spLocks noGrp="1" noChangeArrowheads="1"/>
          </p:cNvSpPr>
          <p:nvPr>
            <p:ph type="body" idx="4294967295"/>
          </p:nvPr>
        </p:nvSpPr>
        <p:spPr>
          <a:xfrm>
            <a:off x="5205413" y="1895475"/>
            <a:ext cx="273050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05</a:t>
            </a:r>
          </a:p>
        </p:txBody>
      </p:sp>
      <p:sp>
        <p:nvSpPr>
          <p:cNvPr id="3089432" name="Rectangle 24"/>
          <p:cNvSpPr>
            <a:spLocks noGrp="1" noChangeArrowheads="1"/>
          </p:cNvSpPr>
          <p:nvPr>
            <p:ph type="body" idx="4294967295"/>
          </p:nvPr>
        </p:nvSpPr>
        <p:spPr>
          <a:xfrm>
            <a:off x="5526089" y="1895475"/>
            <a:ext cx="274637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06</a:t>
            </a:r>
          </a:p>
        </p:txBody>
      </p:sp>
      <p:sp>
        <p:nvSpPr>
          <p:cNvPr id="3089433" name="Rectangle 25"/>
          <p:cNvSpPr>
            <a:spLocks noGrp="1" noChangeArrowheads="1"/>
          </p:cNvSpPr>
          <p:nvPr>
            <p:ph type="body" idx="4294967295"/>
          </p:nvPr>
        </p:nvSpPr>
        <p:spPr>
          <a:xfrm>
            <a:off x="5834063" y="1895475"/>
            <a:ext cx="273050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07</a:t>
            </a:r>
          </a:p>
        </p:txBody>
      </p:sp>
      <p:sp>
        <p:nvSpPr>
          <p:cNvPr id="3089434" name="Rectangle 26"/>
          <p:cNvSpPr>
            <a:spLocks noGrp="1" noChangeArrowheads="1"/>
          </p:cNvSpPr>
          <p:nvPr>
            <p:ph type="body" idx="4294967295"/>
          </p:nvPr>
        </p:nvSpPr>
        <p:spPr>
          <a:xfrm>
            <a:off x="6138864" y="1895475"/>
            <a:ext cx="269875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08</a:t>
            </a:r>
          </a:p>
        </p:txBody>
      </p:sp>
      <p:sp>
        <p:nvSpPr>
          <p:cNvPr id="3089435" name="Rectangle 27"/>
          <p:cNvSpPr>
            <a:spLocks noGrp="1" noChangeArrowheads="1"/>
          </p:cNvSpPr>
          <p:nvPr>
            <p:ph type="body" idx="4294967295"/>
          </p:nvPr>
        </p:nvSpPr>
        <p:spPr>
          <a:xfrm>
            <a:off x="6442076" y="1895475"/>
            <a:ext cx="271463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09</a:t>
            </a:r>
          </a:p>
        </p:txBody>
      </p:sp>
      <p:sp>
        <p:nvSpPr>
          <p:cNvPr id="3089436" name="Rectangle 28"/>
          <p:cNvSpPr>
            <a:spLocks noGrp="1" noChangeArrowheads="1"/>
          </p:cNvSpPr>
          <p:nvPr>
            <p:ph type="body" idx="4294967295"/>
          </p:nvPr>
        </p:nvSpPr>
        <p:spPr>
          <a:xfrm>
            <a:off x="6746876" y="1895475"/>
            <a:ext cx="271463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10</a:t>
            </a:r>
          </a:p>
        </p:txBody>
      </p:sp>
      <p:sp>
        <p:nvSpPr>
          <p:cNvPr id="3089437" name="Rectangle 29"/>
          <p:cNvSpPr>
            <a:spLocks noGrp="1" noChangeArrowheads="1"/>
          </p:cNvSpPr>
          <p:nvPr>
            <p:ph type="body" idx="4294967295"/>
          </p:nvPr>
        </p:nvSpPr>
        <p:spPr>
          <a:xfrm>
            <a:off x="7065963" y="1895475"/>
            <a:ext cx="273050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11</a:t>
            </a:r>
          </a:p>
        </p:txBody>
      </p:sp>
      <p:sp>
        <p:nvSpPr>
          <p:cNvPr id="3089438" name="Rectangle 30"/>
          <p:cNvSpPr>
            <a:spLocks noGrp="1" noChangeArrowheads="1"/>
          </p:cNvSpPr>
          <p:nvPr>
            <p:ph type="body" idx="4294967295"/>
          </p:nvPr>
        </p:nvSpPr>
        <p:spPr>
          <a:xfrm>
            <a:off x="7372351" y="1895475"/>
            <a:ext cx="276225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12</a:t>
            </a:r>
          </a:p>
        </p:txBody>
      </p:sp>
      <p:sp>
        <p:nvSpPr>
          <p:cNvPr id="3089439" name="Rectangle 31"/>
          <p:cNvSpPr>
            <a:spLocks noGrp="1" noChangeArrowheads="1"/>
          </p:cNvSpPr>
          <p:nvPr>
            <p:ph type="body" idx="4294967295"/>
          </p:nvPr>
        </p:nvSpPr>
        <p:spPr>
          <a:xfrm>
            <a:off x="7681913" y="1895475"/>
            <a:ext cx="273050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13</a:t>
            </a:r>
          </a:p>
        </p:txBody>
      </p:sp>
      <p:sp>
        <p:nvSpPr>
          <p:cNvPr id="3089440" name="Rectangle 32"/>
          <p:cNvSpPr>
            <a:spLocks noGrp="1" noChangeArrowheads="1"/>
          </p:cNvSpPr>
          <p:nvPr>
            <p:ph type="body" idx="4294967295"/>
          </p:nvPr>
        </p:nvSpPr>
        <p:spPr>
          <a:xfrm>
            <a:off x="7986714" y="1895475"/>
            <a:ext cx="274637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14</a:t>
            </a:r>
          </a:p>
        </p:txBody>
      </p:sp>
      <p:sp>
        <p:nvSpPr>
          <p:cNvPr id="3089441" name="Rectangle 33"/>
          <p:cNvSpPr>
            <a:spLocks noGrp="1" noChangeArrowheads="1"/>
          </p:cNvSpPr>
          <p:nvPr>
            <p:ph type="body" idx="4294967295"/>
          </p:nvPr>
        </p:nvSpPr>
        <p:spPr>
          <a:xfrm>
            <a:off x="8294688" y="1895475"/>
            <a:ext cx="273050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15</a:t>
            </a:r>
          </a:p>
        </p:txBody>
      </p:sp>
      <p:sp>
        <p:nvSpPr>
          <p:cNvPr id="3089442" name="Rectangle 34"/>
          <p:cNvSpPr>
            <a:spLocks noGrp="1" noChangeArrowheads="1"/>
          </p:cNvSpPr>
          <p:nvPr>
            <p:ph type="body" idx="4294967295"/>
          </p:nvPr>
        </p:nvSpPr>
        <p:spPr>
          <a:xfrm>
            <a:off x="8601076" y="1895475"/>
            <a:ext cx="271463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16</a:t>
            </a:r>
          </a:p>
        </p:txBody>
      </p:sp>
      <p:sp>
        <p:nvSpPr>
          <p:cNvPr id="3089443" name="Rectangle 35"/>
          <p:cNvSpPr>
            <a:spLocks noGrp="1" noChangeArrowheads="1"/>
          </p:cNvSpPr>
          <p:nvPr>
            <p:ph type="body" idx="4294967295"/>
          </p:nvPr>
        </p:nvSpPr>
        <p:spPr>
          <a:xfrm>
            <a:off x="8905875" y="1895475"/>
            <a:ext cx="274638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17 </a:t>
            </a:r>
          </a:p>
        </p:txBody>
      </p:sp>
      <p:sp>
        <p:nvSpPr>
          <p:cNvPr id="3089444" name="Rectangle 36"/>
          <p:cNvSpPr>
            <a:spLocks noGrp="1" noChangeArrowheads="1"/>
          </p:cNvSpPr>
          <p:nvPr>
            <p:ph type="body" idx="4294967295"/>
          </p:nvPr>
        </p:nvSpPr>
        <p:spPr>
          <a:xfrm>
            <a:off x="9213851" y="1895475"/>
            <a:ext cx="269875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18</a:t>
            </a:r>
          </a:p>
        </p:txBody>
      </p:sp>
      <p:sp>
        <p:nvSpPr>
          <p:cNvPr id="3089445" name="Rectangle 37"/>
          <p:cNvSpPr>
            <a:spLocks noGrp="1" noChangeArrowheads="1"/>
          </p:cNvSpPr>
          <p:nvPr>
            <p:ph type="body" idx="4294967295"/>
          </p:nvPr>
        </p:nvSpPr>
        <p:spPr>
          <a:xfrm>
            <a:off x="9518650" y="1895475"/>
            <a:ext cx="273050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19</a:t>
            </a:r>
          </a:p>
        </p:txBody>
      </p:sp>
      <p:sp>
        <p:nvSpPr>
          <p:cNvPr id="3089446" name="Rectangle 38"/>
          <p:cNvSpPr>
            <a:spLocks noGrp="1" noChangeArrowheads="1"/>
          </p:cNvSpPr>
          <p:nvPr>
            <p:ph type="body" idx="4294967295"/>
          </p:nvPr>
        </p:nvSpPr>
        <p:spPr>
          <a:xfrm>
            <a:off x="9825038" y="1895475"/>
            <a:ext cx="273050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25000" lnSpcReduction="20000"/>
          </a:bodyPr>
          <a:lstStyle/>
          <a:p>
            <a:pPr algn="ctr" defTabSz="330200">
              <a:spcAft>
                <a:spcPct val="0"/>
              </a:spcAft>
              <a:tabLst>
                <a:tab pos="8521700" algn="r"/>
              </a:tabLst>
            </a:pPr>
            <a:r>
              <a:rPr lang="en-US" sz="1000" b="1"/>
              <a:t>20</a:t>
            </a:r>
          </a:p>
        </p:txBody>
      </p:sp>
      <p:sp>
        <p:nvSpPr>
          <p:cNvPr id="3089447" name="Rectangle 39"/>
          <p:cNvSpPr>
            <a:spLocks noGrp="1" noChangeArrowheads="1"/>
          </p:cNvSpPr>
          <p:nvPr>
            <p:ph type="body" idx="4294967295"/>
          </p:nvPr>
        </p:nvSpPr>
        <p:spPr>
          <a:xfrm>
            <a:off x="1998664" y="2365376"/>
            <a:ext cx="1881187" cy="15081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47500" lnSpcReduction="20000"/>
          </a:bodyPr>
          <a:lstStyle/>
          <a:p>
            <a:pPr lvl="1"/>
            <a:r>
              <a:rPr lang="en-US" sz="1000"/>
              <a:t>Text</a:t>
            </a:r>
          </a:p>
        </p:txBody>
      </p:sp>
      <p:grpSp>
        <p:nvGrpSpPr>
          <p:cNvPr id="3089448" name="Group 40"/>
          <p:cNvGrpSpPr>
            <a:grpSpLocks/>
          </p:cNvGrpSpPr>
          <p:nvPr/>
        </p:nvGrpSpPr>
        <p:grpSpPr bwMode="auto">
          <a:xfrm>
            <a:off x="4270375" y="1498600"/>
            <a:ext cx="5537200" cy="4654550"/>
            <a:chOff x="1730" y="944"/>
            <a:chExt cx="3488" cy="2932"/>
          </a:xfrm>
        </p:grpSpPr>
        <p:sp>
          <p:nvSpPr>
            <p:cNvPr id="3089449" name="Line 41"/>
            <p:cNvSpPr>
              <a:spLocks noChangeShapeType="1"/>
            </p:cNvSpPr>
            <p:nvPr/>
          </p:nvSpPr>
          <p:spPr bwMode="gray">
            <a:xfrm>
              <a:off x="2501" y="944"/>
              <a:ext cx="0" cy="2932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50" name="Line 42"/>
            <p:cNvSpPr>
              <a:spLocks noChangeShapeType="1"/>
            </p:cNvSpPr>
            <p:nvPr/>
          </p:nvSpPr>
          <p:spPr bwMode="gray">
            <a:xfrm>
              <a:off x="4448" y="954"/>
              <a:ext cx="0" cy="2922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51" name="Line 43"/>
            <p:cNvSpPr>
              <a:spLocks noChangeShapeType="1"/>
            </p:cNvSpPr>
            <p:nvPr/>
          </p:nvSpPr>
          <p:spPr bwMode="gray">
            <a:xfrm>
              <a:off x="1730" y="1144"/>
              <a:ext cx="0" cy="2732"/>
            </a:xfrm>
            <a:prstGeom prst="line">
              <a:avLst/>
            </a:prstGeom>
            <a:noFill/>
            <a:ln w="6350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52" name="Line 44"/>
            <p:cNvSpPr>
              <a:spLocks noChangeShapeType="1"/>
            </p:cNvSpPr>
            <p:nvPr/>
          </p:nvSpPr>
          <p:spPr bwMode="gray">
            <a:xfrm>
              <a:off x="1923" y="1144"/>
              <a:ext cx="0" cy="2732"/>
            </a:xfrm>
            <a:prstGeom prst="line">
              <a:avLst/>
            </a:prstGeom>
            <a:noFill/>
            <a:ln w="6350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53" name="Line 45"/>
            <p:cNvSpPr>
              <a:spLocks noChangeShapeType="1"/>
            </p:cNvSpPr>
            <p:nvPr/>
          </p:nvSpPr>
          <p:spPr bwMode="gray">
            <a:xfrm>
              <a:off x="2115" y="1144"/>
              <a:ext cx="0" cy="2732"/>
            </a:xfrm>
            <a:prstGeom prst="line">
              <a:avLst/>
            </a:prstGeom>
            <a:noFill/>
            <a:ln w="6350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54" name="Line 46"/>
            <p:cNvSpPr>
              <a:spLocks noChangeShapeType="1"/>
            </p:cNvSpPr>
            <p:nvPr/>
          </p:nvSpPr>
          <p:spPr bwMode="gray">
            <a:xfrm>
              <a:off x="2308" y="1144"/>
              <a:ext cx="0" cy="2732"/>
            </a:xfrm>
            <a:prstGeom prst="line">
              <a:avLst/>
            </a:prstGeom>
            <a:noFill/>
            <a:ln w="6350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55" name="Line 47"/>
            <p:cNvSpPr>
              <a:spLocks noChangeShapeType="1"/>
            </p:cNvSpPr>
            <p:nvPr/>
          </p:nvSpPr>
          <p:spPr bwMode="gray">
            <a:xfrm>
              <a:off x="2704" y="1144"/>
              <a:ext cx="0" cy="2732"/>
            </a:xfrm>
            <a:prstGeom prst="line">
              <a:avLst/>
            </a:prstGeom>
            <a:noFill/>
            <a:ln w="6350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56" name="Line 48"/>
            <p:cNvSpPr>
              <a:spLocks noChangeShapeType="1"/>
            </p:cNvSpPr>
            <p:nvPr/>
          </p:nvSpPr>
          <p:spPr bwMode="gray">
            <a:xfrm>
              <a:off x="2897" y="1144"/>
              <a:ext cx="0" cy="2732"/>
            </a:xfrm>
            <a:prstGeom prst="line">
              <a:avLst/>
            </a:prstGeom>
            <a:noFill/>
            <a:ln w="6350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57" name="Line 49"/>
            <p:cNvSpPr>
              <a:spLocks noChangeShapeType="1"/>
            </p:cNvSpPr>
            <p:nvPr/>
          </p:nvSpPr>
          <p:spPr bwMode="gray">
            <a:xfrm>
              <a:off x="3088" y="1144"/>
              <a:ext cx="0" cy="2732"/>
            </a:xfrm>
            <a:prstGeom prst="line">
              <a:avLst/>
            </a:prstGeom>
            <a:noFill/>
            <a:ln w="6350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58" name="Line 50"/>
            <p:cNvSpPr>
              <a:spLocks noChangeShapeType="1"/>
            </p:cNvSpPr>
            <p:nvPr/>
          </p:nvSpPr>
          <p:spPr bwMode="gray">
            <a:xfrm>
              <a:off x="3280" y="1144"/>
              <a:ext cx="0" cy="2732"/>
            </a:xfrm>
            <a:prstGeom prst="line">
              <a:avLst/>
            </a:prstGeom>
            <a:noFill/>
            <a:ln w="6350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59" name="Line 51"/>
            <p:cNvSpPr>
              <a:spLocks noChangeShapeType="1"/>
            </p:cNvSpPr>
            <p:nvPr/>
          </p:nvSpPr>
          <p:spPr bwMode="gray">
            <a:xfrm>
              <a:off x="3673" y="1144"/>
              <a:ext cx="0" cy="2732"/>
            </a:xfrm>
            <a:prstGeom prst="line">
              <a:avLst/>
            </a:prstGeom>
            <a:noFill/>
            <a:ln w="6350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60" name="Line 52"/>
            <p:cNvSpPr>
              <a:spLocks noChangeShapeType="1"/>
            </p:cNvSpPr>
            <p:nvPr/>
          </p:nvSpPr>
          <p:spPr bwMode="gray">
            <a:xfrm>
              <a:off x="3868" y="1144"/>
              <a:ext cx="0" cy="2732"/>
            </a:xfrm>
            <a:prstGeom prst="line">
              <a:avLst/>
            </a:prstGeom>
            <a:noFill/>
            <a:ln w="6350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61" name="Line 53"/>
            <p:cNvSpPr>
              <a:spLocks noChangeShapeType="1"/>
            </p:cNvSpPr>
            <p:nvPr/>
          </p:nvSpPr>
          <p:spPr bwMode="gray">
            <a:xfrm>
              <a:off x="4061" y="1144"/>
              <a:ext cx="0" cy="2732"/>
            </a:xfrm>
            <a:prstGeom prst="line">
              <a:avLst/>
            </a:prstGeom>
            <a:noFill/>
            <a:ln w="6350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62" name="Line 54"/>
            <p:cNvSpPr>
              <a:spLocks noChangeShapeType="1"/>
            </p:cNvSpPr>
            <p:nvPr/>
          </p:nvSpPr>
          <p:spPr bwMode="gray">
            <a:xfrm>
              <a:off x="4255" y="1144"/>
              <a:ext cx="0" cy="2732"/>
            </a:xfrm>
            <a:prstGeom prst="line">
              <a:avLst/>
            </a:prstGeom>
            <a:noFill/>
            <a:ln w="6350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63" name="Line 55"/>
            <p:cNvSpPr>
              <a:spLocks noChangeShapeType="1"/>
            </p:cNvSpPr>
            <p:nvPr/>
          </p:nvSpPr>
          <p:spPr bwMode="gray">
            <a:xfrm>
              <a:off x="4640" y="1144"/>
              <a:ext cx="0" cy="2732"/>
            </a:xfrm>
            <a:prstGeom prst="line">
              <a:avLst/>
            </a:prstGeom>
            <a:noFill/>
            <a:ln w="6350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64" name="Line 56"/>
            <p:cNvSpPr>
              <a:spLocks noChangeShapeType="1"/>
            </p:cNvSpPr>
            <p:nvPr/>
          </p:nvSpPr>
          <p:spPr bwMode="gray">
            <a:xfrm>
              <a:off x="4833" y="1144"/>
              <a:ext cx="0" cy="2732"/>
            </a:xfrm>
            <a:prstGeom prst="line">
              <a:avLst/>
            </a:prstGeom>
            <a:noFill/>
            <a:ln w="6350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65" name="Line 57"/>
            <p:cNvSpPr>
              <a:spLocks noChangeShapeType="1"/>
            </p:cNvSpPr>
            <p:nvPr/>
          </p:nvSpPr>
          <p:spPr bwMode="gray">
            <a:xfrm>
              <a:off x="5025" y="1144"/>
              <a:ext cx="0" cy="2732"/>
            </a:xfrm>
            <a:prstGeom prst="line">
              <a:avLst/>
            </a:prstGeom>
            <a:noFill/>
            <a:ln w="6350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66" name="Line 58"/>
            <p:cNvSpPr>
              <a:spLocks noChangeShapeType="1"/>
            </p:cNvSpPr>
            <p:nvPr/>
          </p:nvSpPr>
          <p:spPr bwMode="gray">
            <a:xfrm>
              <a:off x="5218" y="1144"/>
              <a:ext cx="0" cy="2732"/>
            </a:xfrm>
            <a:prstGeom prst="line">
              <a:avLst/>
            </a:prstGeom>
            <a:noFill/>
            <a:ln w="6350">
              <a:solidFill>
                <a:srgbClr val="808080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3089467" name="Line 59"/>
            <p:cNvSpPr>
              <a:spLocks noChangeShapeType="1"/>
            </p:cNvSpPr>
            <p:nvPr/>
          </p:nvSpPr>
          <p:spPr bwMode="gray">
            <a:xfrm>
              <a:off x="3472" y="944"/>
              <a:ext cx="0" cy="2932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19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331146"/>
      </p:ext>
    </p:extLst>
  </p:cSld>
  <p:clrMapOvr>
    <a:masterClrMapping/>
  </p:clrMapOvr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1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asures</a:t>
            </a:r>
          </a:p>
        </p:txBody>
      </p:sp>
      <p:grpSp>
        <p:nvGrpSpPr>
          <p:cNvPr id="3091459" name="Group 3"/>
          <p:cNvGrpSpPr>
            <a:grpSpLocks/>
          </p:cNvGrpSpPr>
          <p:nvPr/>
        </p:nvGrpSpPr>
        <p:grpSpPr bwMode="auto">
          <a:xfrm>
            <a:off x="1906589" y="1495426"/>
            <a:ext cx="8301037" cy="4651375"/>
            <a:chOff x="241" y="942"/>
            <a:chExt cx="5229" cy="2930"/>
          </a:xfrm>
        </p:grpSpPr>
        <p:sp>
          <p:nvSpPr>
            <p:cNvPr id="3091460" name="Rectangle 4"/>
            <p:cNvSpPr>
              <a:spLocks noChangeArrowheads="1"/>
            </p:cNvSpPr>
            <p:nvPr/>
          </p:nvSpPr>
          <p:spPr bwMode="gray">
            <a:xfrm>
              <a:off x="241" y="1400"/>
              <a:ext cx="1515" cy="2472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tIns="108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endParaRPr lang="de-DE" sz="1000"/>
            </a:p>
          </p:txBody>
        </p:sp>
        <p:sp>
          <p:nvSpPr>
            <p:cNvPr id="3091461" name="Rectangle 5"/>
            <p:cNvSpPr>
              <a:spLocks noChangeArrowheads="1"/>
            </p:cNvSpPr>
            <p:nvPr/>
          </p:nvSpPr>
          <p:spPr bwMode="gray">
            <a:xfrm>
              <a:off x="2464" y="942"/>
              <a:ext cx="3006" cy="128"/>
            </a:xfrm>
            <a:prstGeom prst="rect">
              <a:avLst/>
            </a:prstGeom>
            <a:solidFill>
              <a:srgbClr val="EAEAEA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sz="1200" b="1"/>
                <a:t>Timeline </a:t>
              </a:r>
            </a:p>
          </p:txBody>
        </p:sp>
        <p:sp>
          <p:nvSpPr>
            <p:cNvPr id="3091462" name="Rectangle 6"/>
            <p:cNvSpPr>
              <a:spLocks noChangeArrowheads="1"/>
            </p:cNvSpPr>
            <p:nvPr/>
          </p:nvSpPr>
          <p:spPr bwMode="gray">
            <a:xfrm>
              <a:off x="2464" y="1070"/>
              <a:ext cx="3006" cy="126"/>
            </a:xfrm>
            <a:prstGeom prst="rect">
              <a:avLst/>
            </a:prstGeom>
            <a:solidFill>
              <a:srgbClr val="EAEAEA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sz="1000" b="1"/>
                <a:t>Calendar week in ###</a:t>
              </a:r>
            </a:p>
          </p:txBody>
        </p:sp>
        <p:sp>
          <p:nvSpPr>
            <p:cNvPr id="3091463" name="Rectangle 7"/>
            <p:cNvSpPr>
              <a:spLocks noChangeArrowheads="1"/>
            </p:cNvSpPr>
            <p:nvPr/>
          </p:nvSpPr>
          <p:spPr bwMode="gray">
            <a:xfrm>
              <a:off x="2464" y="1196"/>
              <a:ext cx="3006" cy="204"/>
            </a:xfrm>
            <a:prstGeom prst="rect">
              <a:avLst/>
            </a:prstGeom>
            <a:solidFill>
              <a:srgbClr val="EAEAEA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3091464" name="Rectangle 8"/>
            <p:cNvSpPr>
              <a:spLocks noChangeArrowheads="1"/>
            </p:cNvSpPr>
            <p:nvPr/>
          </p:nvSpPr>
          <p:spPr bwMode="gray">
            <a:xfrm>
              <a:off x="2464" y="1400"/>
              <a:ext cx="3006" cy="247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endParaRPr lang="en-US"/>
            </a:p>
          </p:txBody>
        </p:sp>
        <p:sp>
          <p:nvSpPr>
            <p:cNvPr id="3091465" name="Rectangle 9"/>
            <p:cNvSpPr>
              <a:spLocks noChangeArrowheads="1"/>
            </p:cNvSpPr>
            <p:nvPr/>
          </p:nvSpPr>
          <p:spPr bwMode="gray">
            <a:xfrm>
              <a:off x="241" y="942"/>
              <a:ext cx="1515" cy="458"/>
            </a:xfrm>
            <a:prstGeom prst="rect">
              <a:avLst/>
            </a:prstGeom>
            <a:solidFill>
              <a:srgbClr val="EAEAEA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algn="l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sz="1200" b="1"/>
                <a:t>Tasks </a:t>
              </a:r>
            </a:p>
          </p:txBody>
        </p:sp>
        <p:sp>
          <p:nvSpPr>
            <p:cNvPr id="3091466" name="Rectangle 10"/>
            <p:cNvSpPr>
              <a:spLocks noChangeArrowheads="1"/>
            </p:cNvSpPr>
            <p:nvPr/>
          </p:nvSpPr>
          <p:spPr bwMode="gray">
            <a:xfrm>
              <a:off x="1756" y="942"/>
              <a:ext cx="708" cy="458"/>
            </a:xfrm>
            <a:prstGeom prst="rect">
              <a:avLst/>
            </a:prstGeom>
            <a:solidFill>
              <a:srgbClr val="EAEAEA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 algn="l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sz="1200" b="1"/>
                <a:t>Responsible</a:t>
              </a:r>
            </a:p>
          </p:txBody>
        </p:sp>
        <p:grpSp>
          <p:nvGrpSpPr>
            <p:cNvPr id="3091467" name="Group 11"/>
            <p:cNvGrpSpPr>
              <a:grpSpLocks/>
            </p:cNvGrpSpPr>
            <p:nvPr/>
          </p:nvGrpSpPr>
          <p:grpSpPr bwMode="auto">
            <a:xfrm>
              <a:off x="2490" y="1198"/>
              <a:ext cx="2952" cy="2673"/>
              <a:chOff x="2490" y="1198"/>
              <a:chExt cx="2952" cy="2673"/>
            </a:xfrm>
          </p:grpSpPr>
          <p:sp>
            <p:nvSpPr>
              <p:cNvPr id="3091468" name="Rectangle 12"/>
              <p:cNvSpPr>
                <a:spLocks noChangeArrowheads="1"/>
              </p:cNvSpPr>
              <p:nvPr/>
            </p:nvSpPr>
            <p:spPr bwMode="gray">
              <a:xfrm>
                <a:off x="2490" y="1250"/>
                <a:ext cx="88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15</a:t>
                </a:r>
              </a:p>
            </p:txBody>
          </p:sp>
          <p:sp>
            <p:nvSpPr>
              <p:cNvPr id="3091469" name="Rectangle 13"/>
              <p:cNvSpPr>
                <a:spLocks noChangeArrowheads="1"/>
              </p:cNvSpPr>
              <p:nvPr/>
            </p:nvSpPr>
            <p:spPr bwMode="gray">
              <a:xfrm>
                <a:off x="2634" y="1250"/>
                <a:ext cx="87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16</a:t>
                </a:r>
              </a:p>
            </p:txBody>
          </p:sp>
          <p:sp>
            <p:nvSpPr>
              <p:cNvPr id="3091470" name="Rectangle 14"/>
              <p:cNvSpPr>
                <a:spLocks noChangeArrowheads="1"/>
              </p:cNvSpPr>
              <p:nvPr/>
            </p:nvSpPr>
            <p:spPr bwMode="gray">
              <a:xfrm>
                <a:off x="2776" y="1250"/>
                <a:ext cx="88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17</a:t>
                </a:r>
              </a:p>
            </p:txBody>
          </p:sp>
          <p:sp>
            <p:nvSpPr>
              <p:cNvPr id="3091471" name="Rectangle 15"/>
              <p:cNvSpPr>
                <a:spLocks noChangeArrowheads="1"/>
              </p:cNvSpPr>
              <p:nvPr/>
            </p:nvSpPr>
            <p:spPr bwMode="gray">
              <a:xfrm>
                <a:off x="2920" y="1250"/>
                <a:ext cx="88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18</a:t>
                </a:r>
              </a:p>
            </p:txBody>
          </p:sp>
          <p:sp>
            <p:nvSpPr>
              <p:cNvPr id="3091472" name="Rectangle 16"/>
              <p:cNvSpPr>
                <a:spLocks noChangeArrowheads="1"/>
              </p:cNvSpPr>
              <p:nvPr/>
            </p:nvSpPr>
            <p:spPr bwMode="gray">
              <a:xfrm>
                <a:off x="3063" y="1250"/>
                <a:ext cx="87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19</a:t>
                </a:r>
              </a:p>
            </p:txBody>
          </p:sp>
          <p:sp>
            <p:nvSpPr>
              <p:cNvPr id="3091473" name="Rectangle 17"/>
              <p:cNvSpPr>
                <a:spLocks noChangeArrowheads="1"/>
              </p:cNvSpPr>
              <p:nvPr/>
            </p:nvSpPr>
            <p:spPr bwMode="gray">
              <a:xfrm>
                <a:off x="3206" y="1250"/>
                <a:ext cx="88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20</a:t>
                </a:r>
              </a:p>
            </p:txBody>
          </p:sp>
          <p:sp>
            <p:nvSpPr>
              <p:cNvPr id="3091474" name="Rectangle 18"/>
              <p:cNvSpPr>
                <a:spLocks noChangeArrowheads="1"/>
              </p:cNvSpPr>
              <p:nvPr/>
            </p:nvSpPr>
            <p:spPr bwMode="gray">
              <a:xfrm>
                <a:off x="3349" y="1250"/>
                <a:ext cx="88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21</a:t>
                </a:r>
              </a:p>
            </p:txBody>
          </p:sp>
          <p:sp>
            <p:nvSpPr>
              <p:cNvPr id="3091475" name="Rectangle 19"/>
              <p:cNvSpPr>
                <a:spLocks noChangeArrowheads="1"/>
              </p:cNvSpPr>
              <p:nvPr/>
            </p:nvSpPr>
            <p:spPr bwMode="gray">
              <a:xfrm>
                <a:off x="3493" y="1250"/>
                <a:ext cx="87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22</a:t>
                </a:r>
              </a:p>
            </p:txBody>
          </p:sp>
          <p:sp>
            <p:nvSpPr>
              <p:cNvPr id="3091476" name="Rectangle 20"/>
              <p:cNvSpPr>
                <a:spLocks noChangeArrowheads="1"/>
              </p:cNvSpPr>
              <p:nvPr/>
            </p:nvSpPr>
            <p:spPr bwMode="gray">
              <a:xfrm>
                <a:off x="3635" y="1250"/>
                <a:ext cx="88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23</a:t>
                </a:r>
              </a:p>
            </p:txBody>
          </p:sp>
          <p:sp>
            <p:nvSpPr>
              <p:cNvPr id="3091477" name="Rectangle 21"/>
              <p:cNvSpPr>
                <a:spLocks noChangeArrowheads="1"/>
              </p:cNvSpPr>
              <p:nvPr/>
            </p:nvSpPr>
            <p:spPr bwMode="gray">
              <a:xfrm>
                <a:off x="3779" y="1250"/>
                <a:ext cx="88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24</a:t>
                </a:r>
              </a:p>
            </p:txBody>
          </p:sp>
          <p:sp>
            <p:nvSpPr>
              <p:cNvPr id="3091478" name="Rectangle 22"/>
              <p:cNvSpPr>
                <a:spLocks noChangeArrowheads="1"/>
              </p:cNvSpPr>
              <p:nvPr/>
            </p:nvSpPr>
            <p:spPr bwMode="gray">
              <a:xfrm>
                <a:off x="3923" y="1250"/>
                <a:ext cx="87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25</a:t>
                </a:r>
              </a:p>
            </p:txBody>
          </p:sp>
          <p:sp>
            <p:nvSpPr>
              <p:cNvPr id="3091479" name="Rectangle 23"/>
              <p:cNvSpPr>
                <a:spLocks noChangeArrowheads="1"/>
              </p:cNvSpPr>
              <p:nvPr/>
            </p:nvSpPr>
            <p:spPr bwMode="gray">
              <a:xfrm>
                <a:off x="4065" y="1250"/>
                <a:ext cx="88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26</a:t>
                </a:r>
              </a:p>
            </p:txBody>
          </p:sp>
          <p:sp>
            <p:nvSpPr>
              <p:cNvPr id="3091480" name="Rectangle 24"/>
              <p:cNvSpPr>
                <a:spLocks noChangeArrowheads="1"/>
              </p:cNvSpPr>
              <p:nvPr/>
            </p:nvSpPr>
            <p:spPr bwMode="gray">
              <a:xfrm>
                <a:off x="4209" y="1250"/>
                <a:ext cx="88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27</a:t>
                </a:r>
              </a:p>
            </p:txBody>
          </p:sp>
          <p:sp>
            <p:nvSpPr>
              <p:cNvPr id="3091481" name="Rectangle 25"/>
              <p:cNvSpPr>
                <a:spLocks noChangeArrowheads="1"/>
              </p:cNvSpPr>
              <p:nvPr/>
            </p:nvSpPr>
            <p:spPr bwMode="gray">
              <a:xfrm>
                <a:off x="4352" y="1250"/>
                <a:ext cx="87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28</a:t>
                </a:r>
              </a:p>
            </p:txBody>
          </p:sp>
          <p:sp>
            <p:nvSpPr>
              <p:cNvPr id="3091482" name="Rectangle 26"/>
              <p:cNvSpPr>
                <a:spLocks noChangeArrowheads="1"/>
              </p:cNvSpPr>
              <p:nvPr/>
            </p:nvSpPr>
            <p:spPr bwMode="gray">
              <a:xfrm>
                <a:off x="4495" y="1250"/>
                <a:ext cx="88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29</a:t>
                </a:r>
              </a:p>
            </p:txBody>
          </p:sp>
          <p:sp>
            <p:nvSpPr>
              <p:cNvPr id="3091483" name="Rectangle 27"/>
              <p:cNvSpPr>
                <a:spLocks noChangeArrowheads="1"/>
              </p:cNvSpPr>
              <p:nvPr/>
            </p:nvSpPr>
            <p:spPr bwMode="gray">
              <a:xfrm>
                <a:off x="4638" y="1250"/>
                <a:ext cx="88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30</a:t>
                </a:r>
              </a:p>
            </p:txBody>
          </p:sp>
          <p:sp>
            <p:nvSpPr>
              <p:cNvPr id="3091484" name="Rectangle 28"/>
              <p:cNvSpPr>
                <a:spLocks noChangeArrowheads="1"/>
              </p:cNvSpPr>
              <p:nvPr/>
            </p:nvSpPr>
            <p:spPr bwMode="gray">
              <a:xfrm>
                <a:off x="4782" y="1250"/>
                <a:ext cx="87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31</a:t>
                </a:r>
              </a:p>
            </p:txBody>
          </p:sp>
          <p:sp>
            <p:nvSpPr>
              <p:cNvPr id="3091485" name="Rectangle 29"/>
              <p:cNvSpPr>
                <a:spLocks noChangeArrowheads="1"/>
              </p:cNvSpPr>
              <p:nvPr/>
            </p:nvSpPr>
            <p:spPr bwMode="gray">
              <a:xfrm>
                <a:off x="4924" y="1250"/>
                <a:ext cx="88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32</a:t>
                </a:r>
              </a:p>
            </p:txBody>
          </p:sp>
          <p:sp>
            <p:nvSpPr>
              <p:cNvPr id="3091486" name="Rectangle 30"/>
              <p:cNvSpPr>
                <a:spLocks noChangeArrowheads="1"/>
              </p:cNvSpPr>
              <p:nvPr/>
            </p:nvSpPr>
            <p:spPr bwMode="gray">
              <a:xfrm>
                <a:off x="5068" y="1250"/>
                <a:ext cx="88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33</a:t>
                </a:r>
              </a:p>
            </p:txBody>
          </p:sp>
          <p:sp>
            <p:nvSpPr>
              <p:cNvPr id="3091487" name="Rectangle 31"/>
              <p:cNvSpPr>
                <a:spLocks noChangeArrowheads="1"/>
              </p:cNvSpPr>
              <p:nvPr/>
            </p:nvSpPr>
            <p:spPr bwMode="gray">
              <a:xfrm>
                <a:off x="5211" y="1250"/>
                <a:ext cx="87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34</a:t>
                </a:r>
              </a:p>
            </p:txBody>
          </p:sp>
          <p:sp>
            <p:nvSpPr>
              <p:cNvPr id="3091488" name="Rectangle 32"/>
              <p:cNvSpPr>
                <a:spLocks noChangeArrowheads="1"/>
              </p:cNvSpPr>
              <p:nvPr/>
            </p:nvSpPr>
            <p:spPr bwMode="gray">
              <a:xfrm>
                <a:off x="5354" y="1250"/>
                <a:ext cx="88" cy="9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AEAEA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pPr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sz="1000" b="1"/>
                  <a:t>35</a:t>
                </a:r>
              </a:p>
            </p:txBody>
          </p:sp>
          <p:sp>
            <p:nvSpPr>
              <p:cNvPr id="3091489" name="Line 33"/>
              <p:cNvSpPr>
                <a:spLocks noChangeShapeType="1"/>
              </p:cNvSpPr>
              <p:nvPr/>
            </p:nvSpPr>
            <p:spPr bwMode="gray">
              <a:xfrm>
                <a:off x="2606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490" name="Line 34"/>
              <p:cNvSpPr>
                <a:spLocks noChangeShapeType="1"/>
              </p:cNvSpPr>
              <p:nvPr/>
            </p:nvSpPr>
            <p:spPr bwMode="gray">
              <a:xfrm>
                <a:off x="2749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491" name="Line 35"/>
              <p:cNvSpPr>
                <a:spLocks noChangeShapeType="1"/>
              </p:cNvSpPr>
              <p:nvPr/>
            </p:nvSpPr>
            <p:spPr bwMode="gray">
              <a:xfrm>
                <a:off x="2892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492" name="Line 36"/>
              <p:cNvSpPr>
                <a:spLocks noChangeShapeType="1"/>
              </p:cNvSpPr>
              <p:nvPr/>
            </p:nvSpPr>
            <p:spPr bwMode="gray">
              <a:xfrm>
                <a:off x="3036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493" name="Line 37"/>
              <p:cNvSpPr>
                <a:spLocks noChangeShapeType="1"/>
              </p:cNvSpPr>
              <p:nvPr/>
            </p:nvSpPr>
            <p:spPr bwMode="gray">
              <a:xfrm>
                <a:off x="3178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494" name="Line 38"/>
              <p:cNvSpPr>
                <a:spLocks noChangeShapeType="1"/>
              </p:cNvSpPr>
              <p:nvPr/>
            </p:nvSpPr>
            <p:spPr bwMode="gray">
              <a:xfrm>
                <a:off x="3322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495" name="Line 39"/>
              <p:cNvSpPr>
                <a:spLocks noChangeShapeType="1"/>
              </p:cNvSpPr>
              <p:nvPr/>
            </p:nvSpPr>
            <p:spPr bwMode="gray">
              <a:xfrm>
                <a:off x="3465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496" name="Line 40"/>
              <p:cNvSpPr>
                <a:spLocks noChangeShapeType="1"/>
              </p:cNvSpPr>
              <p:nvPr/>
            </p:nvSpPr>
            <p:spPr bwMode="gray">
              <a:xfrm>
                <a:off x="3608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497" name="Line 41"/>
              <p:cNvSpPr>
                <a:spLocks noChangeShapeType="1"/>
              </p:cNvSpPr>
              <p:nvPr/>
            </p:nvSpPr>
            <p:spPr bwMode="gray">
              <a:xfrm>
                <a:off x="3751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498" name="Line 42"/>
              <p:cNvSpPr>
                <a:spLocks noChangeShapeType="1"/>
              </p:cNvSpPr>
              <p:nvPr/>
            </p:nvSpPr>
            <p:spPr bwMode="gray">
              <a:xfrm>
                <a:off x="3895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499" name="Line 43"/>
              <p:cNvSpPr>
                <a:spLocks noChangeShapeType="1"/>
              </p:cNvSpPr>
              <p:nvPr/>
            </p:nvSpPr>
            <p:spPr bwMode="gray">
              <a:xfrm>
                <a:off x="4037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500" name="Line 44"/>
              <p:cNvSpPr>
                <a:spLocks noChangeShapeType="1"/>
              </p:cNvSpPr>
              <p:nvPr/>
            </p:nvSpPr>
            <p:spPr bwMode="gray">
              <a:xfrm>
                <a:off x="4181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501" name="Line 45"/>
              <p:cNvSpPr>
                <a:spLocks noChangeShapeType="1"/>
              </p:cNvSpPr>
              <p:nvPr/>
            </p:nvSpPr>
            <p:spPr bwMode="gray">
              <a:xfrm>
                <a:off x="4324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502" name="Line 46"/>
              <p:cNvSpPr>
                <a:spLocks noChangeShapeType="1"/>
              </p:cNvSpPr>
              <p:nvPr/>
            </p:nvSpPr>
            <p:spPr bwMode="gray">
              <a:xfrm>
                <a:off x="4467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503" name="Line 47"/>
              <p:cNvSpPr>
                <a:spLocks noChangeShapeType="1"/>
              </p:cNvSpPr>
              <p:nvPr/>
            </p:nvSpPr>
            <p:spPr bwMode="gray">
              <a:xfrm>
                <a:off x="4610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504" name="Line 48"/>
              <p:cNvSpPr>
                <a:spLocks noChangeShapeType="1"/>
              </p:cNvSpPr>
              <p:nvPr/>
            </p:nvSpPr>
            <p:spPr bwMode="gray">
              <a:xfrm>
                <a:off x="4754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505" name="Line 49"/>
              <p:cNvSpPr>
                <a:spLocks noChangeShapeType="1"/>
              </p:cNvSpPr>
              <p:nvPr/>
            </p:nvSpPr>
            <p:spPr bwMode="gray">
              <a:xfrm>
                <a:off x="4896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506" name="Line 50"/>
              <p:cNvSpPr>
                <a:spLocks noChangeShapeType="1"/>
              </p:cNvSpPr>
              <p:nvPr/>
            </p:nvSpPr>
            <p:spPr bwMode="gray">
              <a:xfrm>
                <a:off x="5040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507" name="Line 51"/>
              <p:cNvSpPr>
                <a:spLocks noChangeShapeType="1"/>
              </p:cNvSpPr>
              <p:nvPr/>
            </p:nvSpPr>
            <p:spPr bwMode="gray">
              <a:xfrm>
                <a:off x="5183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3091508" name="Line 52"/>
              <p:cNvSpPr>
                <a:spLocks noChangeShapeType="1"/>
              </p:cNvSpPr>
              <p:nvPr/>
            </p:nvSpPr>
            <p:spPr bwMode="gray">
              <a:xfrm>
                <a:off x="5326" y="1198"/>
                <a:ext cx="0" cy="2673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endParaRPr lang="en-US"/>
              </a:p>
            </p:txBody>
          </p:sp>
        </p:grpSp>
        <p:sp>
          <p:nvSpPr>
            <p:cNvPr id="3091509" name="Rectangle 53"/>
            <p:cNvSpPr>
              <a:spLocks noChangeArrowheads="1"/>
            </p:cNvSpPr>
            <p:nvPr/>
          </p:nvSpPr>
          <p:spPr bwMode="gray">
            <a:xfrm>
              <a:off x="2609" y="1471"/>
              <a:ext cx="1282" cy="102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prstDash val="dash"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3091510" name="Rectangle 54"/>
            <p:cNvSpPr>
              <a:spLocks noChangeArrowheads="1"/>
            </p:cNvSpPr>
            <p:nvPr/>
          </p:nvSpPr>
          <p:spPr bwMode="gray">
            <a:xfrm>
              <a:off x="1756" y="1400"/>
              <a:ext cx="708" cy="2472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tIns="108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endParaRPr lang="de-DE" sz="1000"/>
            </a:p>
          </p:txBody>
        </p:sp>
      </p:grpSp>
      <p:sp>
        <p:nvSpPr>
          <p:cNvPr id="3091511" name="Rectangle 55"/>
          <p:cNvSpPr>
            <a:spLocks noGrp="1" noChangeArrowheads="1"/>
          </p:cNvSpPr>
          <p:nvPr>
            <p:ph type="body" idx="4294967295"/>
          </p:nvPr>
        </p:nvSpPr>
        <p:spPr>
          <a:xfrm>
            <a:off x="1970088" y="2336800"/>
            <a:ext cx="2284412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47500" lnSpcReduction="20000"/>
          </a:bodyPr>
          <a:lstStyle/>
          <a:p>
            <a:pPr lvl="1"/>
            <a:r>
              <a:rPr lang="en-US" sz="1000"/>
              <a:t>Text</a:t>
            </a:r>
          </a:p>
        </p:txBody>
      </p:sp>
      <p:sp>
        <p:nvSpPr>
          <p:cNvPr id="3091512" name="Rectangle 56"/>
          <p:cNvSpPr>
            <a:spLocks noGrp="1" noChangeArrowheads="1"/>
          </p:cNvSpPr>
          <p:nvPr>
            <p:ph type="body" idx="4294967295"/>
          </p:nvPr>
        </p:nvSpPr>
        <p:spPr>
          <a:xfrm>
            <a:off x="4378326" y="2336800"/>
            <a:ext cx="1014413" cy="1524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47500" lnSpcReduction="20000"/>
          </a:bodyPr>
          <a:lstStyle/>
          <a:p>
            <a:pPr lvl="1"/>
            <a:r>
              <a:rPr lang="en-US" sz="1000"/>
              <a:t>Text</a:t>
            </a:r>
          </a:p>
        </p:txBody>
      </p:sp>
      <p:sp>
        <p:nvSpPr>
          <p:cNvPr id="57" name="Slide Number Placeholder 10"/>
          <p:cNvSpPr>
            <a:spLocks noGrp="1"/>
          </p:cNvSpPr>
          <p:nvPr>
            <p:ph type="sldNum" sz="quarter" idx="4294967295"/>
          </p:nvPr>
        </p:nvSpPr>
        <p:spPr>
          <a:xfrm>
            <a:off x="10081200" y="6566400"/>
            <a:ext cx="262800" cy="151200"/>
          </a:xfrm>
          <a:prstGeom prst="rect">
            <a:avLst/>
          </a:prstGeo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EA6AD245-CE23-44AA-B096-4A6180C9AAE6}" type="slidenum">
              <a:rPr lang="en-US" smtClean="0"/>
              <a:pPr/>
              <a:t>19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336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6821" name="Rectangle 5"/>
          <p:cNvSpPr>
            <a:spLocks noChangeArrowheads="1"/>
          </p:cNvSpPr>
          <p:nvPr/>
        </p:nvSpPr>
        <p:spPr bwMode="gray">
          <a:xfrm>
            <a:off x="1127450" y="723392"/>
            <a:ext cx="6380162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4000" b="1" dirty="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  <a:t>Text slid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158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02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cision</a:t>
            </a:r>
          </a:p>
        </p:txBody>
      </p:sp>
      <p:grpSp>
        <p:nvGrpSpPr>
          <p:cNvPr id="3040266" name="Group 10"/>
          <p:cNvGrpSpPr>
            <a:grpSpLocks/>
          </p:cNvGrpSpPr>
          <p:nvPr/>
        </p:nvGrpSpPr>
        <p:grpSpPr bwMode="auto">
          <a:xfrm>
            <a:off x="4460875" y="1520825"/>
            <a:ext cx="3290888" cy="4140200"/>
            <a:chOff x="1850" y="958"/>
            <a:chExt cx="2073" cy="2608"/>
          </a:xfrm>
        </p:grpSpPr>
        <p:sp>
          <p:nvSpPr>
            <p:cNvPr id="3040260" name="Rectangle 4"/>
            <p:cNvSpPr>
              <a:spLocks noChangeArrowheads="1"/>
            </p:cNvSpPr>
            <p:nvPr/>
          </p:nvSpPr>
          <p:spPr bwMode="gray">
            <a:xfrm>
              <a:off x="1850" y="2112"/>
              <a:ext cx="2073" cy="5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dirty="0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dirty="0">
                <a:latin typeface="Baskerville" charset="0"/>
                <a:ea typeface="Baskerville" charset="0"/>
                <a:cs typeface="Baskerville" charset="0"/>
              </a:endParaRP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dirty="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3040261" name="Group 5"/>
            <p:cNvGrpSpPr>
              <a:grpSpLocks/>
            </p:cNvGrpSpPr>
            <p:nvPr/>
          </p:nvGrpSpPr>
          <p:grpSpPr bwMode="auto">
            <a:xfrm>
              <a:off x="1986" y="1110"/>
              <a:ext cx="1768" cy="2456"/>
              <a:chOff x="1946" y="1110"/>
              <a:chExt cx="1768" cy="2456"/>
            </a:xfrm>
          </p:grpSpPr>
          <p:sp>
            <p:nvSpPr>
              <p:cNvPr id="3040262" name="Freeform 6"/>
              <p:cNvSpPr>
                <a:spLocks/>
              </p:cNvSpPr>
              <p:nvPr/>
            </p:nvSpPr>
            <p:spPr bwMode="gray">
              <a:xfrm>
                <a:off x="2826" y="1152"/>
                <a:ext cx="888" cy="612"/>
              </a:xfrm>
              <a:custGeom>
                <a:avLst/>
                <a:gdLst>
                  <a:gd name="T0" fmla="*/ 2 w 888"/>
                  <a:gd name="T1" fmla="*/ 500 h 612"/>
                  <a:gd name="T2" fmla="*/ 450 w 888"/>
                  <a:gd name="T3" fmla="*/ 506 h 612"/>
                  <a:gd name="T4" fmla="*/ 456 w 888"/>
                  <a:gd name="T5" fmla="*/ 612 h 612"/>
                  <a:gd name="T6" fmla="*/ 888 w 888"/>
                  <a:gd name="T7" fmla="*/ 378 h 612"/>
                  <a:gd name="T8" fmla="*/ 444 w 888"/>
                  <a:gd name="T9" fmla="*/ 0 h 612"/>
                  <a:gd name="T10" fmla="*/ 438 w 888"/>
                  <a:gd name="T11" fmla="*/ 144 h 612"/>
                  <a:gd name="T12" fmla="*/ 0 w 888"/>
                  <a:gd name="T13" fmla="*/ 102 h 612"/>
                  <a:gd name="T14" fmla="*/ 2 w 888"/>
                  <a:gd name="T15" fmla="*/ 500 h 6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8" h="612">
                    <a:moveTo>
                      <a:pt x="2" y="500"/>
                    </a:moveTo>
                    <a:lnTo>
                      <a:pt x="450" y="506"/>
                    </a:lnTo>
                    <a:lnTo>
                      <a:pt x="456" y="612"/>
                    </a:lnTo>
                    <a:lnTo>
                      <a:pt x="888" y="378"/>
                    </a:lnTo>
                    <a:lnTo>
                      <a:pt x="444" y="0"/>
                    </a:lnTo>
                    <a:lnTo>
                      <a:pt x="438" y="144"/>
                    </a:lnTo>
                    <a:lnTo>
                      <a:pt x="0" y="102"/>
                    </a:lnTo>
                    <a:lnTo>
                      <a:pt x="2" y="50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rgbClr val="969696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3040263" name="Rectangle 7"/>
              <p:cNvSpPr>
                <a:spLocks noChangeArrowheads="1"/>
              </p:cNvSpPr>
              <p:nvPr/>
            </p:nvSpPr>
            <p:spPr bwMode="gray">
              <a:xfrm>
                <a:off x="2760" y="1296"/>
                <a:ext cx="143" cy="2270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rgbClr val="96969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sp>
            <p:nvSpPr>
              <p:cNvPr id="3040264" name="Freeform 8"/>
              <p:cNvSpPr>
                <a:spLocks/>
              </p:cNvSpPr>
              <p:nvPr/>
            </p:nvSpPr>
            <p:spPr bwMode="gray">
              <a:xfrm>
                <a:off x="1946" y="1110"/>
                <a:ext cx="890" cy="636"/>
              </a:xfrm>
              <a:custGeom>
                <a:avLst/>
                <a:gdLst>
                  <a:gd name="T0" fmla="*/ 888 w 890"/>
                  <a:gd name="T1" fmla="*/ 144 h 636"/>
                  <a:gd name="T2" fmla="*/ 420 w 890"/>
                  <a:gd name="T3" fmla="*/ 144 h 636"/>
                  <a:gd name="T4" fmla="*/ 420 w 890"/>
                  <a:gd name="T5" fmla="*/ 0 h 636"/>
                  <a:gd name="T6" fmla="*/ 0 w 890"/>
                  <a:gd name="T7" fmla="*/ 324 h 636"/>
                  <a:gd name="T8" fmla="*/ 396 w 890"/>
                  <a:gd name="T9" fmla="*/ 636 h 636"/>
                  <a:gd name="T10" fmla="*/ 396 w 890"/>
                  <a:gd name="T11" fmla="*/ 504 h 636"/>
                  <a:gd name="T12" fmla="*/ 890 w 890"/>
                  <a:gd name="T13" fmla="*/ 550 h 636"/>
                  <a:gd name="T14" fmla="*/ 888 w 890"/>
                  <a:gd name="T15" fmla="*/ 144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0" h="636">
                    <a:moveTo>
                      <a:pt x="888" y="144"/>
                    </a:moveTo>
                    <a:lnTo>
                      <a:pt x="420" y="144"/>
                    </a:lnTo>
                    <a:lnTo>
                      <a:pt x="420" y="0"/>
                    </a:lnTo>
                    <a:lnTo>
                      <a:pt x="0" y="324"/>
                    </a:lnTo>
                    <a:lnTo>
                      <a:pt x="396" y="636"/>
                    </a:lnTo>
                    <a:lnTo>
                      <a:pt x="396" y="504"/>
                    </a:lnTo>
                    <a:lnTo>
                      <a:pt x="890" y="550"/>
                    </a:lnTo>
                    <a:lnTo>
                      <a:pt x="888" y="144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rgbClr val="969696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</p:grpSp>
        <p:sp>
          <p:nvSpPr>
            <p:cNvPr id="3040265" name="Freeform 9"/>
            <p:cNvSpPr>
              <a:spLocks/>
            </p:cNvSpPr>
            <p:nvPr/>
          </p:nvSpPr>
          <p:spPr bwMode="gray">
            <a:xfrm>
              <a:off x="2872" y="958"/>
              <a:ext cx="866" cy="702"/>
            </a:xfrm>
            <a:custGeom>
              <a:avLst/>
              <a:gdLst>
                <a:gd name="T0" fmla="*/ 0 w 866"/>
                <a:gd name="T1" fmla="*/ 294 h 700"/>
                <a:gd name="T2" fmla="*/ 386 w 866"/>
                <a:gd name="T3" fmla="*/ 162 h 700"/>
                <a:gd name="T4" fmla="*/ 368 w 866"/>
                <a:gd name="T5" fmla="*/ 0 h 700"/>
                <a:gd name="T6" fmla="*/ 866 w 866"/>
                <a:gd name="T7" fmla="*/ 120 h 700"/>
                <a:gd name="T8" fmla="*/ 446 w 866"/>
                <a:gd name="T9" fmla="*/ 588 h 700"/>
                <a:gd name="T10" fmla="*/ 428 w 866"/>
                <a:gd name="T11" fmla="*/ 444 h 700"/>
                <a:gd name="T12" fmla="*/ 2 w 866"/>
                <a:gd name="T13" fmla="*/ 700 h 700"/>
                <a:gd name="T14" fmla="*/ 0 w 866"/>
                <a:gd name="T15" fmla="*/ 294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6" h="700">
                  <a:moveTo>
                    <a:pt x="0" y="294"/>
                  </a:moveTo>
                  <a:lnTo>
                    <a:pt x="386" y="162"/>
                  </a:lnTo>
                  <a:lnTo>
                    <a:pt x="368" y="0"/>
                  </a:lnTo>
                  <a:lnTo>
                    <a:pt x="866" y="120"/>
                  </a:lnTo>
                  <a:lnTo>
                    <a:pt x="446" y="588"/>
                  </a:lnTo>
                  <a:lnTo>
                    <a:pt x="428" y="444"/>
                  </a:lnTo>
                  <a:lnTo>
                    <a:pt x="2" y="700"/>
                  </a:lnTo>
                  <a:lnTo>
                    <a:pt x="0" y="29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969696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035407"/>
      </p:ext>
    </p:extLst>
  </p:cSld>
  <p:clrMapOvr>
    <a:masterClrMapping/>
  </p:clrMapOvr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1156" name="Oval 4"/>
          <p:cNvSpPr>
            <a:spLocks noChangeArrowheads="1"/>
          </p:cNvSpPr>
          <p:nvPr/>
        </p:nvSpPr>
        <p:spPr bwMode="gray">
          <a:xfrm>
            <a:off x="947057" y="553937"/>
            <a:ext cx="1909245" cy="86558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4000" b="1" dirty="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  <a:t>Maps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3981061" y="3030894"/>
            <a:ext cx="3657600" cy="9144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latin typeface="Baskerville" charset="0"/>
                <a:ea typeface="Baskerville" charset="0"/>
                <a:cs typeface="Baskerville" charset="0"/>
              </a:rPr>
              <a:t>Please note that these maps could be somewhat outdated, please check for any political sensitivit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0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1653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40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urope – Without Russia</a:t>
            </a:r>
          </a:p>
        </p:txBody>
      </p:sp>
      <p:grpSp>
        <p:nvGrpSpPr>
          <p:cNvPr id="2774059" name="Group 43"/>
          <p:cNvGrpSpPr>
            <a:grpSpLocks/>
          </p:cNvGrpSpPr>
          <p:nvPr/>
        </p:nvGrpSpPr>
        <p:grpSpPr bwMode="auto">
          <a:xfrm>
            <a:off x="3929064" y="1490664"/>
            <a:ext cx="4308475" cy="4713287"/>
            <a:chOff x="1515" y="939"/>
            <a:chExt cx="2714" cy="2969"/>
          </a:xfrm>
        </p:grpSpPr>
        <p:grpSp>
          <p:nvGrpSpPr>
            <p:cNvPr id="2774019" name="Group 3"/>
            <p:cNvGrpSpPr>
              <a:grpSpLocks/>
            </p:cNvGrpSpPr>
            <p:nvPr/>
          </p:nvGrpSpPr>
          <p:grpSpPr bwMode="auto">
            <a:xfrm>
              <a:off x="1515" y="939"/>
              <a:ext cx="2714" cy="2752"/>
              <a:chOff x="1515" y="907"/>
              <a:chExt cx="2714" cy="2752"/>
            </a:xfrm>
          </p:grpSpPr>
          <p:sp>
            <p:nvSpPr>
              <p:cNvPr id="2774020" name="Freeform 4"/>
              <p:cNvSpPr>
                <a:spLocks/>
              </p:cNvSpPr>
              <p:nvPr/>
            </p:nvSpPr>
            <p:spPr bwMode="gray">
              <a:xfrm>
                <a:off x="3225" y="3145"/>
                <a:ext cx="74" cy="172"/>
              </a:xfrm>
              <a:custGeom>
                <a:avLst/>
                <a:gdLst>
                  <a:gd name="T0" fmla="*/ 0 w 27"/>
                  <a:gd name="T1" fmla="*/ 13 h 63"/>
                  <a:gd name="T2" fmla="*/ 5 w 27"/>
                  <a:gd name="T3" fmla="*/ 13 h 63"/>
                  <a:gd name="T4" fmla="*/ 0 w 27"/>
                  <a:gd name="T5" fmla="*/ 18 h 63"/>
                  <a:gd name="T6" fmla="*/ 0 w 27"/>
                  <a:gd name="T7" fmla="*/ 36 h 63"/>
                  <a:gd name="T8" fmla="*/ 0 w 27"/>
                  <a:gd name="T9" fmla="*/ 40 h 63"/>
                  <a:gd name="T10" fmla="*/ 0 w 27"/>
                  <a:gd name="T11" fmla="*/ 45 h 63"/>
                  <a:gd name="T12" fmla="*/ 5 w 27"/>
                  <a:gd name="T13" fmla="*/ 54 h 63"/>
                  <a:gd name="T14" fmla="*/ 5 w 27"/>
                  <a:gd name="T15" fmla="*/ 58 h 63"/>
                  <a:gd name="T16" fmla="*/ 9 w 27"/>
                  <a:gd name="T17" fmla="*/ 63 h 63"/>
                  <a:gd name="T18" fmla="*/ 14 w 27"/>
                  <a:gd name="T19" fmla="*/ 63 h 63"/>
                  <a:gd name="T20" fmla="*/ 14 w 27"/>
                  <a:gd name="T21" fmla="*/ 54 h 63"/>
                  <a:gd name="T22" fmla="*/ 27 w 27"/>
                  <a:gd name="T23" fmla="*/ 40 h 63"/>
                  <a:gd name="T24" fmla="*/ 18 w 27"/>
                  <a:gd name="T25" fmla="*/ 36 h 63"/>
                  <a:gd name="T26" fmla="*/ 18 w 27"/>
                  <a:gd name="T27" fmla="*/ 13 h 63"/>
                  <a:gd name="T28" fmla="*/ 14 w 27"/>
                  <a:gd name="T29" fmla="*/ 13 h 63"/>
                  <a:gd name="T30" fmla="*/ 14 w 27"/>
                  <a:gd name="T31" fmla="*/ 5 h 63"/>
                  <a:gd name="T32" fmla="*/ 5 w 27"/>
                  <a:gd name="T33" fmla="*/ 0 h 63"/>
                  <a:gd name="T34" fmla="*/ 0 w 27"/>
                  <a:gd name="T3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" h="63">
                    <a:moveTo>
                      <a:pt x="0" y="13"/>
                    </a:moveTo>
                    <a:lnTo>
                      <a:pt x="5" y="13"/>
                    </a:lnTo>
                    <a:lnTo>
                      <a:pt x="0" y="18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45"/>
                    </a:lnTo>
                    <a:lnTo>
                      <a:pt x="5" y="54"/>
                    </a:lnTo>
                    <a:lnTo>
                      <a:pt x="5" y="58"/>
                    </a:lnTo>
                    <a:lnTo>
                      <a:pt x="9" y="63"/>
                    </a:lnTo>
                    <a:lnTo>
                      <a:pt x="14" y="63"/>
                    </a:lnTo>
                    <a:lnTo>
                      <a:pt x="14" y="54"/>
                    </a:lnTo>
                    <a:lnTo>
                      <a:pt x="27" y="40"/>
                    </a:lnTo>
                    <a:lnTo>
                      <a:pt x="18" y="36"/>
                    </a:lnTo>
                    <a:lnTo>
                      <a:pt x="18" y="13"/>
                    </a:lnTo>
                    <a:lnTo>
                      <a:pt x="14" y="13"/>
                    </a:lnTo>
                    <a:lnTo>
                      <a:pt x="14" y="5"/>
                    </a:lnTo>
                    <a:lnTo>
                      <a:pt x="5" y="0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21" name="Freeform 5"/>
              <p:cNvSpPr>
                <a:spLocks/>
              </p:cNvSpPr>
              <p:nvPr/>
            </p:nvSpPr>
            <p:spPr bwMode="gray">
              <a:xfrm>
                <a:off x="2847" y="2778"/>
                <a:ext cx="293" cy="159"/>
              </a:xfrm>
              <a:custGeom>
                <a:avLst/>
                <a:gdLst>
                  <a:gd name="T0" fmla="*/ 0 w 107"/>
                  <a:gd name="T1" fmla="*/ 31 h 58"/>
                  <a:gd name="T2" fmla="*/ 0 w 107"/>
                  <a:gd name="T3" fmla="*/ 45 h 58"/>
                  <a:gd name="T4" fmla="*/ 0 w 107"/>
                  <a:gd name="T5" fmla="*/ 49 h 58"/>
                  <a:gd name="T6" fmla="*/ 9 w 107"/>
                  <a:gd name="T7" fmla="*/ 45 h 58"/>
                  <a:gd name="T8" fmla="*/ 9 w 107"/>
                  <a:gd name="T9" fmla="*/ 49 h 58"/>
                  <a:gd name="T10" fmla="*/ 18 w 107"/>
                  <a:gd name="T11" fmla="*/ 49 h 58"/>
                  <a:gd name="T12" fmla="*/ 22 w 107"/>
                  <a:gd name="T13" fmla="*/ 45 h 58"/>
                  <a:gd name="T14" fmla="*/ 36 w 107"/>
                  <a:gd name="T15" fmla="*/ 45 h 58"/>
                  <a:gd name="T16" fmla="*/ 40 w 107"/>
                  <a:gd name="T17" fmla="*/ 54 h 58"/>
                  <a:gd name="T18" fmla="*/ 54 w 107"/>
                  <a:gd name="T19" fmla="*/ 58 h 58"/>
                  <a:gd name="T20" fmla="*/ 67 w 107"/>
                  <a:gd name="T21" fmla="*/ 58 h 58"/>
                  <a:gd name="T22" fmla="*/ 76 w 107"/>
                  <a:gd name="T23" fmla="*/ 54 h 58"/>
                  <a:gd name="T24" fmla="*/ 89 w 107"/>
                  <a:gd name="T25" fmla="*/ 49 h 58"/>
                  <a:gd name="T26" fmla="*/ 94 w 107"/>
                  <a:gd name="T27" fmla="*/ 45 h 58"/>
                  <a:gd name="T28" fmla="*/ 94 w 107"/>
                  <a:gd name="T29" fmla="*/ 40 h 58"/>
                  <a:gd name="T30" fmla="*/ 94 w 107"/>
                  <a:gd name="T31" fmla="*/ 36 h 58"/>
                  <a:gd name="T32" fmla="*/ 94 w 107"/>
                  <a:gd name="T33" fmla="*/ 31 h 58"/>
                  <a:gd name="T34" fmla="*/ 103 w 107"/>
                  <a:gd name="T35" fmla="*/ 31 h 58"/>
                  <a:gd name="T36" fmla="*/ 107 w 107"/>
                  <a:gd name="T37" fmla="*/ 22 h 58"/>
                  <a:gd name="T38" fmla="*/ 107 w 107"/>
                  <a:gd name="T39" fmla="*/ 18 h 58"/>
                  <a:gd name="T40" fmla="*/ 107 w 107"/>
                  <a:gd name="T41" fmla="*/ 13 h 58"/>
                  <a:gd name="T42" fmla="*/ 103 w 107"/>
                  <a:gd name="T43" fmla="*/ 13 h 58"/>
                  <a:gd name="T44" fmla="*/ 98 w 107"/>
                  <a:gd name="T45" fmla="*/ 13 h 58"/>
                  <a:gd name="T46" fmla="*/ 98 w 107"/>
                  <a:gd name="T47" fmla="*/ 4 h 58"/>
                  <a:gd name="T48" fmla="*/ 76 w 107"/>
                  <a:gd name="T49" fmla="*/ 0 h 58"/>
                  <a:gd name="T50" fmla="*/ 67 w 107"/>
                  <a:gd name="T51" fmla="*/ 9 h 58"/>
                  <a:gd name="T52" fmla="*/ 58 w 107"/>
                  <a:gd name="T53" fmla="*/ 9 h 58"/>
                  <a:gd name="T54" fmla="*/ 54 w 107"/>
                  <a:gd name="T55" fmla="*/ 13 h 58"/>
                  <a:gd name="T56" fmla="*/ 45 w 107"/>
                  <a:gd name="T57" fmla="*/ 18 h 58"/>
                  <a:gd name="T58" fmla="*/ 40 w 107"/>
                  <a:gd name="T59" fmla="*/ 22 h 58"/>
                  <a:gd name="T60" fmla="*/ 49 w 107"/>
                  <a:gd name="T61" fmla="*/ 27 h 58"/>
                  <a:gd name="T62" fmla="*/ 45 w 107"/>
                  <a:gd name="T63" fmla="*/ 36 h 58"/>
                  <a:gd name="T64" fmla="*/ 40 w 107"/>
                  <a:gd name="T65" fmla="*/ 31 h 58"/>
                  <a:gd name="T66" fmla="*/ 22 w 107"/>
                  <a:gd name="T67" fmla="*/ 36 h 58"/>
                  <a:gd name="T68" fmla="*/ 0 w 107"/>
                  <a:gd name="T69" fmla="*/ 3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7" h="58">
                    <a:moveTo>
                      <a:pt x="0" y="31"/>
                    </a:moveTo>
                    <a:lnTo>
                      <a:pt x="0" y="45"/>
                    </a:lnTo>
                    <a:lnTo>
                      <a:pt x="0" y="49"/>
                    </a:lnTo>
                    <a:lnTo>
                      <a:pt x="9" y="45"/>
                    </a:lnTo>
                    <a:lnTo>
                      <a:pt x="9" y="49"/>
                    </a:lnTo>
                    <a:lnTo>
                      <a:pt x="18" y="49"/>
                    </a:lnTo>
                    <a:lnTo>
                      <a:pt x="22" y="45"/>
                    </a:lnTo>
                    <a:lnTo>
                      <a:pt x="36" y="45"/>
                    </a:lnTo>
                    <a:lnTo>
                      <a:pt x="40" y="54"/>
                    </a:lnTo>
                    <a:lnTo>
                      <a:pt x="54" y="58"/>
                    </a:lnTo>
                    <a:lnTo>
                      <a:pt x="67" y="58"/>
                    </a:lnTo>
                    <a:lnTo>
                      <a:pt x="76" y="54"/>
                    </a:lnTo>
                    <a:lnTo>
                      <a:pt x="89" y="49"/>
                    </a:lnTo>
                    <a:lnTo>
                      <a:pt x="94" y="45"/>
                    </a:lnTo>
                    <a:lnTo>
                      <a:pt x="94" y="40"/>
                    </a:lnTo>
                    <a:lnTo>
                      <a:pt x="94" y="36"/>
                    </a:lnTo>
                    <a:lnTo>
                      <a:pt x="94" y="31"/>
                    </a:lnTo>
                    <a:lnTo>
                      <a:pt x="103" y="31"/>
                    </a:lnTo>
                    <a:lnTo>
                      <a:pt x="107" y="22"/>
                    </a:lnTo>
                    <a:lnTo>
                      <a:pt x="107" y="18"/>
                    </a:lnTo>
                    <a:lnTo>
                      <a:pt x="107" y="13"/>
                    </a:lnTo>
                    <a:lnTo>
                      <a:pt x="103" y="13"/>
                    </a:lnTo>
                    <a:lnTo>
                      <a:pt x="98" y="13"/>
                    </a:lnTo>
                    <a:lnTo>
                      <a:pt x="98" y="4"/>
                    </a:lnTo>
                    <a:lnTo>
                      <a:pt x="76" y="0"/>
                    </a:lnTo>
                    <a:lnTo>
                      <a:pt x="67" y="9"/>
                    </a:lnTo>
                    <a:lnTo>
                      <a:pt x="58" y="9"/>
                    </a:lnTo>
                    <a:lnTo>
                      <a:pt x="54" y="13"/>
                    </a:lnTo>
                    <a:lnTo>
                      <a:pt x="45" y="18"/>
                    </a:lnTo>
                    <a:lnTo>
                      <a:pt x="40" y="22"/>
                    </a:lnTo>
                    <a:lnTo>
                      <a:pt x="49" y="27"/>
                    </a:lnTo>
                    <a:lnTo>
                      <a:pt x="45" y="36"/>
                    </a:lnTo>
                    <a:lnTo>
                      <a:pt x="40" y="31"/>
                    </a:lnTo>
                    <a:lnTo>
                      <a:pt x="22" y="36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22" name="Freeform 6"/>
              <p:cNvSpPr>
                <a:spLocks/>
              </p:cNvSpPr>
              <p:nvPr/>
            </p:nvSpPr>
            <p:spPr bwMode="gray">
              <a:xfrm>
                <a:off x="2566" y="2620"/>
                <a:ext cx="158" cy="134"/>
              </a:xfrm>
              <a:custGeom>
                <a:avLst/>
                <a:gdLst>
                  <a:gd name="T0" fmla="*/ 0 w 58"/>
                  <a:gd name="T1" fmla="*/ 9 h 49"/>
                  <a:gd name="T2" fmla="*/ 9 w 58"/>
                  <a:gd name="T3" fmla="*/ 22 h 49"/>
                  <a:gd name="T4" fmla="*/ 14 w 58"/>
                  <a:gd name="T5" fmla="*/ 22 h 49"/>
                  <a:gd name="T6" fmla="*/ 18 w 58"/>
                  <a:gd name="T7" fmla="*/ 27 h 49"/>
                  <a:gd name="T8" fmla="*/ 23 w 58"/>
                  <a:gd name="T9" fmla="*/ 27 h 49"/>
                  <a:gd name="T10" fmla="*/ 23 w 58"/>
                  <a:gd name="T11" fmla="*/ 36 h 49"/>
                  <a:gd name="T12" fmla="*/ 27 w 58"/>
                  <a:gd name="T13" fmla="*/ 36 h 49"/>
                  <a:gd name="T14" fmla="*/ 36 w 58"/>
                  <a:gd name="T15" fmla="*/ 31 h 49"/>
                  <a:gd name="T16" fmla="*/ 32 w 58"/>
                  <a:gd name="T17" fmla="*/ 40 h 49"/>
                  <a:gd name="T18" fmla="*/ 40 w 58"/>
                  <a:gd name="T19" fmla="*/ 45 h 49"/>
                  <a:gd name="T20" fmla="*/ 45 w 58"/>
                  <a:gd name="T21" fmla="*/ 49 h 49"/>
                  <a:gd name="T22" fmla="*/ 49 w 58"/>
                  <a:gd name="T23" fmla="*/ 49 h 49"/>
                  <a:gd name="T24" fmla="*/ 49 w 58"/>
                  <a:gd name="T25" fmla="*/ 45 h 49"/>
                  <a:gd name="T26" fmla="*/ 49 w 58"/>
                  <a:gd name="T27" fmla="*/ 36 h 49"/>
                  <a:gd name="T28" fmla="*/ 54 w 58"/>
                  <a:gd name="T29" fmla="*/ 36 h 49"/>
                  <a:gd name="T30" fmla="*/ 58 w 58"/>
                  <a:gd name="T31" fmla="*/ 27 h 49"/>
                  <a:gd name="T32" fmla="*/ 54 w 58"/>
                  <a:gd name="T33" fmla="*/ 18 h 49"/>
                  <a:gd name="T34" fmla="*/ 49 w 58"/>
                  <a:gd name="T35" fmla="*/ 18 h 49"/>
                  <a:gd name="T36" fmla="*/ 49 w 58"/>
                  <a:gd name="T37" fmla="*/ 13 h 49"/>
                  <a:gd name="T38" fmla="*/ 45 w 58"/>
                  <a:gd name="T39" fmla="*/ 9 h 49"/>
                  <a:gd name="T40" fmla="*/ 36 w 58"/>
                  <a:gd name="T41" fmla="*/ 9 h 49"/>
                  <a:gd name="T42" fmla="*/ 27 w 58"/>
                  <a:gd name="T43" fmla="*/ 0 h 49"/>
                  <a:gd name="T44" fmla="*/ 23 w 58"/>
                  <a:gd name="T45" fmla="*/ 9 h 49"/>
                  <a:gd name="T46" fmla="*/ 18 w 58"/>
                  <a:gd name="T47" fmla="*/ 9 h 49"/>
                  <a:gd name="T48" fmla="*/ 9 w 58"/>
                  <a:gd name="T49" fmla="*/ 9 h 49"/>
                  <a:gd name="T50" fmla="*/ 9 w 58"/>
                  <a:gd name="T51" fmla="*/ 4 h 49"/>
                  <a:gd name="T52" fmla="*/ 5 w 58"/>
                  <a:gd name="T53" fmla="*/ 4 h 49"/>
                  <a:gd name="T54" fmla="*/ 0 w 58"/>
                  <a:gd name="T55" fmla="*/ 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8" h="49">
                    <a:moveTo>
                      <a:pt x="0" y="9"/>
                    </a:moveTo>
                    <a:lnTo>
                      <a:pt x="9" y="22"/>
                    </a:lnTo>
                    <a:lnTo>
                      <a:pt x="14" y="22"/>
                    </a:lnTo>
                    <a:lnTo>
                      <a:pt x="18" y="27"/>
                    </a:lnTo>
                    <a:lnTo>
                      <a:pt x="23" y="27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36" y="31"/>
                    </a:lnTo>
                    <a:lnTo>
                      <a:pt x="32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9" y="49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54" y="36"/>
                    </a:lnTo>
                    <a:lnTo>
                      <a:pt x="58" y="27"/>
                    </a:lnTo>
                    <a:lnTo>
                      <a:pt x="54" y="18"/>
                    </a:lnTo>
                    <a:lnTo>
                      <a:pt x="49" y="18"/>
                    </a:lnTo>
                    <a:lnTo>
                      <a:pt x="49" y="13"/>
                    </a:lnTo>
                    <a:lnTo>
                      <a:pt x="45" y="9"/>
                    </a:lnTo>
                    <a:lnTo>
                      <a:pt x="36" y="9"/>
                    </a:lnTo>
                    <a:lnTo>
                      <a:pt x="27" y="0"/>
                    </a:lnTo>
                    <a:lnTo>
                      <a:pt x="23" y="9"/>
                    </a:lnTo>
                    <a:lnTo>
                      <a:pt x="18" y="9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5" y="4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23" name="Freeform 7"/>
              <p:cNvSpPr>
                <a:spLocks/>
              </p:cNvSpPr>
              <p:nvPr/>
            </p:nvSpPr>
            <p:spPr bwMode="gray">
              <a:xfrm>
                <a:off x="3066" y="2997"/>
                <a:ext cx="159" cy="137"/>
              </a:xfrm>
              <a:custGeom>
                <a:avLst/>
                <a:gdLst>
                  <a:gd name="T0" fmla="*/ 32 w 58"/>
                  <a:gd name="T1" fmla="*/ 45 h 50"/>
                  <a:gd name="T2" fmla="*/ 32 w 58"/>
                  <a:gd name="T3" fmla="*/ 45 h 50"/>
                  <a:gd name="T4" fmla="*/ 36 w 58"/>
                  <a:gd name="T5" fmla="*/ 45 h 50"/>
                  <a:gd name="T6" fmla="*/ 45 w 58"/>
                  <a:gd name="T7" fmla="*/ 50 h 50"/>
                  <a:gd name="T8" fmla="*/ 45 w 58"/>
                  <a:gd name="T9" fmla="*/ 50 h 50"/>
                  <a:gd name="T10" fmla="*/ 45 w 58"/>
                  <a:gd name="T11" fmla="*/ 50 h 50"/>
                  <a:gd name="T12" fmla="*/ 45 w 58"/>
                  <a:gd name="T13" fmla="*/ 45 h 50"/>
                  <a:gd name="T14" fmla="*/ 45 w 58"/>
                  <a:gd name="T15" fmla="*/ 45 h 50"/>
                  <a:gd name="T16" fmla="*/ 45 w 58"/>
                  <a:gd name="T17" fmla="*/ 41 h 50"/>
                  <a:gd name="T18" fmla="*/ 50 w 58"/>
                  <a:gd name="T19" fmla="*/ 36 h 50"/>
                  <a:gd name="T20" fmla="*/ 50 w 58"/>
                  <a:gd name="T21" fmla="*/ 36 h 50"/>
                  <a:gd name="T22" fmla="*/ 50 w 58"/>
                  <a:gd name="T23" fmla="*/ 36 h 50"/>
                  <a:gd name="T24" fmla="*/ 50 w 58"/>
                  <a:gd name="T25" fmla="*/ 32 h 50"/>
                  <a:gd name="T26" fmla="*/ 54 w 58"/>
                  <a:gd name="T27" fmla="*/ 32 h 50"/>
                  <a:gd name="T28" fmla="*/ 58 w 58"/>
                  <a:gd name="T29" fmla="*/ 27 h 50"/>
                  <a:gd name="T30" fmla="*/ 54 w 58"/>
                  <a:gd name="T31" fmla="*/ 23 h 50"/>
                  <a:gd name="T32" fmla="*/ 58 w 58"/>
                  <a:gd name="T33" fmla="*/ 23 h 50"/>
                  <a:gd name="T34" fmla="*/ 58 w 58"/>
                  <a:gd name="T35" fmla="*/ 23 h 50"/>
                  <a:gd name="T36" fmla="*/ 50 w 58"/>
                  <a:gd name="T37" fmla="*/ 18 h 50"/>
                  <a:gd name="T38" fmla="*/ 50 w 58"/>
                  <a:gd name="T39" fmla="*/ 14 h 50"/>
                  <a:gd name="T40" fmla="*/ 54 w 58"/>
                  <a:gd name="T41" fmla="*/ 9 h 50"/>
                  <a:gd name="T42" fmla="*/ 54 w 58"/>
                  <a:gd name="T43" fmla="*/ 5 h 50"/>
                  <a:gd name="T44" fmla="*/ 50 w 58"/>
                  <a:gd name="T45" fmla="*/ 5 h 50"/>
                  <a:gd name="T46" fmla="*/ 45 w 58"/>
                  <a:gd name="T47" fmla="*/ 5 h 50"/>
                  <a:gd name="T48" fmla="*/ 45 w 58"/>
                  <a:gd name="T49" fmla="*/ 5 h 50"/>
                  <a:gd name="T50" fmla="*/ 41 w 58"/>
                  <a:gd name="T51" fmla="*/ 0 h 50"/>
                  <a:gd name="T52" fmla="*/ 36 w 58"/>
                  <a:gd name="T53" fmla="*/ 0 h 50"/>
                  <a:gd name="T54" fmla="*/ 32 w 58"/>
                  <a:gd name="T55" fmla="*/ 5 h 50"/>
                  <a:gd name="T56" fmla="*/ 23 w 58"/>
                  <a:gd name="T57" fmla="*/ 0 h 50"/>
                  <a:gd name="T58" fmla="*/ 18 w 58"/>
                  <a:gd name="T59" fmla="*/ 0 h 50"/>
                  <a:gd name="T60" fmla="*/ 18 w 58"/>
                  <a:gd name="T61" fmla="*/ 0 h 50"/>
                  <a:gd name="T62" fmla="*/ 14 w 58"/>
                  <a:gd name="T63" fmla="*/ 0 h 50"/>
                  <a:gd name="T64" fmla="*/ 9 w 58"/>
                  <a:gd name="T65" fmla="*/ 5 h 50"/>
                  <a:gd name="T66" fmla="*/ 5 w 58"/>
                  <a:gd name="T67" fmla="*/ 0 h 50"/>
                  <a:gd name="T68" fmla="*/ 5 w 58"/>
                  <a:gd name="T69" fmla="*/ 0 h 50"/>
                  <a:gd name="T70" fmla="*/ 0 w 58"/>
                  <a:gd name="T71" fmla="*/ 9 h 50"/>
                  <a:gd name="T72" fmla="*/ 5 w 58"/>
                  <a:gd name="T73" fmla="*/ 9 h 50"/>
                  <a:gd name="T74" fmla="*/ 9 w 58"/>
                  <a:gd name="T75" fmla="*/ 18 h 50"/>
                  <a:gd name="T76" fmla="*/ 9 w 58"/>
                  <a:gd name="T77" fmla="*/ 23 h 50"/>
                  <a:gd name="T78" fmla="*/ 23 w 58"/>
                  <a:gd name="T79" fmla="*/ 36 h 50"/>
                  <a:gd name="T80" fmla="*/ 27 w 58"/>
                  <a:gd name="T81" fmla="*/ 36 h 50"/>
                  <a:gd name="T82" fmla="*/ 27 w 58"/>
                  <a:gd name="T83" fmla="*/ 36 h 50"/>
                  <a:gd name="T84" fmla="*/ 32 w 58"/>
                  <a:gd name="T85" fmla="*/ 45 h 50"/>
                  <a:gd name="T86" fmla="*/ 32 w 58"/>
                  <a:gd name="T87" fmla="*/ 4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8" h="50">
                    <a:moveTo>
                      <a:pt x="32" y="45"/>
                    </a:moveTo>
                    <a:lnTo>
                      <a:pt x="32" y="45"/>
                    </a:lnTo>
                    <a:lnTo>
                      <a:pt x="36" y="45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1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8" y="27"/>
                    </a:lnTo>
                    <a:lnTo>
                      <a:pt x="54" y="23"/>
                    </a:lnTo>
                    <a:lnTo>
                      <a:pt x="58" y="23"/>
                    </a:lnTo>
                    <a:lnTo>
                      <a:pt x="58" y="23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4" y="9"/>
                    </a:lnTo>
                    <a:lnTo>
                      <a:pt x="54" y="5"/>
                    </a:lnTo>
                    <a:lnTo>
                      <a:pt x="50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1" y="0"/>
                    </a:lnTo>
                    <a:lnTo>
                      <a:pt x="36" y="0"/>
                    </a:lnTo>
                    <a:lnTo>
                      <a:pt x="32" y="5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9" y="18"/>
                    </a:lnTo>
                    <a:lnTo>
                      <a:pt x="9" y="23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32" y="45"/>
                    </a:lnTo>
                    <a:lnTo>
                      <a:pt x="32" y="45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24" name="Freeform 8"/>
              <p:cNvSpPr>
                <a:spLocks/>
              </p:cNvSpPr>
              <p:nvPr/>
            </p:nvSpPr>
            <p:spPr bwMode="gray">
              <a:xfrm>
                <a:off x="3337" y="3046"/>
                <a:ext cx="244" cy="173"/>
              </a:xfrm>
              <a:custGeom>
                <a:avLst/>
                <a:gdLst>
                  <a:gd name="T0" fmla="*/ 4 w 89"/>
                  <a:gd name="T1" fmla="*/ 0 h 63"/>
                  <a:gd name="T2" fmla="*/ 0 w 89"/>
                  <a:gd name="T3" fmla="*/ 18 h 63"/>
                  <a:gd name="T4" fmla="*/ 13 w 89"/>
                  <a:gd name="T5" fmla="*/ 27 h 63"/>
                  <a:gd name="T6" fmla="*/ 13 w 89"/>
                  <a:gd name="T7" fmla="*/ 32 h 63"/>
                  <a:gd name="T8" fmla="*/ 4 w 89"/>
                  <a:gd name="T9" fmla="*/ 36 h 63"/>
                  <a:gd name="T10" fmla="*/ 4 w 89"/>
                  <a:gd name="T11" fmla="*/ 45 h 63"/>
                  <a:gd name="T12" fmla="*/ 13 w 89"/>
                  <a:gd name="T13" fmla="*/ 49 h 63"/>
                  <a:gd name="T14" fmla="*/ 13 w 89"/>
                  <a:gd name="T15" fmla="*/ 63 h 63"/>
                  <a:gd name="T16" fmla="*/ 22 w 89"/>
                  <a:gd name="T17" fmla="*/ 63 h 63"/>
                  <a:gd name="T18" fmla="*/ 31 w 89"/>
                  <a:gd name="T19" fmla="*/ 58 h 63"/>
                  <a:gd name="T20" fmla="*/ 40 w 89"/>
                  <a:gd name="T21" fmla="*/ 63 h 63"/>
                  <a:gd name="T22" fmla="*/ 53 w 89"/>
                  <a:gd name="T23" fmla="*/ 63 h 63"/>
                  <a:gd name="T24" fmla="*/ 53 w 89"/>
                  <a:gd name="T25" fmla="*/ 54 h 63"/>
                  <a:gd name="T26" fmla="*/ 71 w 89"/>
                  <a:gd name="T27" fmla="*/ 45 h 63"/>
                  <a:gd name="T28" fmla="*/ 76 w 89"/>
                  <a:gd name="T29" fmla="*/ 49 h 63"/>
                  <a:gd name="T30" fmla="*/ 85 w 89"/>
                  <a:gd name="T31" fmla="*/ 49 h 63"/>
                  <a:gd name="T32" fmla="*/ 80 w 89"/>
                  <a:gd name="T33" fmla="*/ 36 h 63"/>
                  <a:gd name="T34" fmla="*/ 76 w 89"/>
                  <a:gd name="T35" fmla="*/ 36 h 63"/>
                  <a:gd name="T36" fmla="*/ 80 w 89"/>
                  <a:gd name="T37" fmla="*/ 32 h 63"/>
                  <a:gd name="T38" fmla="*/ 80 w 89"/>
                  <a:gd name="T39" fmla="*/ 18 h 63"/>
                  <a:gd name="T40" fmla="*/ 89 w 89"/>
                  <a:gd name="T41" fmla="*/ 18 h 63"/>
                  <a:gd name="T42" fmla="*/ 89 w 89"/>
                  <a:gd name="T43" fmla="*/ 14 h 63"/>
                  <a:gd name="T44" fmla="*/ 71 w 89"/>
                  <a:gd name="T45" fmla="*/ 5 h 63"/>
                  <a:gd name="T46" fmla="*/ 58 w 89"/>
                  <a:gd name="T47" fmla="*/ 9 h 63"/>
                  <a:gd name="T48" fmla="*/ 49 w 89"/>
                  <a:gd name="T49" fmla="*/ 18 h 63"/>
                  <a:gd name="T50" fmla="*/ 35 w 89"/>
                  <a:gd name="T51" fmla="*/ 18 h 63"/>
                  <a:gd name="T52" fmla="*/ 22 w 89"/>
                  <a:gd name="T53" fmla="*/ 14 h 63"/>
                  <a:gd name="T54" fmla="*/ 9 w 89"/>
                  <a:gd name="T55" fmla="*/ 9 h 63"/>
                  <a:gd name="T56" fmla="*/ 9 w 89"/>
                  <a:gd name="T57" fmla="*/ 0 h 63"/>
                  <a:gd name="T58" fmla="*/ 4 w 89"/>
                  <a:gd name="T5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9" h="63">
                    <a:moveTo>
                      <a:pt x="4" y="0"/>
                    </a:moveTo>
                    <a:lnTo>
                      <a:pt x="0" y="18"/>
                    </a:lnTo>
                    <a:lnTo>
                      <a:pt x="13" y="27"/>
                    </a:lnTo>
                    <a:lnTo>
                      <a:pt x="13" y="32"/>
                    </a:lnTo>
                    <a:lnTo>
                      <a:pt x="4" y="36"/>
                    </a:lnTo>
                    <a:lnTo>
                      <a:pt x="4" y="45"/>
                    </a:lnTo>
                    <a:lnTo>
                      <a:pt x="13" y="49"/>
                    </a:lnTo>
                    <a:lnTo>
                      <a:pt x="13" y="63"/>
                    </a:lnTo>
                    <a:lnTo>
                      <a:pt x="22" y="63"/>
                    </a:lnTo>
                    <a:lnTo>
                      <a:pt x="31" y="58"/>
                    </a:lnTo>
                    <a:lnTo>
                      <a:pt x="40" y="63"/>
                    </a:lnTo>
                    <a:lnTo>
                      <a:pt x="53" y="63"/>
                    </a:lnTo>
                    <a:lnTo>
                      <a:pt x="53" y="54"/>
                    </a:lnTo>
                    <a:lnTo>
                      <a:pt x="71" y="45"/>
                    </a:lnTo>
                    <a:lnTo>
                      <a:pt x="76" y="49"/>
                    </a:lnTo>
                    <a:lnTo>
                      <a:pt x="85" y="49"/>
                    </a:lnTo>
                    <a:lnTo>
                      <a:pt x="80" y="36"/>
                    </a:lnTo>
                    <a:lnTo>
                      <a:pt x="76" y="36"/>
                    </a:lnTo>
                    <a:lnTo>
                      <a:pt x="80" y="32"/>
                    </a:lnTo>
                    <a:lnTo>
                      <a:pt x="80" y="18"/>
                    </a:lnTo>
                    <a:lnTo>
                      <a:pt x="89" y="18"/>
                    </a:lnTo>
                    <a:lnTo>
                      <a:pt x="89" y="14"/>
                    </a:lnTo>
                    <a:lnTo>
                      <a:pt x="71" y="5"/>
                    </a:lnTo>
                    <a:lnTo>
                      <a:pt x="58" y="9"/>
                    </a:lnTo>
                    <a:lnTo>
                      <a:pt x="49" y="18"/>
                    </a:lnTo>
                    <a:lnTo>
                      <a:pt x="35" y="18"/>
                    </a:lnTo>
                    <a:lnTo>
                      <a:pt x="22" y="14"/>
                    </a:lnTo>
                    <a:lnTo>
                      <a:pt x="9" y="9"/>
                    </a:lnTo>
                    <a:lnTo>
                      <a:pt x="9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25" name="Freeform 9"/>
              <p:cNvSpPr>
                <a:spLocks/>
              </p:cNvSpPr>
              <p:nvPr/>
            </p:nvSpPr>
            <p:spPr bwMode="gray">
              <a:xfrm>
                <a:off x="3373" y="2313"/>
                <a:ext cx="366" cy="331"/>
              </a:xfrm>
              <a:custGeom>
                <a:avLst/>
                <a:gdLst>
                  <a:gd name="T0" fmla="*/ 13 w 134"/>
                  <a:gd name="T1" fmla="*/ 116 h 121"/>
                  <a:gd name="T2" fmla="*/ 22 w 134"/>
                  <a:gd name="T3" fmla="*/ 103 h 121"/>
                  <a:gd name="T4" fmla="*/ 45 w 134"/>
                  <a:gd name="T5" fmla="*/ 112 h 121"/>
                  <a:gd name="T6" fmla="*/ 63 w 134"/>
                  <a:gd name="T7" fmla="*/ 112 h 121"/>
                  <a:gd name="T8" fmla="*/ 67 w 134"/>
                  <a:gd name="T9" fmla="*/ 116 h 121"/>
                  <a:gd name="T10" fmla="*/ 76 w 134"/>
                  <a:gd name="T11" fmla="*/ 112 h 121"/>
                  <a:gd name="T12" fmla="*/ 85 w 134"/>
                  <a:gd name="T13" fmla="*/ 112 h 121"/>
                  <a:gd name="T14" fmla="*/ 98 w 134"/>
                  <a:gd name="T15" fmla="*/ 116 h 121"/>
                  <a:gd name="T16" fmla="*/ 107 w 134"/>
                  <a:gd name="T17" fmla="*/ 116 h 121"/>
                  <a:gd name="T18" fmla="*/ 112 w 134"/>
                  <a:gd name="T19" fmla="*/ 99 h 121"/>
                  <a:gd name="T20" fmla="*/ 121 w 134"/>
                  <a:gd name="T21" fmla="*/ 94 h 121"/>
                  <a:gd name="T22" fmla="*/ 121 w 134"/>
                  <a:gd name="T23" fmla="*/ 76 h 121"/>
                  <a:gd name="T24" fmla="*/ 125 w 134"/>
                  <a:gd name="T25" fmla="*/ 81 h 121"/>
                  <a:gd name="T26" fmla="*/ 134 w 134"/>
                  <a:gd name="T27" fmla="*/ 72 h 121"/>
                  <a:gd name="T28" fmla="*/ 125 w 134"/>
                  <a:gd name="T29" fmla="*/ 63 h 121"/>
                  <a:gd name="T30" fmla="*/ 116 w 134"/>
                  <a:gd name="T31" fmla="*/ 54 h 121"/>
                  <a:gd name="T32" fmla="*/ 112 w 134"/>
                  <a:gd name="T33" fmla="*/ 45 h 121"/>
                  <a:gd name="T34" fmla="*/ 112 w 134"/>
                  <a:gd name="T35" fmla="*/ 31 h 121"/>
                  <a:gd name="T36" fmla="*/ 98 w 134"/>
                  <a:gd name="T37" fmla="*/ 9 h 121"/>
                  <a:gd name="T38" fmla="*/ 85 w 134"/>
                  <a:gd name="T39" fmla="*/ 5 h 121"/>
                  <a:gd name="T40" fmla="*/ 76 w 134"/>
                  <a:gd name="T41" fmla="*/ 0 h 121"/>
                  <a:gd name="T42" fmla="*/ 67 w 134"/>
                  <a:gd name="T43" fmla="*/ 0 h 121"/>
                  <a:gd name="T44" fmla="*/ 63 w 134"/>
                  <a:gd name="T45" fmla="*/ 9 h 121"/>
                  <a:gd name="T46" fmla="*/ 45 w 134"/>
                  <a:gd name="T47" fmla="*/ 18 h 121"/>
                  <a:gd name="T48" fmla="*/ 45 w 134"/>
                  <a:gd name="T49" fmla="*/ 23 h 121"/>
                  <a:gd name="T50" fmla="*/ 45 w 134"/>
                  <a:gd name="T51" fmla="*/ 27 h 121"/>
                  <a:gd name="T52" fmla="*/ 40 w 134"/>
                  <a:gd name="T53" fmla="*/ 31 h 121"/>
                  <a:gd name="T54" fmla="*/ 31 w 134"/>
                  <a:gd name="T55" fmla="*/ 45 h 121"/>
                  <a:gd name="T56" fmla="*/ 27 w 134"/>
                  <a:gd name="T57" fmla="*/ 49 h 121"/>
                  <a:gd name="T58" fmla="*/ 13 w 134"/>
                  <a:gd name="T59" fmla="*/ 49 h 121"/>
                  <a:gd name="T60" fmla="*/ 9 w 134"/>
                  <a:gd name="T61" fmla="*/ 72 h 121"/>
                  <a:gd name="T62" fmla="*/ 13 w 134"/>
                  <a:gd name="T63" fmla="*/ 90 h 121"/>
                  <a:gd name="T64" fmla="*/ 5 w 134"/>
                  <a:gd name="T65" fmla="*/ 103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4" h="121">
                    <a:moveTo>
                      <a:pt x="5" y="112"/>
                    </a:moveTo>
                    <a:lnTo>
                      <a:pt x="13" y="116"/>
                    </a:lnTo>
                    <a:lnTo>
                      <a:pt x="18" y="107"/>
                    </a:lnTo>
                    <a:lnTo>
                      <a:pt x="22" y="103"/>
                    </a:lnTo>
                    <a:lnTo>
                      <a:pt x="36" y="107"/>
                    </a:lnTo>
                    <a:lnTo>
                      <a:pt x="45" y="112"/>
                    </a:lnTo>
                    <a:lnTo>
                      <a:pt x="58" y="107"/>
                    </a:lnTo>
                    <a:lnTo>
                      <a:pt x="63" y="112"/>
                    </a:lnTo>
                    <a:lnTo>
                      <a:pt x="67" y="121"/>
                    </a:lnTo>
                    <a:lnTo>
                      <a:pt x="67" y="116"/>
                    </a:lnTo>
                    <a:lnTo>
                      <a:pt x="76" y="116"/>
                    </a:lnTo>
                    <a:lnTo>
                      <a:pt x="76" y="112"/>
                    </a:lnTo>
                    <a:lnTo>
                      <a:pt x="80" y="116"/>
                    </a:lnTo>
                    <a:lnTo>
                      <a:pt x="85" y="112"/>
                    </a:lnTo>
                    <a:lnTo>
                      <a:pt x="89" y="121"/>
                    </a:lnTo>
                    <a:lnTo>
                      <a:pt x="98" y="116"/>
                    </a:lnTo>
                    <a:lnTo>
                      <a:pt x="107" y="121"/>
                    </a:lnTo>
                    <a:lnTo>
                      <a:pt x="107" y="116"/>
                    </a:lnTo>
                    <a:lnTo>
                      <a:pt x="107" y="112"/>
                    </a:lnTo>
                    <a:lnTo>
                      <a:pt x="112" y="99"/>
                    </a:lnTo>
                    <a:lnTo>
                      <a:pt x="121" y="103"/>
                    </a:lnTo>
                    <a:lnTo>
                      <a:pt x="121" y="94"/>
                    </a:lnTo>
                    <a:lnTo>
                      <a:pt x="116" y="81"/>
                    </a:lnTo>
                    <a:lnTo>
                      <a:pt x="121" y="76"/>
                    </a:lnTo>
                    <a:lnTo>
                      <a:pt x="125" y="81"/>
                    </a:lnTo>
                    <a:lnTo>
                      <a:pt x="125" y="81"/>
                    </a:lnTo>
                    <a:lnTo>
                      <a:pt x="130" y="76"/>
                    </a:lnTo>
                    <a:lnTo>
                      <a:pt x="134" y="72"/>
                    </a:lnTo>
                    <a:lnTo>
                      <a:pt x="130" y="72"/>
                    </a:lnTo>
                    <a:lnTo>
                      <a:pt x="125" y="63"/>
                    </a:lnTo>
                    <a:lnTo>
                      <a:pt x="116" y="67"/>
                    </a:lnTo>
                    <a:lnTo>
                      <a:pt x="116" y="54"/>
                    </a:lnTo>
                    <a:lnTo>
                      <a:pt x="112" y="49"/>
                    </a:lnTo>
                    <a:lnTo>
                      <a:pt x="112" y="45"/>
                    </a:lnTo>
                    <a:lnTo>
                      <a:pt x="112" y="36"/>
                    </a:lnTo>
                    <a:lnTo>
                      <a:pt x="112" y="31"/>
                    </a:lnTo>
                    <a:lnTo>
                      <a:pt x="107" y="18"/>
                    </a:lnTo>
                    <a:lnTo>
                      <a:pt x="98" y="9"/>
                    </a:lnTo>
                    <a:lnTo>
                      <a:pt x="89" y="14"/>
                    </a:lnTo>
                    <a:lnTo>
                      <a:pt x="85" y="5"/>
                    </a:lnTo>
                    <a:lnTo>
                      <a:pt x="76" y="5"/>
                    </a:lnTo>
                    <a:lnTo>
                      <a:pt x="76" y="0"/>
                    </a:lnTo>
                    <a:lnTo>
                      <a:pt x="72" y="0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63" y="9"/>
                    </a:lnTo>
                    <a:lnTo>
                      <a:pt x="58" y="14"/>
                    </a:lnTo>
                    <a:lnTo>
                      <a:pt x="45" y="18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9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0" y="31"/>
                    </a:lnTo>
                    <a:lnTo>
                      <a:pt x="36" y="40"/>
                    </a:lnTo>
                    <a:lnTo>
                      <a:pt x="31" y="45"/>
                    </a:lnTo>
                    <a:lnTo>
                      <a:pt x="31" y="54"/>
                    </a:lnTo>
                    <a:lnTo>
                      <a:pt x="27" y="49"/>
                    </a:lnTo>
                    <a:lnTo>
                      <a:pt x="22" y="54"/>
                    </a:lnTo>
                    <a:lnTo>
                      <a:pt x="13" y="49"/>
                    </a:lnTo>
                    <a:lnTo>
                      <a:pt x="5" y="58"/>
                    </a:lnTo>
                    <a:lnTo>
                      <a:pt x="9" y="72"/>
                    </a:lnTo>
                    <a:lnTo>
                      <a:pt x="13" y="81"/>
                    </a:lnTo>
                    <a:lnTo>
                      <a:pt x="13" y="90"/>
                    </a:lnTo>
                    <a:lnTo>
                      <a:pt x="0" y="94"/>
                    </a:lnTo>
                    <a:lnTo>
                      <a:pt x="5" y="103"/>
                    </a:lnTo>
                    <a:lnTo>
                      <a:pt x="5" y="112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26" name="Freeform 10"/>
              <p:cNvSpPr>
                <a:spLocks noEditPoints="1"/>
              </p:cNvSpPr>
              <p:nvPr/>
            </p:nvSpPr>
            <p:spPr bwMode="gray">
              <a:xfrm>
                <a:off x="2981" y="2926"/>
                <a:ext cx="233" cy="219"/>
              </a:xfrm>
              <a:custGeom>
                <a:avLst/>
                <a:gdLst>
                  <a:gd name="T0" fmla="*/ 0 w 85"/>
                  <a:gd name="T1" fmla="*/ 22 h 80"/>
                  <a:gd name="T2" fmla="*/ 9 w 85"/>
                  <a:gd name="T3" fmla="*/ 35 h 80"/>
                  <a:gd name="T4" fmla="*/ 22 w 85"/>
                  <a:gd name="T5" fmla="*/ 31 h 80"/>
                  <a:gd name="T6" fmla="*/ 27 w 85"/>
                  <a:gd name="T7" fmla="*/ 44 h 80"/>
                  <a:gd name="T8" fmla="*/ 22 w 85"/>
                  <a:gd name="T9" fmla="*/ 53 h 80"/>
                  <a:gd name="T10" fmla="*/ 36 w 85"/>
                  <a:gd name="T11" fmla="*/ 62 h 80"/>
                  <a:gd name="T12" fmla="*/ 45 w 85"/>
                  <a:gd name="T13" fmla="*/ 67 h 80"/>
                  <a:gd name="T14" fmla="*/ 45 w 85"/>
                  <a:gd name="T15" fmla="*/ 62 h 80"/>
                  <a:gd name="T16" fmla="*/ 54 w 85"/>
                  <a:gd name="T17" fmla="*/ 67 h 80"/>
                  <a:gd name="T18" fmla="*/ 63 w 85"/>
                  <a:gd name="T19" fmla="*/ 71 h 80"/>
                  <a:gd name="T20" fmla="*/ 58 w 85"/>
                  <a:gd name="T21" fmla="*/ 62 h 80"/>
                  <a:gd name="T22" fmla="*/ 54 w 85"/>
                  <a:gd name="T23" fmla="*/ 62 h 80"/>
                  <a:gd name="T24" fmla="*/ 40 w 85"/>
                  <a:gd name="T25" fmla="*/ 44 h 80"/>
                  <a:gd name="T26" fmla="*/ 31 w 85"/>
                  <a:gd name="T27" fmla="*/ 35 h 80"/>
                  <a:gd name="T28" fmla="*/ 36 w 85"/>
                  <a:gd name="T29" fmla="*/ 26 h 80"/>
                  <a:gd name="T30" fmla="*/ 45 w 85"/>
                  <a:gd name="T31" fmla="*/ 26 h 80"/>
                  <a:gd name="T32" fmla="*/ 49 w 85"/>
                  <a:gd name="T33" fmla="*/ 26 h 80"/>
                  <a:gd name="T34" fmla="*/ 63 w 85"/>
                  <a:gd name="T35" fmla="*/ 31 h 80"/>
                  <a:gd name="T36" fmla="*/ 72 w 85"/>
                  <a:gd name="T37" fmla="*/ 26 h 80"/>
                  <a:gd name="T38" fmla="*/ 76 w 85"/>
                  <a:gd name="T39" fmla="*/ 31 h 80"/>
                  <a:gd name="T40" fmla="*/ 81 w 85"/>
                  <a:gd name="T41" fmla="*/ 26 h 80"/>
                  <a:gd name="T42" fmla="*/ 85 w 85"/>
                  <a:gd name="T43" fmla="*/ 22 h 80"/>
                  <a:gd name="T44" fmla="*/ 81 w 85"/>
                  <a:gd name="T45" fmla="*/ 22 h 80"/>
                  <a:gd name="T46" fmla="*/ 81 w 85"/>
                  <a:gd name="T47" fmla="*/ 18 h 80"/>
                  <a:gd name="T48" fmla="*/ 76 w 85"/>
                  <a:gd name="T49" fmla="*/ 13 h 80"/>
                  <a:gd name="T50" fmla="*/ 49 w 85"/>
                  <a:gd name="T51" fmla="*/ 13 h 80"/>
                  <a:gd name="T52" fmla="*/ 45 w 85"/>
                  <a:gd name="T53" fmla="*/ 4 h 80"/>
                  <a:gd name="T54" fmla="*/ 40 w 85"/>
                  <a:gd name="T55" fmla="*/ 0 h 80"/>
                  <a:gd name="T56" fmla="*/ 40 w 85"/>
                  <a:gd name="T57" fmla="*/ 4 h 80"/>
                  <a:gd name="T58" fmla="*/ 36 w 85"/>
                  <a:gd name="T59" fmla="*/ 9 h 80"/>
                  <a:gd name="T60" fmla="*/ 31 w 85"/>
                  <a:gd name="T61" fmla="*/ 9 h 80"/>
                  <a:gd name="T62" fmla="*/ 31 w 85"/>
                  <a:gd name="T63" fmla="*/ 13 h 80"/>
                  <a:gd name="T64" fmla="*/ 27 w 85"/>
                  <a:gd name="T65" fmla="*/ 22 h 80"/>
                  <a:gd name="T66" fmla="*/ 22 w 85"/>
                  <a:gd name="T67" fmla="*/ 22 h 80"/>
                  <a:gd name="T68" fmla="*/ 14 w 85"/>
                  <a:gd name="T69" fmla="*/ 22 h 80"/>
                  <a:gd name="T70" fmla="*/ 5 w 85"/>
                  <a:gd name="T71" fmla="*/ 22 h 80"/>
                  <a:gd name="T72" fmla="*/ 63 w 85"/>
                  <a:gd name="T73" fmla="*/ 71 h 80"/>
                  <a:gd name="T74" fmla="*/ 72 w 85"/>
                  <a:gd name="T75" fmla="*/ 80 h 80"/>
                  <a:gd name="T76" fmla="*/ 76 w 85"/>
                  <a:gd name="T77" fmla="*/ 76 h 80"/>
                  <a:gd name="T78" fmla="*/ 63 w 85"/>
                  <a:gd name="T79" fmla="*/ 7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" h="80">
                    <a:moveTo>
                      <a:pt x="5" y="22"/>
                    </a:moveTo>
                    <a:lnTo>
                      <a:pt x="0" y="22"/>
                    </a:lnTo>
                    <a:lnTo>
                      <a:pt x="5" y="35"/>
                    </a:lnTo>
                    <a:lnTo>
                      <a:pt x="9" y="35"/>
                    </a:lnTo>
                    <a:lnTo>
                      <a:pt x="14" y="26"/>
                    </a:lnTo>
                    <a:lnTo>
                      <a:pt x="22" y="31"/>
                    </a:lnTo>
                    <a:lnTo>
                      <a:pt x="18" y="35"/>
                    </a:lnTo>
                    <a:lnTo>
                      <a:pt x="27" y="44"/>
                    </a:lnTo>
                    <a:lnTo>
                      <a:pt x="22" y="44"/>
                    </a:lnTo>
                    <a:lnTo>
                      <a:pt x="22" y="53"/>
                    </a:lnTo>
                    <a:lnTo>
                      <a:pt x="31" y="49"/>
                    </a:lnTo>
                    <a:lnTo>
                      <a:pt x="36" y="62"/>
                    </a:lnTo>
                    <a:lnTo>
                      <a:pt x="45" y="62"/>
                    </a:lnTo>
                    <a:lnTo>
                      <a:pt x="45" y="67"/>
                    </a:lnTo>
                    <a:lnTo>
                      <a:pt x="54" y="67"/>
                    </a:lnTo>
                    <a:lnTo>
                      <a:pt x="45" y="62"/>
                    </a:lnTo>
                    <a:lnTo>
                      <a:pt x="49" y="62"/>
                    </a:lnTo>
                    <a:lnTo>
                      <a:pt x="54" y="67"/>
                    </a:lnTo>
                    <a:lnTo>
                      <a:pt x="54" y="71"/>
                    </a:lnTo>
                    <a:lnTo>
                      <a:pt x="63" y="71"/>
                    </a:lnTo>
                    <a:lnTo>
                      <a:pt x="63" y="71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54" y="62"/>
                    </a:lnTo>
                    <a:lnTo>
                      <a:pt x="40" y="49"/>
                    </a:lnTo>
                    <a:lnTo>
                      <a:pt x="40" y="44"/>
                    </a:lnTo>
                    <a:lnTo>
                      <a:pt x="36" y="35"/>
                    </a:lnTo>
                    <a:lnTo>
                      <a:pt x="31" y="3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31"/>
                    </a:lnTo>
                    <a:lnTo>
                      <a:pt x="45" y="26"/>
                    </a:lnTo>
                    <a:lnTo>
                      <a:pt x="49" y="26"/>
                    </a:lnTo>
                    <a:lnTo>
                      <a:pt x="49" y="26"/>
                    </a:lnTo>
                    <a:lnTo>
                      <a:pt x="54" y="26"/>
                    </a:lnTo>
                    <a:lnTo>
                      <a:pt x="63" y="31"/>
                    </a:lnTo>
                    <a:lnTo>
                      <a:pt x="67" y="26"/>
                    </a:lnTo>
                    <a:lnTo>
                      <a:pt x="72" y="26"/>
                    </a:lnTo>
                    <a:lnTo>
                      <a:pt x="76" y="31"/>
                    </a:lnTo>
                    <a:lnTo>
                      <a:pt x="76" y="31"/>
                    </a:lnTo>
                    <a:lnTo>
                      <a:pt x="81" y="31"/>
                    </a:lnTo>
                    <a:lnTo>
                      <a:pt x="81" y="26"/>
                    </a:lnTo>
                    <a:lnTo>
                      <a:pt x="85" y="26"/>
                    </a:lnTo>
                    <a:lnTo>
                      <a:pt x="85" y="22"/>
                    </a:lnTo>
                    <a:lnTo>
                      <a:pt x="81" y="22"/>
                    </a:lnTo>
                    <a:lnTo>
                      <a:pt x="81" y="22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3"/>
                    </a:lnTo>
                    <a:lnTo>
                      <a:pt x="76" y="13"/>
                    </a:lnTo>
                    <a:lnTo>
                      <a:pt x="67" y="18"/>
                    </a:lnTo>
                    <a:lnTo>
                      <a:pt x="49" y="13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6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27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2"/>
                    </a:lnTo>
                    <a:lnTo>
                      <a:pt x="18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5" y="22"/>
                    </a:lnTo>
                    <a:lnTo>
                      <a:pt x="5" y="22"/>
                    </a:lnTo>
                    <a:close/>
                    <a:moveTo>
                      <a:pt x="63" y="71"/>
                    </a:moveTo>
                    <a:lnTo>
                      <a:pt x="72" y="80"/>
                    </a:lnTo>
                    <a:lnTo>
                      <a:pt x="72" y="80"/>
                    </a:lnTo>
                    <a:lnTo>
                      <a:pt x="76" y="80"/>
                    </a:lnTo>
                    <a:lnTo>
                      <a:pt x="76" y="76"/>
                    </a:lnTo>
                    <a:lnTo>
                      <a:pt x="67" y="71"/>
                    </a:lnTo>
                    <a:lnTo>
                      <a:pt x="63" y="71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27" name="Freeform 11"/>
              <p:cNvSpPr>
                <a:spLocks/>
              </p:cNvSpPr>
              <p:nvPr/>
            </p:nvSpPr>
            <p:spPr bwMode="gray">
              <a:xfrm>
                <a:off x="3728" y="3500"/>
                <a:ext cx="96" cy="50"/>
              </a:xfrm>
              <a:custGeom>
                <a:avLst/>
                <a:gdLst>
                  <a:gd name="T0" fmla="*/ 9 w 35"/>
                  <a:gd name="T1" fmla="*/ 9 h 18"/>
                  <a:gd name="T2" fmla="*/ 9 w 35"/>
                  <a:gd name="T3" fmla="*/ 9 h 18"/>
                  <a:gd name="T4" fmla="*/ 0 w 35"/>
                  <a:gd name="T5" fmla="*/ 13 h 18"/>
                  <a:gd name="T6" fmla="*/ 4 w 35"/>
                  <a:gd name="T7" fmla="*/ 18 h 18"/>
                  <a:gd name="T8" fmla="*/ 13 w 35"/>
                  <a:gd name="T9" fmla="*/ 18 h 18"/>
                  <a:gd name="T10" fmla="*/ 22 w 35"/>
                  <a:gd name="T11" fmla="*/ 13 h 18"/>
                  <a:gd name="T12" fmla="*/ 22 w 35"/>
                  <a:gd name="T13" fmla="*/ 9 h 18"/>
                  <a:gd name="T14" fmla="*/ 35 w 35"/>
                  <a:gd name="T15" fmla="*/ 0 h 18"/>
                  <a:gd name="T16" fmla="*/ 31 w 35"/>
                  <a:gd name="T17" fmla="*/ 0 h 18"/>
                  <a:gd name="T18" fmla="*/ 26 w 35"/>
                  <a:gd name="T19" fmla="*/ 0 h 18"/>
                  <a:gd name="T20" fmla="*/ 17 w 35"/>
                  <a:gd name="T21" fmla="*/ 9 h 18"/>
                  <a:gd name="T22" fmla="*/ 9 w 35"/>
                  <a:gd name="T2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18">
                    <a:moveTo>
                      <a:pt x="9" y="9"/>
                    </a:moveTo>
                    <a:lnTo>
                      <a:pt x="9" y="9"/>
                    </a:lnTo>
                    <a:lnTo>
                      <a:pt x="0" y="13"/>
                    </a:lnTo>
                    <a:lnTo>
                      <a:pt x="4" y="18"/>
                    </a:lnTo>
                    <a:lnTo>
                      <a:pt x="13" y="18"/>
                    </a:lnTo>
                    <a:lnTo>
                      <a:pt x="22" y="13"/>
                    </a:lnTo>
                    <a:lnTo>
                      <a:pt x="22" y="9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6" y="0"/>
                    </a:lnTo>
                    <a:lnTo>
                      <a:pt x="17" y="9"/>
                    </a:lnTo>
                    <a:lnTo>
                      <a:pt x="9" y="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28" name="Freeform 12"/>
              <p:cNvSpPr>
                <a:spLocks/>
              </p:cNvSpPr>
              <p:nvPr/>
            </p:nvSpPr>
            <p:spPr bwMode="gray">
              <a:xfrm>
                <a:off x="2932" y="2669"/>
                <a:ext cx="257" cy="145"/>
              </a:xfrm>
              <a:custGeom>
                <a:avLst/>
                <a:gdLst>
                  <a:gd name="T0" fmla="*/ 40 w 94"/>
                  <a:gd name="T1" fmla="*/ 0 h 53"/>
                  <a:gd name="T2" fmla="*/ 36 w 94"/>
                  <a:gd name="T3" fmla="*/ 0 h 53"/>
                  <a:gd name="T4" fmla="*/ 32 w 94"/>
                  <a:gd name="T5" fmla="*/ 9 h 53"/>
                  <a:gd name="T6" fmla="*/ 18 w 94"/>
                  <a:gd name="T7" fmla="*/ 9 h 53"/>
                  <a:gd name="T8" fmla="*/ 9 w 94"/>
                  <a:gd name="T9" fmla="*/ 18 h 53"/>
                  <a:gd name="T10" fmla="*/ 5 w 94"/>
                  <a:gd name="T11" fmla="*/ 18 h 53"/>
                  <a:gd name="T12" fmla="*/ 0 w 94"/>
                  <a:gd name="T13" fmla="*/ 18 h 53"/>
                  <a:gd name="T14" fmla="*/ 5 w 94"/>
                  <a:gd name="T15" fmla="*/ 27 h 53"/>
                  <a:gd name="T16" fmla="*/ 9 w 94"/>
                  <a:gd name="T17" fmla="*/ 36 h 53"/>
                  <a:gd name="T18" fmla="*/ 18 w 94"/>
                  <a:gd name="T19" fmla="*/ 36 h 53"/>
                  <a:gd name="T20" fmla="*/ 27 w 94"/>
                  <a:gd name="T21" fmla="*/ 44 h 53"/>
                  <a:gd name="T22" fmla="*/ 27 w 94"/>
                  <a:gd name="T23" fmla="*/ 49 h 53"/>
                  <a:gd name="T24" fmla="*/ 36 w 94"/>
                  <a:gd name="T25" fmla="*/ 49 h 53"/>
                  <a:gd name="T26" fmla="*/ 45 w 94"/>
                  <a:gd name="T27" fmla="*/ 40 h 53"/>
                  <a:gd name="T28" fmla="*/ 67 w 94"/>
                  <a:gd name="T29" fmla="*/ 44 h 53"/>
                  <a:gd name="T30" fmla="*/ 67 w 94"/>
                  <a:gd name="T31" fmla="*/ 53 h 53"/>
                  <a:gd name="T32" fmla="*/ 72 w 94"/>
                  <a:gd name="T33" fmla="*/ 49 h 53"/>
                  <a:gd name="T34" fmla="*/ 81 w 94"/>
                  <a:gd name="T35" fmla="*/ 49 h 53"/>
                  <a:gd name="T36" fmla="*/ 85 w 94"/>
                  <a:gd name="T37" fmla="*/ 44 h 53"/>
                  <a:gd name="T38" fmla="*/ 90 w 94"/>
                  <a:gd name="T39" fmla="*/ 36 h 53"/>
                  <a:gd name="T40" fmla="*/ 94 w 94"/>
                  <a:gd name="T41" fmla="*/ 31 h 53"/>
                  <a:gd name="T42" fmla="*/ 94 w 94"/>
                  <a:gd name="T43" fmla="*/ 22 h 53"/>
                  <a:gd name="T44" fmla="*/ 85 w 94"/>
                  <a:gd name="T45" fmla="*/ 22 h 53"/>
                  <a:gd name="T46" fmla="*/ 81 w 94"/>
                  <a:gd name="T47" fmla="*/ 13 h 53"/>
                  <a:gd name="T48" fmla="*/ 72 w 94"/>
                  <a:gd name="T49" fmla="*/ 9 h 53"/>
                  <a:gd name="T50" fmla="*/ 67 w 94"/>
                  <a:gd name="T51" fmla="*/ 18 h 53"/>
                  <a:gd name="T52" fmla="*/ 58 w 94"/>
                  <a:gd name="T53" fmla="*/ 13 h 53"/>
                  <a:gd name="T54" fmla="*/ 63 w 94"/>
                  <a:gd name="T55" fmla="*/ 9 h 53"/>
                  <a:gd name="T56" fmla="*/ 54 w 94"/>
                  <a:gd name="T57" fmla="*/ 9 h 53"/>
                  <a:gd name="T58" fmla="*/ 49 w 94"/>
                  <a:gd name="T59" fmla="*/ 0 h 53"/>
                  <a:gd name="T60" fmla="*/ 45 w 94"/>
                  <a:gd name="T61" fmla="*/ 4 h 53"/>
                  <a:gd name="T62" fmla="*/ 40 w 94"/>
                  <a:gd name="T63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4" h="53">
                    <a:moveTo>
                      <a:pt x="40" y="0"/>
                    </a:moveTo>
                    <a:lnTo>
                      <a:pt x="36" y="0"/>
                    </a:lnTo>
                    <a:lnTo>
                      <a:pt x="32" y="9"/>
                    </a:lnTo>
                    <a:lnTo>
                      <a:pt x="18" y="9"/>
                    </a:lnTo>
                    <a:lnTo>
                      <a:pt x="9" y="18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18" y="36"/>
                    </a:lnTo>
                    <a:lnTo>
                      <a:pt x="27" y="44"/>
                    </a:lnTo>
                    <a:lnTo>
                      <a:pt x="27" y="49"/>
                    </a:lnTo>
                    <a:lnTo>
                      <a:pt x="36" y="49"/>
                    </a:lnTo>
                    <a:lnTo>
                      <a:pt x="45" y="40"/>
                    </a:lnTo>
                    <a:lnTo>
                      <a:pt x="67" y="44"/>
                    </a:lnTo>
                    <a:lnTo>
                      <a:pt x="67" y="53"/>
                    </a:lnTo>
                    <a:lnTo>
                      <a:pt x="72" y="49"/>
                    </a:lnTo>
                    <a:lnTo>
                      <a:pt x="81" y="49"/>
                    </a:lnTo>
                    <a:lnTo>
                      <a:pt x="85" y="44"/>
                    </a:lnTo>
                    <a:lnTo>
                      <a:pt x="90" y="36"/>
                    </a:lnTo>
                    <a:lnTo>
                      <a:pt x="94" y="31"/>
                    </a:lnTo>
                    <a:lnTo>
                      <a:pt x="94" y="22"/>
                    </a:lnTo>
                    <a:lnTo>
                      <a:pt x="85" y="22"/>
                    </a:lnTo>
                    <a:lnTo>
                      <a:pt x="81" y="13"/>
                    </a:lnTo>
                    <a:lnTo>
                      <a:pt x="72" y="9"/>
                    </a:lnTo>
                    <a:lnTo>
                      <a:pt x="67" y="18"/>
                    </a:lnTo>
                    <a:lnTo>
                      <a:pt x="58" y="13"/>
                    </a:lnTo>
                    <a:lnTo>
                      <a:pt x="63" y="9"/>
                    </a:lnTo>
                    <a:lnTo>
                      <a:pt x="54" y="9"/>
                    </a:lnTo>
                    <a:lnTo>
                      <a:pt x="49" y="0"/>
                    </a:lnTo>
                    <a:lnTo>
                      <a:pt x="45" y="4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29" name="Freeform 13"/>
              <p:cNvSpPr>
                <a:spLocks noEditPoints="1"/>
              </p:cNvSpPr>
              <p:nvPr/>
            </p:nvSpPr>
            <p:spPr bwMode="gray">
              <a:xfrm>
                <a:off x="2199" y="1813"/>
                <a:ext cx="856" cy="610"/>
              </a:xfrm>
              <a:custGeom>
                <a:avLst/>
                <a:gdLst>
                  <a:gd name="T0" fmla="*/ 0 w 313"/>
                  <a:gd name="T1" fmla="*/ 9 h 223"/>
                  <a:gd name="T2" fmla="*/ 5 w 313"/>
                  <a:gd name="T3" fmla="*/ 18 h 223"/>
                  <a:gd name="T4" fmla="*/ 5 w 313"/>
                  <a:gd name="T5" fmla="*/ 27 h 223"/>
                  <a:gd name="T6" fmla="*/ 9 w 313"/>
                  <a:gd name="T7" fmla="*/ 31 h 223"/>
                  <a:gd name="T8" fmla="*/ 9 w 313"/>
                  <a:gd name="T9" fmla="*/ 18 h 223"/>
                  <a:gd name="T10" fmla="*/ 5 w 313"/>
                  <a:gd name="T11" fmla="*/ 13 h 223"/>
                  <a:gd name="T12" fmla="*/ 14 w 313"/>
                  <a:gd name="T13" fmla="*/ 0 h 223"/>
                  <a:gd name="T14" fmla="*/ 0 w 313"/>
                  <a:gd name="T15" fmla="*/ 4 h 223"/>
                  <a:gd name="T16" fmla="*/ 241 w 313"/>
                  <a:gd name="T17" fmla="*/ 214 h 223"/>
                  <a:gd name="T18" fmla="*/ 237 w 313"/>
                  <a:gd name="T19" fmla="*/ 206 h 223"/>
                  <a:gd name="T20" fmla="*/ 237 w 313"/>
                  <a:gd name="T21" fmla="*/ 192 h 223"/>
                  <a:gd name="T22" fmla="*/ 241 w 313"/>
                  <a:gd name="T23" fmla="*/ 188 h 223"/>
                  <a:gd name="T24" fmla="*/ 246 w 313"/>
                  <a:gd name="T25" fmla="*/ 183 h 223"/>
                  <a:gd name="T26" fmla="*/ 250 w 313"/>
                  <a:gd name="T27" fmla="*/ 170 h 223"/>
                  <a:gd name="T28" fmla="*/ 246 w 313"/>
                  <a:gd name="T29" fmla="*/ 165 h 223"/>
                  <a:gd name="T30" fmla="*/ 241 w 313"/>
                  <a:gd name="T31" fmla="*/ 156 h 223"/>
                  <a:gd name="T32" fmla="*/ 246 w 313"/>
                  <a:gd name="T33" fmla="*/ 156 h 223"/>
                  <a:gd name="T34" fmla="*/ 246 w 313"/>
                  <a:gd name="T35" fmla="*/ 143 h 223"/>
                  <a:gd name="T36" fmla="*/ 246 w 313"/>
                  <a:gd name="T37" fmla="*/ 134 h 223"/>
                  <a:gd name="T38" fmla="*/ 237 w 313"/>
                  <a:gd name="T39" fmla="*/ 152 h 223"/>
                  <a:gd name="T40" fmla="*/ 219 w 313"/>
                  <a:gd name="T41" fmla="*/ 161 h 223"/>
                  <a:gd name="T42" fmla="*/ 224 w 313"/>
                  <a:gd name="T43" fmla="*/ 165 h 223"/>
                  <a:gd name="T44" fmla="*/ 219 w 313"/>
                  <a:gd name="T45" fmla="*/ 170 h 223"/>
                  <a:gd name="T46" fmla="*/ 224 w 313"/>
                  <a:gd name="T47" fmla="*/ 174 h 223"/>
                  <a:gd name="T48" fmla="*/ 219 w 313"/>
                  <a:gd name="T49" fmla="*/ 183 h 223"/>
                  <a:gd name="T50" fmla="*/ 224 w 313"/>
                  <a:gd name="T51" fmla="*/ 188 h 223"/>
                  <a:gd name="T52" fmla="*/ 219 w 313"/>
                  <a:gd name="T53" fmla="*/ 201 h 223"/>
                  <a:gd name="T54" fmla="*/ 224 w 313"/>
                  <a:gd name="T55" fmla="*/ 206 h 223"/>
                  <a:gd name="T56" fmla="*/ 224 w 313"/>
                  <a:gd name="T57" fmla="*/ 219 h 223"/>
                  <a:gd name="T58" fmla="*/ 241 w 313"/>
                  <a:gd name="T59" fmla="*/ 206 h 223"/>
                  <a:gd name="T60" fmla="*/ 246 w 313"/>
                  <a:gd name="T61" fmla="*/ 210 h 223"/>
                  <a:gd name="T62" fmla="*/ 246 w 313"/>
                  <a:gd name="T63" fmla="*/ 219 h 223"/>
                  <a:gd name="T64" fmla="*/ 246 w 313"/>
                  <a:gd name="T65" fmla="*/ 210 h 223"/>
                  <a:gd name="T66" fmla="*/ 246 w 313"/>
                  <a:gd name="T67" fmla="*/ 201 h 223"/>
                  <a:gd name="T68" fmla="*/ 250 w 313"/>
                  <a:gd name="T69" fmla="*/ 214 h 223"/>
                  <a:gd name="T70" fmla="*/ 259 w 313"/>
                  <a:gd name="T71" fmla="*/ 223 h 223"/>
                  <a:gd name="T72" fmla="*/ 264 w 313"/>
                  <a:gd name="T73" fmla="*/ 219 h 223"/>
                  <a:gd name="T74" fmla="*/ 264 w 313"/>
                  <a:gd name="T75" fmla="*/ 214 h 223"/>
                  <a:gd name="T76" fmla="*/ 250 w 313"/>
                  <a:gd name="T77" fmla="*/ 214 h 223"/>
                  <a:gd name="T78" fmla="*/ 264 w 313"/>
                  <a:gd name="T79" fmla="*/ 192 h 223"/>
                  <a:gd name="T80" fmla="*/ 255 w 313"/>
                  <a:gd name="T81" fmla="*/ 192 h 223"/>
                  <a:gd name="T82" fmla="*/ 255 w 313"/>
                  <a:gd name="T83" fmla="*/ 206 h 223"/>
                  <a:gd name="T84" fmla="*/ 264 w 313"/>
                  <a:gd name="T85" fmla="*/ 210 h 223"/>
                  <a:gd name="T86" fmla="*/ 273 w 313"/>
                  <a:gd name="T87" fmla="*/ 210 h 223"/>
                  <a:gd name="T88" fmla="*/ 273 w 313"/>
                  <a:gd name="T89" fmla="*/ 201 h 223"/>
                  <a:gd name="T90" fmla="*/ 273 w 313"/>
                  <a:gd name="T91" fmla="*/ 197 h 223"/>
                  <a:gd name="T92" fmla="*/ 273 w 313"/>
                  <a:gd name="T93" fmla="*/ 183 h 223"/>
                  <a:gd name="T94" fmla="*/ 264 w 313"/>
                  <a:gd name="T95" fmla="*/ 183 h 223"/>
                  <a:gd name="T96" fmla="*/ 304 w 313"/>
                  <a:gd name="T97" fmla="*/ 210 h 223"/>
                  <a:gd name="T98" fmla="*/ 313 w 313"/>
                  <a:gd name="T99" fmla="*/ 206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13" h="223">
                    <a:moveTo>
                      <a:pt x="0" y="4"/>
                    </a:moveTo>
                    <a:lnTo>
                      <a:pt x="0" y="9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9" y="22"/>
                    </a:lnTo>
                    <a:lnTo>
                      <a:pt x="5" y="27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5" y="27"/>
                    </a:lnTo>
                    <a:lnTo>
                      <a:pt x="9" y="18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4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0" y="4"/>
                    </a:lnTo>
                    <a:close/>
                    <a:moveTo>
                      <a:pt x="224" y="219"/>
                    </a:moveTo>
                    <a:lnTo>
                      <a:pt x="241" y="214"/>
                    </a:lnTo>
                    <a:lnTo>
                      <a:pt x="237" y="210"/>
                    </a:lnTo>
                    <a:lnTo>
                      <a:pt x="237" y="206"/>
                    </a:lnTo>
                    <a:lnTo>
                      <a:pt x="241" y="197"/>
                    </a:lnTo>
                    <a:lnTo>
                      <a:pt x="237" y="192"/>
                    </a:lnTo>
                    <a:lnTo>
                      <a:pt x="241" y="192"/>
                    </a:lnTo>
                    <a:lnTo>
                      <a:pt x="241" y="188"/>
                    </a:lnTo>
                    <a:lnTo>
                      <a:pt x="241" y="179"/>
                    </a:lnTo>
                    <a:lnTo>
                      <a:pt x="246" y="183"/>
                    </a:lnTo>
                    <a:lnTo>
                      <a:pt x="250" y="174"/>
                    </a:lnTo>
                    <a:lnTo>
                      <a:pt x="250" y="170"/>
                    </a:lnTo>
                    <a:lnTo>
                      <a:pt x="246" y="170"/>
                    </a:lnTo>
                    <a:lnTo>
                      <a:pt x="246" y="165"/>
                    </a:lnTo>
                    <a:lnTo>
                      <a:pt x="241" y="156"/>
                    </a:lnTo>
                    <a:lnTo>
                      <a:pt x="241" y="156"/>
                    </a:lnTo>
                    <a:lnTo>
                      <a:pt x="241" y="152"/>
                    </a:lnTo>
                    <a:lnTo>
                      <a:pt x="246" y="156"/>
                    </a:lnTo>
                    <a:lnTo>
                      <a:pt x="250" y="147"/>
                    </a:lnTo>
                    <a:lnTo>
                      <a:pt x="246" y="143"/>
                    </a:lnTo>
                    <a:lnTo>
                      <a:pt x="246" y="139"/>
                    </a:lnTo>
                    <a:lnTo>
                      <a:pt x="246" y="134"/>
                    </a:lnTo>
                    <a:lnTo>
                      <a:pt x="241" y="134"/>
                    </a:lnTo>
                    <a:lnTo>
                      <a:pt x="237" y="152"/>
                    </a:lnTo>
                    <a:lnTo>
                      <a:pt x="224" y="156"/>
                    </a:lnTo>
                    <a:lnTo>
                      <a:pt x="219" y="161"/>
                    </a:lnTo>
                    <a:lnTo>
                      <a:pt x="219" y="165"/>
                    </a:lnTo>
                    <a:lnTo>
                      <a:pt x="224" y="165"/>
                    </a:lnTo>
                    <a:lnTo>
                      <a:pt x="224" y="170"/>
                    </a:lnTo>
                    <a:lnTo>
                      <a:pt x="219" y="170"/>
                    </a:lnTo>
                    <a:lnTo>
                      <a:pt x="219" y="174"/>
                    </a:lnTo>
                    <a:lnTo>
                      <a:pt x="224" y="174"/>
                    </a:lnTo>
                    <a:lnTo>
                      <a:pt x="219" y="179"/>
                    </a:lnTo>
                    <a:lnTo>
                      <a:pt x="219" y="183"/>
                    </a:lnTo>
                    <a:lnTo>
                      <a:pt x="219" y="183"/>
                    </a:lnTo>
                    <a:lnTo>
                      <a:pt x="224" y="188"/>
                    </a:lnTo>
                    <a:lnTo>
                      <a:pt x="219" y="192"/>
                    </a:lnTo>
                    <a:lnTo>
                      <a:pt x="219" y="201"/>
                    </a:lnTo>
                    <a:lnTo>
                      <a:pt x="224" y="197"/>
                    </a:lnTo>
                    <a:lnTo>
                      <a:pt x="224" y="206"/>
                    </a:lnTo>
                    <a:lnTo>
                      <a:pt x="224" y="214"/>
                    </a:lnTo>
                    <a:lnTo>
                      <a:pt x="224" y="219"/>
                    </a:lnTo>
                    <a:close/>
                    <a:moveTo>
                      <a:pt x="241" y="197"/>
                    </a:moveTo>
                    <a:lnTo>
                      <a:pt x="241" y="206"/>
                    </a:lnTo>
                    <a:lnTo>
                      <a:pt x="241" y="210"/>
                    </a:lnTo>
                    <a:lnTo>
                      <a:pt x="246" y="210"/>
                    </a:lnTo>
                    <a:lnTo>
                      <a:pt x="246" y="219"/>
                    </a:lnTo>
                    <a:lnTo>
                      <a:pt x="246" y="219"/>
                    </a:lnTo>
                    <a:lnTo>
                      <a:pt x="250" y="210"/>
                    </a:lnTo>
                    <a:lnTo>
                      <a:pt x="246" y="210"/>
                    </a:lnTo>
                    <a:lnTo>
                      <a:pt x="246" y="206"/>
                    </a:lnTo>
                    <a:lnTo>
                      <a:pt x="246" y="201"/>
                    </a:lnTo>
                    <a:lnTo>
                      <a:pt x="241" y="197"/>
                    </a:lnTo>
                    <a:close/>
                    <a:moveTo>
                      <a:pt x="250" y="214"/>
                    </a:moveTo>
                    <a:lnTo>
                      <a:pt x="250" y="219"/>
                    </a:lnTo>
                    <a:lnTo>
                      <a:pt x="259" y="223"/>
                    </a:lnTo>
                    <a:lnTo>
                      <a:pt x="264" y="219"/>
                    </a:lnTo>
                    <a:lnTo>
                      <a:pt x="264" y="219"/>
                    </a:lnTo>
                    <a:lnTo>
                      <a:pt x="268" y="219"/>
                    </a:lnTo>
                    <a:lnTo>
                      <a:pt x="264" y="214"/>
                    </a:lnTo>
                    <a:lnTo>
                      <a:pt x="259" y="214"/>
                    </a:lnTo>
                    <a:lnTo>
                      <a:pt x="250" y="214"/>
                    </a:lnTo>
                    <a:close/>
                    <a:moveTo>
                      <a:pt x="264" y="183"/>
                    </a:moveTo>
                    <a:lnTo>
                      <a:pt x="264" y="192"/>
                    </a:lnTo>
                    <a:lnTo>
                      <a:pt x="259" y="183"/>
                    </a:lnTo>
                    <a:lnTo>
                      <a:pt x="255" y="192"/>
                    </a:lnTo>
                    <a:lnTo>
                      <a:pt x="250" y="192"/>
                    </a:lnTo>
                    <a:lnTo>
                      <a:pt x="255" y="206"/>
                    </a:lnTo>
                    <a:lnTo>
                      <a:pt x="259" y="206"/>
                    </a:lnTo>
                    <a:lnTo>
                      <a:pt x="264" y="210"/>
                    </a:lnTo>
                    <a:lnTo>
                      <a:pt x="273" y="214"/>
                    </a:lnTo>
                    <a:lnTo>
                      <a:pt x="273" y="210"/>
                    </a:lnTo>
                    <a:lnTo>
                      <a:pt x="268" y="206"/>
                    </a:lnTo>
                    <a:lnTo>
                      <a:pt x="273" y="201"/>
                    </a:lnTo>
                    <a:lnTo>
                      <a:pt x="268" y="197"/>
                    </a:lnTo>
                    <a:lnTo>
                      <a:pt x="273" y="197"/>
                    </a:lnTo>
                    <a:lnTo>
                      <a:pt x="273" y="192"/>
                    </a:lnTo>
                    <a:lnTo>
                      <a:pt x="273" y="183"/>
                    </a:lnTo>
                    <a:lnTo>
                      <a:pt x="268" y="179"/>
                    </a:lnTo>
                    <a:lnTo>
                      <a:pt x="264" y="183"/>
                    </a:lnTo>
                    <a:close/>
                    <a:moveTo>
                      <a:pt x="308" y="206"/>
                    </a:moveTo>
                    <a:lnTo>
                      <a:pt x="304" y="210"/>
                    </a:lnTo>
                    <a:lnTo>
                      <a:pt x="313" y="210"/>
                    </a:lnTo>
                    <a:lnTo>
                      <a:pt x="313" y="206"/>
                    </a:lnTo>
                    <a:lnTo>
                      <a:pt x="308" y="206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30" name="Freeform 14"/>
              <p:cNvSpPr>
                <a:spLocks noEditPoints="1"/>
              </p:cNvSpPr>
              <p:nvPr/>
            </p:nvSpPr>
            <p:spPr bwMode="gray">
              <a:xfrm>
                <a:off x="3312" y="2045"/>
                <a:ext cx="269" cy="170"/>
              </a:xfrm>
              <a:custGeom>
                <a:avLst/>
                <a:gdLst>
                  <a:gd name="T0" fmla="*/ 4 w 98"/>
                  <a:gd name="T1" fmla="*/ 31 h 62"/>
                  <a:gd name="T2" fmla="*/ 0 w 98"/>
                  <a:gd name="T3" fmla="*/ 36 h 62"/>
                  <a:gd name="T4" fmla="*/ 4 w 98"/>
                  <a:gd name="T5" fmla="*/ 40 h 62"/>
                  <a:gd name="T6" fmla="*/ 0 w 98"/>
                  <a:gd name="T7" fmla="*/ 45 h 62"/>
                  <a:gd name="T8" fmla="*/ 4 w 98"/>
                  <a:gd name="T9" fmla="*/ 49 h 62"/>
                  <a:gd name="T10" fmla="*/ 9 w 98"/>
                  <a:gd name="T11" fmla="*/ 40 h 62"/>
                  <a:gd name="T12" fmla="*/ 13 w 98"/>
                  <a:gd name="T13" fmla="*/ 40 h 62"/>
                  <a:gd name="T14" fmla="*/ 22 w 98"/>
                  <a:gd name="T15" fmla="*/ 31 h 62"/>
                  <a:gd name="T16" fmla="*/ 22 w 98"/>
                  <a:gd name="T17" fmla="*/ 27 h 62"/>
                  <a:gd name="T18" fmla="*/ 18 w 98"/>
                  <a:gd name="T19" fmla="*/ 27 h 62"/>
                  <a:gd name="T20" fmla="*/ 13 w 98"/>
                  <a:gd name="T21" fmla="*/ 27 h 62"/>
                  <a:gd name="T22" fmla="*/ 22 w 98"/>
                  <a:gd name="T23" fmla="*/ 22 h 62"/>
                  <a:gd name="T24" fmla="*/ 13 w 98"/>
                  <a:gd name="T25" fmla="*/ 18 h 62"/>
                  <a:gd name="T26" fmla="*/ 9 w 98"/>
                  <a:gd name="T27" fmla="*/ 22 h 62"/>
                  <a:gd name="T28" fmla="*/ 13 w 98"/>
                  <a:gd name="T29" fmla="*/ 27 h 62"/>
                  <a:gd name="T30" fmla="*/ 13 w 98"/>
                  <a:gd name="T31" fmla="*/ 27 h 62"/>
                  <a:gd name="T32" fmla="*/ 4 w 98"/>
                  <a:gd name="T33" fmla="*/ 31 h 62"/>
                  <a:gd name="T34" fmla="*/ 40 w 98"/>
                  <a:gd name="T35" fmla="*/ 54 h 62"/>
                  <a:gd name="T36" fmla="*/ 53 w 98"/>
                  <a:gd name="T37" fmla="*/ 49 h 62"/>
                  <a:gd name="T38" fmla="*/ 62 w 98"/>
                  <a:gd name="T39" fmla="*/ 54 h 62"/>
                  <a:gd name="T40" fmla="*/ 71 w 98"/>
                  <a:gd name="T41" fmla="*/ 58 h 62"/>
                  <a:gd name="T42" fmla="*/ 76 w 98"/>
                  <a:gd name="T43" fmla="*/ 58 h 62"/>
                  <a:gd name="T44" fmla="*/ 85 w 98"/>
                  <a:gd name="T45" fmla="*/ 62 h 62"/>
                  <a:gd name="T46" fmla="*/ 94 w 98"/>
                  <a:gd name="T47" fmla="*/ 58 h 62"/>
                  <a:gd name="T48" fmla="*/ 98 w 98"/>
                  <a:gd name="T49" fmla="*/ 54 h 62"/>
                  <a:gd name="T50" fmla="*/ 89 w 98"/>
                  <a:gd name="T51" fmla="*/ 45 h 62"/>
                  <a:gd name="T52" fmla="*/ 85 w 98"/>
                  <a:gd name="T53" fmla="*/ 36 h 62"/>
                  <a:gd name="T54" fmla="*/ 85 w 98"/>
                  <a:gd name="T55" fmla="*/ 31 h 62"/>
                  <a:gd name="T56" fmla="*/ 85 w 98"/>
                  <a:gd name="T57" fmla="*/ 22 h 62"/>
                  <a:gd name="T58" fmla="*/ 94 w 98"/>
                  <a:gd name="T59" fmla="*/ 18 h 62"/>
                  <a:gd name="T60" fmla="*/ 98 w 98"/>
                  <a:gd name="T61" fmla="*/ 9 h 62"/>
                  <a:gd name="T62" fmla="*/ 94 w 98"/>
                  <a:gd name="T63" fmla="*/ 0 h 62"/>
                  <a:gd name="T64" fmla="*/ 89 w 98"/>
                  <a:gd name="T65" fmla="*/ 4 h 62"/>
                  <a:gd name="T66" fmla="*/ 71 w 98"/>
                  <a:gd name="T67" fmla="*/ 0 h 62"/>
                  <a:gd name="T68" fmla="*/ 40 w 98"/>
                  <a:gd name="T69" fmla="*/ 9 h 62"/>
                  <a:gd name="T70" fmla="*/ 27 w 98"/>
                  <a:gd name="T71" fmla="*/ 18 h 62"/>
                  <a:gd name="T72" fmla="*/ 27 w 98"/>
                  <a:gd name="T73" fmla="*/ 31 h 62"/>
                  <a:gd name="T74" fmla="*/ 35 w 98"/>
                  <a:gd name="T75" fmla="*/ 40 h 62"/>
                  <a:gd name="T76" fmla="*/ 40 w 98"/>
                  <a:gd name="T77" fmla="*/ 36 h 62"/>
                  <a:gd name="T78" fmla="*/ 40 w 98"/>
                  <a:gd name="T79" fmla="*/ 5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98" h="62">
                    <a:moveTo>
                      <a:pt x="4" y="31"/>
                    </a:moveTo>
                    <a:lnTo>
                      <a:pt x="0" y="36"/>
                    </a:lnTo>
                    <a:lnTo>
                      <a:pt x="4" y="40"/>
                    </a:lnTo>
                    <a:lnTo>
                      <a:pt x="0" y="45"/>
                    </a:lnTo>
                    <a:lnTo>
                      <a:pt x="4" y="49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22" y="31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13" y="27"/>
                    </a:lnTo>
                    <a:lnTo>
                      <a:pt x="22" y="22"/>
                    </a:lnTo>
                    <a:lnTo>
                      <a:pt x="13" y="18"/>
                    </a:lnTo>
                    <a:lnTo>
                      <a:pt x="9" y="22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4" y="31"/>
                    </a:lnTo>
                    <a:close/>
                    <a:moveTo>
                      <a:pt x="40" y="54"/>
                    </a:moveTo>
                    <a:lnTo>
                      <a:pt x="53" y="49"/>
                    </a:lnTo>
                    <a:lnTo>
                      <a:pt x="62" y="54"/>
                    </a:lnTo>
                    <a:lnTo>
                      <a:pt x="71" y="58"/>
                    </a:lnTo>
                    <a:lnTo>
                      <a:pt x="76" y="58"/>
                    </a:lnTo>
                    <a:lnTo>
                      <a:pt x="85" y="62"/>
                    </a:lnTo>
                    <a:lnTo>
                      <a:pt x="94" y="58"/>
                    </a:lnTo>
                    <a:lnTo>
                      <a:pt x="98" y="54"/>
                    </a:lnTo>
                    <a:lnTo>
                      <a:pt x="89" y="45"/>
                    </a:lnTo>
                    <a:lnTo>
                      <a:pt x="85" y="36"/>
                    </a:lnTo>
                    <a:lnTo>
                      <a:pt x="85" y="31"/>
                    </a:lnTo>
                    <a:lnTo>
                      <a:pt x="85" y="22"/>
                    </a:lnTo>
                    <a:lnTo>
                      <a:pt x="94" y="18"/>
                    </a:lnTo>
                    <a:lnTo>
                      <a:pt x="98" y="9"/>
                    </a:lnTo>
                    <a:lnTo>
                      <a:pt x="94" y="0"/>
                    </a:lnTo>
                    <a:lnTo>
                      <a:pt x="89" y="4"/>
                    </a:lnTo>
                    <a:lnTo>
                      <a:pt x="71" y="0"/>
                    </a:lnTo>
                    <a:lnTo>
                      <a:pt x="40" y="9"/>
                    </a:lnTo>
                    <a:lnTo>
                      <a:pt x="27" y="18"/>
                    </a:lnTo>
                    <a:lnTo>
                      <a:pt x="27" y="31"/>
                    </a:lnTo>
                    <a:lnTo>
                      <a:pt x="35" y="40"/>
                    </a:lnTo>
                    <a:lnTo>
                      <a:pt x="40" y="36"/>
                    </a:lnTo>
                    <a:lnTo>
                      <a:pt x="40" y="5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31" name="Freeform 15"/>
              <p:cNvSpPr>
                <a:spLocks/>
              </p:cNvSpPr>
              <p:nvPr/>
            </p:nvSpPr>
            <p:spPr bwMode="gray">
              <a:xfrm>
                <a:off x="3263" y="1055"/>
                <a:ext cx="452" cy="990"/>
              </a:xfrm>
              <a:custGeom>
                <a:avLst/>
                <a:gdLst>
                  <a:gd name="T0" fmla="*/ 18 w 165"/>
                  <a:gd name="T1" fmla="*/ 54 h 362"/>
                  <a:gd name="T2" fmla="*/ 45 w 165"/>
                  <a:gd name="T3" fmla="*/ 76 h 362"/>
                  <a:gd name="T4" fmla="*/ 53 w 165"/>
                  <a:gd name="T5" fmla="*/ 121 h 362"/>
                  <a:gd name="T6" fmla="*/ 49 w 165"/>
                  <a:gd name="T7" fmla="*/ 152 h 362"/>
                  <a:gd name="T8" fmla="*/ 58 w 165"/>
                  <a:gd name="T9" fmla="*/ 165 h 362"/>
                  <a:gd name="T10" fmla="*/ 67 w 165"/>
                  <a:gd name="T11" fmla="*/ 192 h 362"/>
                  <a:gd name="T12" fmla="*/ 45 w 165"/>
                  <a:gd name="T13" fmla="*/ 219 h 362"/>
                  <a:gd name="T14" fmla="*/ 22 w 165"/>
                  <a:gd name="T15" fmla="*/ 250 h 362"/>
                  <a:gd name="T16" fmla="*/ 9 w 165"/>
                  <a:gd name="T17" fmla="*/ 264 h 362"/>
                  <a:gd name="T18" fmla="*/ 13 w 165"/>
                  <a:gd name="T19" fmla="*/ 277 h 362"/>
                  <a:gd name="T20" fmla="*/ 13 w 165"/>
                  <a:gd name="T21" fmla="*/ 313 h 362"/>
                  <a:gd name="T22" fmla="*/ 27 w 165"/>
                  <a:gd name="T23" fmla="*/ 335 h 362"/>
                  <a:gd name="T24" fmla="*/ 36 w 165"/>
                  <a:gd name="T25" fmla="*/ 340 h 362"/>
                  <a:gd name="T26" fmla="*/ 36 w 165"/>
                  <a:gd name="T27" fmla="*/ 348 h 362"/>
                  <a:gd name="T28" fmla="*/ 40 w 165"/>
                  <a:gd name="T29" fmla="*/ 353 h 362"/>
                  <a:gd name="T30" fmla="*/ 40 w 165"/>
                  <a:gd name="T31" fmla="*/ 362 h 362"/>
                  <a:gd name="T32" fmla="*/ 58 w 165"/>
                  <a:gd name="T33" fmla="*/ 348 h 362"/>
                  <a:gd name="T34" fmla="*/ 62 w 165"/>
                  <a:gd name="T35" fmla="*/ 353 h 362"/>
                  <a:gd name="T36" fmla="*/ 76 w 165"/>
                  <a:gd name="T37" fmla="*/ 348 h 362"/>
                  <a:gd name="T38" fmla="*/ 85 w 165"/>
                  <a:gd name="T39" fmla="*/ 344 h 362"/>
                  <a:gd name="T40" fmla="*/ 98 w 165"/>
                  <a:gd name="T41" fmla="*/ 340 h 362"/>
                  <a:gd name="T42" fmla="*/ 112 w 165"/>
                  <a:gd name="T43" fmla="*/ 340 h 362"/>
                  <a:gd name="T44" fmla="*/ 129 w 165"/>
                  <a:gd name="T45" fmla="*/ 322 h 362"/>
                  <a:gd name="T46" fmla="*/ 161 w 165"/>
                  <a:gd name="T47" fmla="*/ 281 h 362"/>
                  <a:gd name="T48" fmla="*/ 147 w 165"/>
                  <a:gd name="T49" fmla="*/ 255 h 362"/>
                  <a:gd name="T50" fmla="*/ 147 w 165"/>
                  <a:gd name="T51" fmla="*/ 228 h 362"/>
                  <a:gd name="T52" fmla="*/ 143 w 165"/>
                  <a:gd name="T53" fmla="*/ 214 h 362"/>
                  <a:gd name="T54" fmla="*/ 134 w 165"/>
                  <a:gd name="T55" fmla="*/ 165 h 362"/>
                  <a:gd name="T56" fmla="*/ 134 w 165"/>
                  <a:gd name="T57" fmla="*/ 147 h 362"/>
                  <a:gd name="T58" fmla="*/ 120 w 165"/>
                  <a:gd name="T59" fmla="*/ 116 h 362"/>
                  <a:gd name="T60" fmla="*/ 134 w 165"/>
                  <a:gd name="T61" fmla="*/ 80 h 362"/>
                  <a:gd name="T62" fmla="*/ 116 w 165"/>
                  <a:gd name="T63" fmla="*/ 54 h 362"/>
                  <a:gd name="T64" fmla="*/ 112 w 165"/>
                  <a:gd name="T65" fmla="*/ 40 h 362"/>
                  <a:gd name="T66" fmla="*/ 116 w 165"/>
                  <a:gd name="T67" fmla="*/ 31 h 362"/>
                  <a:gd name="T68" fmla="*/ 120 w 165"/>
                  <a:gd name="T69" fmla="*/ 9 h 362"/>
                  <a:gd name="T70" fmla="*/ 107 w 165"/>
                  <a:gd name="T71" fmla="*/ 0 h 362"/>
                  <a:gd name="T72" fmla="*/ 76 w 165"/>
                  <a:gd name="T73" fmla="*/ 22 h 362"/>
                  <a:gd name="T74" fmla="*/ 62 w 165"/>
                  <a:gd name="T75" fmla="*/ 58 h 362"/>
                  <a:gd name="T76" fmla="*/ 31 w 165"/>
                  <a:gd name="T77" fmla="*/ 54 h 362"/>
                  <a:gd name="T78" fmla="*/ 9 w 165"/>
                  <a:gd name="T79" fmla="*/ 31 h 362"/>
                  <a:gd name="T80" fmla="*/ 0 w 165"/>
                  <a:gd name="T81" fmla="*/ 36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5" h="362">
                    <a:moveTo>
                      <a:pt x="4" y="40"/>
                    </a:moveTo>
                    <a:lnTo>
                      <a:pt x="18" y="54"/>
                    </a:lnTo>
                    <a:lnTo>
                      <a:pt x="40" y="62"/>
                    </a:lnTo>
                    <a:lnTo>
                      <a:pt x="45" y="76"/>
                    </a:lnTo>
                    <a:lnTo>
                      <a:pt x="49" y="98"/>
                    </a:lnTo>
                    <a:lnTo>
                      <a:pt x="53" y="121"/>
                    </a:lnTo>
                    <a:lnTo>
                      <a:pt x="49" y="138"/>
                    </a:lnTo>
                    <a:lnTo>
                      <a:pt x="49" y="152"/>
                    </a:lnTo>
                    <a:lnTo>
                      <a:pt x="53" y="165"/>
                    </a:lnTo>
                    <a:lnTo>
                      <a:pt x="58" y="165"/>
                    </a:lnTo>
                    <a:lnTo>
                      <a:pt x="71" y="183"/>
                    </a:lnTo>
                    <a:lnTo>
                      <a:pt x="67" y="192"/>
                    </a:lnTo>
                    <a:lnTo>
                      <a:pt x="71" y="197"/>
                    </a:lnTo>
                    <a:lnTo>
                      <a:pt x="45" y="219"/>
                    </a:lnTo>
                    <a:lnTo>
                      <a:pt x="31" y="237"/>
                    </a:lnTo>
                    <a:lnTo>
                      <a:pt x="22" y="250"/>
                    </a:lnTo>
                    <a:lnTo>
                      <a:pt x="13" y="250"/>
                    </a:lnTo>
                    <a:lnTo>
                      <a:pt x="9" y="264"/>
                    </a:lnTo>
                    <a:lnTo>
                      <a:pt x="9" y="277"/>
                    </a:lnTo>
                    <a:lnTo>
                      <a:pt x="13" y="277"/>
                    </a:lnTo>
                    <a:lnTo>
                      <a:pt x="18" y="299"/>
                    </a:lnTo>
                    <a:lnTo>
                      <a:pt x="13" y="313"/>
                    </a:lnTo>
                    <a:lnTo>
                      <a:pt x="18" y="331"/>
                    </a:lnTo>
                    <a:lnTo>
                      <a:pt x="27" y="335"/>
                    </a:lnTo>
                    <a:lnTo>
                      <a:pt x="31" y="344"/>
                    </a:lnTo>
                    <a:lnTo>
                      <a:pt x="36" y="340"/>
                    </a:lnTo>
                    <a:lnTo>
                      <a:pt x="36" y="344"/>
                    </a:lnTo>
                    <a:lnTo>
                      <a:pt x="36" y="348"/>
                    </a:lnTo>
                    <a:lnTo>
                      <a:pt x="36" y="353"/>
                    </a:lnTo>
                    <a:lnTo>
                      <a:pt x="40" y="353"/>
                    </a:lnTo>
                    <a:lnTo>
                      <a:pt x="36" y="362"/>
                    </a:lnTo>
                    <a:lnTo>
                      <a:pt x="40" y="362"/>
                    </a:lnTo>
                    <a:lnTo>
                      <a:pt x="45" y="353"/>
                    </a:lnTo>
                    <a:lnTo>
                      <a:pt x="58" y="348"/>
                    </a:lnTo>
                    <a:lnTo>
                      <a:pt x="58" y="353"/>
                    </a:lnTo>
                    <a:lnTo>
                      <a:pt x="62" y="353"/>
                    </a:lnTo>
                    <a:lnTo>
                      <a:pt x="67" y="344"/>
                    </a:lnTo>
                    <a:lnTo>
                      <a:pt x="76" y="348"/>
                    </a:lnTo>
                    <a:lnTo>
                      <a:pt x="80" y="344"/>
                    </a:lnTo>
                    <a:lnTo>
                      <a:pt x="85" y="344"/>
                    </a:lnTo>
                    <a:lnTo>
                      <a:pt x="94" y="344"/>
                    </a:lnTo>
                    <a:lnTo>
                      <a:pt x="98" y="340"/>
                    </a:lnTo>
                    <a:lnTo>
                      <a:pt x="107" y="344"/>
                    </a:lnTo>
                    <a:lnTo>
                      <a:pt x="112" y="340"/>
                    </a:lnTo>
                    <a:lnTo>
                      <a:pt x="120" y="331"/>
                    </a:lnTo>
                    <a:lnTo>
                      <a:pt x="129" y="322"/>
                    </a:lnTo>
                    <a:lnTo>
                      <a:pt x="134" y="308"/>
                    </a:lnTo>
                    <a:lnTo>
                      <a:pt x="161" y="281"/>
                    </a:lnTo>
                    <a:lnTo>
                      <a:pt x="165" y="273"/>
                    </a:lnTo>
                    <a:lnTo>
                      <a:pt x="147" y="255"/>
                    </a:lnTo>
                    <a:lnTo>
                      <a:pt x="134" y="241"/>
                    </a:lnTo>
                    <a:lnTo>
                      <a:pt x="147" y="228"/>
                    </a:lnTo>
                    <a:lnTo>
                      <a:pt x="134" y="219"/>
                    </a:lnTo>
                    <a:lnTo>
                      <a:pt x="143" y="214"/>
                    </a:lnTo>
                    <a:lnTo>
                      <a:pt x="134" y="210"/>
                    </a:lnTo>
                    <a:lnTo>
                      <a:pt x="134" y="165"/>
                    </a:lnTo>
                    <a:lnTo>
                      <a:pt x="143" y="161"/>
                    </a:lnTo>
                    <a:lnTo>
                      <a:pt x="134" y="147"/>
                    </a:lnTo>
                    <a:lnTo>
                      <a:pt x="129" y="130"/>
                    </a:lnTo>
                    <a:lnTo>
                      <a:pt x="120" y="116"/>
                    </a:lnTo>
                    <a:lnTo>
                      <a:pt x="134" y="89"/>
                    </a:lnTo>
                    <a:lnTo>
                      <a:pt x="134" y="80"/>
                    </a:lnTo>
                    <a:lnTo>
                      <a:pt x="120" y="71"/>
                    </a:lnTo>
                    <a:lnTo>
                      <a:pt x="116" y="54"/>
                    </a:lnTo>
                    <a:lnTo>
                      <a:pt x="125" y="36"/>
                    </a:lnTo>
                    <a:lnTo>
                      <a:pt x="112" y="40"/>
                    </a:lnTo>
                    <a:lnTo>
                      <a:pt x="112" y="36"/>
                    </a:lnTo>
                    <a:lnTo>
                      <a:pt x="116" y="31"/>
                    </a:lnTo>
                    <a:lnTo>
                      <a:pt x="120" y="13"/>
                    </a:lnTo>
                    <a:lnTo>
                      <a:pt x="120" y="9"/>
                    </a:lnTo>
                    <a:lnTo>
                      <a:pt x="112" y="9"/>
                    </a:lnTo>
                    <a:lnTo>
                      <a:pt x="107" y="0"/>
                    </a:lnTo>
                    <a:lnTo>
                      <a:pt x="89" y="4"/>
                    </a:lnTo>
                    <a:lnTo>
                      <a:pt x="76" y="22"/>
                    </a:lnTo>
                    <a:lnTo>
                      <a:pt x="76" y="45"/>
                    </a:lnTo>
                    <a:lnTo>
                      <a:pt x="62" y="58"/>
                    </a:lnTo>
                    <a:lnTo>
                      <a:pt x="53" y="54"/>
                    </a:lnTo>
                    <a:lnTo>
                      <a:pt x="31" y="54"/>
                    </a:lnTo>
                    <a:lnTo>
                      <a:pt x="18" y="31"/>
                    </a:lnTo>
                    <a:lnTo>
                      <a:pt x="9" y="31"/>
                    </a:lnTo>
                    <a:lnTo>
                      <a:pt x="9" y="36"/>
                    </a:lnTo>
                    <a:lnTo>
                      <a:pt x="0" y="36"/>
                    </a:lnTo>
                    <a:lnTo>
                      <a:pt x="4" y="40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32" name="Freeform 16"/>
              <p:cNvSpPr>
                <a:spLocks noEditPoints="1"/>
              </p:cNvSpPr>
              <p:nvPr/>
            </p:nvSpPr>
            <p:spPr bwMode="gray">
              <a:xfrm>
                <a:off x="2287" y="2644"/>
                <a:ext cx="560" cy="561"/>
              </a:xfrm>
              <a:custGeom>
                <a:avLst/>
                <a:gdLst>
                  <a:gd name="T0" fmla="*/ 49 w 205"/>
                  <a:gd name="T1" fmla="*/ 174 h 205"/>
                  <a:gd name="T2" fmla="*/ 67 w 205"/>
                  <a:gd name="T3" fmla="*/ 183 h 205"/>
                  <a:gd name="T4" fmla="*/ 89 w 205"/>
                  <a:gd name="T5" fmla="*/ 183 h 205"/>
                  <a:gd name="T6" fmla="*/ 107 w 205"/>
                  <a:gd name="T7" fmla="*/ 188 h 205"/>
                  <a:gd name="T8" fmla="*/ 116 w 205"/>
                  <a:gd name="T9" fmla="*/ 174 h 205"/>
                  <a:gd name="T10" fmla="*/ 129 w 205"/>
                  <a:gd name="T11" fmla="*/ 174 h 205"/>
                  <a:gd name="T12" fmla="*/ 142 w 205"/>
                  <a:gd name="T13" fmla="*/ 170 h 205"/>
                  <a:gd name="T14" fmla="*/ 165 w 205"/>
                  <a:gd name="T15" fmla="*/ 170 h 205"/>
                  <a:gd name="T16" fmla="*/ 178 w 205"/>
                  <a:gd name="T17" fmla="*/ 161 h 205"/>
                  <a:gd name="T18" fmla="*/ 165 w 205"/>
                  <a:gd name="T19" fmla="*/ 156 h 205"/>
                  <a:gd name="T20" fmla="*/ 160 w 205"/>
                  <a:gd name="T21" fmla="*/ 129 h 205"/>
                  <a:gd name="T22" fmla="*/ 169 w 205"/>
                  <a:gd name="T23" fmla="*/ 116 h 205"/>
                  <a:gd name="T24" fmla="*/ 160 w 205"/>
                  <a:gd name="T25" fmla="*/ 103 h 205"/>
                  <a:gd name="T26" fmla="*/ 156 w 205"/>
                  <a:gd name="T27" fmla="*/ 103 h 205"/>
                  <a:gd name="T28" fmla="*/ 165 w 205"/>
                  <a:gd name="T29" fmla="*/ 85 h 205"/>
                  <a:gd name="T30" fmla="*/ 178 w 205"/>
                  <a:gd name="T31" fmla="*/ 80 h 205"/>
                  <a:gd name="T32" fmla="*/ 183 w 205"/>
                  <a:gd name="T33" fmla="*/ 53 h 205"/>
                  <a:gd name="T34" fmla="*/ 174 w 205"/>
                  <a:gd name="T35" fmla="*/ 45 h 205"/>
                  <a:gd name="T36" fmla="*/ 160 w 205"/>
                  <a:gd name="T37" fmla="*/ 40 h 205"/>
                  <a:gd name="T38" fmla="*/ 151 w 205"/>
                  <a:gd name="T39" fmla="*/ 40 h 205"/>
                  <a:gd name="T40" fmla="*/ 142 w 205"/>
                  <a:gd name="T41" fmla="*/ 36 h 205"/>
                  <a:gd name="T42" fmla="*/ 138 w 205"/>
                  <a:gd name="T43" fmla="*/ 22 h 205"/>
                  <a:gd name="T44" fmla="*/ 125 w 205"/>
                  <a:gd name="T45" fmla="*/ 27 h 205"/>
                  <a:gd name="T46" fmla="*/ 120 w 205"/>
                  <a:gd name="T47" fmla="*/ 18 h 205"/>
                  <a:gd name="T48" fmla="*/ 111 w 205"/>
                  <a:gd name="T49" fmla="*/ 13 h 205"/>
                  <a:gd name="T50" fmla="*/ 93 w 205"/>
                  <a:gd name="T51" fmla="*/ 4 h 205"/>
                  <a:gd name="T52" fmla="*/ 93 w 205"/>
                  <a:gd name="T53" fmla="*/ 22 h 205"/>
                  <a:gd name="T54" fmla="*/ 93 w 205"/>
                  <a:gd name="T55" fmla="*/ 27 h 205"/>
                  <a:gd name="T56" fmla="*/ 80 w 205"/>
                  <a:gd name="T57" fmla="*/ 31 h 205"/>
                  <a:gd name="T58" fmla="*/ 67 w 205"/>
                  <a:gd name="T59" fmla="*/ 36 h 205"/>
                  <a:gd name="T60" fmla="*/ 67 w 205"/>
                  <a:gd name="T61" fmla="*/ 40 h 205"/>
                  <a:gd name="T62" fmla="*/ 49 w 205"/>
                  <a:gd name="T63" fmla="*/ 45 h 205"/>
                  <a:gd name="T64" fmla="*/ 40 w 205"/>
                  <a:gd name="T65" fmla="*/ 36 h 205"/>
                  <a:gd name="T66" fmla="*/ 44 w 205"/>
                  <a:gd name="T67" fmla="*/ 45 h 205"/>
                  <a:gd name="T68" fmla="*/ 49 w 205"/>
                  <a:gd name="T69" fmla="*/ 58 h 205"/>
                  <a:gd name="T70" fmla="*/ 35 w 205"/>
                  <a:gd name="T71" fmla="*/ 58 h 205"/>
                  <a:gd name="T72" fmla="*/ 22 w 205"/>
                  <a:gd name="T73" fmla="*/ 53 h 205"/>
                  <a:gd name="T74" fmla="*/ 17 w 205"/>
                  <a:gd name="T75" fmla="*/ 58 h 205"/>
                  <a:gd name="T76" fmla="*/ 8 w 205"/>
                  <a:gd name="T77" fmla="*/ 58 h 205"/>
                  <a:gd name="T78" fmla="*/ 0 w 205"/>
                  <a:gd name="T79" fmla="*/ 62 h 205"/>
                  <a:gd name="T80" fmla="*/ 4 w 205"/>
                  <a:gd name="T81" fmla="*/ 62 h 205"/>
                  <a:gd name="T82" fmla="*/ 0 w 205"/>
                  <a:gd name="T83" fmla="*/ 67 h 205"/>
                  <a:gd name="T84" fmla="*/ 4 w 205"/>
                  <a:gd name="T85" fmla="*/ 76 h 205"/>
                  <a:gd name="T86" fmla="*/ 22 w 205"/>
                  <a:gd name="T87" fmla="*/ 80 h 205"/>
                  <a:gd name="T88" fmla="*/ 26 w 205"/>
                  <a:gd name="T89" fmla="*/ 80 h 205"/>
                  <a:gd name="T90" fmla="*/ 35 w 205"/>
                  <a:gd name="T91" fmla="*/ 89 h 205"/>
                  <a:gd name="T92" fmla="*/ 40 w 205"/>
                  <a:gd name="T93" fmla="*/ 98 h 205"/>
                  <a:gd name="T94" fmla="*/ 53 w 205"/>
                  <a:gd name="T95" fmla="*/ 112 h 205"/>
                  <a:gd name="T96" fmla="*/ 49 w 205"/>
                  <a:gd name="T97" fmla="*/ 116 h 205"/>
                  <a:gd name="T98" fmla="*/ 58 w 205"/>
                  <a:gd name="T99" fmla="*/ 129 h 205"/>
                  <a:gd name="T100" fmla="*/ 49 w 205"/>
                  <a:gd name="T101" fmla="*/ 129 h 205"/>
                  <a:gd name="T102" fmla="*/ 53 w 205"/>
                  <a:gd name="T103" fmla="*/ 138 h 205"/>
                  <a:gd name="T104" fmla="*/ 49 w 205"/>
                  <a:gd name="T105" fmla="*/ 147 h 205"/>
                  <a:gd name="T106" fmla="*/ 44 w 205"/>
                  <a:gd name="T107" fmla="*/ 165 h 205"/>
                  <a:gd name="T108" fmla="*/ 192 w 205"/>
                  <a:gd name="T109" fmla="*/ 192 h 205"/>
                  <a:gd name="T110" fmla="*/ 192 w 205"/>
                  <a:gd name="T111" fmla="*/ 205 h 205"/>
                  <a:gd name="T112" fmla="*/ 205 w 205"/>
                  <a:gd name="T113" fmla="*/ 188 h 205"/>
                  <a:gd name="T114" fmla="*/ 196 w 205"/>
                  <a:gd name="T115" fmla="*/ 174 h 205"/>
                  <a:gd name="T116" fmla="*/ 192 w 205"/>
                  <a:gd name="T117" fmla="*/ 183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5" h="205">
                    <a:moveTo>
                      <a:pt x="44" y="165"/>
                    </a:moveTo>
                    <a:lnTo>
                      <a:pt x="49" y="174"/>
                    </a:lnTo>
                    <a:lnTo>
                      <a:pt x="62" y="183"/>
                    </a:lnTo>
                    <a:lnTo>
                      <a:pt x="67" y="183"/>
                    </a:lnTo>
                    <a:lnTo>
                      <a:pt x="80" y="183"/>
                    </a:lnTo>
                    <a:lnTo>
                      <a:pt x="89" y="183"/>
                    </a:lnTo>
                    <a:lnTo>
                      <a:pt x="98" y="188"/>
                    </a:lnTo>
                    <a:lnTo>
                      <a:pt x="107" y="188"/>
                    </a:lnTo>
                    <a:lnTo>
                      <a:pt x="116" y="188"/>
                    </a:lnTo>
                    <a:lnTo>
                      <a:pt x="116" y="174"/>
                    </a:lnTo>
                    <a:lnTo>
                      <a:pt x="120" y="170"/>
                    </a:lnTo>
                    <a:lnTo>
                      <a:pt x="129" y="174"/>
                    </a:lnTo>
                    <a:lnTo>
                      <a:pt x="134" y="170"/>
                    </a:lnTo>
                    <a:lnTo>
                      <a:pt x="142" y="170"/>
                    </a:lnTo>
                    <a:lnTo>
                      <a:pt x="151" y="174"/>
                    </a:lnTo>
                    <a:lnTo>
                      <a:pt x="165" y="170"/>
                    </a:lnTo>
                    <a:lnTo>
                      <a:pt x="169" y="165"/>
                    </a:lnTo>
                    <a:lnTo>
                      <a:pt x="178" y="161"/>
                    </a:lnTo>
                    <a:lnTo>
                      <a:pt x="174" y="156"/>
                    </a:lnTo>
                    <a:lnTo>
                      <a:pt x="165" y="156"/>
                    </a:lnTo>
                    <a:lnTo>
                      <a:pt x="156" y="143"/>
                    </a:lnTo>
                    <a:lnTo>
                      <a:pt x="160" y="129"/>
                    </a:lnTo>
                    <a:lnTo>
                      <a:pt x="165" y="129"/>
                    </a:lnTo>
                    <a:lnTo>
                      <a:pt x="169" y="116"/>
                    </a:lnTo>
                    <a:lnTo>
                      <a:pt x="165" y="107"/>
                    </a:lnTo>
                    <a:lnTo>
                      <a:pt x="160" y="103"/>
                    </a:lnTo>
                    <a:lnTo>
                      <a:pt x="156" y="112"/>
                    </a:lnTo>
                    <a:lnTo>
                      <a:pt x="156" y="103"/>
                    </a:lnTo>
                    <a:lnTo>
                      <a:pt x="165" y="89"/>
                    </a:lnTo>
                    <a:lnTo>
                      <a:pt x="165" y="85"/>
                    </a:lnTo>
                    <a:lnTo>
                      <a:pt x="174" y="85"/>
                    </a:lnTo>
                    <a:lnTo>
                      <a:pt x="178" y="80"/>
                    </a:lnTo>
                    <a:lnTo>
                      <a:pt x="178" y="67"/>
                    </a:lnTo>
                    <a:lnTo>
                      <a:pt x="183" y="53"/>
                    </a:lnTo>
                    <a:lnTo>
                      <a:pt x="178" y="45"/>
                    </a:lnTo>
                    <a:lnTo>
                      <a:pt x="174" y="45"/>
                    </a:lnTo>
                    <a:lnTo>
                      <a:pt x="160" y="49"/>
                    </a:lnTo>
                    <a:lnTo>
                      <a:pt x="160" y="40"/>
                    </a:lnTo>
                    <a:lnTo>
                      <a:pt x="156" y="40"/>
                    </a:lnTo>
                    <a:lnTo>
                      <a:pt x="151" y="40"/>
                    </a:lnTo>
                    <a:lnTo>
                      <a:pt x="147" y="40"/>
                    </a:lnTo>
                    <a:lnTo>
                      <a:pt x="142" y="36"/>
                    </a:lnTo>
                    <a:lnTo>
                      <a:pt x="134" y="31"/>
                    </a:lnTo>
                    <a:lnTo>
                      <a:pt x="138" y="22"/>
                    </a:lnTo>
                    <a:lnTo>
                      <a:pt x="129" y="27"/>
                    </a:lnTo>
                    <a:lnTo>
                      <a:pt x="125" y="27"/>
                    </a:lnTo>
                    <a:lnTo>
                      <a:pt x="125" y="18"/>
                    </a:lnTo>
                    <a:lnTo>
                      <a:pt x="120" y="18"/>
                    </a:lnTo>
                    <a:lnTo>
                      <a:pt x="116" y="13"/>
                    </a:lnTo>
                    <a:lnTo>
                      <a:pt x="111" y="13"/>
                    </a:lnTo>
                    <a:lnTo>
                      <a:pt x="102" y="0"/>
                    </a:lnTo>
                    <a:lnTo>
                      <a:pt x="93" y="4"/>
                    </a:lnTo>
                    <a:lnTo>
                      <a:pt x="93" y="13"/>
                    </a:lnTo>
                    <a:lnTo>
                      <a:pt x="93" y="22"/>
                    </a:lnTo>
                    <a:lnTo>
                      <a:pt x="93" y="27"/>
                    </a:lnTo>
                    <a:lnTo>
                      <a:pt x="93" y="27"/>
                    </a:lnTo>
                    <a:lnTo>
                      <a:pt x="84" y="27"/>
                    </a:lnTo>
                    <a:lnTo>
                      <a:pt x="80" y="31"/>
                    </a:lnTo>
                    <a:lnTo>
                      <a:pt x="75" y="31"/>
                    </a:lnTo>
                    <a:lnTo>
                      <a:pt x="67" y="36"/>
                    </a:lnTo>
                    <a:lnTo>
                      <a:pt x="71" y="40"/>
                    </a:lnTo>
                    <a:lnTo>
                      <a:pt x="67" y="40"/>
                    </a:lnTo>
                    <a:lnTo>
                      <a:pt x="53" y="40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5"/>
                    </a:lnTo>
                    <a:lnTo>
                      <a:pt x="44" y="53"/>
                    </a:lnTo>
                    <a:lnTo>
                      <a:pt x="49" y="58"/>
                    </a:lnTo>
                    <a:lnTo>
                      <a:pt x="40" y="58"/>
                    </a:lnTo>
                    <a:lnTo>
                      <a:pt x="35" y="58"/>
                    </a:lnTo>
                    <a:lnTo>
                      <a:pt x="31" y="62"/>
                    </a:lnTo>
                    <a:lnTo>
                      <a:pt x="22" y="53"/>
                    </a:lnTo>
                    <a:lnTo>
                      <a:pt x="17" y="53"/>
                    </a:lnTo>
                    <a:lnTo>
                      <a:pt x="17" y="58"/>
                    </a:lnTo>
                    <a:lnTo>
                      <a:pt x="13" y="58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0" y="62"/>
                    </a:lnTo>
                    <a:lnTo>
                      <a:pt x="0" y="67"/>
                    </a:lnTo>
                    <a:lnTo>
                      <a:pt x="4" y="62"/>
                    </a:lnTo>
                    <a:lnTo>
                      <a:pt x="8" y="67"/>
                    </a:lnTo>
                    <a:lnTo>
                      <a:pt x="0" y="67"/>
                    </a:lnTo>
                    <a:lnTo>
                      <a:pt x="0" y="71"/>
                    </a:lnTo>
                    <a:lnTo>
                      <a:pt x="4" y="76"/>
                    </a:lnTo>
                    <a:lnTo>
                      <a:pt x="8" y="71"/>
                    </a:lnTo>
                    <a:lnTo>
                      <a:pt x="22" y="80"/>
                    </a:lnTo>
                    <a:lnTo>
                      <a:pt x="22" y="85"/>
                    </a:lnTo>
                    <a:lnTo>
                      <a:pt x="26" y="80"/>
                    </a:lnTo>
                    <a:lnTo>
                      <a:pt x="35" y="85"/>
                    </a:lnTo>
                    <a:lnTo>
                      <a:pt x="35" y="89"/>
                    </a:lnTo>
                    <a:lnTo>
                      <a:pt x="40" y="89"/>
                    </a:lnTo>
                    <a:lnTo>
                      <a:pt x="40" y="98"/>
                    </a:lnTo>
                    <a:lnTo>
                      <a:pt x="44" y="107"/>
                    </a:lnTo>
                    <a:lnTo>
                      <a:pt x="53" y="112"/>
                    </a:lnTo>
                    <a:lnTo>
                      <a:pt x="49" y="116"/>
                    </a:lnTo>
                    <a:lnTo>
                      <a:pt x="49" y="116"/>
                    </a:lnTo>
                    <a:lnTo>
                      <a:pt x="49" y="121"/>
                    </a:lnTo>
                    <a:lnTo>
                      <a:pt x="58" y="129"/>
                    </a:lnTo>
                    <a:lnTo>
                      <a:pt x="58" y="129"/>
                    </a:lnTo>
                    <a:lnTo>
                      <a:pt x="49" y="129"/>
                    </a:lnTo>
                    <a:lnTo>
                      <a:pt x="49" y="143"/>
                    </a:lnTo>
                    <a:lnTo>
                      <a:pt x="53" y="138"/>
                    </a:lnTo>
                    <a:lnTo>
                      <a:pt x="53" y="143"/>
                    </a:lnTo>
                    <a:lnTo>
                      <a:pt x="49" y="147"/>
                    </a:lnTo>
                    <a:lnTo>
                      <a:pt x="44" y="165"/>
                    </a:lnTo>
                    <a:lnTo>
                      <a:pt x="44" y="165"/>
                    </a:lnTo>
                    <a:close/>
                    <a:moveTo>
                      <a:pt x="192" y="183"/>
                    </a:moveTo>
                    <a:lnTo>
                      <a:pt x="192" y="192"/>
                    </a:lnTo>
                    <a:lnTo>
                      <a:pt x="187" y="196"/>
                    </a:lnTo>
                    <a:lnTo>
                      <a:pt x="192" y="205"/>
                    </a:lnTo>
                    <a:lnTo>
                      <a:pt x="201" y="205"/>
                    </a:lnTo>
                    <a:lnTo>
                      <a:pt x="205" y="188"/>
                    </a:lnTo>
                    <a:lnTo>
                      <a:pt x="201" y="174"/>
                    </a:lnTo>
                    <a:lnTo>
                      <a:pt x="196" y="174"/>
                    </a:lnTo>
                    <a:lnTo>
                      <a:pt x="196" y="183"/>
                    </a:lnTo>
                    <a:lnTo>
                      <a:pt x="192" y="18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33" name="Freeform 17"/>
              <p:cNvSpPr>
                <a:spLocks noEditPoints="1"/>
              </p:cNvSpPr>
              <p:nvPr/>
            </p:nvSpPr>
            <p:spPr bwMode="gray">
              <a:xfrm>
                <a:off x="2700" y="2398"/>
                <a:ext cx="342" cy="479"/>
              </a:xfrm>
              <a:custGeom>
                <a:avLst/>
                <a:gdLst>
                  <a:gd name="T0" fmla="*/ 9 w 125"/>
                  <a:gd name="T1" fmla="*/ 108 h 175"/>
                  <a:gd name="T2" fmla="*/ 0 w 125"/>
                  <a:gd name="T3" fmla="*/ 94 h 175"/>
                  <a:gd name="T4" fmla="*/ 0 w 125"/>
                  <a:gd name="T5" fmla="*/ 81 h 175"/>
                  <a:gd name="T6" fmla="*/ 9 w 125"/>
                  <a:gd name="T7" fmla="*/ 72 h 175"/>
                  <a:gd name="T8" fmla="*/ 14 w 125"/>
                  <a:gd name="T9" fmla="*/ 54 h 175"/>
                  <a:gd name="T10" fmla="*/ 18 w 125"/>
                  <a:gd name="T11" fmla="*/ 45 h 175"/>
                  <a:gd name="T12" fmla="*/ 14 w 125"/>
                  <a:gd name="T13" fmla="*/ 36 h 175"/>
                  <a:gd name="T14" fmla="*/ 18 w 125"/>
                  <a:gd name="T15" fmla="*/ 36 h 175"/>
                  <a:gd name="T16" fmla="*/ 27 w 125"/>
                  <a:gd name="T17" fmla="*/ 32 h 175"/>
                  <a:gd name="T18" fmla="*/ 32 w 125"/>
                  <a:gd name="T19" fmla="*/ 36 h 175"/>
                  <a:gd name="T20" fmla="*/ 36 w 125"/>
                  <a:gd name="T21" fmla="*/ 32 h 175"/>
                  <a:gd name="T22" fmla="*/ 41 w 125"/>
                  <a:gd name="T23" fmla="*/ 27 h 175"/>
                  <a:gd name="T24" fmla="*/ 50 w 125"/>
                  <a:gd name="T25" fmla="*/ 27 h 175"/>
                  <a:gd name="T26" fmla="*/ 45 w 125"/>
                  <a:gd name="T27" fmla="*/ 18 h 175"/>
                  <a:gd name="T28" fmla="*/ 45 w 125"/>
                  <a:gd name="T29" fmla="*/ 14 h 175"/>
                  <a:gd name="T30" fmla="*/ 58 w 125"/>
                  <a:gd name="T31" fmla="*/ 0 h 175"/>
                  <a:gd name="T32" fmla="*/ 58 w 125"/>
                  <a:gd name="T33" fmla="*/ 14 h 175"/>
                  <a:gd name="T34" fmla="*/ 67 w 125"/>
                  <a:gd name="T35" fmla="*/ 14 h 175"/>
                  <a:gd name="T36" fmla="*/ 72 w 125"/>
                  <a:gd name="T37" fmla="*/ 9 h 175"/>
                  <a:gd name="T38" fmla="*/ 67 w 125"/>
                  <a:gd name="T39" fmla="*/ 18 h 175"/>
                  <a:gd name="T40" fmla="*/ 63 w 125"/>
                  <a:gd name="T41" fmla="*/ 23 h 175"/>
                  <a:gd name="T42" fmla="*/ 72 w 125"/>
                  <a:gd name="T43" fmla="*/ 27 h 175"/>
                  <a:gd name="T44" fmla="*/ 76 w 125"/>
                  <a:gd name="T45" fmla="*/ 23 h 175"/>
                  <a:gd name="T46" fmla="*/ 90 w 125"/>
                  <a:gd name="T47" fmla="*/ 14 h 175"/>
                  <a:gd name="T48" fmla="*/ 94 w 125"/>
                  <a:gd name="T49" fmla="*/ 18 h 175"/>
                  <a:gd name="T50" fmla="*/ 108 w 125"/>
                  <a:gd name="T51" fmla="*/ 23 h 175"/>
                  <a:gd name="T52" fmla="*/ 112 w 125"/>
                  <a:gd name="T53" fmla="*/ 27 h 175"/>
                  <a:gd name="T54" fmla="*/ 112 w 125"/>
                  <a:gd name="T55" fmla="*/ 50 h 175"/>
                  <a:gd name="T56" fmla="*/ 121 w 125"/>
                  <a:gd name="T57" fmla="*/ 72 h 175"/>
                  <a:gd name="T58" fmla="*/ 125 w 125"/>
                  <a:gd name="T59" fmla="*/ 90 h 175"/>
                  <a:gd name="T60" fmla="*/ 121 w 125"/>
                  <a:gd name="T61" fmla="*/ 99 h 175"/>
                  <a:gd name="T62" fmla="*/ 103 w 125"/>
                  <a:gd name="T63" fmla="*/ 108 h 175"/>
                  <a:gd name="T64" fmla="*/ 90 w 125"/>
                  <a:gd name="T65" fmla="*/ 117 h 175"/>
                  <a:gd name="T66" fmla="*/ 90 w 125"/>
                  <a:gd name="T67" fmla="*/ 126 h 175"/>
                  <a:gd name="T68" fmla="*/ 103 w 125"/>
                  <a:gd name="T69" fmla="*/ 135 h 175"/>
                  <a:gd name="T70" fmla="*/ 112 w 125"/>
                  <a:gd name="T71" fmla="*/ 148 h 175"/>
                  <a:gd name="T72" fmla="*/ 99 w 125"/>
                  <a:gd name="T73" fmla="*/ 157 h 175"/>
                  <a:gd name="T74" fmla="*/ 103 w 125"/>
                  <a:gd name="T75" fmla="*/ 166 h 175"/>
                  <a:gd name="T76" fmla="*/ 94 w 125"/>
                  <a:gd name="T77" fmla="*/ 170 h 175"/>
                  <a:gd name="T78" fmla="*/ 54 w 125"/>
                  <a:gd name="T79" fmla="*/ 170 h 175"/>
                  <a:gd name="T80" fmla="*/ 36 w 125"/>
                  <a:gd name="T81" fmla="*/ 170 h 175"/>
                  <a:gd name="T82" fmla="*/ 27 w 125"/>
                  <a:gd name="T83" fmla="*/ 170 h 175"/>
                  <a:gd name="T84" fmla="*/ 32 w 125"/>
                  <a:gd name="T85" fmla="*/ 143 h 175"/>
                  <a:gd name="T86" fmla="*/ 23 w 125"/>
                  <a:gd name="T87" fmla="*/ 135 h 175"/>
                  <a:gd name="T88" fmla="*/ 9 w 125"/>
                  <a:gd name="T89" fmla="*/ 130 h 175"/>
                  <a:gd name="T90" fmla="*/ 5 w 125"/>
                  <a:gd name="T91" fmla="*/ 121 h 175"/>
                  <a:gd name="T92" fmla="*/ 103 w 125"/>
                  <a:gd name="T93" fmla="*/ 9 h 175"/>
                  <a:gd name="T94" fmla="*/ 108 w 125"/>
                  <a:gd name="T95" fmla="*/ 18 h 175"/>
                  <a:gd name="T96" fmla="*/ 103 w 125"/>
                  <a:gd name="T97" fmla="*/ 9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5" h="175">
                    <a:moveTo>
                      <a:pt x="5" y="117"/>
                    </a:moveTo>
                    <a:lnTo>
                      <a:pt x="9" y="108"/>
                    </a:lnTo>
                    <a:lnTo>
                      <a:pt x="5" y="99"/>
                    </a:lnTo>
                    <a:lnTo>
                      <a:pt x="0" y="94"/>
                    </a:lnTo>
                    <a:lnTo>
                      <a:pt x="5" y="85"/>
                    </a:lnTo>
                    <a:lnTo>
                      <a:pt x="0" y="81"/>
                    </a:lnTo>
                    <a:lnTo>
                      <a:pt x="0" y="76"/>
                    </a:lnTo>
                    <a:lnTo>
                      <a:pt x="9" y="72"/>
                    </a:lnTo>
                    <a:lnTo>
                      <a:pt x="14" y="72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8" y="45"/>
                    </a:lnTo>
                    <a:lnTo>
                      <a:pt x="14" y="45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2"/>
                    </a:lnTo>
                    <a:lnTo>
                      <a:pt x="27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1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45" y="23"/>
                    </a:lnTo>
                    <a:lnTo>
                      <a:pt x="45" y="18"/>
                    </a:lnTo>
                    <a:lnTo>
                      <a:pt x="41" y="14"/>
                    </a:lnTo>
                    <a:lnTo>
                      <a:pt x="45" y="14"/>
                    </a:lnTo>
                    <a:lnTo>
                      <a:pt x="41" y="5"/>
                    </a:lnTo>
                    <a:lnTo>
                      <a:pt x="58" y="0"/>
                    </a:lnTo>
                    <a:lnTo>
                      <a:pt x="58" y="9"/>
                    </a:lnTo>
                    <a:lnTo>
                      <a:pt x="58" y="14"/>
                    </a:lnTo>
                    <a:lnTo>
                      <a:pt x="63" y="18"/>
                    </a:lnTo>
                    <a:lnTo>
                      <a:pt x="67" y="14"/>
                    </a:lnTo>
                    <a:lnTo>
                      <a:pt x="67" y="9"/>
                    </a:lnTo>
                    <a:lnTo>
                      <a:pt x="72" y="9"/>
                    </a:lnTo>
                    <a:lnTo>
                      <a:pt x="72" y="14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63" y="23"/>
                    </a:lnTo>
                    <a:lnTo>
                      <a:pt x="63" y="27"/>
                    </a:lnTo>
                    <a:lnTo>
                      <a:pt x="72" y="27"/>
                    </a:lnTo>
                    <a:lnTo>
                      <a:pt x="76" y="27"/>
                    </a:lnTo>
                    <a:lnTo>
                      <a:pt x="76" y="23"/>
                    </a:lnTo>
                    <a:lnTo>
                      <a:pt x="85" y="23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8"/>
                    </a:lnTo>
                    <a:lnTo>
                      <a:pt x="99" y="18"/>
                    </a:lnTo>
                    <a:lnTo>
                      <a:pt x="108" y="23"/>
                    </a:lnTo>
                    <a:lnTo>
                      <a:pt x="108" y="27"/>
                    </a:lnTo>
                    <a:lnTo>
                      <a:pt x="112" y="27"/>
                    </a:lnTo>
                    <a:lnTo>
                      <a:pt x="112" y="36"/>
                    </a:lnTo>
                    <a:lnTo>
                      <a:pt x="112" y="50"/>
                    </a:lnTo>
                    <a:lnTo>
                      <a:pt x="121" y="59"/>
                    </a:lnTo>
                    <a:lnTo>
                      <a:pt x="121" y="72"/>
                    </a:lnTo>
                    <a:lnTo>
                      <a:pt x="121" y="85"/>
                    </a:lnTo>
                    <a:lnTo>
                      <a:pt x="125" y="90"/>
                    </a:lnTo>
                    <a:lnTo>
                      <a:pt x="125" y="99"/>
                    </a:lnTo>
                    <a:lnTo>
                      <a:pt x="121" y="99"/>
                    </a:lnTo>
                    <a:lnTo>
                      <a:pt x="117" y="108"/>
                    </a:lnTo>
                    <a:lnTo>
                      <a:pt x="103" y="108"/>
                    </a:lnTo>
                    <a:lnTo>
                      <a:pt x="94" y="117"/>
                    </a:lnTo>
                    <a:lnTo>
                      <a:pt x="90" y="117"/>
                    </a:lnTo>
                    <a:lnTo>
                      <a:pt x="85" y="117"/>
                    </a:lnTo>
                    <a:lnTo>
                      <a:pt x="90" y="126"/>
                    </a:lnTo>
                    <a:lnTo>
                      <a:pt x="94" y="135"/>
                    </a:lnTo>
                    <a:lnTo>
                      <a:pt x="103" y="135"/>
                    </a:lnTo>
                    <a:lnTo>
                      <a:pt x="112" y="143"/>
                    </a:lnTo>
                    <a:lnTo>
                      <a:pt x="112" y="148"/>
                    </a:lnTo>
                    <a:lnTo>
                      <a:pt x="108" y="152"/>
                    </a:lnTo>
                    <a:lnTo>
                      <a:pt x="99" y="157"/>
                    </a:lnTo>
                    <a:lnTo>
                      <a:pt x="94" y="161"/>
                    </a:lnTo>
                    <a:lnTo>
                      <a:pt x="103" y="166"/>
                    </a:lnTo>
                    <a:lnTo>
                      <a:pt x="99" y="175"/>
                    </a:lnTo>
                    <a:lnTo>
                      <a:pt x="94" y="170"/>
                    </a:lnTo>
                    <a:lnTo>
                      <a:pt x="76" y="175"/>
                    </a:lnTo>
                    <a:lnTo>
                      <a:pt x="54" y="170"/>
                    </a:lnTo>
                    <a:lnTo>
                      <a:pt x="45" y="170"/>
                    </a:lnTo>
                    <a:lnTo>
                      <a:pt x="36" y="170"/>
                    </a:lnTo>
                    <a:lnTo>
                      <a:pt x="27" y="175"/>
                    </a:lnTo>
                    <a:lnTo>
                      <a:pt x="27" y="170"/>
                    </a:lnTo>
                    <a:lnTo>
                      <a:pt x="27" y="157"/>
                    </a:lnTo>
                    <a:lnTo>
                      <a:pt x="32" y="143"/>
                    </a:lnTo>
                    <a:lnTo>
                      <a:pt x="27" y="135"/>
                    </a:lnTo>
                    <a:lnTo>
                      <a:pt x="23" y="135"/>
                    </a:lnTo>
                    <a:lnTo>
                      <a:pt x="9" y="139"/>
                    </a:lnTo>
                    <a:lnTo>
                      <a:pt x="9" y="130"/>
                    </a:lnTo>
                    <a:lnTo>
                      <a:pt x="9" y="126"/>
                    </a:lnTo>
                    <a:lnTo>
                      <a:pt x="5" y="121"/>
                    </a:lnTo>
                    <a:lnTo>
                      <a:pt x="5" y="117"/>
                    </a:lnTo>
                    <a:close/>
                    <a:moveTo>
                      <a:pt x="103" y="9"/>
                    </a:moveTo>
                    <a:lnTo>
                      <a:pt x="99" y="18"/>
                    </a:lnTo>
                    <a:lnTo>
                      <a:pt x="108" y="18"/>
                    </a:lnTo>
                    <a:lnTo>
                      <a:pt x="108" y="14"/>
                    </a:lnTo>
                    <a:lnTo>
                      <a:pt x="103" y="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34" name="Freeform 18"/>
              <p:cNvSpPr>
                <a:spLocks noEditPoints="1"/>
              </p:cNvSpPr>
              <p:nvPr/>
            </p:nvSpPr>
            <p:spPr bwMode="gray">
              <a:xfrm>
                <a:off x="3250" y="3205"/>
                <a:ext cx="320" cy="345"/>
              </a:xfrm>
              <a:custGeom>
                <a:avLst/>
                <a:gdLst>
                  <a:gd name="T0" fmla="*/ 9 w 117"/>
                  <a:gd name="T1" fmla="*/ 45 h 126"/>
                  <a:gd name="T2" fmla="*/ 14 w 117"/>
                  <a:gd name="T3" fmla="*/ 63 h 126"/>
                  <a:gd name="T4" fmla="*/ 41 w 117"/>
                  <a:gd name="T5" fmla="*/ 63 h 126"/>
                  <a:gd name="T6" fmla="*/ 41 w 117"/>
                  <a:gd name="T7" fmla="*/ 72 h 126"/>
                  <a:gd name="T8" fmla="*/ 14 w 117"/>
                  <a:gd name="T9" fmla="*/ 67 h 126"/>
                  <a:gd name="T10" fmla="*/ 23 w 117"/>
                  <a:gd name="T11" fmla="*/ 94 h 126"/>
                  <a:gd name="T12" fmla="*/ 36 w 117"/>
                  <a:gd name="T13" fmla="*/ 94 h 126"/>
                  <a:gd name="T14" fmla="*/ 41 w 117"/>
                  <a:gd name="T15" fmla="*/ 99 h 126"/>
                  <a:gd name="T16" fmla="*/ 41 w 117"/>
                  <a:gd name="T17" fmla="*/ 81 h 126"/>
                  <a:gd name="T18" fmla="*/ 50 w 117"/>
                  <a:gd name="T19" fmla="*/ 81 h 126"/>
                  <a:gd name="T20" fmla="*/ 54 w 117"/>
                  <a:gd name="T21" fmla="*/ 76 h 126"/>
                  <a:gd name="T22" fmla="*/ 45 w 117"/>
                  <a:gd name="T23" fmla="*/ 59 h 126"/>
                  <a:gd name="T24" fmla="*/ 36 w 117"/>
                  <a:gd name="T25" fmla="*/ 50 h 126"/>
                  <a:gd name="T26" fmla="*/ 36 w 117"/>
                  <a:gd name="T27" fmla="*/ 27 h 126"/>
                  <a:gd name="T28" fmla="*/ 45 w 117"/>
                  <a:gd name="T29" fmla="*/ 32 h 126"/>
                  <a:gd name="T30" fmla="*/ 58 w 117"/>
                  <a:gd name="T31" fmla="*/ 27 h 126"/>
                  <a:gd name="T32" fmla="*/ 72 w 117"/>
                  <a:gd name="T33" fmla="*/ 9 h 126"/>
                  <a:gd name="T34" fmla="*/ 72 w 117"/>
                  <a:gd name="T35" fmla="*/ 5 h 126"/>
                  <a:gd name="T36" fmla="*/ 45 w 117"/>
                  <a:gd name="T37" fmla="*/ 5 h 126"/>
                  <a:gd name="T38" fmla="*/ 27 w 117"/>
                  <a:gd name="T39" fmla="*/ 14 h 126"/>
                  <a:gd name="T40" fmla="*/ 5 w 117"/>
                  <a:gd name="T41" fmla="*/ 41 h 126"/>
                  <a:gd name="T42" fmla="*/ 54 w 117"/>
                  <a:gd name="T43" fmla="*/ 59 h 126"/>
                  <a:gd name="T44" fmla="*/ 67 w 117"/>
                  <a:gd name="T45" fmla="*/ 72 h 126"/>
                  <a:gd name="T46" fmla="*/ 58 w 117"/>
                  <a:gd name="T47" fmla="*/ 54 h 126"/>
                  <a:gd name="T48" fmla="*/ 41 w 117"/>
                  <a:gd name="T49" fmla="*/ 50 h 126"/>
                  <a:gd name="T50" fmla="*/ 50 w 117"/>
                  <a:gd name="T51" fmla="*/ 112 h 126"/>
                  <a:gd name="T52" fmla="*/ 63 w 117"/>
                  <a:gd name="T53" fmla="*/ 126 h 126"/>
                  <a:gd name="T54" fmla="*/ 81 w 117"/>
                  <a:gd name="T55" fmla="*/ 117 h 126"/>
                  <a:gd name="T56" fmla="*/ 63 w 117"/>
                  <a:gd name="T57" fmla="*/ 112 h 126"/>
                  <a:gd name="T58" fmla="*/ 58 w 117"/>
                  <a:gd name="T59" fmla="*/ 90 h 126"/>
                  <a:gd name="T60" fmla="*/ 58 w 117"/>
                  <a:gd name="T61" fmla="*/ 90 h 126"/>
                  <a:gd name="T62" fmla="*/ 72 w 117"/>
                  <a:gd name="T63" fmla="*/ 85 h 126"/>
                  <a:gd name="T64" fmla="*/ 76 w 117"/>
                  <a:gd name="T65" fmla="*/ 81 h 126"/>
                  <a:gd name="T66" fmla="*/ 81 w 117"/>
                  <a:gd name="T67" fmla="*/ 90 h 126"/>
                  <a:gd name="T68" fmla="*/ 81 w 117"/>
                  <a:gd name="T69" fmla="*/ 90 h 126"/>
                  <a:gd name="T70" fmla="*/ 85 w 117"/>
                  <a:gd name="T71" fmla="*/ 45 h 126"/>
                  <a:gd name="T72" fmla="*/ 90 w 117"/>
                  <a:gd name="T73" fmla="*/ 45 h 126"/>
                  <a:gd name="T74" fmla="*/ 81 w 117"/>
                  <a:gd name="T75" fmla="*/ 76 h 126"/>
                  <a:gd name="T76" fmla="*/ 81 w 117"/>
                  <a:gd name="T77" fmla="*/ 76 h 126"/>
                  <a:gd name="T78" fmla="*/ 85 w 117"/>
                  <a:gd name="T79" fmla="*/ 63 h 126"/>
                  <a:gd name="T80" fmla="*/ 112 w 117"/>
                  <a:gd name="T81" fmla="*/ 99 h 126"/>
                  <a:gd name="T82" fmla="*/ 112 w 117"/>
                  <a:gd name="T83" fmla="*/ 108 h 126"/>
                  <a:gd name="T84" fmla="*/ 112 w 117"/>
                  <a:gd name="T85" fmla="*/ 99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17" h="126">
                    <a:moveTo>
                      <a:pt x="0" y="41"/>
                    </a:moveTo>
                    <a:lnTo>
                      <a:pt x="5" y="45"/>
                    </a:lnTo>
                    <a:lnTo>
                      <a:pt x="9" y="45"/>
                    </a:lnTo>
                    <a:lnTo>
                      <a:pt x="14" y="50"/>
                    </a:lnTo>
                    <a:lnTo>
                      <a:pt x="9" y="50"/>
                    </a:lnTo>
                    <a:lnTo>
                      <a:pt x="14" y="63"/>
                    </a:lnTo>
                    <a:lnTo>
                      <a:pt x="18" y="59"/>
                    </a:lnTo>
                    <a:lnTo>
                      <a:pt x="36" y="59"/>
                    </a:lnTo>
                    <a:lnTo>
                      <a:pt x="41" y="63"/>
                    </a:lnTo>
                    <a:lnTo>
                      <a:pt x="41" y="67"/>
                    </a:lnTo>
                    <a:lnTo>
                      <a:pt x="45" y="72"/>
                    </a:lnTo>
                    <a:lnTo>
                      <a:pt x="41" y="72"/>
                    </a:lnTo>
                    <a:lnTo>
                      <a:pt x="27" y="63"/>
                    </a:lnTo>
                    <a:lnTo>
                      <a:pt x="23" y="63"/>
                    </a:lnTo>
                    <a:lnTo>
                      <a:pt x="14" y="67"/>
                    </a:lnTo>
                    <a:lnTo>
                      <a:pt x="18" y="76"/>
                    </a:lnTo>
                    <a:lnTo>
                      <a:pt x="23" y="85"/>
                    </a:lnTo>
                    <a:lnTo>
                      <a:pt x="23" y="94"/>
                    </a:lnTo>
                    <a:lnTo>
                      <a:pt x="27" y="85"/>
                    </a:lnTo>
                    <a:lnTo>
                      <a:pt x="32" y="99"/>
                    </a:lnTo>
                    <a:lnTo>
                      <a:pt x="36" y="94"/>
                    </a:lnTo>
                    <a:lnTo>
                      <a:pt x="36" y="90"/>
                    </a:lnTo>
                    <a:lnTo>
                      <a:pt x="41" y="94"/>
                    </a:lnTo>
                    <a:lnTo>
                      <a:pt x="41" y="99"/>
                    </a:lnTo>
                    <a:lnTo>
                      <a:pt x="45" y="94"/>
                    </a:lnTo>
                    <a:lnTo>
                      <a:pt x="45" y="90"/>
                    </a:lnTo>
                    <a:lnTo>
                      <a:pt x="41" y="81"/>
                    </a:lnTo>
                    <a:lnTo>
                      <a:pt x="41" y="76"/>
                    </a:lnTo>
                    <a:lnTo>
                      <a:pt x="45" y="81"/>
                    </a:lnTo>
                    <a:lnTo>
                      <a:pt x="50" y="81"/>
                    </a:lnTo>
                    <a:lnTo>
                      <a:pt x="45" y="76"/>
                    </a:lnTo>
                    <a:lnTo>
                      <a:pt x="50" y="72"/>
                    </a:lnTo>
                    <a:lnTo>
                      <a:pt x="54" y="76"/>
                    </a:lnTo>
                    <a:lnTo>
                      <a:pt x="58" y="72"/>
                    </a:lnTo>
                    <a:lnTo>
                      <a:pt x="54" y="63"/>
                    </a:lnTo>
                    <a:lnTo>
                      <a:pt x="45" y="59"/>
                    </a:lnTo>
                    <a:lnTo>
                      <a:pt x="41" y="54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1" y="45"/>
                    </a:lnTo>
                    <a:lnTo>
                      <a:pt x="45" y="45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41" y="27"/>
                    </a:lnTo>
                    <a:lnTo>
                      <a:pt x="45" y="32"/>
                    </a:lnTo>
                    <a:lnTo>
                      <a:pt x="54" y="32"/>
                    </a:lnTo>
                    <a:lnTo>
                      <a:pt x="54" y="23"/>
                    </a:lnTo>
                    <a:lnTo>
                      <a:pt x="58" y="27"/>
                    </a:lnTo>
                    <a:lnTo>
                      <a:pt x="50" y="18"/>
                    </a:lnTo>
                    <a:lnTo>
                      <a:pt x="58" y="9"/>
                    </a:lnTo>
                    <a:lnTo>
                      <a:pt x="72" y="9"/>
                    </a:lnTo>
                    <a:lnTo>
                      <a:pt x="85" y="9"/>
                    </a:lnTo>
                    <a:lnTo>
                      <a:pt x="85" y="5"/>
                    </a:lnTo>
                    <a:lnTo>
                      <a:pt x="72" y="5"/>
                    </a:lnTo>
                    <a:lnTo>
                      <a:pt x="63" y="0"/>
                    </a:lnTo>
                    <a:lnTo>
                      <a:pt x="54" y="5"/>
                    </a:lnTo>
                    <a:lnTo>
                      <a:pt x="45" y="5"/>
                    </a:lnTo>
                    <a:lnTo>
                      <a:pt x="36" y="9"/>
                    </a:lnTo>
                    <a:lnTo>
                      <a:pt x="32" y="9"/>
                    </a:lnTo>
                    <a:lnTo>
                      <a:pt x="27" y="14"/>
                    </a:lnTo>
                    <a:lnTo>
                      <a:pt x="18" y="18"/>
                    </a:lnTo>
                    <a:lnTo>
                      <a:pt x="5" y="32"/>
                    </a:lnTo>
                    <a:lnTo>
                      <a:pt x="5" y="41"/>
                    </a:lnTo>
                    <a:lnTo>
                      <a:pt x="0" y="41"/>
                    </a:lnTo>
                    <a:close/>
                    <a:moveTo>
                      <a:pt x="41" y="50"/>
                    </a:moveTo>
                    <a:lnTo>
                      <a:pt x="54" y="59"/>
                    </a:lnTo>
                    <a:lnTo>
                      <a:pt x="58" y="67"/>
                    </a:lnTo>
                    <a:lnTo>
                      <a:pt x="67" y="72"/>
                    </a:lnTo>
                    <a:lnTo>
                      <a:pt x="67" y="72"/>
                    </a:lnTo>
                    <a:lnTo>
                      <a:pt x="58" y="63"/>
                    </a:lnTo>
                    <a:lnTo>
                      <a:pt x="58" y="59"/>
                    </a:lnTo>
                    <a:lnTo>
                      <a:pt x="58" y="54"/>
                    </a:lnTo>
                    <a:lnTo>
                      <a:pt x="50" y="54"/>
                    </a:lnTo>
                    <a:lnTo>
                      <a:pt x="45" y="50"/>
                    </a:lnTo>
                    <a:lnTo>
                      <a:pt x="41" y="50"/>
                    </a:lnTo>
                    <a:close/>
                    <a:moveTo>
                      <a:pt x="58" y="108"/>
                    </a:moveTo>
                    <a:lnTo>
                      <a:pt x="54" y="108"/>
                    </a:lnTo>
                    <a:lnTo>
                      <a:pt x="50" y="112"/>
                    </a:lnTo>
                    <a:lnTo>
                      <a:pt x="50" y="117"/>
                    </a:lnTo>
                    <a:lnTo>
                      <a:pt x="63" y="117"/>
                    </a:lnTo>
                    <a:lnTo>
                      <a:pt x="63" y="126"/>
                    </a:lnTo>
                    <a:lnTo>
                      <a:pt x="90" y="121"/>
                    </a:lnTo>
                    <a:lnTo>
                      <a:pt x="90" y="112"/>
                    </a:lnTo>
                    <a:lnTo>
                      <a:pt x="81" y="117"/>
                    </a:lnTo>
                    <a:lnTo>
                      <a:pt x="81" y="112"/>
                    </a:lnTo>
                    <a:lnTo>
                      <a:pt x="67" y="112"/>
                    </a:lnTo>
                    <a:lnTo>
                      <a:pt x="63" y="112"/>
                    </a:lnTo>
                    <a:lnTo>
                      <a:pt x="58" y="108"/>
                    </a:lnTo>
                    <a:close/>
                    <a:moveTo>
                      <a:pt x="58" y="90"/>
                    </a:moveTo>
                    <a:lnTo>
                      <a:pt x="58" y="90"/>
                    </a:lnTo>
                    <a:lnTo>
                      <a:pt x="58" y="94"/>
                    </a:lnTo>
                    <a:lnTo>
                      <a:pt x="63" y="90"/>
                    </a:lnTo>
                    <a:lnTo>
                      <a:pt x="58" y="90"/>
                    </a:lnTo>
                    <a:close/>
                    <a:moveTo>
                      <a:pt x="72" y="81"/>
                    </a:moveTo>
                    <a:lnTo>
                      <a:pt x="72" y="85"/>
                    </a:lnTo>
                    <a:lnTo>
                      <a:pt x="72" y="85"/>
                    </a:lnTo>
                    <a:lnTo>
                      <a:pt x="76" y="85"/>
                    </a:lnTo>
                    <a:lnTo>
                      <a:pt x="76" y="85"/>
                    </a:lnTo>
                    <a:lnTo>
                      <a:pt x="76" y="81"/>
                    </a:lnTo>
                    <a:lnTo>
                      <a:pt x="72" y="85"/>
                    </a:lnTo>
                    <a:lnTo>
                      <a:pt x="72" y="81"/>
                    </a:lnTo>
                    <a:close/>
                    <a:moveTo>
                      <a:pt x="81" y="90"/>
                    </a:moveTo>
                    <a:lnTo>
                      <a:pt x="81" y="90"/>
                    </a:lnTo>
                    <a:lnTo>
                      <a:pt x="85" y="85"/>
                    </a:lnTo>
                    <a:lnTo>
                      <a:pt x="81" y="90"/>
                    </a:lnTo>
                    <a:close/>
                    <a:moveTo>
                      <a:pt x="81" y="41"/>
                    </a:moveTo>
                    <a:lnTo>
                      <a:pt x="81" y="41"/>
                    </a:lnTo>
                    <a:lnTo>
                      <a:pt x="85" y="45"/>
                    </a:lnTo>
                    <a:lnTo>
                      <a:pt x="90" y="45"/>
                    </a:lnTo>
                    <a:lnTo>
                      <a:pt x="90" y="50"/>
                    </a:lnTo>
                    <a:lnTo>
                      <a:pt x="90" y="45"/>
                    </a:lnTo>
                    <a:lnTo>
                      <a:pt x="90" y="41"/>
                    </a:lnTo>
                    <a:lnTo>
                      <a:pt x="81" y="41"/>
                    </a:lnTo>
                    <a:close/>
                    <a:moveTo>
                      <a:pt x="81" y="76"/>
                    </a:moveTo>
                    <a:lnTo>
                      <a:pt x="85" y="76"/>
                    </a:lnTo>
                    <a:lnTo>
                      <a:pt x="90" y="76"/>
                    </a:lnTo>
                    <a:lnTo>
                      <a:pt x="81" y="76"/>
                    </a:lnTo>
                    <a:close/>
                    <a:moveTo>
                      <a:pt x="85" y="54"/>
                    </a:moveTo>
                    <a:lnTo>
                      <a:pt x="81" y="59"/>
                    </a:lnTo>
                    <a:lnTo>
                      <a:pt x="85" y="63"/>
                    </a:lnTo>
                    <a:lnTo>
                      <a:pt x="85" y="59"/>
                    </a:lnTo>
                    <a:lnTo>
                      <a:pt x="85" y="54"/>
                    </a:lnTo>
                    <a:close/>
                    <a:moveTo>
                      <a:pt x="112" y="99"/>
                    </a:moveTo>
                    <a:lnTo>
                      <a:pt x="108" y="103"/>
                    </a:lnTo>
                    <a:lnTo>
                      <a:pt x="108" y="112"/>
                    </a:lnTo>
                    <a:lnTo>
                      <a:pt x="112" y="108"/>
                    </a:lnTo>
                    <a:lnTo>
                      <a:pt x="117" y="108"/>
                    </a:lnTo>
                    <a:lnTo>
                      <a:pt x="117" y="99"/>
                    </a:lnTo>
                    <a:lnTo>
                      <a:pt x="112" y="9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35" name="Freeform 19"/>
              <p:cNvSpPr>
                <a:spLocks/>
              </p:cNvSpPr>
              <p:nvPr/>
            </p:nvSpPr>
            <p:spPr bwMode="gray">
              <a:xfrm>
                <a:off x="3091" y="2803"/>
                <a:ext cx="271" cy="172"/>
              </a:xfrm>
              <a:custGeom>
                <a:avLst/>
                <a:gdLst>
                  <a:gd name="T0" fmla="*/ 0 w 99"/>
                  <a:gd name="T1" fmla="*/ 40 h 63"/>
                  <a:gd name="T2" fmla="*/ 5 w 99"/>
                  <a:gd name="T3" fmla="*/ 36 h 63"/>
                  <a:gd name="T4" fmla="*/ 5 w 99"/>
                  <a:gd name="T5" fmla="*/ 31 h 63"/>
                  <a:gd name="T6" fmla="*/ 5 w 99"/>
                  <a:gd name="T7" fmla="*/ 27 h 63"/>
                  <a:gd name="T8" fmla="*/ 5 w 99"/>
                  <a:gd name="T9" fmla="*/ 22 h 63"/>
                  <a:gd name="T10" fmla="*/ 14 w 99"/>
                  <a:gd name="T11" fmla="*/ 22 h 63"/>
                  <a:gd name="T12" fmla="*/ 18 w 99"/>
                  <a:gd name="T13" fmla="*/ 13 h 63"/>
                  <a:gd name="T14" fmla="*/ 18 w 99"/>
                  <a:gd name="T15" fmla="*/ 9 h 63"/>
                  <a:gd name="T16" fmla="*/ 23 w 99"/>
                  <a:gd name="T17" fmla="*/ 13 h 63"/>
                  <a:gd name="T18" fmla="*/ 41 w 99"/>
                  <a:gd name="T19" fmla="*/ 13 h 63"/>
                  <a:gd name="T20" fmla="*/ 45 w 99"/>
                  <a:gd name="T21" fmla="*/ 9 h 63"/>
                  <a:gd name="T22" fmla="*/ 54 w 99"/>
                  <a:gd name="T23" fmla="*/ 9 h 63"/>
                  <a:gd name="T24" fmla="*/ 63 w 99"/>
                  <a:gd name="T25" fmla="*/ 0 h 63"/>
                  <a:gd name="T26" fmla="*/ 72 w 99"/>
                  <a:gd name="T27" fmla="*/ 4 h 63"/>
                  <a:gd name="T28" fmla="*/ 76 w 99"/>
                  <a:gd name="T29" fmla="*/ 0 h 63"/>
                  <a:gd name="T30" fmla="*/ 81 w 99"/>
                  <a:gd name="T31" fmla="*/ 4 h 63"/>
                  <a:gd name="T32" fmla="*/ 90 w 99"/>
                  <a:gd name="T33" fmla="*/ 4 h 63"/>
                  <a:gd name="T34" fmla="*/ 99 w 99"/>
                  <a:gd name="T35" fmla="*/ 18 h 63"/>
                  <a:gd name="T36" fmla="*/ 99 w 99"/>
                  <a:gd name="T37" fmla="*/ 22 h 63"/>
                  <a:gd name="T38" fmla="*/ 85 w 99"/>
                  <a:gd name="T39" fmla="*/ 27 h 63"/>
                  <a:gd name="T40" fmla="*/ 76 w 99"/>
                  <a:gd name="T41" fmla="*/ 45 h 63"/>
                  <a:gd name="T42" fmla="*/ 76 w 99"/>
                  <a:gd name="T43" fmla="*/ 49 h 63"/>
                  <a:gd name="T44" fmla="*/ 67 w 99"/>
                  <a:gd name="T45" fmla="*/ 54 h 63"/>
                  <a:gd name="T46" fmla="*/ 63 w 99"/>
                  <a:gd name="T47" fmla="*/ 54 h 63"/>
                  <a:gd name="T48" fmla="*/ 49 w 99"/>
                  <a:gd name="T49" fmla="*/ 54 h 63"/>
                  <a:gd name="T50" fmla="*/ 36 w 99"/>
                  <a:gd name="T51" fmla="*/ 58 h 63"/>
                  <a:gd name="T52" fmla="*/ 27 w 99"/>
                  <a:gd name="T53" fmla="*/ 63 h 63"/>
                  <a:gd name="T54" fmla="*/ 9 w 99"/>
                  <a:gd name="T55" fmla="*/ 58 h 63"/>
                  <a:gd name="T56" fmla="*/ 5 w 99"/>
                  <a:gd name="T57" fmla="*/ 49 h 63"/>
                  <a:gd name="T58" fmla="*/ 5 w 99"/>
                  <a:gd name="T59" fmla="*/ 49 h 63"/>
                  <a:gd name="T60" fmla="*/ 0 w 99"/>
                  <a:gd name="T61" fmla="*/ 4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9" h="63">
                    <a:moveTo>
                      <a:pt x="0" y="40"/>
                    </a:moveTo>
                    <a:lnTo>
                      <a:pt x="5" y="36"/>
                    </a:lnTo>
                    <a:lnTo>
                      <a:pt x="5" y="31"/>
                    </a:lnTo>
                    <a:lnTo>
                      <a:pt x="5" y="27"/>
                    </a:lnTo>
                    <a:lnTo>
                      <a:pt x="5" y="22"/>
                    </a:lnTo>
                    <a:lnTo>
                      <a:pt x="14" y="22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23" y="13"/>
                    </a:lnTo>
                    <a:lnTo>
                      <a:pt x="41" y="13"/>
                    </a:lnTo>
                    <a:lnTo>
                      <a:pt x="45" y="9"/>
                    </a:lnTo>
                    <a:lnTo>
                      <a:pt x="54" y="9"/>
                    </a:lnTo>
                    <a:lnTo>
                      <a:pt x="63" y="0"/>
                    </a:lnTo>
                    <a:lnTo>
                      <a:pt x="72" y="4"/>
                    </a:lnTo>
                    <a:lnTo>
                      <a:pt x="76" y="0"/>
                    </a:lnTo>
                    <a:lnTo>
                      <a:pt x="81" y="4"/>
                    </a:lnTo>
                    <a:lnTo>
                      <a:pt x="90" y="4"/>
                    </a:lnTo>
                    <a:lnTo>
                      <a:pt x="99" y="18"/>
                    </a:lnTo>
                    <a:lnTo>
                      <a:pt x="99" y="22"/>
                    </a:lnTo>
                    <a:lnTo>
                      <a:pt x="85" y="27"/>
                    </a:lnTo>
                    <a:lnTo>
                      <a:pt x="76" y="45"/>
                    </a:lnTo>
                    <a:lnTo>
                      <a:pt x="76" y="49"/>
                    </a:lnTo>
                    <a:lnTo>
                      <a:pt x="67" y="54"/>
                    </a:lnTo>
                    <a:lnTo>
                      <a:pt x="63" y="54"/>
                    </a:lnTo>
                    <a:lnTo>
                      <a:pt x="49" y="54"/>
                    </a:lnTo>
                    <a:lnTo>
                      <a:pt x="36" y="58"/>
                    </a:lnTo>
                    <a:lnTo>
                      <a:pt x="27" y="63"/>
                    </a:lnTo>
                    <a:lnTo>
                      <a:pt x="9" y="58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0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36" name="Freeform 20"/>
              <p:cNvSpPr>
                <a:spLocks/>
              </p:cNvSpPr>
              <p:nvPr/>
            </p:nvSpPr>
            <p:spPr bwMode="gray">
              <a:xfrm>
                <a:off x="1515" y="1446"/>
                <a:ext cx="427" cy="282"/>
              </a:xfrm>
              <a:custGeom>
                <a:avLst/>
                <a:gdLst>
                  <a:gd name="T0" fmla="*/ 45 w 156"/>
                  <a:gd name="T1" fmla="*/ 85 h 103"/>
                  <a:gd name="T2" fmla="*/ 81 w 156"/>
                  <a:gd name="T3" fmla="*/ 103 h 103"/>
                  <a:gd name="T4" fmla="*/ 98 w 156"/>
                  <a:gd name="T5" fmla="*/ 89 h 103"/>
                  <a:gd name="T6" fmla="*/ 121 w 156"/>
                  <a:gd name="T7" fmla="*/ 76 h 103"/>
                  <a:gd name="T8" fmla="*/ 134 w 156"/>
                  <a:gd name="T9" fmla="*/ 71 h 103"/>
                  <a:gd name="T10" fmla="*/ 148 w 156"/>
                  <a:gd name="T11" fmla="*/ 62 h 103"/>
                  <a:gd name="T12" fmla="*/ 152 w 156"/>
                  <a:gd name="T13" fmla="*/ 54 h 103"/>
                  <a:gd name="T14" fmla="*/ 152 w 156"/>
                  <a:gd name="T15" fmla="*/ 45 h 103"/>
                  <a:gd name="T16" fmla="*/ 148 w 156"/>
                  <a:gd name="T17" fmla="*/ 31 h 103"/>
                  <a:gd name="T18" fmla="*/ 143 w 156"/>
                  <a:gd name="T19" fmla="*/ 27 h 103"/>
                  <a:gd name="T20" fmla="*/ 143 w 156"/>
                  <a:gd name="T21" fmla="*/ 18 h 103"/>
                  <a:gd name="T22" fmla="*/ 134 w 156"/>
                  <a:gd name="T23" fmla="*/ 13 h 103"/>
                  <a:gd name="T24" fmla="*/ 139 w 156"/>
                  <a:gd name="T25" fmla="*/ 0 h 103"/>
                  <a:gd name="T26" fmla="*/ 125 w 156"/>
                  <a:gd name="T27" fmla="*/ 9 h 103"/>
                  <a:gd name="T28" fmla="*/ 107 w 156"/>
                  <a:gd name="T29" fmla="*/ 0 h 103"/>
                  <a:gd name="T30" fmla="*/ 107 w 156"/>
                  <a:gd name="T31" fmla="*/ 13 h 103"/>
                  <a:gd name="T32" fmla="*/ 98 w 156"/>
                  <a:gd name="T33" fmla="*/ 18 h 103"/>
                  <a:gd name="T34" fmla="*/ 85 w 156"/>
                  <a:gd name="T35" fmla="*/ 13 h 103"/>
                  <a:gd name="T36" fmla="*/ 76 w 156"/>
                  <a:gd name="T37" fmla="*/ 13 h 103"/>
                  <a:gd name="T38" fmla="*/ 72 w 156"/>
                  <a:gd name="T39" fmla="*/ 27 h 103"/>
                  <a:gd name="T40" fmla="*/ 58 w 156"/>
                  <a:gd name="T41" fmla="*/ 13 h 103"/>
                  <a:gd name="T42" fmla="*/ 54 w 156"/>
                  <a:gd name="T43" fmla="*/ 31 h 103"/>
                  <a:gd name="T44" fmla="*/ 40 w 156"/>
                  <a:gd name="T45" fmla="*/ 27 h 103"/>
                  <a:gd name="T46" fmla="*/ 45 w 156"/>
                  <a:gd name="T47" fmla="*/ 13 h 103"/>
                  <a:gd name="T48" fmla="*/ 18 w 156"/>
                  <a:gd name="T49" fmla="*/ 0 h 103"/>
                  <a:gd name="T50" fmla="*/ 22 w 156"/>
                  <a:gd name="T51" fmla="*/ 9 h 103"/>
                  <a:gd name="T52" fmla="*/ 22 w 156"/>
                  <a:gd name="T53" fmla="*/ 13 h 103"/>
                  <a:gd name="T54" fmla="*/ 9 w 156"/>
                  <a:gd name="T55" fmla="*/ 13 h 103"/>
                  <a:gd name="T56" fmla="*/ 14 w 156"/>
                  <a:gd name="T57" fmla="*/ 27 h 103"/>
                  <a:gd name="T58" fmla="*/ 9 w 156"/>
                  <a:gd name="T59" fmla="*/ 31 h 103"/>
                  <a:gd name="T60" fmla="*/ 0 w 156"/>
                  <a:gd name="T61" fmla="*/ 36 h 103"/>
                  <a:gd name="T62" fmla="*/ 27 w 156"/>
                  <a:gd name="T63" fmla="*/ 36 h 103"/>
                  <a:gd name="T64" fmla="*/ 31 w 156"/>
                  <a:gd name="T65" fmla="*/ 45 h 103"/>
                  <a:gd name="T66" fmla="*/ 27 w 156"/>
                  <a:gd name="T67" fmla="*/ 49 h 103"/>
                  <a:gd name="T68" fmla="*/ 9 w 156"/>
                  <a:gd name="T69" fmla="*/ 67 h 103"/>
                  <a:gd name="T70" fmla="*/ 31 w 156"/>
                  <a:gd name="T71" fmla="*/ 62 h 103"/>
                  <a:gd name="T72" fmla="*/ 36 w 156"/>
                  <a:gd name="T73" fmla="*/ 62 h 103"/>
                  <a:gd name="T74" fmla="*/ 22 w 156"/>
                  <a:gd name="T75" fmla="*/ 8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56" h="103">
                    <a:moveTo>
                      <a:pt x="27" y="89"/>
                    </a:moveTo>
                    <a:lnTo>
                      <a:pt x="45" y="85"/>
                    </a:lnTo>
                    <a:lnTo>
                      <a:pt x="63" y="98"/>
                    </a:lnTo>
                    <a:lnTo>
                      <a:pt x="81" y="103"/>
                    </a:lnTo>
                    <a:lnTo>
                      <a:pt x="94" y="98"/>
                    </a:lnTo>
                    <a:lnTo>
                      <a:pt x="98" y="89"/>
                    </a:lnTo>
                    <a:lnTo>
                      <a:pt x="112" y="89"/>
                    </a:lnTo>
                    <a:lnTo>
                      <a:pt x="121" y="76"/>
                    </a:lnTo>
                    <a:lnTo>
                      <a:pt x="130" y="71"/>
                    </a:lnTo>
                    <a:lnTo>
                      <a:pt x="134" y="71"/>
                    </a:lnTo>
                    <a:lnTo>
                      <a:pt x="143" y="67"/>
                    </a:lnTo>
                    <a:lnTo>
                      <a:pt x="148" y="62"/>
                    </a:lnTo>
                    <a:lnTo>
                      <a:pt x="148" y="62"/>
                    </a:lnTo>
                    <a:lnTo>
                      <a:pt x="152" y="54"/>
                    </a:lnTo>
                    <a:lnTo>
                      <a:pt x="156" y="49"/>
                    </a:lnTo>
                    <a:lnTo>
                      <a:pt x="152" y="45"/>
                    </a:lnTo>
                    <a:lnTo>
                      <a:pt x="152" y="36"/>
                    </a:lnTo>
                    <a:lnTo>
                      <a:pt x="148" y="31"/>
                    </a:lnTo>
                    <a:lnTo>
                      <a:pt x="143" y="36"/>
                    </a:lnTo>
                    <a:lnTo>
                      <a:pt x="143" y="27"/>
                    </a:lnTo>
                    <a:lnTo>
                      <a:pt x="139" y="27"/>
                    </a:lnTo>
                    <a:lnTo>
                      <a:pt x="143" y="18"/>
                    </a:lnTo>
                    <a:lnTo>
                      <a:pt x="139" y="22"/>
                    </a:lnTo>
                    <a:lnTo>
                      <a:pt x="134" y="13"/>
                    </a:lnTo>
                    <a:lnTo>
                      <a:pt x="143" y="4"/>
                    </a:lnTo>
                    <a:lnTo>
                      <a:pt x="139" y="0"/>
                    </a:lnTo>
                    <a:lnTo>
                      <a:pt x="130" y="13"/>
                    </a:lnTo>
                    <a:lnTo>
                      <a:pt x="125" y="9"/>
                    </a:lnTo>
                    <a:lnTo>
                      <a:pt x="116" y="0"/>
                    </a:lnTo>
                    <a:lnTo>
                      <a:pt x="107" y="0"/>
                    </a:lnTo>
                    <a:lnTo>
                      <a:pt x="112" y="9"/>
                    </a:lnTo>
                    <a:lnTo>
                      <a:pt x="107" y="13"/>
                    </a:lnTo>
                    <a:lnTo>
                      <a:pt x="103" y="13"/>
                    </a:lnTo>
                    <a:lnTo>
                      <a:pt x="98" y="18"/>
                    </a:lnTo>
                    <a:lnTo>
                      <a:pt x="89" y="9"/>
                    </a:lnTo>
                    <a:lnTo>
                      <a:pt x="85" y="13"/>
                    </a:lnTo>
                    <a:lnTo>
                      <a:pt x="89" y="27"/>
                    </a:lnTo>
                    <a:lnTo>
                      <a:pt x="76" y="13"/>
                    </a:lnTo>
                    <a:lnTo>
                      <a:pt x="72" y="13"/>
                    </a:lnTo>
                    <a:lnTo>
                      <a:pt x="72" y="27"/>
                    </a:lnTo>
                    <a:lnTo>
                      <a:pt x="63" y="13"/>
                    </a:lnTo>
                    <a:lnTo>
                      <a:pt x="58" y="13"/>
                    </a:lnTo>
                    <a:lnTo>
                      <a:pt x="58" y="31"/>
                    </a:lnTo>
                    <a:lnTo>
                      <a:pt x="54" y="31"/>
                    </a:lnTo>
                    <a:lnTo>
                      <a:pt x="45" y="40"/>
                    </a:lnTo>
                    <a:lnTo>
                      <a:pt x="40" y="27"/>
                    </a:lnTo>
                    <a:lnTo>
                      <a:pt x="45" y="22"/>
                    </a:lnTo>
                    <a:lnTo>
                      <a:pt x="45" y="13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22" y="9"/>
                    </a:lnTo>
                    <a:lnTo>
                      <a:pt x="27" y="18"/>
                    </a:lnTo>
                    <a:lnTo>
                      <a:pt x="22" y="13"/>
                    </a:lnTo>
                    <a:lnTo>
                      <a:pt x="14" y="9"/>
                    </a:lnTo>
                    <a:lnTo>
                      <a:pt x="9" y="13"/>
                    </a:lnTo>
                    <a:lnTo>
                      <a:pt x="14" y="18"/>
                    </a:lnTo>
                    <a:lnTo>
                      <a:pt x="14" y="27"/>
                    </a:lnTo>
                    <a:lnTo>
                      <a:pt x="9" y="27"/>
                    </a:lnTo>
                    <a:lnTo>
                      <a:pt x="9" y="31"/>
                    </a:lnTo>
                    <a:lnTo>
                      <a:pt x="5" y="31"/>
                    </a:lnTo>
                    <a:lnTo>
                      <a:pt x="0" y="36"/>
                    </a:lnTo>
                    <a:lnTo>
                      <a:pt x="14" y="40"/>
                    </a:lnTo>
                    <a:lnTo>
                      <a:pt x="27" y="36"/>
                    </a:lnTo>
                    <a:lnTo>
                      <a:pt x="36" y="36"/>
                    </a:lnTo>
                    <a:lnTo>
                      <a:pt x="31" y="45"/>
                    </a:lnTo>
                    <a:lnTo>
                      <a:pt x="31" y="49"/>
                    </a:lnTo>
                    <a:lnTo>
                      <a:pt x="27" y="49"/>
                    </a:lnTo>
                    <a:lnTo>
                      <a:pt x="5" y="58"/>
                    </a:lnTo>
                    <a:lnTo>
                      <a:pt x="9" y="67"/>
                    </a:lnTo>
                    <a:lnTo>
                      <a:pt x="14" y="62"/>
                    </a:lnTo>
                    <a:lnTo>
                      <a:pt x="31" y="62"/>
                    </a:lnTo>
                    <a:lnTo>
                      <a:pt x="31" y="67"/>
                    </a:lnTo>
                    <a:lnTo>
                      <a:pt x="36" y="62"/>
                    </a:lnTo>
                    <a:lnTo>
                      <a:pt x="31" y="80"/>
                    </a:lnTo>
                    <a:lnTo>
                      <a:pt x="22" y="80"/>
                    </a:lnTo>
                    <a:lnTo>
                      <a:pt x="27" y="8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37" name="Freeform 21"/>
              <p:cNvSpPr>
                <a:spLocks/>
              </p:cNvSpPr>
              <p:nvPr/>
            </p:nvSpPr>
            <p:spPr bwMode="gray">
              <a:xfrm>
                <a:off x="2065" y="2362"/>
                <a:ext cx="159" cy="269"/>
              </a:xfrm>
              <a:custGeom>
                <a:avLst/>
                <a:gdLst>
                  <a:gd name="T0" fmla="*/ 45 w 58"/>
                  <a:gd name="T1" fmla="*/ 5 h 98"/>
                  <a:gd name="T2" fmla="*/ 45 w 58"/>
                  <a:gd name="T3" fmla="*/ 0 h 98"/>
                  <a:gd name="T4" fmla="*/ 40 w 58"/>
                  <a:gd name="T5" fmla="*/ 0 h 98"/>
                  <a:gd name="T6" fmla="*/ 40 w 58"/>
                  <a:gd name="T7" fmla="*/ 0 h 98"/>
                  <a:gd name="T8" fmla="*/ 36 w 58"/>
                  <a:gd name="T9" fmla="*/ 9 h 98"/>
                  <a:gd name="T10" fmla="*/ 36 w 58"/>
                  <a:gd name="T11" fmla="*/ 0 h 98"/>
                  <a:gd name="T12" fmla="*/ 27 w 58"/>
                  <a:gd name="T13" fmla="*/ 5 h 98"/>
                  <a:gd name="T14" fmla="*/ 27 w 58"/>
                  <a:gd name="T15" fmla="*/ 13 h 98"/>
                  <a:gd name="T16" fmla="*/ 22 w 58"/>
                  <a:gd name="T17" fmla="*/ 18 h 98"/>
                  <a:gd name="T18" fmla="*/ 27 w 58"/>
                  <a:gd name="T19" fmla="*/ 22 h 98"/>
                  <a:gd name="T20" fmla="*/ 27 w 58"/>
                  <a:gd name="T21" fmla="*/ 22 h 98"/>
                  <a:gd name="T22" fmla="*/ 22 w 58"/>
                  <a:gd name="T23" fmla="*/ 27 h 98"/>
                  <a:gd name="T24" fmla="*/ 22 w 58"/>
                  <a:gd name="T25" fmla="*/ 27 h 98"/>
                  <a:gd name="T26" fmla="*/ 18 w 58"/>
                  <a:gd name="T27" fmla="*/ 27 h 98"/>
                  <a:gd name="T28" fmla="*/ 5 w 58"/>
                  <a:gd name="T29" fmla="*/ 27 h 98"/>
                  <a:gd name="T30" fmla="*/ 0 w 58"/>
                  <a:gd name="T31" fmla="*/ 36 h 98"/>
                  <a:gd name="T32" fmla="*/ 9 w 58"/>
                  <a:gd name="T33" fmla="*/ 36 h 98"/>
                  <a:gd name="T34" fmla="*/ 5 w 58"/>
                  <a:gd name="T35" fmla="*/ 45 h 98"/>
                  <a:gd name="T36" fmla="*/ 0 w 58"/>
                  <a:gd name="T37" fmla="*/ 45 h 98"/>
                  <a:gd name="T38" fmla="*/ 0 w 58"/>
                  <a:gd name="T39" fmla="*/ 54 h 98"/>
                  <a:gd name="T40" fmla="*/ 9 w 58"/>
                  <a:gd name="T41" fmla="*/ 58 h 98"/>
                  <a:gd name="T42" fmla="*/ 14 w 58"/>
                  <a:gd name="T43" fmla="*/ 54 h 98"/>
                  <a:gd name="T44" fmla="*/ 18 w 58"/>
                  <a:gd name="T45" fmla="*/ 54 h 98"/>
                  <a:gd name="T46" fmla="*/ 14 w 58"/>
                  <a:gd name="T47" fmla="*/ 63 h 98"/>
                  <a:gd name="T48" fmla="*/ 14 w 58"/>
                  <a:gd name="T49" fmla="*/ 63 h 98"/>
                  <a:gd name="T50" fmla="*/ 9 w 58"/>
                  <a:gd name="T51" fmla="*/ 72 h 98"/>
                  <a:gd name="T52" fmla="*/ 18 w 58"/>
                  <a:gd name="T53" fmla="*/ 67 h 98"/>
                  <a:gd name="T54" fmla="*/ 18 w 58"/>
                  <a:gd name="T55" fmla="*/ 72 h 98"/>
                  <a:gd name="T56" fmla="*/ 9 w 58"/>
                  <a:gd name="T57" fmla="*/ 76 h 98"/>
                  <a:gd name="T58" fmla="*/ 9 w 58"/>
                  <a:gd name="T59" fmla="*/ 81 h 98"/>
                  <a:gd name="T60" fmla="*/ 0 w 58"/>
                  <a:gd name="T61" fmla="*/ 81 h 98"/>
                  <a:gd name="T62" fmla="*/ 0 w 58"/>
                  <a:gd name="T63" fmla="*/ 89 h 98"/>
                  <a:gd name="T64" fmla="*/ 9 w 58"/>
                  <a:gd name="T65" fmla="*/ 89 h 98"/>
                  <a:gd name="T66" fmla="*/ 0 w 58"/>
                  <a:gd name="T67" fmla="*/ 94 h 98"/>
                  <a:gd name="T68" fmla="*/ 9 w 58"/>
                  <a:gd name="T69" fmla="*/ 98 h 98"/>
                  <a:gd name="T70" fmla="*/ 27 w 58"/>
                  <a:gd name="T71" fmla="*/ 89 h 98"/>
                  <a:gd name="T72" fmla="*/ 40 w 58"/>
                  <a:gd name="T73" fmla="*/ 85 h 98"/>
                  <a:gd name="T74" fmla="*/ 49 w 58"/>
                  <a:gd name="T75" fmla="*/ 85 h 98"/>
                  <a:gd name="T76" fmla="*/ 54 w 58"/>
                  <a:gd name="T77" fmla="*/ 81 h 98"/>
                  <a:gd name="T78" fmla="*/ 58 w 58"/>
                  <a:gd name="T79" fmla="*/ 72 h 98"/>
                  <a:gd name="T80" fmla="*/ 58 w 58"/>
                  <a:gd name="T81" fmla="*/ 54 h 98"/>
                  <a:gd name="T82" fmla="*/ 58 w 58"/>
                  <a:gd name="T83" fmla="*/ 49 h 98"/>
                  <a:gd name="T84" fmla="*/ 58 w 58"/>
                  <a:gd name="T85" fmla="*/ 49 h 98"/>
                  <a:gd name="T86" fmla="*/ 54 w 58"/>
                  <a:gd name="T87" fmla="*/ 31 h 98"/>
                  <a:gd name="T88" fmla="*/ 49 w 58"/>
                  <a:gd name="T89" fmla="*/ 31 h 98"/>
                  <a:gd name="T90" fmla="*/ 40 w 58"/>
                  <a:gd name="T91" fmla="*/ 27 h 98"/>
                  <a:gd name="T92" fmla="*/ 40 w 58"/>
                  <a:gd name="T93" fmla="*/ 36 h 98"/>
                  <a:gd name="T94" fmla="*/ 27 w 58"/>
                  <a:gd name="T95" fmla="*/ 31 h 98"/>
                  <a:gd name="T96" fmla="*/ 27 w 58"/>
                  <a:gd name="T97" fmla="*/ 27 h 98"/>
                  <a:gd name="T98" fmla="*/ 31 w 58"/>
                  <a:gd name="T99" fmla="*/ 18 h 98"/>
                  <a:gd name="T100" fmla="*/ 36 w 58"/>
                  <a:gd name="T101" fmla="*/ 18 h 98"/>
                  <a:gd name="T102" fmla="*/ 40 w 58"/>
                  <a:gd name="T103" fmla="*/ 13 h 98"/>
                  <a:gd name="T104" fmla="*/ 45 w 58"/>
                  <a:gd name="T105" fmla="*/ 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8" h="98">
                    <a:moveTo>
                      <a:pt x="45" y="5"/>
                    </a:moveTo>
                    <a:lnTo>
                      <a:pt x="45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9"/>
                    </a:lnTo>
                    <a:lnTo>
                      <a:pt x="36" y="0"/>
                    </a:lnTo>
                    <a:lnTo>
                      <a:pt x="27" y="5"/>
                    </a:lnTo>
                    <a:lnTo>
                      <a:pt x="27" y="13"/>
                    </a:lnTo>
                    <a:lnTo>
                      <a:pt x="22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5" y="27"/>
                    </a:lnTo>
                    <a:lnTo>
                      <a:pt x="0" y="36"/>
                    </a:lnTo>
                    <a:lnTo>
                      <a:pt x="9" y="36"/>
                    </a:lnTo>
                    <a:lnTo>
                      <a:pt x="5" y="45"/>
                    </a:lnTo>
                    <a:lnTo>
                      <a:pt x="0" y="45"/>
                    </a:lnTo>
                    <a:lnTo>
                      <a:pt x="0" y="54"/>
                    </a:lnTo>
                    <a:lnTo>
                      <a:pt x="9" y="58"/>
                    </a:lnTo>
                    <a:lnTo>
                      <a:pt x="14" y="54"/>
                    </a:lnTo>
                    <a:lnTo>
                      <a:pt x="18" y="54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9" y="72"/>
                    </a:lnTo>
                    <a:lnTo>
                      <a:pt x="18" y="67"/>
                    </a:lnTo>
                    <a:lnTo>
                      <a:pt x="18" y="72"/>
                    </a:lnTo>
                    <a:lnTo>
                      <a:pt x="9" y="76"/>
                    </a:lnTo>
                    <a:lnTo>
                      <a:pt x="9" y="81"/>
                    </a:lnTo>
                    <a:lnTo>
                      <a:pt x="0" y="81"/>
                    </a:lnTo>
                    <a:lnTo>
                      <a:pt x="0" y="89"/>
                    </a:lnTo>
                    <a:lnTo>
                      <a:pt x="9" y="89"/>
                    </a:lnTo>
                    <a:lnTo>
                      <a:pt x="0" y="94"/>
                    </a:lnTo>
                    <a:lnTo>
                      <a:pt x="9" y="98"/>
                    </a:lnTo>
                    <a:lnTo>
                      <a:pt x="27" y="89"/>
                    </a:lnTo>
                    <a:lnTo>
                      <a:pt x="40" y="85"/>
                    </a:lnTo>
                    <a:lnTo>
                      <a:pt x="49" y="85"/>
                    </a:lnTo>
                    <a:lnTo>
                      <a:pt x="54" y="81"/>
                    </a:lnTo>
                    <a:lnTo>
                      <a:pt x="58" y="72"/>
                    </a:lnTo>
                    <a:lnTo>
                      <a:pt x="58" y="54"/>
                    </a:lnTo>
                    <a:lnTo>
                      <a:pt x="58" y="49"/>
                    </a:lnTo>
                    <a:lnTo>
                      <a:pt x="58" y="49"/>
                    </a:lnTo>
                    <a:lnTo>
                      <a:pt x="54" y="31"/>
                    </a:lnTo>
                    <a:lnTo>
                      <a:pt x="49" y="31"/>
                    </a:lnTo>
                    <a:lnTo>
                      <a:pt x="40" y="27"/>
                    </a:lnTo>
                    <a:lnTo>
                      <a:pt x="40" y="36"/>
                    </a:lnTo>
                    <a:lnTo>
                      <a:pt x="27" y="31"/>
                    </a:lnTo>
                    <a:lnTo>
                      <a:pt x="27" y="27"/>
                    </a:lnTo>
                    <a:lnTo>
                      <a:pt x="31" y="18"/>
                    </a:lnTo>
                    <a:lnTo>
                      <a:pt x="36" y="18"/>
                    </a:lnTo>
                    <a:lnTo>
                      <a:pt x="40" y="13"/>
                    </a:lnTo>
                    <a:lnTo>
                      <a:pt x="45" y="5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38" name="Freeform 22"/>
              <p:cNvSpPr>
                <a:spLocks noEditPoints="1"/>
              </p:cNvSpPr>
              <p:nvPr/>
            </p:nvSpPr>
            <p:spPr bwMode="gray">
              <a:xfrm>
                <a:off x="2713" y="2901"/>
                <a:ext cx="476" cy="561"/>
              </a:xfrm>
              <a:custGeom>
                <a:avLst/>
                <a:gdLst>
                  <a:gd name="T0" fmla="*/ 27 w 174"/>
                  <a:gd name="T1" fmla="*/ 62 h 205"/>
                  <a:gd name="T2" fmla="*/ 36 w 174"/>
                  <a:gd name="T3" fmla="*/ 49 h 205"/>
                  <a:gd name="T4" fmla="*/ 53 w 174"/>
                  <a:gd name="T5" fmla="*/ 62 h 205"/>
                  <a:gd name="T6" fmla="*/ 62 w 174"/>
                  <a:gd name="T7" fmla="*/ 94 h 205"/>
                  <a:gd name="T8" fmla="*/ 94 w 174"/>
                  <a:gd name="T9" fmla="*/ 120 h 205"/>
                  <a:gd name="T10" fmla="*/ 112 w 174"/>
                  <a:gd name="T11" fmla="*/ 129 h 205"/>
                  <a:gd name="T12" fmla="*/ 120 w 174"/>
                  <a:gd name="T13" fmla="*/ 138 h 205"/>
                  <a:gd name="T14" fmla="*/ 138 w 174"/>
                  <a:gd name="T15" fmla="*/ 161 h 205"/>
                  <a:gd name="T16" fmla="*/ 134 w 174"/>
                  <a:gd name="T17" fmla="*/ 170 h 205"/>
                  <a:gd name="T18" fmla="*/ 134 w 174"/>
                  <a:gd name="T19" fmla="*/ 183 h 205"/>
                  <a:gd name="T20" fmla="*/ 147 w 174"/>
                  <a:gd name="T21" fmla="*/ 170 h 205"/>
                  <a:gd name="T22" fmla="*/ 152 w 174"/>
                  <a:gd name="T23" fmla="*/ 161 h 205"/>
                  <a:gd name="T24" fmla="*/ 143 w 174"/>
                  <a:gd name="T25" fmla="*/ 143 h 205"/>
                  <a:gd name="T26" fmla="*/ 156 w 174"/>
                  <a:gd name="T27" fmla="*/ 134 h 205"/>
                  <a:gd name="T28" fmla="*/ 165 w 174"/>
                  <a:gd name="T29" fmla="*/ 143 h 205"/>
                  <a:gd name="T30" fmla="*/ 174 w 174"/>
                  <a:gd name="T31" fmla="*/ 138 h 205"/>
                  <a:gd name="T32" fmla="*/ 147 w 174"/>
                  <a:gd name="T33" fmla="*/ 111 h 205"/>
                  <a:gd name="T34" fmla="*/ 138 w 174"/>
                  <a:gd name="T35" fmla="*/ 102 h 205"/>
                  <a:gd name="T36" fmla="*/ 120 w 174"/>
                  <a:gd name="T37" fmla="*/ 98 h 205"/>
                  <a:gd name="T38" fmla="*/ 103 w 174"/>
                  <a:gd name="T39" fmla="*/ 80 h 205"/>
                  <a:gd name="T40" fmla="*/ 85 w 174"/>
                  <a:gd name="T41" fmla="*/ 58 h 205"/>
                  <a:gd name="T42" fmla="*/ 85 w 174"/>
                  <a:gd name="T43" fmla="*/ 44 h 205"/>
                  <a:gd name="T44" fmla="*/ 80 w 174"/>
                  <a:gd name="T45" fmla="*/ 31 h 205"/>
                  <a:gd name="T46" fmla="*/ 94 w 174"/>
                  <a:gd name="T47" fmla="*/ 22 h 205"/>
                  <a:gd name="T48" fmla="*/ 103 w 174"/>
                  <a:gd name="T49" fmla="*/ 27 h 205"/>
                  <a:gd name="T50" fmla="*/ 107 w 174"/>
                  <a:gd name="T51" fmla="*/ 31 h 205"/>
                  <a:gd name="T52" fmla="*/ 103 w 174"/>
                  <a:gd name="T53" fmla="*/ 18 h 205"/>
                  <a:gd name="T54" fmla="*/ 103 w 174"/>
                  <a:gd name="T55" fmla="*/ 13 h 205"/>
                  <a:gd name="T56" fmla="*/ 85 w 174"/>
                  <a:gd name="T57" fmla="*/ 0 h 205"/>
                  <a:gd name="T58" fmla="*/ 67 w 174"/>
                  <a:gd name="T59" fmla="*/ 4 h 205"/>
                  <a:gd name="T60" fmla="*/ 53 w 174"/>
                  <a:gd name="T61" fmla="*/ 13 h 205"/>
                  <a:gd name="T62" fmla="*/ 40 w 174"/>
                  <a:gd name="T63" fmla="*/ 9 h 205"/>
                  <a:gd name="T64" fmla="*/ 36 w 174"/>
                  <a:gd name="T65" fmla="*/ 22 h 205"/>
                  <a:gd name="T66" fmla="*/ 27 w 174"/>
                  <a:gd name="T67" fmla="*/ 13 h 205"/>
                  <a:gd name="T68" fmla="*/ 18 w 174"/>
                  <a:gd name="T69" fmla="*/ 22 h 205"/>
                  <a:gd name="T70" fmla="*/ 9 w 174"/>
                  <a:gd name="T71" fmla="*/ 35 h 205"/>
                  <a:gd name="T72" fmla="*/ 0 w 174"/>
                  <a:gd name="T73" fmla="*/ 49 h 205"/>
                  <a:gd name="T74" fmla="*/ 18 w 174"/>
                  <a:gd name="T75" fmla="*/ 62 h 205"/>
                  <a:gd name="T76" fmla="*/ 40 w 174"/>
                  <a:gd name="T77" fmla="*/ 116 h 205"/>
                  <a:gd name="T78" fmla="*/ 27 w 174"/>
                  <a:gd name="T79" fmla="*/ 125 h 205"/>
                  <a:gd name="T80" fmla="*/ 31 w 174"/>
                  <a:gd name="T81" fmla="*/ 129 h 205"/>
                  <a:gd name="T82" fmla="*/ 36 w 174"/>
                  <a:gd name="T83" fmla="*/ 143 h 205"/>
                  <a:gd name="T84" fmla="*/ 31 w 174"/>
                  <a:gd name="T85" fmla="*/ 147 h 205"/>
                  <a:gd name="T86" fmla="*/ 36 w 174"/>
                  <a:gd name="T87" fmla="*/ 161 h 205"/>
                  <a:gd name="T88" fmla="*/ 45 w 174"/>
                  <a:gd name="T89" fmla="*/ 156 h 205"/>
                  <a:gd name="T90" fmla="*/ 49 w 174"/>
                  <a:gd name="T91" fmla="*/ 143 h 205"/>
                  <a:gd name="T92" fmla="*/ 49 w 174"/>
                  <a:gd name="T93" fmla="*/ 129 h 205"/>
                  <a:gd name="T94" fmla="*/ 40 w 174"/>
                  <a:gd name="T95" fmla="*/ 116 h 205"/>
                  <a:gd name="T96" fmla="*/ 120 w 174"/>
                  <a:gd name="T97" fmla="*/ 174 h 205"/>
                  <a:gd name="T98" fmla="*/ 98 w 174"/>
                  <a:gd name="T99" fmla="*/ 170 h 205"/>
                  <a:gd name="T100" fmla="*/ 85 w 174"/>
                  <a:gd name="T101" fmla="*/ 178 h 205"/>
                  <a:gd name="T102" fmla="*/ 89 w 174"/>
                  <a:gd name="T103" fmla="*/ 187 h 205"/>
                  <a:gd name="T104" fmla="*/ 103 w 174"/>
                  <a:gd name="T105" fmla="*/ 196 h 205"/>
                  <a:gd name="T106" fmla="*/ 116 w 174"/>
                  <a:gd name="T107" fmla="*/ 201 h 205"/>
                  <a:gd name="T108" fmla="*/ 125 w 174"/>
                  <a:gd name="T109" fmla="*/ 201 h 205"/>
                  <a:gd name="T110" fmla="*/ 129 w 174"/>
                  <a:gd name="T111" fmla="*/ 178 h 205"/>
                  <a:gd name="T112" fmla="*/ 125 w 174"/>
                  <a:gd name="T113" fmla="*/ 174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4" h="205">
                    <a:moveTo>
                      <a:pt x="22" y="67"/>
                    </a:moveTo>
                    <a:lnTo>
                      <a:pt x="27" y="62"/>
                    </a:lnTo>
                    <a:lnTo>
                      <a:pt x="31" y="58"/>
                    </a:lnTo>
                    <a:lnTo>
                      <a:pt x="36" y="49"/>
                    </a:lnTo>
                    <a:lnTo>
                      <a:pt x="49" y="58"/>
                    </a:lnTo>
                    <a:lnTo>
                      <a:pt x="53" y="62"/>
                    </a:lnTo>
                    <a:lnTo>
                      <a:pt x="58" y="80"/>
                    </a:lnTo>
                    <a:lnTo>
                      <a:pt x="62" y="94"/>
                    </a:lnTo>
                    <a:lnTo>
                      <a:pt x="85" y="111"/>
                    </a:lnTo>
                    <a:lnTo>
                      <a:pt x="94" y="120"/>
                    </a:lnTo>
                    <a:lnTo>
                      <a:pt x="103" y="116"/>
                    </a:lnTo>
                    <a:lnTo>
                      <a:pt x="112" y="129"/>
                    </a:lnTo>
                    <a:lnTo>
                      <a:pt x="120" y="129"/>
                    </a:lnTo>
                    <a:lnTo>
                      <a:pt x="120" y="138"/>
                    </a:lnTo>
                    <a:lnTo>
                      <a:pt x="129" y="143"/>
                    </a:lnTo>
                    <a:lnTo>
                      <a:pt x="138" y="161"/>
                    </a:lnTo>
                    <a:lnTo>
                      <a:pt x="134" y="165"/>
                    </a:lnTo>
                    <a:lnTo>
                      <a:pt x="134" y="170"/>
                    </a:lnTo>
                    <a:lnTo>
                      <a:pt x="129" y="174"/>
                    </a:lnTo>
                    <a:lnTo>
                      <a:pt x="134" y="183"/>
                    </a:lnTo>
                    <a:lnTo>
                      <a:pt x="138" y="178"/>
                    </a:lnTo>
                    <a:lnTo>
                      <a:pt x="147" y="170"/>
                    </a:lnTo>
                    <a:lnTo>
                      <a:pt x="147" y="165"/>
                    </a:lnTo>
                    <a:lnTo>
                      <a:pt x="152" y="161"/>
                    </a:lnTo>
                    <a:lnTo>
                      <a:pt x="156" y="152"/>
                    </a:lnTo>
                    <a:lnTo>
                      <a:pt x="143" y="143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5" y="134"/>
                    </a:lnTo>
                    <a:lnTo>
                      <a:pt x="165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65" y="125"/>
                    </a:lnTo>
                    <a:lnTo>
                      <a:pt x="147" y="111"/>
                    </a:lnTo>
                    <a:lnTo>
                      <a:pt x="138" y="111"/>
                    </a:lnTo>
                    <a:lnTo>
                      <a:pt x="138" y="102"/>
                    </a:lnTo>
                    <a:lnTo>
                      <a:pt x="138" y="98"/>
                    </a:lnTo>
                    <a:lnTo>
                      <a:pt x="120" y="98"/>
                    </a:lnTo>
                    <a:lnTo>
                      <a:pt x="112" y="89"/>
                    </a:lnTo>
                    <a:lnTo>
                      <a:pt x="103" y="80"/>
                    </a:lnTo>
                    <a:lnTo>
                      <a:pt x="98" y="71"/>
                    </a:lnTo>
                    <a:lnTo>
                      <a:pt x="85" y="58"/>
                    </a:lnTo>
                    <a:lnTo>
                      <a:pt x="80" y="49"/>
                    </a:lnTo>
                    <a:lnTo>
                      <a:pt x="85" y="44"/>
                    </a:lnTo>
                    <a:lnTo>
                      <a:pt x="80" y="35"/>
                    </a:lnTo>
                    <a:lnTo>
                      <a:pt x="80" y="31"/>
                    </a:lnTo>
                    <a:lnTo>
                      <a:pt x="85" y="27"/>
                    </a:lnTo>
                    <a:lnTo>
                      <a:pt x="94" y="22"/>
                    </a:lnTo>
                    <a:lnTo>
                      <a:pt x="98" y="27"/>
                    </a:lnTo>
                    <a:lnTo>
                      <a:pt x="103" y="27"/>
                    </a:lnTo>
                    <a:lnTo>
                      <a:pt x="103" y="31"/>
                    </a:lnTo>
                    <a:lnTo>
                      <a:pt x="107" y="31"/>
                    </a:lnTo>
                    <a:lnTo>
                      <a:pt x="103" y="22"/>
                    </a:lnTo>
                    <a:lnTo>
                      <a:pt x="103" y="18"/>
                    </a:lnTo>
                    <a:lnTo>
                      <a:pt x="98" y="13"/>
                    </a:lnTo>
                    <a:lnTo>
                      <a:pt x="103" y="13"/>
                    </a:lnTo>
                    <a:lnTo>
                      <a:pt x="89" y="9"/>
                    </a:lnTo>
                    <a:lnTo>
                      <a:pt x="85" y="0"/>
                    </a:lnTo>
                    <a:lnTo>
                      <a:pt x="71" y="0"/>
                    </a:lnTo>
                    <a:lnTo>
                      <a:pt x="67" y="4"/>
                    </a:lnTo>
                    <a:lnTo>
                      <a:pt x="58" y="4"/>
                    </a:lnTo>
                    <a:lnTo>
                      <a:pt x="53" y="13"/>
                    </a:lnTo>
                    <a:lnTo>
                      <a:pt x="45" y="13"/>
                    </a:lnTo>
                    <a:lnTo>
                      <a:pt x="40" y="9"/>
                    </a:lnTo>
                    <a:lnTo>
                      <a:pt x="40" y="18"/>
                    </a:lnTo>
                    <a:lnTo>
                      <a:pt x="36" y="22"/>
                    </a:lnTo>
                    <a:lnTo>
                      <a:pt x="31" y="13"/>
                    </a:lnTo>
                    <a:lnTo>
                      <a:pt x="27" y="13"/>
                    </a:lnTo>
                    <a:lnTo>
                      <a:pt x="27" y="22"/>
                    </a:lnTo>
                    <a:lnTo>
                      <a:pt x="18" y="22"/>
                    </a:lnTo>
                    <a:lnTo>
                      <a:pt x="13" y="22"/>
                    </a:lnTo>
                    <a:lnTo>
                      <a:pt x="9" y="35"/>
                    </a:lnTo>
                    <a:lnTo>
                      <a:pt x="4" y="35"/>
                    </a:lnTo>
                    <a:lnTo>
                      <a:pt x="0" y="49"/>
                    </a:lnTo>
                    <a:lnTo>
                      <a:pt x="9" y="62"/>
                    </a:lnTo>
                    <a:lnTo>
                      <a:pt x="18" y="62"/>
                    </a:lnTo>
                    <a:lnTo>
                      <a:pt x="22" y="67"/>
                    </a:lnTo>
                    <a:close/>
                    <a:moveTo>
                      <a:pt x="40" y="116"/>
                    </a:moveTo>
                    <a:lnTo>
                      <a:pt x="36" y="125"/>
                    </a:lnTo>
                    <a:lnTo>
                      <a:pt x="27" y="125"/>
                    </a:lnTo>
                    <a:lnTo>
                      <a:pt x="27" y="129"/>
                    </a:lnTo>
                    <a:lnTo>
                      <a:pt x="31" y="129"/>
                    </a:lnTo>
                    <a:lnTo>
                      <a:pt x="31" y="143"/>
                    </a:lnTo>
                    <a:lnTo>
                      <a:pt x="36" y="143"/>
                    </a:lnTo>
                    <a:lnTo>
                      <a:pt x="36" y="147"/>
                    </a:lnTo>
                    <a:lnTo>
                      <a:pt x="31" y="147"/>
                    </a:lnTo>
                    <a:lnTo>
                      <a:pt x="31" y="156"/>
                    </a:lnTo>
                    <a:lnTo>
                      <a:pt x="36" y="161"/>
                    </a:lnTo>
                    <a:lnTo>
                      <a:pt x="40" y="161"/>
                    </a:lnTo>
                    <a:lnTo>
                      <a:pt x="45" y="156"/>
                    </a:lnTo>
                    <a:lnTo>
                      <a:pt x="45" y="156"/>
                    </a:lnTo>
                    <a:lnTo>
                      <a:pt x="49" y="143"/>
                    </a:lnTo>
                    <a:lnTo>
                      <a:pt x="45" y="134"/>
                    </a:lnTo>
                    <a:lnTo>
                      <a:pt x="49" y="129"/>
                    </a:lnTo>
                    <a:lnTo>
                      <a:pt x="49" y="120"/>
                    </a:lnTo>
                    <a:lnTo>
                      <a:pt x="40" y="116"/>
                    </a:lnTo>
                    <a:close/>
                    <a:moveTo>
                      <a:pt x="125" y="174"/>
                    </a:moveTo>
                    <a:lnTo>
                      <a:pt x="120" y="174"/>
                    </a:lnTo>
                    <a:lnTo>
                      <a:pt x="107" y="174"/>
                    </a:lnTo>
                    <a:lnTo>
                      <a:pt x="98" y="170"/>
                    </a:lnTo>
                    <a:lnTo>
                      <a:pt x="89" y="174"/>
                    </a:lnTo>
                    <a:lnTo>
                      <a:pt x="85" y="178"/>
                    </a:lnTo>
                    <a:lnTo>
                      <a:pt x="85" y="187"/>
                    </a:lnTo>
                    <a:lnTo>
                      <a:pt x="89" y="187"/>
                    </a:lnTo>
                    <a:lnTo>
                      <a:pt x="94" y="187"/>
                    </a:lnTo>
                    <a:lnTo>
                      <a:pt x="103" y="196"/>
                    </a:lnTo>
                    <a:lnTo>
                      <a:pt x="112" y="196"/>
                    </a:lnTo>
                    <a:lnTo>
                      <a:pt x="116" y="201"/>
                    </a:lnTo>
                    <a:lnTo>
                      <a:pt x="125" y="205"/>
                    </a:lnTo>
                    <a:lnTo>
                      <a:pt x="125" y="201"/>
                    </a:lnTo>
                    <a:lnTo>
                      <a:pt x="125" y="187"/>
                    </a:lnTo>
                    <a:lnTo>
                      <a:pt x="129" y="178"/>
                    </a:lnTo>
                    <a:lnTo>
                      <a:pt x="129" y="174"/>
                    </a:lnTo>
                    <a:lnTo>
                      <a:pt x="125" y="17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39" name="Freeform 23"/>
              <p:cNvSpPr>
                <a:spLocks/>
              </p:cNvSpPr>
              <p:nvPr/>
            </p:nvSpPr>
            <p:spPr bwMode="gray">
              <a:xfrm>
                <a:off x="3274" y="2179"/>
                <a:ext cx="296" cy="183"/>
              </a:xfrm>
              <a:custGeom>
                <a:avLst/>
                <a:gdLst>
                  <a:gd name="T0" fmla="*/ 5 w 108"/>
                  <a:gd name="T1" fmla="*/ 49 h 67"/>
                  <a:gd name="T2" fmla="*/ 9 w 108"/>
                  <a:gd name="T3" fmla="*/ 49 h 67"/>
                  <a:gd name="T4" fmla="*/ 18 w 108"/>
                  <a:gd name="T5" fmla="*/ 45 h 67"/>
                  <a:gd name="T6" fmla="*/ 23 w 108"/>
                  <a:gd name="T7" fmla="*/ 49 h 67"/>
                  <a:gd name="T8" fmla="*/ 32 w 108"/>
                  <a:gd name="T9" fmla="*/ 45 h 67"/>
                  <a:gd name="T10" fmla="*/ 49 w 108"/>
                  <a:gd name="T11" fmla="*/ 49 h 67"/>
                  <a:gd name="T12" fmla="*/ 58 w 108"/>
                  <a:gd name="T13" fmla="*/ 45 h 67"/>
                  <a:gd name="T14" fmla="*/ 63 w 108"/>
                  <a:gd name="T15" fmla="*/ 49 h 67"/>
                  <a:gd name="T16" fmla="*/ 67 w 108"/>
                  <a:gd name="T17" fmla="*/ 54 h 67"/>
                  <a:gd name="T18" fmla="*/ 81 w 108"/>
                  <a:gd name="T19" fmla="*/ 67 h 67"/>
                  <a:gd name="T20" fmla="*/ 94 w 108"/>
                  <a:gd name="T21" fmla="*/ 63 h 67"/>
                  <a:gd name="T22" fmla="*/ 99 w 108"/>
                  <a:gd name="T23" fmla="*/ 58 h 67"/>
                  <a:gd name="T24" fmla="*/ 103 w 108"/>
                  <a:gd name="T25" fmla="*/ 49 h 67"/>
                  <a:gd name="T26" fmla="*/ 103 w 108"/>
                  <a:gd name="T27" fmla="*/ 49 h 67"/>
                  <a:gd name="T28" fmla="*/ 103 w 108"/>
                  <a:gd name="T29" fmla="*/ 40 h 67"/>
                  <a:gd name="T30" fmla="*/ 103 w 108"/>
                  <a:gd name="T31" fmla="*/ 22 h 67"/>
                  <a:gd name="T32" fmla="*/ 108 w 108"/>
                  <a:gd name="T33" fmla="*/ 18 h 67"/>
                  <a:gd name="T34" fmla="*/ 103 w 108"/>
                  <a:gd name="T35" fmla="*/ 13 h 67"/>
                  <a:gd name="T36" fmla="*/ 99 w 108"/>
                  <a:gd name="T37" fmla="*/ 13 h 67"/>
                  <a:gd name="T38" fmla="*/ 90 w 108"/>
                  <a:gd name="T39" fmla="*/ 9 h 67"/>
                  <a:gd name="T40" fmla="*/ 85 w 108"/>
                  <a:gd name="T41" fmla="*/ 9 h 67"/>
                  <a:gd name="T42" fmla="*/ 76 w 108"/>
                  <a:gd name="T43" fmla="*/ 5 h 67"/>
                  <a:gd name="T44" fmla="*/ 67 w 108"/>
                  <a:gd name="T45" fmla="*/ 0 h 67"/>
                  <a:gd name="T46" fmla="*/ 54 w 108"/>
                  <a:gd name="T47" fmla="*/ 5 h 67"/>
                  <a:gd name="T48" fmla="*/ 54 w 108"/>
                  <a:gd name="T49" fmla="*/ 18 h 67"/>
                  <a:gd name="T50" fmla="*/ 49 w 108"/>
                  <a:gd name="T51" fmla="*/ 22 h 67"/>
                  <a:gd name="T52" fmla="*/ 41 w 108"/>
                  <a:gd name="T53" fmla="*/ 27 h 67"/>
                  <a:gd name="T54" fmla="*/ 32 w 108"/>
                  <a:gd name="T55" fmla="*/ 22 h 67"/>
                  <a:gd name="T56" fmla="*/ 32 w 108"/>
                  <a:gd name="T57" fmla="*/ 18 h 67"/>
                  <a:gd name="T58" fmla="*/ 27 w 108"/>
                  <a:gd name="T59" fmla="*/ 9 h 67"/>
                  <a:gd name="T60" fmla="*/ 23 w 108"/>
                  <a:gd name="T61" fmla="*/ 5 h 67"/>
                  <a:gd name="T62" fmla="*/ 14 w 108"/>
                  <a:gd name="T63" fmla="*/ 9 h 67"/>
                  <a:gd name="T64" fmla="*/ 9 w 108"/>
                  <a:gd name="T65" fmla="*/ 13 h 67"/>
                  <a:gd name="T66" fmla="*/ 9 w 108"/>
                  <a:gd name="T67" fmla="*/ 22 h 67"/>
                  <a:gd name="T68" fmla="*/ 0 w 108"/>
                  <a:gd name="T69" fmla="*/ 31 h 67"/>
                  <a:gd name="T70" fmla="*/ 5 w 108"/>
                  <a:gd name="T71" fmla="*/ 49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8" h="67">
                    <a:moveTo>
                      <a:pt x="5" y="49"/>
                    </a:moveTo>
                    <a:lnTo>
                      <a:pt x="9" y="49"/>
                    </a:lnTo>
                    <a:lnTo>
                      <a:pt x="18" y="45"/>
                    </a:lnTo>
                    <a:lnTo>
                      <a:pt x="23" y="49"/>
                    </a:lnTo>
                    <a:lnTo>
                      <a:pt x="32" y="45"/>
                    </a:lnTo>
                    <a:lnTo>
                      <a:pt x="49" y="49"/>
                    </a:lnTo>
                    <a:lnTo>
                      <a:pt x="58" y="45"/>
                    </a:lnTo>
                    <a:lnTo>
                      <a:pt x="63" y="49"/>
                    </a:lnTo>
                    <a:lnTo>
                      <a:pt x="67" y="54"/>
                    </a:lnTo>
                    <a:lnTo>
                      <a:pt x="81" y="67"/>
                    </a:lnTo>
                    <a:lnTo>
                      <a:pt x="94" y="63"/>
                    </a:lnTo>
                    <a:lnTo>
                      <a:pt x="99" y="58"/>
                    </a:lnTo>
                    <a:lnTo>
                      <a:pt x="103" y="49"/>
                    </a:lnTo>
                    <a:lnTo>
                      <a:pt x="103" y="49"/>
                    </a:lnTo>
                    <a:lnTo>
                      <a:pt x="103" y="40"/>
                    </a:lnTo>
                    <a:lnTo>
                      <a:pt x="103" y="22"/>
                    </a:lnTo>
                    <a:lnTo>
                      <a:pt x="108" y="18"/>
                    </a:lnTo>
                    <a:lnTo>
                      <a:pt x="103" y="13"/>
                    </a:lnTo>
                    <a:lnTo>
                      <a:pt x="99" y="13"/>
                    </a:lnTo>
                    <a:lnTo>
                      <a:pt x="90" y="9"/>
                    </a:lnTo>
                    <a:lnTo>
                      <a:pt x="85" y="9"/>
                    </a:lnTo>
                    <a:lnTo>
                      <a:pt x="76" y="5"/>
                    </a:lnTo>
                    <a:lnTo>
                      <a:pt x="67" y="0"/>
                    </a:lnTo>
                    <a:lnTo>
                      <a:pt x="54" y="5"/>
                    </a:lnTo>
                    <a:lnTo>
                      <a:pt x="54" y="18"/>
                    </a:lnTo>
                    <a:lnTo>
                      <a:pt x="49" y="22"/>
                    </a:lnTo>
                    <a:lnTo>
                      <a:pt x="41" y="27"/>
                    </a:lnTo>
                    <a:lnTo>
                      <a:pt x="32" y="22"/>
                    </a:lnTo>
                    <a:lnTo>
                      <a:pt x="32" y="18"/>
                    </a:lnTo>
                    <a:lnTo>
                      <a:pt x="27" y="9"/>
                    </a:lnTo>
                    <a:lnTo>
                      <a:pt x="23" y="5"/>
                    </a:lnTo>
                    <a:lnTo>
                      <a:pt x="14" y="9"/>
                    </a:lnTo>
                    <a:lnTo>
                      <a:pt x="9" y="13"/>
                    </a:lnTo>
                    <a:lnTo>
                      <a:pt x="9" y="22"/>
                    </a:lnTo>
                    <a:lnTo>
                      <a:pt x="0" y="31"/>
                    </a:lnTo>
                    <a:lnTo>
                      <a:pt x="5" y="4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40" name="Freeform 24"/>
              <p:cNvSpPr>
                <a:spLocks/>
              </p:cNvSpPr>
              <p:nvPr/>
            </p:nvSpPr>
            <p:spPr bwMode="gray">
              <a:xfrm>
                <a:off x="3274" y="2302"/>
                <a:ext cx="233" cy="170"/>
              </a:xfrm>
              <a:custGeom>
                <a:avLst/>
                <a:gdLst>
                  <a:gd name="T0" fmla="*/ 5 w 85"/>
                  <a:gd name="T1" fmla="*/ 4 h 62"/>
                  <a:gd name="T2" fmla="*/ 0 w 85"/>
                  <a:gd name="T3" fmla="*/ 4 h 62"/>
                  <a:gd name="T4" fmla="*/ 5 w 85"/>
                  <a:gd name="T5" fmla="*/ 18 h 62"/>
                  <a:gd name="T6" fmla="*/ 5 w 85"/>
                  <a:gd name="T7" fmla="*/ 22 h 62"/>
                  <a:gd name="T8" fmla="*/ 9 w 85"/>
                  <a:gd name="T9" fmla="*/ 22 h 62"/>
                  <a:gd name="T10" fmla="*/ 9 w 85"/>
                  <a:gd name="T11" fmla="*/ 27 h 62"/>
                  <a:gd name="T12" fmla="*/ 23 w 85"/>
                  <a:gd name="T13" fmla="*/ 31 h 62"/>
                  <a:gd name="T14" fmla="*/ 32 w 85"/>
                  <a:gd name="T15" fmla="*/ 31 h 62"/>
                  <a:gd name="T16" fmla="*/ 32 w 85"/>
                  <a:gd name="T17" fmla="*/ 35 h 62"/>
                  <a:gd name="T18" fmla="*/ 32 w 85"/>
                  <a:gd name="T19" fmla="*/ 49 h 62"/>
                  <a:gd name="T20" fmla="*/ 41 w 85"/>
                  <a:gd name="T21" fmla="*/ 58 h 62"/>
                  <a:gd name="T22" fmla="*/ 41 w 85"/>
                  <a:gd name="T23" fmla="*/ 62 h 62"/>
                  <a:gd name="T24" fmla="*/ 49 w 85"/>
                  <a:gd name="T25" fmla="*/ 53 h 62"/>
                  <a:gd name="T26" fmla="*/ 58 w 85"/>
                  <a:gd name="T27" fmla="*/ 58 h 62"/>
                  <a:gd name="T28" fmla="*/ 63 w 85"/>
                  <a:gd name="T29" fmla="*/ 53 h 62"/>
                  <a:gd name="T30" fmla="*/ 67 w 85"/>
                  <a:gd name="T31" fmla="*/ 58 h 62"/>
                  <a:gd name="T32" fmla="*/ 67 w 85"/>
                  <a:gd name="T33" fmla="*/ 49 h 62"/>
                  <a:gd name="T34" fmla="*/ 72 w 85"/>
                  <a:gd name="T35" fmla="*/ 44 h 62"/>
                  <a:gd name="T36" fmla="*/ 76 w 85"/>
                  <a:gd name="T37" fmla="*/ 35 h 62"/>
                  <a:gd name="T38" fmla="*/ 81 w 85"/>
                  <a:gd name="T39" fmla="*/ 31 h 62"/>
                  <a:gd name="T40" fmla="*/ 81 w 85"/>
                  <a:gd name="T41" fmla="*/ 31 h 62"/>
                  <a:gd name="T42" fmla="*/ 85 w 85"/>
                  <a:gd name="T43" fmla="*/ 31 h 62"/>
                  <a:gd name="T44" fmla="*/ 81 w 85"/>
                  <a:gd name="T45" fmla="*/ 27 h 62"/>
                  <a:gd name="T46" fmla="*/ 81 w 85"/>
                  <a:gd name="T47" fmla="*/ 27 h 62"/>
                  <a:gd name="T48" fmla="*/ 81 w 85"/>
                  <a:gd name="T49" fmla="*/ 22 h 62"/>
                  <a:gd name="T50" fmla="*/ 67 w 85"/>
                  <a:gd name="T51" fmla="*/ 9 h 62"/>
                  <a:gd name="T52" fmla="*/ 63 w 85"/>
                  <a:gd name="T53" fmla="*/ 4 h 62"/>
                  <a:gd name="T54" fmla="*/ 58 w 85"/>
                  <a:gd name="T55" fmla="*/ 0 h 62"/>
                  <a:gd name="T56" fmla="*/ 49 w 85"/>
                  <a:gd name="T57" fmla="*/ 4 h 62"/>
                  <a:gd name="T58" fmla="*/ 32 w 85"/>
                  <a:gd name="T59" fmla="*/ 0 h 62"/>
                  <a:gd name="T60" fmla="*/ 23 w 85"/>
                  <a:gd name="T61" fmla="*/ 4 h 62"/>
                  <a:gd name="T62" fmla="*/ 18 w 85"/>
                  <a:gd name="T63" fmla="*/ 0 h 62"/>
                  <a:gd name="T64" fmla="*/ 9 w 85"/>
                  <a:gd name="T65" fmla="*/ 4 h 62"/>
                  <a:gd name="T66" fmla="*/ 5 w 85"/>
                  <a:gd name="T67" fmla="*/ 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5" h="62">
                    <a:moveTo>
                      <a:pt x="5" y="4"/>
                    </a:moveTo>
                    <a:lnTo>
                      <a:pt x="0" y="4"/>
                    </a:lnTo>
                    <a:lnTo>
                      <a:pt x="5" y="18"/>
                    </a:lnTo>
                    <a:lnTo>
                      <a:pt x="5" y="22"/>
                    </a:lnTo>
                    <a:lnTo>
                      <a:pt x="9" y="22"/>
                    </a:lnTo>
                    <a:lnTo>
                      <a:pt x="9" y="27"/>
                    </a:lnTo>
                    <a:lnTo>
                      <a:pt x="23" y="31"/>
                    </a:lnTo>
                    <a:lnTo>
                      <a:pt x="32" y="31"/>
                    </a:lnTo>
                    <a:lnTo>
                      <a:pt x="32" y="35"/>
                    </a:lnTo>
                    <a:lnTo>
                      <a:pt x="32" y="49"/>
                    </a:lnTo>
                    <a:lnTo>
                      <a:pt x="41" y="58"/>
                    </a:lnTo>
                    <a:lnTo>
                      <a:pt x="41" y="62"/>
                    </a:lnTo>
                    <a:lnTo>
                      <a:pt x="49" y="53"/>
                    </a:lnTo>
                    <a:lnTo>
                      <a:pt x="58" y="58"/>
                    </a:lnTo>
                    <a:lnTo>
                      <a:pt x="63" y="53"/>
                    </a:lnTo>
                    <a:lnTo>
                      <a:pt x="67" y="58"/>
                    </a:lnTo>
                    <a:lnTo>
                      <a:pt x="67" y="49"/>
                    </a:lnTo>
                    <a:lnTo>
                      <a:pt x="72" y="44"/>
                    </a:lnTo>
                    <a:lnTo>
                      <a:pt x="76" y="35"/>
                    </a:lnTo>
                    <a:lnTo>
                      <a:pt x="81" y="31"/>
                    </a:lnTo>
                    <a:lnTo>
                      <a:pt x="81" y="31"/>
                    </a:lnTo>
                    <a:lnTo>
                      <a:pt x="85" y="31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81" y="22"/>
                    </a:lnTo>
                    <a:lnTo>
                      <a:pt x="67" y="9"/>
                    </a:lnTo>
                    <a:lnTo>
                      <a:pt x="63" y="4"/>
                    </a:lnTo>
                    <a:lnTo>
                      <a:pt x="58" y="0"/>
                    </a:lnTo>
                    <a:lnTo>
                      <a:pt x="49" y="4"/>
                    </a:lnTo>
                    <a:lnTo>
                      <a:pt x="32" y="0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41" name="Freeform 25"/>
              <p:cNvSpPr>
                <a:spLocks/>
              </p:cNvSpPr>
              <p:nvPr/>
            </p:nvSpPr>
            <p:spPr bwMode="gray">
              <a:xfrm>
                <a:off x="2700" y="2718"/>
                <a:ext cx="24" cy="36"/>
              </a:xfrm>
              <a:custGeom>
                <a:avLst/>
                <a:gdLst>
                  <a:gd name="T0" fmla="*/ 0 w 9"/>
                  <a:gd name="T1" fmla="*/ 13 h 13"/>
                  <a:gd name="T2" fmla="*/ 0 w 9"/>
                  <a:gd name="T3" fmla="*/ 9 h 13"/>
                  <a:gd name="T4" fmla="*/ 0 w 9"/>
                  <a:gd name="T5" fmla="*/ 0 h 13"/>
                  <a:gd name="T6" fmla="*/ 5 w 9"/>
                  <a:gd name="T7" fmla="*/ 0 h 13"/>
                  <a:gd name="T8" fmla="*/ 5 w 9"/>
                  <a:gd name="T9" fmla="*/ 4 h 13"/>
                  <a:gd name="T10" fmla="*/ 9 w 9"/>
                  <a:gd name="T11" fmla="*/ 9 h 13"/>
                  <a:gd name="T12" fmla="*/ 9 w 9"/>
                  <a:gd name="T13" fmla="*/ 13 h 13"/>
                  <a:gd name="T14" fmla="*/ 5 w 9"/>
                  <a:gd name="T15" fmla="*/ 13 h 13"/>
                  <a:gd name="T16" fmla="*/ 0 w 9"/>
                  <a:gd name="T17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3">
                    <a:moveTo>
                      <a:pt x="0" y="13"/>
                    </a:moveTo>
                    <a:lnTo>
                      <a:pt x="0" y="9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9" y="9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42" name="Freeform 26"/>
              <p:cNvSpPr>
                <a:spLocks/>
              </p:cNvSpPr>
              <p:nvPr/>
            </p:nvSpPr>
            <p:spPr bwMode="gray">
              <a:xfrm>
                <a:off x="3507" y="2827"/>
                <a:ext cx="123" cy="159"/>
              </a:xfrm>
              <a:custGeom>
                <a:avLst/>
                <a:gdLst>
                  <a:gd name="T0" fmla="*/ 0 w 45"/>
                  <a:gd name="T1" fmla="*/ 0 h 58"/>
                  <a:gd name="T2" fmla="*/ 14 w 45"/>
                  <a:gd name="T3" fmla="*/ 18 h 58"/>
                  <a:gd name="T4" fmla="*/ 18 w 45"/>
                  <a:gd name="T5" fmla="*/ 27 h 58"/>
                  <a:gd name="T6" fmla="*/ 23 w 45"/>
                  <a:gd name="T7" fmla="*/ 40 h 58"/>
                  <a:gd name="T8" fmla="*/ 18 w 45"/>
                  <a:gd name="T9" fmla="*/ 58 h 58"/>
                  <a:gd name="T10" fmla="*/ 27 w 45"/>
                  <a:gd name="T11" fmla="*/ 58 h 58"/>
                  <a:gd name="T12" fmla="*/ 31 w 45"/>
                  <a:gd name="T13" fmla="*/ 54 h 58"/>
                  <a:gd name="T14" fmla="*/ 31 w 45"/>
                  <a:gd name="T15" fmla="*/ 49 h 58"/>
                  <a:gd name="T16" fmla="*/ 31 w 45"/>
                  <a:gd name="T17" fmla="*/ 40 h 58"/>
                  <a:gd name="T18" fmla="*/ 36 w 45"/>
                  <a:gd name="T19" fmla="*/ 45 h 58"/>
                  <a:gd name="T20" fmla="*/ 36 w 45"/>
                  <a:gd name="T21" fmla="*/ 40 h 58"/>
                  <a:gd name="T22" fmla="*/ 40 w 45"/>
                  <a:gd name="T23" fmla="*/ 40 h 58"/>
                  <a:gd name="T24" fmla="*/ 45 w 45"/>
                  <a:gd name="T25" fmla="*/ 40 h 58"/>
                  <a:gd name="T26" fmla="*/ 45 w 45"/>
                  <a:gd name="T27" fmla="*/ 31 h 58"/>
                  <a:gd name="T28" fmla="*/ 40 w 45"/>
                  <a:gd name="T29" fmla="*/ 22 h 58"/>
                  <a:gd name="T30" fmla="*/ 40 w 45"/>
                  <a:gd name="T31" fmla="*/ 13 h 58"/>
                  <a:gd name="T32" fmla="*/ 27 w 45"/>
                  <a:gd name="T33" fmla="*/ 4 h 58"/>
                  <a:gd name="T34" fmla="*/ 23 w 45"/>
                  <a:gd name="T35" fmla="*/ 4 h 58"/>
                  <a:gd name="T36" fmla="*/ 18 w 45"/>
                  <a:gd name="T37" fmla="*/ 0 h 58"/>
                  <a:gd name="T38" fmla="*/ 14 w 45"/>
                  <a:gd name="T39" fmla="*/ 4 h 58"/>
                  <a:gd name="T40" fmla="*/ 14 w 45"/>
                  <a:gd name="T41" fmla="*/ 0 h 58"/>
                  <a:gd name="T42" fmla="*/ 0 w 45"/>
                  <a:gd name="T4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5" h="58">
                    <a:moveTo>
                      <a:pt x="0" y="0"/>
                    </a:moveTo>
                    <a:lnTo>
                      <a:pt x="14" y="18"/>
                    </a:lnTo>
                    <a:lnTo>
                      <a:pt x="18" y="27"/>
                    </a:lnTo>
                    <a:lnTo>
                      <a:pt x="23" y="40"/>
                    </a:lnTo>
                    <a:lnTo>
                      <a:pt x="18" y="58"/>
                    </a:lnTo>
                    <a:lnTo>
                      <a:pt x="27" y="58"/>
                    </a:lnTo>
                    <a:lnTo>
                      <a:pt x="31" y="54"/>
                    </a:lnTo>
                    <a:lnTo>
                      <a:pt x="31" y="49"/>
                    </a:lnTo>
                    <a:lnTo>
                      <a:pt x="31" y="40"/>
                    </a:lnTo>
                    <a:lnTo>
                      <a:pt x="36" y="45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5" y="40"/>
                    </a:lnTo>
                    <a:lnTo>
                      <a:pt x="45" y="31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27" y="4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43" name="Freeform 27"/>
              <p:cNvSpPr>
                <a:spLocks/>
              </p:cNvSpPr>
              <p:nvPr/>
            </p:nvSpPr>
            <p:spPr bwMode="gray">
              <a:xfrm>
                <a:off x="2590" y="2496"/>
                <a:ext cx="159" cy="173"/>
              </a:xfrm>
              <a:custGeom>
                <a:avLst/>
                <a:gdLst>
                  <a:gd name="T0" fmla="*/ 45 w 58"/>
                  <a:gd name="T1" fmla="*/ 63 h 63"/>
                  <a:gd name="T2" fmla="*/ 40 w 58"/>
                  <a:gd name="T3" fmla="*/ 63 h 63"/>
                  <a:gd name="T4" fmla="*/ 40 w 58"/>
                  <a:gd name="T5" fmla="*/ 58 h 63"/>
                  <a:gd name="T6" fmla="*/ 36 w 58"/>
                  <a:gd name="T7" fmla="*/ 54 h 63"/>
                  <a:gd name="T8" fmla="*/ 27 w 58"/>
                  <a:gd name="T9" fmla="*/ 54 h 63"/>
                  <a:gd name="T10" fmla="*/ 18 w 58"/>
                  <a:gd name="T11" fmla="*/ 45 h 63"/>
                  <a:gd name="T12" fmla="*/ 14 w 58"/>
                  <a:gd name="T13" fmla="*/ 54 h 63"/>
                  <a:gd name="T14" fmla="*/ 9 w 58"/>
                  <a:gd name="T15" fmla="*/ 54 h 63"/>
                  <a:gd name="T16" fmla="*/ 0 w 58"/>
                  <a:gd name="T17" fmla="*/ 54 h 63"/>
                  <a:gd name="T18" fmla="*/ 0 w 58"/>
                  <a:gd name="T19" fmla="*/ 49 h 63"/>
                  <a:gd name="T20" fmla="*/ 5 w 58"/>
                  <a:gd name="T21" fmla="*/ 49 h 63"/>
                  <a:gd name="T22" fmla="*/ 5 w 58"/>
                  <a:gd name="T23" fmla="*/ 49 h 63"/>
                  <a:gd name="T24" fmla="*/ 5 w 58"/>
                  <a:gd name="T25" fmla="*/ 49 h 63"/>
                  <a:gd name="T26" fmla="*/ 0 w 58"/>
                  <a:gd name="T27" fmla="*/ 45 h 63"/>
                  <a:gd name="T28" fmla="*/ 5 w 58"/>
                  <a:gd name="T29" fmla="*/ 40 h 63"/>
                  <a:gd name="T30" fmla="*/ 14 w 58"/>
                  <a:gd name="T31" fmla="*/ 45 h 63"/>
                  <a:gd name="T32" fmla="*/ 14 w 58"/>
                  <a:gd name="T33" fmla="*/ 40 h 63"/>
                  <a:gd name="T34" fmla="*/ 9 w 58"/>
                  <a:gd name="T35" fmla="*/ 40 h 63"/>
                  <a:gd name="T36" fmla="*/ 5 w 58"/>
                  <a:gd name="T37" fmla="*/ 40 h 63"/>
                  <a:gd name="T38" fmla="*/ 14 w 58"/>
                  <a:gd name="T39" fmla="*/ 36 h 63"/>
                  <a:gd name="T40" fmla="*/ 18 w 58"/>
                  <a:gd name="T41" fmla="*/ 27 h 63"/>
                  <a:gd name="T42" fmla="*/ 27 w 58"/>
                  <a:gd name="T43" fmla="*/ 9 h 63"/>
                  <a:gd name="T44" fmla="*/ 27 w 58"/>
                  <a:gd name="T45" fmla="*/ 9 h 63"/>
                  <a:gd name="T46" fmla="*/ 31 w 58"/>
                  <a:gd name="T47" fmla="*/ 9 h 63"/>
                  <a:gd name="T48" fmla="*/ 36 w 58"/>
                  <a:gd name="T49" fmla="*/ 5 h 63"/>
                  <a:gd name="T50" fmla="*/ 40 w 58"/>
                  <a:gd name="T51" fmla="*/ 0 h 63"/>
                  <a:gd name="T52" fmla="*/ 54 w 58"/>
                  <a:gd name="T53" fmla="*/ 0 h 63"/>
                  <a:gd name="T54" fmla="*/ 54 w 58"/>
                  <a:gd name="T55" fmla="*/ 0 h 63"/>
                  <a:gd name="T56" fmla="*/ 54 w 58"/>
                  <a:gd name="T57" fmla="*/ 9 h 63"/>
                  <a:gd name="T58" fmla="*/ 58 w 58"/>
                  <a:gd name="T59" fmla="*/ 9 h 63"/>
                  <a:gd name="T60" fmla="*/ 54 w 58"/>
                  <a:gd name="T61" fmla="*/ 18 h 63"/>
                  <a:gd name="T62" fmla="*/ 54 w 58"/>
                  <a:gd name="T63" fmla="*/ 18 h 63"/>
                  <a:gd name="T64" fmla="*/ 54 w 58"/>
                  <a:gd name="T65" fmla="*/ 36 h 63"/>
                  <a:gd name="T66" fmla="*/ 49 w 58"/>
                  <a:gd name="T67" fmla="*/ 36 h 63"/>
                  <a:gd name="T68" fmla="*/ 40 w 58"/>
                  <a:gd name="T69" fmla="*/ 40 h 63"/>
                  <a:gd name="T70" fmla="*/ 40 w 58"/>
                  <a:gd name="T71" fmla="*/ 45 h 63"/>
                  <a:gd name="T72" fmla="*/ 45 w 58"/>
                  <a:gd name="T73" fmla="*/ 49 h 63"/>
                  <a:gd name="T74" fmla="*/ 40 w 58"/>
                  <a:gd name="T75" fmla="*/ 58 h 63"/>
                  <a:gd name="T76" fmla="*/ 45 w 58"/>
                  <a:gd name="T77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8" h="63">
                    <a:moveTo>
                      <a:pt x="45" y="63"/>
                    </a:moveTo>
                    <a:lnTo>
                      <a:pt x="40" y="63"/>
                    </a:lnTo>
                    <a:lnTo>
                      <a:pt x="40" y="58"/>
                    </a:lnTo>
                    <a:lnTo>
                      <a:pt x="36" y="54"/>
                    </a:lnTo>
                    <a:lnTo>
                      <a:pt x="27" y="54"/>
                    </a:lnTo>
                    <a:lnTo>
                      <a:pt x="18" y="45"/>
                    </a:lnTo>
                    <a:lnTo>
                      <a:pt x="14" y="54"/>
                    </a:lnTo>
                    <a:lnTo>
                      <a:pt x="9" y="54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5"/>
                    </a:lnTo>
                    <a:lnTo>
                      <a:pt x="5" y="40"/>
                    </a:lnTo>
                    <a:lnTo>
                      <a:pt x="14" y="45"/>
                    </a:lnTo>
                    <a:lnTo>
                      <a:pt x="14" y="40"/>
                    </a:lnTo>
                    <a:lnTo>
                      <a:pt x="9" y="40"/>
                    </a:lnTo>
                    <a:lnTo>
                      <a:pt x="5" y="40"/>
                    </a:lnTo>
                    <a:lnTo>
                      <a:pt x="14" y="36"/>
                    </a:lnTo>
                    <a:lnTo>
                      <a:pt x="18" y="27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1" y="9"/>
                    </a:lnTo>
                    <a:lnTo>
                      <a:pt x="36" y="5"/>
                    </a:lnTo>
                    <a:lnTo>
                      <a:pt x="4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9"/>
                    </a:lnTo>
                    <a:lnTo>
                      <a:pt x="58" y="9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36"/>
                    </a:lnTo>
                    <a:lnTo>
                      <a:pt x="49" y="36"/>
                    </a:lnTo>
                    <a:lnTo>
                      <a:pt x="40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0" y="58"/>
                    </a:lnTo>
                    <a:lnTo>
                      <a:pt x="45" y="6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44" name="Freeform 28"/>
              <p:cNvSpPr>
                <a:spLocks noEditPoints="1"/>
              </p:cNvSpPr>
              <p:nvPr/>
            </p:nvSpPr>
            <p:spPr bwMode="gray">
              <a:xfrm>
                <a:off x="2664" y="907"/>
                <a:ext cx="1015" cy="1272"/>
              </a:xfrm>
              <a:custGeom>
                <a:avLst/>
                <a:gdLst>
                  <a:gd name="T0" fmla="*/ 98 w 371"/>
                  <a:gd name="T1" fmla="*/ 416 h 465"/>
                  <a:gd name="T2" fmla="*/ 98 w 371"/>
                  <a:gd name="T3" fmla="*/ 349 h 465"/>
                  <a:gd name="T4" fmla="*/ 103 w 371"/>
                  <a:gd name="T5" fmla="*/ 277 h 465"/>
                  <a:gd name="T6" fmla="*/ 125 w 371"/>
                  <a:gd name="T7" fmla="*/ 259 h 465"/>
                  <a:gd name="T8" fmla="*/ 143 w 371"/>
                  <a:gd name="T9" fmla="*/ 215 h 465"/>
                  <a:gd name="T10" fmla="*/ 161 w 371"/>
                  <a:gd name="T11" fmla="*/ 157 h 465"/>
                  <a:gd name="T12" fmla="*/ 188 w 371"/>
                  <a:gd name="T13" fmla="*/ 130 h 465"/>
                  <a:gd name="T14" fmla="*/ 210 w 371"/>
                  <a:gd name="T15" fmla="*/ 103 h 465"/>
                  <a:gd name="T16" fmla="*/ 228 w 371"/>
                  <a:gd name="T17" fmla="*/ 90 h 465"/>
                  <a:gd name="T18" fmla="*/ 272 w 371"/>
                  <a:gd name="T19" fmla="*/ 108 h 465"/>
                  <a:gd name="T20" fmla="*/ 308 w 371"/>
                  <a:gd name="T21" fmla="*/ 58 h 465"/>
                  <a:gd name="T22" fmla="*/ 339 w 371"/>
                  <a:gd name="T23" fmla="*/ 67 h 465"/>
                  <a:gd name="T24" fmla="*/ 344 w 371"/>
                  <a:gd name="T25" fmla="*/ 90 h 465"/>
                  <a:gd name="T26" fmla="*/ 362 w 371"/>
                  <a:gd name="T27" fmla="*/ 76 h 465"/>
                  <a:gd name="T28" fmla="*/ 357 w 371"/>
                  <a:gd name="T29" fmla="*/ 49 h 465"/>
                  <a:gd name="T30" fmla="*/ 348 w 371"/>
                  <a:gd name="T31" fmla="*/ 18 h 465"/>
                  <a:gd name="T32" fmla="*/ 335 w 371"/>
                  <a:gd name="T33" fmla="*/ 14 h 465"/>
                  <a:gd name="T34" fmla="*/ 335 w 371"/>
                  <a:gd name="T35" fmla="*/ 5 h 465"/>
                  <a:gd name="T36" fmla="*/ 308 w 371"/>
                  <a:gd name="T37" fmla="*/ 32 h 465"/>
                  <a:gd name="T38" fmla="*/ 281 w 371"/>
                  <a:gd name="T39" fmla="*/ 49 h 465"/>
                  <a:gd name="T40" fmla="*/ 272 w 371"/>
                  <a:gd name="T41" fmla="*/ 18 h 465"/>
                  <a:gd name="T42" fmla="*/ 259 w 371"/>
                  <a:gd name="T43" fmla="*/ 54 h 465"/>
                  <a:gd name="T44" fmla="*/ 228 w 371"/>
                  <a:gd name="T45" fmla="*/ 45 h 465"/>
                  <a:gd name="T46" fmla="*/ 214 w 371"/>
                  <a:gd name="T47" fmla="*/ 76 h 465"/>
                  <a:gd name="T48" fmla="*/ 179 w 371"/>
                  <a:gd name="T49" fmla="*/ 67 h 465"/>
                  <a:gd name="T50" fmla="*/ 179 w 371"/>
                  <a:gd name="T51" fmla="*/ 81 h 465"/>
                  <a:gd name="T52" fmla="*/ 161 w 371"/>
                  <a:gd name="T53" fmla="*/ 125 h 465"/>
                  <a:gd name="T54" fmla="*/ 147 w 371"/>
                  <a:gd name="T55" fmla="*/ 143 h 465"/>
                  <a:gd name="T56" fmla="*/ 147 w 371"/>
                  <a:gd name="T57" fmla="*/ 157 h 465"/>
                  <a:gd name="T58" fmla="*/ 134 w 371"/>
                  <a:gd name="T59" fmla="*/ 166 h 465"/>
                  <a:gd name="T60" fmla="*/ 121 w 371"/>
                  <a:gd name="T61" fmla="*/ 192 h 465"/>
                  <a:gd name="T62" fmla="*/ 98 w 371"/>
                  <a:gd name="T63" fmla="*/ 233 h 465"/>
                  <a:gd name="T64" fmla="*/ 89 w 371"/>
                  <a:gd name="T65" fmla="*/ 255 h 465"/>
                  <a:gd name="T66" fmla="*/ 76 w 371"/>
                  <a:gd name="T67" fmla="*/ 277 h 465"/>
                  <a:gd name="T68" fmla="*/ 67 w 371"/>
                  <a:gd name="T69" fmla="*/ 295 h 465"/>
                  <a:gd name="T70" fmla="*/ 40 w 371"/>
                  <a:gd name="T71" fmla="*/ 309 h 465"/>
                  <a:gd name="T72" fmla="*/ 4 w 371"/>
                  <a:gd name="T73" fmla="*/ 358 h 465"/>
                  <a:gd name="T74" fmla="*/ 13 w 371"/>
                  <a:gd name="T75" fmla="*/ 376 h 465"/>
                  <a:gd name="T76" fmla="*/ 0 w 371"/>
                  <a:gd name="T77" fmla="*/ 425 h 465"/>
                  <a:gd name="T78" fmla="*/ 27 w 371"/>
                  <a:gd name="T79" fmla="*/ 452 h 465"/>
                  <a:gd name="T80" fmla="*/ 49 w 371"/>
                  <a:gd name="T81" fmla="*/ 456 h 465"/>
                  <a:gd name="T82" fmla="*/ 71 w 371"/>
                  <a:gd name="T83" fmla="*/ 425 h 465"/>
                  <a:gd name="T84" fmla="*/ 89 w 371"/>
                  <a:gd name="T85" fmla="*/ 429 h 465"/>
                  <a:gd name="T86" fmla="*/ 125 w 371"/>
                  <a:gd name="T87" fmla="*/ 125 h 465"/>
                  <a:gd name="T88" fmla="*/ 134 w 371"/>
                  <a:gd name="T89" fmla="*/ 116 h 465"/>
                  <a:gd name="T90" fmla="*/ 112 w 371"/>
                  <a:gd name="T91" fmla="*/ 139 h 465"/>
                  <a:gd name="T92" fmla="*/ 161 w 371"/>
                  <a:gd name="T93" fmla="*/ 94 h 465"/>
                  <a:gd name="T94" fmla="*/ 156 w 371"/>
                  <a:gd name="T95" fmla="*/ 90 h 465"/>
                  <a:gd name="T96" fmla="*/ 138 w 371"/>
                  <a:gd name="T97" fmla="*/ 90 h 465"/>
                  <a:gd name="T98" fmla="*/ 138 w 371"/>
                  <a:gd name="T99" fmla="*/ 108 h 465"/>
                  <a:gd name="T100" fmla="*/ 192 w 371"/>
                  <a:gd name="T101" fmla="*/ 67 h 465"/>
                  <a:gd name="T102" fmla="*/ 205 w 371"/>
                  <a:gd name="T103" fmla="*/ 58 h 465"/>
                  <a:gd name="T104" fmla="*/ 192 w 371"/>
                  <a:gd name="T105" fmla="*/ 54 h 465"/>
                  <a:gd name="T106" fmla="*/ 192 w 371"/>
                  <a:gd name="T107" fmla="*/ 67 h 465"/>
                  <a:gd name="T108" fmla="*/ 255 w 371"/>
                  <a:gd name="T109" fmla="*/ 36 h 465"/>
                  <a:gd name="T110" fmla="*/ 264 w 371"/>
                  <a:gd name="T111" fmla="*/ 14 h 465"/>
                  <a:gd name="T112" fmla="*/ 241 w 371"/>
                  <a:gd name="T113" fmla="*/ 27 h 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71" h="465">
                    <a:moveTo>
                      <a:pt x="89" y="434"/>
                    </a:moveTo>
                    <a:lnTo>
                      <a:pt x="98" y="438"/>
                    </a:lnTo>
                    <a:lnTo>
                      <a:pt x="98" y="425"/>
                    </a:lnTo>
                    <a:lnTo>
                      <a:pt x="98" y="416"/>
                    </a:lnTo>
                    <a:lnTo>
                      <a:pt x="107" y="407"/>
                    </a:lnTo>
                    <a:lnTo>
                      <a:pt x="103" y="380"/>
                    </a:lnTo>
                    <a:lnTo>
                      <a:pt x="112" y="367"/>
                    </a:lnTo>
                    <a:lnTo>
                      <a:pt x="98" y="349"/>
                    </a:lnTo>
                    <a:lnTo>
                      <a:pt x="98" y="304"/>
                    </a:lnTo>
                    <a:lnTo>
                      <a:pt x="103" y="300"/>
                    </a:lnTo>
                    <a:lnTo>
                      <a:pt x="98" y="295"/>
                    </a:lnTo>
                    <a:lnTo>
                      <a:pt x="103" y="277"/>
                    </a:lnTo>
                    <a:lnTo>
                      <a:pt x="112" y="273"/>
                    </a:lnTo>
                    <a:lnTo>
                      <a:pt x="121" y="277"/>
                    </a:lnTo>
                    <a:lnTo>
                      <a:pt x="130" y="273"/>
                    </a:lnTo>
                    <a:lnTo>
                      <a:pt x="125" y="259"/>
                    </a:lnTo>
                    <a:lnTo>
                      <a:pt x="134" y="233"/>
                    </a:lnTo>
                    <a:lnTo>
                      <a:pt x="134" y="215"/>
                    </a:lnTo>
                    <a:lnTo>
                      <a:pt x="138" y="210"/>
                    </a:lnTo>
                    <a:lnTo>
                      <a:pt x="143" y="215"/>
                    </a:lnTo>
                    <a:lnTo>
                      <a:pt x="147" y="206"/>
                    </a:lnTo>
                    <a:lnTo>
                      <a:pt x="143" y="197"/>
                    </a:lnTo>
                    <a:lnTo>
                      <a:pt x="165" y="175"/>
                    </a:lnTo>
                    <a:lnTo>
                      <a:pt x="161" y="157"/>
                    </a:lnTo>
                    <a:lnTo>
                      <a:pt x="165" y="143"/>
                    </a:lnTo>
                    <a:lnTo>
                      <a:pt x="174" y="130"/>
                    </a:lnTo>
                    <a:lnTo>
                      <a:pt x="183" y="134"/>
                    </a:lnTo>
                    <a:lnTo>
                      <a:pt x="188" y="130"/>
                    </a:lnTo>
                    <a:lnTo>
                      <a:pt x="183" y="116"/>
                    </a:lnTo>
                    <a:lnTo>
                      <a:pt x="188" y="112"/>
                    </a:lnTo>
                    <a:lnTo>
                      <a:pt x="210" y="116"/>
                    </a:lnTo>
                    <a:lnTo>
                      <a:pt x="210" y="103"/>
                    </a:lnTo>
                    <a:lnTo>
                      <a:pt x="214" y="94"/>
                    </a:lnTo>
                    <a:lnTo>
                      <a:pt x="223" y="94"/>
                    </a:lnTo>
                    <a:lnTo>
                      <a:pt x="219" y="90"/>
                    </a:lnTo>
                    <a:lnTo>
                      <a:pt x="228" y="90"/>
                    </a:lnTo>
                    <a:lnTo>
                      <a:pt x="228" y="85"/>
                    </a:lnTo>
                    <a:lnTo>
                      <a:pt x="237" y="85"/>
                    </a:lnTo>
                    <a:lnTo>
                      <a:pt x="250" y="108"/>
                    </a:lnTo>
                    <a:lnTo>
                      <a:pt x="272" y="108"/>
                    </a:lnTo>
                    <a:lnTo>
                      <a:pt x="281" y="112"/>
                    </a:lnTo>
                    <a:lnTo>
                      <a:pt x="295" y="99"/>
                    </a:lnTo>
                    <a:lnTo>
                      <a:pt x="295" y="76"/>
                    </a:lnTo>
                    <a:lnTo>
                      <a:pt x="308" y="58"/>
                    </a:lnTo>
                    <a:lnTo>
                      <a:pt x="326" y="54"/>
                    </a:lnTo>
                    <a:lnTo>
                      <a:pt x="331" y="63"/>
                    </a:lnTo>
                    <a:lnTo>
                      <a:pt x="339" y="63"/>
                    </a:lnTo>
                    <a:lnTo>
                      <a:pt x="339" y="67"/>
                    </a:lnTo>
                    <a:lnTo>
                      <a:pt x="335" y="85"/>
                    </a:lnTo>
                    <a:lnTo>
                      <a:pt x="331" y="90"/>
                    </a:lnTo>
                    <a:lnTo>
                      <a:pt x="331" y="94"/>
                    </a:lnTo>
                    <a:lnTo>
                      <a:pt x="344" y="90"/>
                    </a:lnTo>
                    <a:lnTo>
                      <a:pt x="353" y="76"/>
                    </a:lnTo>
                    <a:lnTo>
                      <a:pt x="353" y="67"/>
                    </a:lnTo>
                    <a:lnTo>
                      <a:pt x="353" y="67"/>
                    </a:lnTo>
                    <a:lnTo>
                      <a:pt x="362" y="76"/>
                    </a:lnTo>
                    <a:lnTo>
                      <a:pt x="366" y="63"/>
                    </a:lnTo>
                    <a:lnTo>
                      <a:pt x="339" y="49"/>
                    </a:lnTo>
                    <a:lnTo>
                      <a:pt x="335" y="45"/>
                    </a:lnTo>
                    <a:lnTo>
                      <a:pt x="357" y="49"/>
                    </a:lnTo>
                    <a:lnTo>
                      <a:pt x="366" y="36"/>
                    </a:lnTo>
                    <a:lnTo>
                      <a:pt x="371" y="36"/>
                    </a:lnTo>
                    <a:lnTo>
                      <a:pt x="371" y="27"/>
                    </a:lnTo>
                    <a:lnTo>
                      <a:pt x="348" y="18"/>
                    </a:lnTo>
                    <a:lnTo>
                      <a:pt x="344" y="18"/>
                    </a:lnTo>
                    <a:lnTo>
                      <a:pt x="348" y="9"/>
                    </a:lnTo>
                    <a:lnTo>
                      <a:pt x="344" y="5"/>
                    </a:lnTo>
                    <a:lnTo>
                      <a:pt x="335" y="14"/>
                    </a:lnTo>
                    <a:lnTo>
                      <a:pt x="331" y="32"/>
                    </a:lnTo>
                    <a:lnTo>
                      <a:pt x="326" y="27"/>
                    </a:lnTo>
                    <a:lnTo>
                      <a:pt x="331" y="18"/>
                    </a:lnTo>
                    <a:lnTo>
                      <a:pt x="335" y="5"/>
                    </a:lnTo>
                    <a:lnTo>
                      <a:pt x="335" y="5"/>
                    </a:lnTo>
                    <a:lnTo>
                      <a:pt x="326" y="0"/>
                    </a:lnTo>
                    <a:lnTo>
                      <a:pt x="317" y="5"/>
                    </a:lnTo>
                    <a:lnTo>
                      <a:pt x="308" y="32"/>
                    </a:lnTo>
                    <a:lnTo>
                      <a:pt x="304" y="9"/>
                    </a:lnTo>
                    <a:lnTo>
                      <a:pt x="295" y="27"/>
                    </a:lnTo>
                    <a:lnTo>
                      <a:pt x="286" y="49"/>
                    </a:lnTo>
                    <a:lnTo>
                      <a:pt x="281" y="49"/>
                    </a:lnTo>
                    <a:lnTo>
                      <a:pt x="286" y="32"/>
                    </a:lnTo>
                    <a:lnTo>
                      <a:pt x="295" y="9"/>
                    </a:lnTo>
                    <a:lnTo>
                      <a:pt x="277" y="5"/>
                    </a:lnTo>
                    <a:lnTo>
                      <a:pt x="272" y="18"/>
                    </a:lnTo>
                    <a:lnTo>
                      <a:pt x="277" y="23"/>
                    </a:lnTo>
                    <a:lnTo>
                      <a:pt x="268" y="27"/>
                    </a:lnTo>
                    <a:lnTo>
                      <a:pt x="259" y="41"/>
                    </a:lnTo>
                    <a:lnTo>
                      <a:pt x="259" y="54"/>
                    </a:lnTo>
                    <a:lnTo>
                      <a:pt x="250" y="54"/>
                    </a:lnTo>
                    <a:lnTo>
                      <a:pt x="250" y="41"/>
                    </a:lnTo>
                    <a:lnTo>
                      <a:pt x="237" y="41"/>
                    </a:lnTo>
                    <a:lnTo>
                      <a:pt x="228" y="45"/>
                    </a:lnTo>
                    <a:lnTo>
                      <a:pt x="237" y="54"/>
                    </a:lnTo>
                    <a:lnTo>
                      <a:pt x="228" y="58"/>
                    </a:lnTo>
                    <a:lnTo>
                      <a:pt x="223" y="54"/>
                    </a:lnTo>
                    <a:lnTo>
                      <a:pt x="214" y="76"/>
                    </a:lnTo>
                    <a:lnTo>
                      <a:pt x="214" y="58"/>
                    </a:lnTo>
                    <a:lnTo>
                      <a:pt x="197" y="67"/>
                    </a:lnTo>
                    <a:lnTo>
                      <a:pt x="192" y="76"/>
                    </a:lnTo>
                    <a:lnTo>
                      <a:pt x="179" y="67"/>
                    </a:lnTo>
                    <a:lnTo>
                      <a:pt x="170" y="76"/>
                    </a:lnTo>
                    <a:lnTo>
                      <a:pt x="165" y="85"/>
                    </a:lnTo>
                    <a:lnTo>
                      <a:pt x="170" y="90"/>
                    </a:lnTo>
                    <a:lnTo>
                      <a:pt x="179" y="81"/>
                    </a:lnTo>
                    <a:lnTo>
                      <a:pt x="179" y="99"/>
                    </a:lnTo>
                    <a:lnTo>
                      <a:pt x="165" y="108"/>
                    </a:lnTo>
                    <a:lnTo>
                      <a:pt x="161" y="116"/>
                    </a:lnTo>
                    <a:lnTo>
                      <a:pt x="161" y="125"/>
                    </a:lnTo>
                    <a:lnTo>
                      <a:pt x="152" y="121"/>
                    </a:lnTo>
                    <a:lnTo>
                      <a:pt x="138" y="134"/>
                    </a:lnTo>
                    <a:lnTo>
                      <a:pt x="138" y="148"/>
                    </a:lnTo>
                    <a:lnTo>
                      <a:pt x="147" y="143"/>
                    </a:lnTo>
                    <a:lnTo>
                      <a:pt x="147" y="152"/>
                    </a:lnTo>
                    <a:lnTo>
                      <a:pt x="138" y="152"/>
                    </a:lnTo>
                    <a:lnTo>
                      <a:pt x="130" y="161"/>
                    </a:lnTo>
                    <a:lnTo>
                      <a:pt x="147" y="157"/>
                    </a:lnTo>
                    <a:lnTo>
                      <a:pt x="152" y="161"/>
                    </a:lnTo>
                    <a:lnTo>
                      <a:pt x="152" y="166"/>
                    </a:lnTo>
                    <a:lnTo>
                      <a:pt x="143" y="161"/>
                    </a:lnTo>
                    <a:lnTo>
                      <a:pt x="134" y="166"/>
                    </a:lnTo>
                    <a:lnTo>
                      <a:pt x="134" y="170"/>
                    </a:lnTo>
                    <a:lnTo>
                      <a:pt x="125" y="170"/>
                    </a:lnTo>
                    <a:lnTo>
                      <a:pt x="116" y="184"/>
                    </a:lnTo>
                    <a:lnTo>
                      <a:pt x="121" y="192"/>
                    </a:lnTo>
                    <a:lnTo>
                      <a:pt x="112" y="197"/>
                    </a:lnTo>
                    <a:lnTo>
                      <a:pt x="116" y="206"/>
                    </a:lnTo>
                    <a:lnTo>
                      <a:pt x="107" y="215"/>
                    </a:lnTo>
                    <a:lnTo>
                      <a:pt x="98" y="233"/>
                    </a:lnTo>
                    <a:lnTo>
                      <a:pt x="98" y="233"/>
                    </a:lnTo>
                    <a:lnTo>
                      <a:pt x="103" y="246"/>
                    </a:lnTo>
                    <a:lnTo>
                      <a:pt x="98" y="242"/>
                    </a:lnTo>
                    <a:lnTo>
                      <a:pt x="89" y="255"/>
                    </a:lnTo>
                    <a:lnTo>
                      <a:pt x="94" y="255"/>
                    </a:lnTo>
                    <a:lnTo>
                      <a:pt x="94" y="264"/>
                    </a:lnTo>
                    <a:lnTo>
                      <a:pt x="80" y="264"/>
                    </a:lnTo>
                    <a:lnTo>
                      <a:pt x="76" y="277"/>
                    </a:lnTo>
                    <a:lnTo>
                      <a:pt x="71" y="286"/>
                    </a:lnTo>
                    <a:lnTo>
                      <a:pt x="80" y="295"/>
                    </a:lnTo>
                    <a:lnTo>
                      <a:pt x="76" y="300"/>
                    </a:lnTo>
                    <a:lnTo>
                      <a:pt x="67" y="295"/>
                    </a:lnTo>
                    <a:lnTo>
                      <a:pt x="58" y="282"/>
                    </a:lnTo>
                    <a:lnTo>
                      <a:pt x="49" y="295"/>
                    </a:lnTo>
                    <a:lnTo>
                      <a:pt x="49" y="313"/>
                    </a:lnTo>
                    <a:lnTo>
                      <a:pt x="40" y="309"/>
                    </a:lnTo>
                    <a:lnTo>
                      <a:pt x="18" y="327"/>
                    </a:lnTo>
                    <a:lnTo>
                      <a:pt x="4" y="335"/>
                    </a:lnTo>
                    <a:lnTo>
                      <a:pt x="0" y="349"/>
                    </a:lnTo>
                    <a:lnTo>
                      <a:pt x="4" y="358"/>
                    </a:lnTo>
                    <a:lnTo>
                      <a:pt x="13" y="358"/>
                    </a:lnTo>
                    <a:lnTo>
                      <a:pt x="4" y="362"/>
                    </a:lnTo>
                    <a:lnTo>
                      <a:pt x="9" y="371"/>
                    </a:lnTo>
                    <a:lnTo>
                      <a:pt x="13" y="376"/>
                    </a:lnTo>
                    <a:lnTo>
                      <a:pt x="4" y="376"/>
                    </a:lnTo>
                    <a:lnTo>
                      <a:pt x="0" y="398"/>
                    </a:lnTo>
                    <a:lnTo>
                      <a:pt x="4" y="402"/>
                    </a:lnTo>
                    <a:lnTo>
                      <a:pt x="0" y="425"/>
                    </a:lnTo>
                    <a:lnTo>
                      <a:pt x="9" y="434"/>
                    </a:lnTo>
                    <a:lnTo>
                      <a:pt x="13" y="447"/>
                    </a:lnTo>
                    <a:lnTo>
                      <a:pt x="18" y="452"/>
                    </a:lnTo>
                    <a:lnTo>
                      <a:pt x="27" y="452"/>
                    </a:lnTo>
                    <a:lnTo>
                      <a:pt x="27" y="461"/>
                    </a:lnTo>
                    <a:lnTo>
                      <a:pt x="36" y="465"/>
                    </a:lnTo>
                    <a:lnTo>
                      <a:pt x="45" y="461"/>
                    </a:lnTo>
                    <a:lnTo>
                      <a:pt x="49" y="456"/>
                    </a:lnTo>
                    <a:lnTo>
                      <a:pt x="54" y="456"/>
                    </a:lnTo>
                    <a:lnTo>
                      <a:pt x="63" y="438"/>
                    </a:lnTo>
                    <a:lnTo>
                      <a:pt x="67" y="429"/>
                    </a:lnTo>
                    <a:lnTo>
                      <a:pt x="71" y="425"/>
                    </a:lnTo>
                    <a:lnTo>
                      <a:pt x="76" y="420"/>
                    </a:lnTo>
                    <a:lnTo>
                      <a:pt x="80" y="420"/>
                    </a:lnTo>
                    <a:lnTo>
                      <a:pt x="80" y="429"/>
                    </a:lnTo>
                    <a:lnTo>
                      <a:pt x="89" y="429"/>
                    </a:lnTo>
                    <a:lnTo>
                      <a:pt x="89" y="434"/>
                    </a:lnTo>
                    <a:close/>
                    <a:moveTo>
                      <a:pt x="112" y="139"/>
                    </a:moveTo>
                    <a:lnTo>
                      <a:pt x="121" y="130"/>
                    </a:lnTo>
                    <a:lnTo>
                      <a:pt x="125" y="125"/>
                    </a:lnTo>
                    <a:lnTo>
                      <a:pt x="130" y="125"/>
                    </a:lnTo>
                    <a:lnTo>
                      <a:pt x="138" y="121"/>
                    </a:lnTo>
                    <a:lnTo>
                      <a:pt x="138" y="112"/>
                    </a:lnTo>
                    <a:lnTo>
                      <a:pt x="134" y="116"/>
                    </a:lnTo>
                    <a:lnTo>
                      <a:pt x="130" y="121"/>
                    </a:lnTo>
                    <a:lnTo>
                      <a:pt x="125" y="121"/>
                    </a:lnTo>
                    <a:lnTo>
                      <a:pt x="112" y="130"/>
                    </a:lnTo>
                    <a:lnTo>
                      <a:pt x="112" y="139"/>
                    </a:lnTo>
                    <a:close/>
                    <a:moveTo>
                      <a:pt x="152" y="116"/>
                    </a:moveTo>
                    <a:lnTo>
                      <a:pt x="161" y="108"/>
                    </a:lnTo>
                    <a:lnTo>
                      <a:pt x="165" y="99"/>
                    </a:lnTo>
                    <a:lnTo>
                      <a:pt x="161" y="94"/>
                    </a:lnTo>
                    <a:lnTo>
                      <a:pt x="156" y="94"/>
                    </a:lnTo>
                    <a:lnTo>
                      <a:pt x="152" y="103"/>
                    </a:lnTo>
                    <a:lnTo>
                      <a:pt x="152" y="94"/>
                    </a:lnTo>
                    <a:lnTo>
                      <a:pt x="156" y="90"/>
                    </a:lnTo>
                    <a:lnTo>
                      <a:pt x="156" y="76"/>
                    </a:lnTo>
                    <a:lnTo>
                      <a:pt x="147" y="90"/>
                    </a:lnTo>
                    <a:lnTo>
                      <a:pt x="143" y="103"/>
                    </a:lnTo>
                    <a:lnTo>
                      <a:pt x="138" y="90"/>
                    </a:lnTo>
                    <a:lnTo>
                      <a:pt x="138" y="99"/>
                    </a:lnTo>
                    <a:lnTo>
                      <a:pt x="134" y="99"/>
                    </a:lnTo>
                    <a:lnTo>
                      <a:pt x="130" y="108"/>
                    </a:lnTo>
                    <a:lnTo>
                      <a:pt x="138" y="108"/>
                    </a:lnTo>
                    <a:lnTo>
                      <a:pt x="147" y="103"/>
                    </a:lnTo>
                    <a:lnTo>
                      <a:pt x="143" y="116"/>
                    </a:lnTo>
                    <a:lnTo>
                      <a:pt x="152" y="116"/>
                    </a:lnTo>
                    <a:close/>
                    <a:moveTo>
                      <a:pt x="192" y="67"/>
                    </a:moveTo>
                    <a:lnTo>
                      <a:pt x="197" y="63"/>
                    </a:lnTo>
                    <a:lnTo>
                      <a:pt x="201" y="58"/>
                    </a:lnTo>
                    <a:lnTo>
                      <a:pt x="205" y="58"/>
                    </a:lnTo>
                    <a:lnTo>
                      <a:pt x="205" y="58"/>
                    </a:lnTo>
                    <a:lnTo>
                      <a:pt x="210" y="49"/>
                    </a:lnTo>
                    <a:lnTo>
                      <a:pt x="205" y="54"/>
                    </a:lnTo>
                    <a:lnTo>
                      <a:pt x="201" y="49"/>
                    </a:lnTo>
                    <a:lnTo>
                      <a:pt x="192" y="54"/>
                    </a:lnTo>
                    <a:lnTo>
                      <a:pt x="192" y="63"/>
                    </a:lnTo>
                    <a:lnTo>
                      <a:pt x="188" y="58"/>
                    </a:lnTo>
                    <a:lnTo>
                      <a:pt x="183" y="67"/>
                    </a:lnTo>
                    <a:lnTo>
                      <a:pt x="192" y="67"/>
                    </a:lnTo>
                    <a:close/>
                    <a:moveTo>
                      <a:pt x="241" y="27"/>
                    </a:moveTo>
                    <a:lnTo>
                      <a:pt x="246" y="32"/>
                    </a:lnTo>
                    <a:lnTo>
                      <a:pt x="259" y="27"/>
                    </a:lnTo>
                    <a:lnTo>
                      <a:pt x="255" y="36"/>
                    </a:lnTo>
                    <a:lnTo>
                      <a:pt x="259" y="41"/>
                    </a:lnTo>
                    <a:lnTo>
                      <a:pt x="264" y="27"/>
                    </a:lnTo>
                    <a:lnTo>
                      <a:pt x="259" y="27"/>
                    </a:lnTo>
                    <a:lnTo>
                      <a:pt x="264" y="14"/>
                    </a:lnTo>
                    <a:lnTo>
                      <a:pt x="259" y="14"/>
                    </a:lnTo>
                    <a:lnTo>
                      <a:pt x="259" y="18"/>
                    </a:lnTo>
                    <a:lnTo>
                      <a:pt x="250" y="18"/>
                    </a:lnTo>
                    <a:lnTo>
                      <a:pt x="241" y="27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45" name="Freeform 29"/>
              <p:cNvSpPr>
                <a:spLocks/>
              </p:cNvSpPr>
              <p:nvPr/>
            </p:nvSpPr>
            <p:spPr bwMode="gray">
              <a:xfrm>
                <a:off x="3006" y="2398"/>
                <a:ext cx="402" cy="380"/>
              </a:xfrm>
              <a:custGeom>
                <a:avLst/>
                <a:gdLst>
                  <a:gd name="T0" fmla="*/ 13 w 147"/>
                  <a:gd name="T1" fmla="*/ 99 h 139"/>
                  <a:gd name="T2" fmla="*/ 13 w 147"/>
                  <a:gd name="T3" fmla="*/ 90 h 139"/>
                  <a:gd name="T4" fmla="*/ 9 w 147"/>
                  <a:gd name="T5" fmla="*/ 85 h 139"/>
                  <a:gd name="T6" fmla="*/ 9 w 147"/>
                  <a:gd name="T7" fmla="*/ 72 h 139"/>
                  <a:gd name="T8" fmla="*/ 9 w 147"/>
                  <a:gd name="T9" fmla="*/ 59 h 139"/>
                  <a:gd name="T10" fmla="*/ 0 w 147"/>
                  <a:gd name="T11" fmla="*/ 50 h 139"/>
                  <a:gd name="T12" fmla="*/ 0 w 147"/>
                  <a:gd name="T13" fmla="*/ 36 h 139"/>
                  <a:gd name="T14" fmla="*/ 0 w 147"/>
                  <a:gd name="T15" fmla="*/ 27 h 139"/>
                  <a:gd name="T16" fmla="*/ 5 w 147"/>
                  <a:gd name="T17" fmla="*/ 27 h 139"/>
                  <a:gd name="T18" fmla="*/ 9 w 147"/>
                  <a:gd name="T19" fmla="*/ 36 h 139"/>
                  <a:gd name="T20" fmla="*/ 9 w 147"/>
                  <a:gd name="T21" fmla="*/ 27 h 139"/>
                  <a:gd name="T22" fmla="*/ 13 w 147"/>
                  <a:gd name="T23" fmla="*/ 23 h 139"/>
                  <a:gd name="T24" fmla="*/ 22 w 147"/>
                  <a:gd name="T25" fmla="*/ 14 h 139"/>
                  <a:gd name="T26" fmla="*/ 36 w 147"/>
                  <a:gd name="T27" fmla="*/ 14 h 139"/>
                  <a:gd name="T28" fmla="*/ 40 w 147"/>
                  <a:gd name="T29" fmla="*/ 5 h 139"/>
                  <a:gd name="T30" fmla="*/ 49 w 147"/>
                  <a:gd name="T31" fmla="*/ 0 h 139"/>
                  <a:gd name="T32" fmla="*/ 58 w 147"/>
                  <a:gd name="T33" fmla="*/ 0 h 139"/>
                  <a:gd name="T34" fmla="*/ 72 w 147"/>
                  <a:gd name="T35" fmla="*/ 0 h 139"/>
                  <a:gd name="T36" fmla="*/ 72 w 147"/>
                  <a:gd name="T37" fmla="*/ 5 h 139"/>
                  <a:gd name="T38" fmla="*/ 63 w 147"/>
                  <a:gd name="T39" fmla="*/ 5 h 139"/>
                  <a:gd name="T40" fmla="*/ 67 w 147"/>
                  <a:gd name="T41" fmla="*/ 9 h 139"/>
                  <a:gd name="T42" fmla="*/ 76 w 147"/>
                  <a:gd name="T43" fmla="*/ 5 h 139"/>
                  <a:gd name="T44" fmla="*/ 76 w 147"/>
                  <a:gd name="T45" fmla="*/ 14 h 139"/>
                  <a:gd name="T46" fmla="*/ 80 w 147"/>
                  <a:gd name="T47" fmla="*/ 9 h 139"/>
                  <a:gd name="T48" fmla="*/ 89 w 147"/>
                  <a:gd name="T49" fmla="*/ 9 h 139"/>
                  <a:gd name="T50" fmla="*/ 107 w 147"/>
                  <a:gd name="T51" fmla="*/ 14 h 139"/>
                  <a:gd name="T52" fmla="*/ 130 w 147"/>
                  <a:gd name="T53" fmla="*/ 14 h 139"/>
                  <a:gd name="T54" fmla="*/ 139 w 147"/>
                  <a:gd name="T55" fmla="*/ 23 h 139"/>
                  <a:gd name="T56" fmla="*/ 139 w 147"/>
                  <a:gd name="T57" fmla="*/ 27 h 139"/>
                  <a:gd name="T58" fmla="*/ 143 w 147"/>
                  <a:gd name="T59" fmla="*/ 41 h 139"/>
                  <a:gd name="T60" fmla="*/ 147 w 147"/>
                  <a:gd name="T61" fmla="*/ 50 h 139"/>
                  <a:gd name="T62" fmla="*/ 147 w 147"/>
                  <a:gd name="T63" fmla="*/ 59 h 139"/>
                  <a:gd name="T64" fmla="*/ 134 w 147"/>
                  <a:gd name="T65" fmla="*/ 63 h 139"/>
                  <a:gd name="T66" fmla="*/ 139 w 147"/>
                  <a:gd name="T67" fmla="*/ 72 h 139"/>
                  <a:gd name="T68" fmla="*/ 139 w 147"/>
                  <a:gd name="T69" fmla="*/ 81 h 139"/>
                  <a:gd name="T70" fmla="*/ 139 w 147"/>
                  <a:gd name="T71" fmla="*/ 85 h 139"/>
                  <a:gd name="T72" fmla="*/ 143 w 147"/>
                  <a:gd name="T73" fmla="*/ 99 h 139"/>
                  <a:gd name="T74" fmla="*/ 143 w 147"/>
                  <a:gd name="T75" fmla="*/ 108 h 139"/>
                  <a:gd name="T76" fmla="*/ 147 w 147"/>
                  <a:gd name="T77" fmla="*/ 112 h 139"/>
                  <a:gd name="T78" fmla="*/ 143 w 147"/>
                  <a:gd name="T79" fmla="*/ 117 h 139"/>
                  <a:gd name="T80" fmla="*/ 134 w 147"/>
                  <a:gd name="T81" fmla="*/ 121 h 139"/>
                  <a:gd name="T82" fmla="*/ 125 w 147"/>
                  <a:gd name="T83" fmla="*/ 135 h 139"/>
                  <a:gd name="T84" fmla="*/ 130 w 147"/>
                  <a:gd name="T85" fmla="*/ 139 h 139"/>
                  <a:gd name="T86" fmla="*/ 125 w 147"/>
                  <a:gd name="T87" fmla="*/ 139 h 139"/>
                  <a:gd name="T88" fmla="*/ 112 w 147"/>
                  <a:gd name="T89" fmla="*/ 130 h 139"/>
                  <a:gd name="T90" fmla="*/ 98 w 147"/>
                  <a:gd name="T91" fmla="*/ 135 h 139"/>
                  <a:gd name="T92" fmla="*/ 94 w 147"/>
                  <a:gd name="T93" fmla="*/ 130 h 139"/>
                  <a:gd name="T94" fmla="*/ 89 w 147"/>
                  <a:gd name="T95" fmla="*/ 139 h 139"/>
                  <a:gd name="T96" fmla="*/ 80 w 147"/>
                  <a:gd name="T97" fmla="*/ 130 h 139"/>
                  <a:gd name="T98" fmla="*/ 72 w 147"/>
                  <a:gd name="T99" fmla="*/ 135 h 139"/>
                  <a:gd name="T100" fmla="*/ 67 w 147"/>
                  <a:gd name="T101" fmla="*/ 130 h 139"/>
                  <a:gd name="T102" fmla="*/ 67 w 147"/>
                  <a:gd name="T103" fmla="*/ 121 h 139"/>
                  <a:gd name="T104" fmla="*/ 58 w 147"/>
                  <a:gd name="T105" fmla="*/ 121 h 139"/>
                  <a:gd name="T106" fmla="*/ 54 w 147"/>
                  <a:gd name="T107" fmla="*/ 112 h 139"/>
                  <a:gd name="T108" fmla="*/ 45 w 147"/>
                  <a:gd name="T109" fmla="*/ 108 h 139"/>
                  <a:gd name="T110" fmla="*/ 40 w 147"/>
                  <a:gd name="T111" fmla="*/ 117 h 139"/>
                  <a:gd name="T112" fmla="*/ 31 w 147"/>
                  <a:gd name="T113" fmla="*/ 112 h 139"/>
                  <a:gd name="T114" fmla="*/ 36 w 147"/>
                  <a:gd name="T115" fmla="*/ 108 h 139"/>
                  <a:gd name="T116" fmla="*/ 27 w 147"/>
                  <a:gd name="T117" fmla="*/ 108 h 139"/>
                  <a:gd name="T118" fmla="*/ 22 w 147"/>
                  <a:gd name="T119" fmla="*/ 99 h 139"/>
                  <a:gd name="T120" fmla="*/ 18 w 147"/>
                  <a:gd name="T121" fmla="*/ 103 h 139"/>
                  <a:gd name="T122" fmla="*/ 13 w 147"/>
                  <a:gd name="T123" fmla="*/ 9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7" h="139">
                    <a:moveTo>
                      <a:pt x="13" y="99"/>
                    </a:moveTo>
                    <a:lnTo>
                      <a:pt x="13" y="90"/>
                    </a:lnTo>
                    <a:lnTo>
                      <a:pt x="9" y="85"/>
                    </a:lnTo>
                    <a:lnTo>
                      <a:pt x="9" y="72"/>
                    </a:lnTo>
                    <a:lnTo>
                      <a:pt x="9" y="59"/>
                    </a:lnTo>
                    <a:lnTo>
                      <a:pt x="0" y="50"/>
                    </a:lnTo>
                    <a:lnTo>
                      <a:pt x="0" y="36"/>
                    </a:lnTo>
                    <a:lnTo>
                      <a:pt x="0" y="27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9" y="27"/>
                    </a:lnTo>
                    <a:lnTo>
                      <a:pt x="13" y="23"/>
                    </a:lnTo>
                    <a:lnTo>
                      <a:pt x="22" y="14"/>
                    </a:lnTo>
                    <a:lnTo>
                      <a:pt x="36" y="14"/>
                    </a:lnTo>
                    <a:lnTo>
                      <a:pt x="40" y="5"/>
                    </a:lnTo>
                    <a:lnTo>
                      <a:pt x="49" y="0"/>
                    </a:lnTo>
                    <a:lnTo>
                      <a:pt x="58" y="0"/>
                    </a:lnTo>
                    <a:lnTo>
                      <a:pt x="72" y="0"/>
                    </a:lnTo>
                    <a:lnTo>
                      <a:pt x="72" y="5"/>
                    </a:lnTo>
                    <a:lnTo>
                      <a:pt x="63" y="5"/>
                    </a:lnTo>
                    <a:lnTo>
                      <a:pt x="67" y="9"/>
                    </a:lnTo>
                    <a:lnTo>
                      <a:pt x="76" y="5"/>
                    </a:lnTo>
                    <a:lnTo>
                      <a:pt x="76" y="14"/>
                    </a:lnTo>
                    <a:lnTo>
                      <a:pt x="80" y="9"/>
                    </a:lnTo>
                    <a:lnTo>
                      <a:pt x="89" y="9"/>
                    </a:lnTo>
                    <a:lnTo>
                      <a:pt x="107" y="14"/>
                    </a:lnTo>
                    <a:lnTo>
                      <a:pt x="130" y="14"/>
                    </a:lnTo>
                    <a:lnTo>
                      <a:pt x="139" y="23"/>
                    </a:lnTo>
                    <a:lnTo>
                      <a:pt x="139" y="27"/>
                    </a:lnTo>
                    <a:lnTo>
                      <a:pt x="143" y="41"/>
                    </a:lnTo>
                    <a:lnTo>
                      <a:pt x="147" y="50"/>
                    </a:lnTo>
                    <a:lnTo>
                      <a:pt x="147" y="59"/>
                    </a:lnTo>
                    <a:lnTo>
                      <a:pt x="134" y="63"/>
                    </a:lnTo>
                    <a:lnTo>
                      <a:pt x="139" y="72"/>
                    </a:lnTo>
                    <a:lnTo>
                      <a:pt x="139" y="81"/>
                    </a:lnTo>
                    <a:lnTo>
                      <a:pt x="139" y="85"/>
                    </a:lnTo>
                    <a:lnTo>
                      <a:pt x="143" y="99"/>
                    </a:lnTo>
                    <a:lnTo>
                      <a:pt x="143" y="108"/>
                    </a:lnTo>
                    <a:lnTo>
                      <a:pt x="147" y="112"/>
                    </a:lnTo>
                    <a:lnTo>
                      <a:pt x="143" y="117"/>
                    </a:lnTo>
                    <a:lnTo>
                      <a:pt x="134" y="121"/>
                    </a:lnTo>
                    <a:lnTo>
                      <a:pt x="125" y="135"/>
                    </a:lnTo>
                    <a:lnTo>
                      <a:pt x="130" y="139"/>
                    </a:lnTo>
                    <a:lnTo>
                      <a:pt x="125" y="139"/>
                    </a:lnTo>
                    <a:lnTo>
                      <a:pt x="112" y="130"/>
                    </a:lnTo>
                    <a:lnTo>
                      <a:pt x="98" y="135"/>
                    </a:lnTo>
                    <a:lnTo>
                      <a:pt x="94" y="130"/>
                    </a:lnTo>
                    <a:lnTo>
                      <a:pt x="89" y="139"/>
                    </a:lnTo>
                    <a:lnTo>
                      <a:pt x="80" y="130"/>
                    </a:lnTo>
                    <a:lnTo>
                      <a:pt x="72" y="135"/>
                    </a:lnTo>
                    <a:lnTo>
                      <a:pt x="67" y="130"/>
                    </a:lnTo>
                    <a:lnTo>
                      <a:pt x="67" y="121"/>
                    </a:lnTo>
                    <a:lnTo>
                      <a:pt x="58" y="121"/>
                    </a:lnTo>
                    <a:lnTo>
                      <a:pt x="54" y="112"/>
                    </a:lnTo>
                    <a:lnTo>
                      <a:pt x="45" y="108"/>
                    </a:lnTo>
                    <a:lnTo>
                      <a:pt x="40" y="117"/>
                    </a:lnTo>
                    <a:lnTo>
                      <a:pt x="31" y="112"/>
                    </a:lnTo>
                    <a:lnTo>
                      <a:pt x="36" y="108"/>
                    </a:lnTo>
                    <a:lnTo>
                      <a:pt x="27" y="108"/>
                    </a:lnTo>
                    <a:lnTo>
                      <a:pt x="22" y="99"/>
                    </a:lnTo>
                    <a:lnTo>
                      <a:pt x="18" y="103"/>
                    </a:lnTo>
                    <a:lnTo>
                      <a:pt x="13" y="9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46" name="Freeform 30"/>
              <p:cNvSpPr>
                <a:spLocks noEditPoints="1"/>
              </p:cNvSpPr>
              <p:nvPr/>
            </p:nvSpPr>
            <p:spPr bwMode="gray">
              <a:xfrm>
                <a:off x="1797" y="3169"/>
                <a:ext cx="440" cy="490"/>
              </a:xfrm>
              <a:custGeom>
                <a:avLst/>
                <a:gdLst>
                  <a:gd name="T0" fmla="*/ 0 w 161"/>
                  <a:gd name="T1" fmla="*/ 174 h 179"/>
                  <a:gd name="T2" fmla="*/ 0 w 161"/>
                  <a:gd name="T3" fmla="*/ 179 h 179"/>
                  <a:gd name="T4" fmla="*/ 9 w 161"/>
                  <a:gd name="T5" fmla="*/ 179 h 179"/>
                  <a:gd name="T6" fmla="*/ 9 w 161"/>
                  <a:gd name="T7" fmla="*/ 174 h 179"/>
                  <a:gd name="T8" fmla="*/ 0 w 161"/>
                  <a:gd name="T9" fmla="*/ 174 h 179"/>
                  <a:gd name="T10" fmla="*/ 120 w 161"/>
                  <a:gd name="T11" fmla="*/ 4 h 179"/>
                  <a:gd name="T12" fmla="*/ 120 w 161"/>
                  <a:gd name="T13" fmla="*/ 13 h 179"/>
                  <a:gd name="T14" fmla="*/ 120 w 161"/>
                  <a:gd name="T15" fmla="*/ 27 h 179"/>
                  <a:gd name="T16" fmla="*/ 120 w 161"/>
                  <a:gd name="T17" fmla="*/ 31 h 179"/>
                  <a:gd name="T18" fmla="*/ 120 w 161"/>
                  <a:gd name="T19" fmla="*/ 31 h 179"/>
                  <a:gd name="T20" fmla="*/ 120 w 161"/>
                  <a:gd name="T21" fmla="*/ 40 h 179"/>
                  <a:gd name="T22" fmla="*/ 116 w 161"/>
                  <a:gd name="T23" fmla="*/ 54 h 179"/>
                  <a:gd name="T24" fmla="*/ 112 w 161"/>
                  <a:gd name="T25" fmla="*/ 58 h 179"/>
                  <a:gd name="T26" fmla="*/ 112 w 161"/>
                  <a:gd name="T27" fmla="*/ 67 h 179"/>
                  <a:gd name="T28" fmla="*/ 116 w 161"/>
                  <a:gd name="T29" fmla="*/ 72 h 179"/>
                  <a:gd name="T30" fmla="*/ 116 w 161"/>
                  <a:gd name="T31" fmla="*/ 72 h 179"/>
                  <a:gd name="T32" fmla="*/ 116 w 161"/>
                  <a:gd name="T33" fmla="*/ 76 h 179"/>
                  <a:gd name="T34" fmla="*/ 120 w 161"/>
                  <a:gd name="T35" fmla="*/ 80 h 179"/>
                  <a:gd name="T36" fmla="*/ 120 w 161"/>
                  <a:gd name="T37" fmla="*/ 89 h 179"/>
                  <a:gd name="T38" fmla="*/ 120 w 161"/>
                  <a:gd name="T39" fmla="*/ 98 h 179"/>
                  <a:gd name="T40" fmla="*/ 120 w 161"/>
                  <a:gd name="T41" fmla="*/ 98 h 179"/>
                  <a:gd name="T42" fmla="*/ 125 w 161"/>
                  <a:gd name="T43" fmla="*/ 94 h 179"/>
                  <a:gd name="T44" fmla="*/ 134 w 161"/>
                  <a:gd name="T45" fmla="*/ 98 h 179"/>
                  <a:gd name="T46" fmla="*/ 138 w 161"/>
                  <a:gd name="T47" fmla="*/ 98 h 179"/>
                  <a:gd name="T48" fmla="*/ 143 w 161"/>
                  <a:gd name="T49" fmla="*/ 94 h 179"/>
                  <a:gd name="T50" fmla="*/ 143 w 161"/>
                  <a:gd name="T51" fmla="*/ 85 h 179"/>
                  <a:gd name="T52" fmla="*/ 147 w 161"/>
                  <a:gd name="T53" fmla="*/ 85 h 179"/>
                  <a:gd name="T54" fmla="*/ 143 w 161"/>
                  <a:gd name="T55" fmla="*/ 76 h 179"/>
                  <a:gd name="T56" fmla="*/ 147 w 161"/>
                  <a:gd name="T57" fmla="*/ 67 h 179"/>
                  <a:gd name="T58" fmla="*/ 138 w 161"/>
                  <a:gd name="T59" fmla="*/ 54 h 179"/>
                  <a:gd name="T60" fmla="*/ 147 w 161"/>
                  <a:gd name="T61" fmla="*/ 49 h 179"/>
                  <a:gd name="T62" fmla="*/ 147 w 161"/>
                  <a:gd name="T63" fmla="*/ 40 h 179"/>
                  <a:gd name="T64" fmla="*/ 147 w 161"/>
                  <a:gd name="T65" fmla="*/ 36 h 179"/>
                  <a:gd name="T66" fmla="*/ 152 w 161"/>
                  <a:gd name="T67" fmla="*/ 22 h 179"/>
                  <a:gd name="T68" fmla="*/ 161 w 161"/>
                  <a:gd name="T69" fmla="*/ 13 h 179"/>
                  <a:gd name="T70" fmla="*/ 152 w 161"/>
                  <a:gd name="T71" fmla="*/ 9 h 179"/>
                  <a:gd name="T72" fmla="*/ 134 w 161"/>
                  <a:gd name="T73" fmla="*/ 9 h 179"/>
                  <a:gd name="T74" fmla="*/ 129 w 161"/>
                  <a:gd name="T75" fmla="*/ 0 h 179"/>
                  <a:gd name="T76" fmla="*/ 120 w 161"/>
                  <a:gd name="T77" fmla="*/ 4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61" h="179">
                    <a:moveTo>
                      <a:pt x="0" y="174"/>
                    </a:moveTo>
                    <a:lnTo>
                      <a:pt x="0" y="179"/>
                    </a:lnTo>
                    <a:lnTo>
                      <a:pt x="9" y="179"/>
                    </a:lnTo>
                    <a:lnTo>
                      <a:pt x="9" y="174"/>
                    </a:lnTo>
                    <a:lnTo>
                      <a:pt x="0" y="174"/>
                    </a:lnTo>
                    <a:close/>
                    <a:moveTo>
                      <a:pt x="120" y="4"/>
                    </a:moveTo>
                    <a:lnTo>
                      <a:pt x="120" y="13"/>
                    </a:lnTo>
                    <a:lnTo>
                      <a:pt x="120" y="27"/>
                    </a:lnTo>
                    <a:lnTo>
                      <a:pt x="120" y="31"/>
                    </a:lnTo>
                    <a:lnTo>
                      <a:pt x="120" y="31"/>
                    </a:lnTo>
                    <a:lnTo>
                      <a:pt x="120" y="40"/>
                    </a:lnTo>
                    <a:lnTo>
                      <a:pt x="116" y="54"/>
                    </a:lnTo>
                    <a:lnTo>
                      <a:pt x="112" y="58"/>
                    </a:lnTo>
                    <a:lnTo>
                      <a:pt x="112" y="67"/>
                    </a:lnTo>
                    <a:lnTo>
                      <a:pt x="116" y="72"/>
                    </a:lnTo>
                    <a:lnTo>
                      <a:pt x="116" y="72"/>
                    </a:lnTo>
                    <a:lnTo>
                      <a:pt x="116" y="76"/>
                    </a:lnTo>
                    <a:lnTo>
                      <a:pt x="120" y="80"/>
                    </a:lnTo>
                    <a:lnTo>
                      <a:pt x="120" y="89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25" y="94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43" y="94"/>
                    </a:lnTo>
                    <a:lnTo>
                      <a:pt x="143" y="85"/>
                    </a:lnTo>
                    <a:lnTo>
                      <a:pt x="147" y="85"/>
                    </a:lnTo>
                    <a:lnTo>
                      <a:pt x="143" y="76"/>
                    </a:lnTo>
                    <a:lnTo>
                      <a:pt x="147" y="67"/>
                    </a:lnTo>
                    <a:lnTo>
                      <a:pt x="138" y="54"/>
                    </a:lnTo>
                    <a:lnTo>
                      <a:pt x="147" y="49"/>
                    </a:lnTo>
                    <a:lnTo>
                      <a:pt x="147" y="40"/>
                    </a:lnTo>
                    <a:lnTo>
                      <a:pt x="147" y="36"/>
                    </a:lnTo>
                    <a:lnTo>
                      <a:pt x="152" y="22"/>
                    </a:lnTo>
                    <a:lnTo>
                      <a:pt x="161" y="13"/>
                    </a:lnTo>
                    <a:lnTo>
                      <a:pt x="152" y="9"/>
                    </a:lnTo>
                    <a:lnTo>
                      <a:pt x="134" y="9"/>
                    </a:lnTo>
                    <a:lnTo>
                      <a:pt x="129" y="0"/>
                    </a:lnTo>
                    <a:lnTo>
                      <a:pt x="120" y="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47" name="Freeform 31"/>
              <p:cNvSpPr>
                <a:spLocks/>
              </p:cNvSpPr>
              <p:nvPr/>
            </p:nvSpPr>
            <p:spPr bwMode="gray">
              <a:xfrm>
                <a:off x="3263" y="2827"/>
                <a:ext cx="353" cy="269"/>
              </a:xfrm>
              <a:custGeom>
                <a:avLst/>
                <a:gdLst>
                  <a:gd name="T0" fmla="*/ 0 w 129"/>
                  <a:gd name="T1" fmla="*/ 45 h 98"/>
                  <a:gd name="T2" fmla="*/ 4 w 129"/>
                  <a:gd name="T3" fmla="*/ 54 h 98"/>
                  <a:gd name="T4" fmla="*/ 4 w 129"/>
                  <a:gd name="T5" fmla="*/ 62 h 98"/>
                  <a:gd name="T6" fmla="*/ 13 w 129"/>
                  <a:gd name="T7" fmla="*/ 71 h 98"/>
                  <a:gd name="T8" fmla="*/ 22 w 129"/>
                  <a:gd name="T9" fmla="*/ 76 h 98"/>
                  <a:gd name="T10" fmla="*/ 27 w 129"/>
                  <a:gd name="T11" fmla="*/ 76 h 98"/>
                  <a:gd name="T12" fmla="*/ 27 w 129"/>
                  <a:gd name="T13" fmla="*/ 80 h 98"/>
                  <a:gd name="T14" fmla="*/ 31 w 129"/>
                  <a:gd name="T15" fmla="*/ 80 h 98"/>
                  <a:gd name="T16" fmla="*/ 36 w 129"/>
                  <a:gd name="T17" fmla="*/ 80 h 98"/>
                  <a:gd name="T18" fmla="*/ 36 w 129"/>
                  <a:gd name="T19" fmla="*/ 89 h 98"/>
                  <a:gd name="T20" fmla="*/ 49 w 129"/>
                  <a:gd name="T21" fmla="*/ 94 h 98"/>
                  <a:gd name="T22" fmla="*/ 62 w 129"/>
                  <a:gd name="T23" fmla="*/ 98 h 98"/>
                  <a:gd name="T24" fmla="*/ 76 w 129"/>
                  <a:gd name="T25" fmla="*/ 98 h 98"/>
                  <a:gd name="T26" fmla="*/ 85 w 129"/>
                  <a:gd name="T27" fmla="*/ 89 h 98"/>
                  <a:gd name="T28" fmla="*/ 98 w 129"/>
                  <a:gd name="T29" fmla="*/ 85 h 98"/>
                  <a:gd name="T30" fmla="*/ 116 w 129"/>
                  <a:gd name="T31" fmla="*/ 94 h 98"/>
                  <a:gd name="T32" fmla="*/ 116 w 129"/>
                  <a:gd name="T33" fmla="*/ 85 h 98"/>
                  <a:gd name="T34" fmla="*/ 120 w 129"/>
                  <a:gd name="T35" fmla="*/ 80 h 98"/>
                  <a:gd name="T36" fmla="*/ 120 w 129"/>
                  <a:gd name="T37" fmla="*/ 67 h 98"/>
                  <a:gd name="T38" fmla="*/ 120 w 129"/>
                  <a:gd name="T39" fmla="*/ 71 h 98"/>
                  <a:gd name="T40" fmla="*/ 129 w 129"/>
                  <a:gd name="T41" fmla="*/ 71 h 98"/>
                  <a:gd name="T42" fmla="*/ 129 w 129"/>
                  <a:gd name="T43" fmla="*/ 62 h 98"/>
                  <a:gd name="T44" fmla="*/ 125 w 129"/>
                  <a:gd name="T45" fmla="*/ 62 h 98"/>
                  <a:gd name="T46" fmla="*/ 116 w 129"/>
                  <a:gd name="T47" fmla="*/ 67 h 98"/>
                  <a:gd name="T48" fmla="*/ 112 w 129"/>
                  <a:gd name="T49" fmla="*/ 62 h 98"/>
                  <a:gd name="T50" fmla="*/ 107 w 129"/>
                  <a:gd name="T51" fmla="*/ 58 h 98"/>
                  <a:gd name="T52" fmla="*/ 112 w 129"/>
                  <a:gd name="T53" fmla="*/ 40 h 98"/>
                  <a:gd name="T54" fmla="*/ 107 w 129"/>
                  <a:gd name="T55" fmla="*/ 27 h 98"/>
                  <a:gd name="T56" fmla="*/ 103 w 129"/>
                  <a:gd name="T57" fmla="*/ 18 h 98"/>
                  <a:gd name="T58" fmla="*/ 89 w 129"/>
                  <a:gd name="T59" fmla="*/ 0 h 98"/>
                  <a:gd name="T60" fmla="*/ 67 w 129"/>
                  <a:gd name="T61" fmla="*/ 9 h 98"/>
                  <a:gd name="T62" fmla="*/ 40 w 129"/>
                  <a:gd name="T63" fmla="*/ 4 h 98"/>
                  <a:gd name="T64" fmla="*/ 36 w 129"/>
                  <a:gd name="T65" fmla="*/ 9 h 98"/>
                  <a:gd name="T66" fmla="*/ 36 w 129"/>
                  <a:gd name="T67" fmla="*/ 13 h 98"/>
                  <a:gd name="T68" fmla="*/ 22 w 129"/>
                  <a:gd name="T69" fmla="*/ 18 h 98"/>
                  <a:gd name="T70" fmla="*/ 13 w 129"/>
                  <a:gd name="T71" fmla="*/ 36 h 98"/>
                  <a:gd name="T72" fmla="*/ 13 w 129"/>
                  <a:gd name="T73" fmla="*/ 40 h 98"/>
                  <a:gd name="T74" fmla="*/ 4 w 129"/>
                  <a:gd name="T75" fmla="*/ 45 h 98"/>
                  <a:gd name="T76" fmla="*/ 0 w 129"/>
                  <a:gd name="T77" fmla="*/ 45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9" h="98">
                    <a:moveTo>
                      <a:pt x="0" y="45"/>
                    </a:moveTo>
                    <a:lnTo>
                      <a:pt x="4" y="54"/>
                    </a:lnTo>
                    <a:lnTo>
                      <a:pt x="4" y="62"/>
                    </a:lnTo>
                    <a:lnTo>
                      <a:pt x="13" y="71"/>
                    </a:lnTo>
                    <a:lnTo>
                      <a:pt x="22" y="76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31" y="80"/>
                    </a:lnTo>
                    <a:lnTo>
                      <a:pt x="36" y="80"/>
                    </a:lnTo>
                    <a:lnTo>
                      <a:pt x="36" y="89"/>
                    </a:lnTo>
                    <a:lnTo>
                      <a:pt x="49" y="94"/>
                    </a:lnTo>
                    <a:lnTo>
                      <a:pt x="62" y="98"/>
                    </a:lnTo>
                    <a:lnTo>
                      <a:pt x="76" y="98"/>
                    </a:lnTo>
                    <a:lnTo>
                      <a:pt x="85" y="89"/>
                    </a:lnTo>
                    <a:lnTo>
                      <a:pt x="98" y="85"/>
                    </a:lnTo>
                    <a:lnTo>
                      <a:pt x="116" y="94"/>
                    </a:lnTo>
                    <a:lnTo>
                      <a:pt x="116" y="85"/>
                    </a:lnTo>
                    <a:lnTo>
                      <a:pt x="120" y="80"/>
                    </a:lnTo>
                    <a:lnTo>
                      <a:pt x="120" y="67"/>
                    </a:lnTo>
                    <a:lnTo>
                      <a:pt x="120" y="71"/>
                    </a:lnTo>
                    <a:lnTo>
                      <a:pt x="129" y="71"/>
                    </a:lnTo>
                    <a:lnTo>
                      <a:pt x="129" y="62"/>
                    </a:lnTo>
                    <a:lnTo>
                      <a:pt x="125" y="62"/>
                    </a:lnTo>
                    <a:lnTo>
                      <a:pt x="116" y="67"/>
                    </a:lnTo>
                    <a:lnTo>
                      <a:pt x="112" y="62"/>
                    </a:lnTo>
                    <a:lnTo>
                      <a:pt x="107" y="58"/>
                    </a:lnTo>
                    <a:lnTo>
                      <a:pt x="112" y="40"/>
                    </a:lnTo>
                    <a:lnTo>
                      <a:pt x="107" y="27"/>
                    </a:lnTo>
                    <a:lnTo>
                      <a:pt x="103" y="18"/>
                    </a:lnTo>
                    <a:lnTo>
                      <a:pt x="89" y="0"/>
                    </a:lnTo>
                    <a:lnTo>
                      <a:pt x="67" y="9"/>
                    </a:lnTo>
                    <a:lnTo>
                      <a:pt x="40" y="4"/>
                    </a:lnTo>
                    <a:lnTo>
                      <a:pt x="36" y="9"/>
                    </a:lnTo>
                    <a:lnTo>
                      <a:pt x="36" y="13"/>
                    </a:lnTo>
                    <a:lnTo>
                      <a:pt x="22" y="18"/>
                    </a:lnTo>
                    <a:lnTo>
                      <a:pt x="13" y="36"/>
                    </a:lnTo>
                    <a:lnTo>
                      <a:pt x="13" y="40"/>
                    </a:lnTo>
                    <a:lnTo>
                      <a:pt x="4" y="45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48" name="Freeform 32"/>
              <p:cNvSpPr>
                <a:spLocks/>
              </p:cNvSpPr>
              <p:nvPr/>
            </p:nvSpPr>
            <p:spPr bwMode="gray">
              <a:xfrm>
                <a:off x="3115" y="2754"/>
                <a:ext cx="233" cy="84"/>
              </a:xfrm>
              <a:custGeom>
                <a:avLst/>
                <a:gdLst>
                  <a:gd name="T0" fmla="*/ 0 w 85"/>
                  <a:gd name="T1" fmla="*/ 22 h 31"/>
                  <a:gd name="T2" fmla="*/ 5 w 85"/>
                  <a:gd name="T3" fmla="*/ 18 h 31"/>
                  <a:gd name="T4" fmla="*/ 14 w 85"/>
                  <a:gd name="T5" fmla="*/ 18 h 31"/>
                  <a:gd name="T6" fmla="*/ 18 w 85"/>
                  <a:gd name="T7" fmla="*/ 13 h 31"/>
                  <a:gd name="T8" fmla="*/ 23 w 85"/>
                  <a:gd name="T9" fmla="*/ 5 h 31"/>
                  <a:gd name="T10" fmla="*/ 27 w 85"/>
                  <a:gd name="T11" fmla="*/ 0 h 31"/>
                  <a:gd name="T12" fmla="*/ 32 w 85"/>
                  <a:gd name="T13" fmla="*/ 5 h 31"/>
                  <a:gd name="T14" fmla="*/ 40 w 85"/>
                  <a:gd name="T15" fmla="*/ 0 h 31"/>
                  <a:gd name="T16" fmla="*/ 49 w 85"/>
                  <a:gd name="T17" fmla="*/ 9 h 31"/>
                  <a:gd name="T18" fmla="*/ 54 w 85"/>
                  <a:gd name="T19" fmla="*/ 0 h 31"/>
                  <a:gd name="T20" fmla="*/ 58 w 85"/>
                  <a:gd name="T21" fmla="*/ 5 h 31"/>
                  <a:gd name="T22" fmla="*/ 72 w 85"/>
                  <a:gd name="T23" fmla="*/ 0 h 31"/>
                  <a:gd name="T24" fmla="*/ 85 w 85"/>
                  <a:gd name="T25" fmla="*/ 9 h 31"/>
                  <a:gd name="T26" fmla="*/ 81 w 85"/>
                  <a:gd name="T27" fmla="*/ 22 h 31"/>
                  <a:gd name="T28" fmla="*/ 72 w 85"/>
                  <a:gd name="T29" fmla="*/ 22 h 31"/>
                  <a:gd name="T30" fmla="*/ 67 w 85"/>
                  <a:gd name="T31" fmla="*/ 18 h 31"/>
                  <a:gd name="T32" fmla="*/ 63 w 85"/>
                  <a:gd name="T33" fmla="*/ 22 h 31"/>
                  <a:gd name="T34" fmla="*/ 54 w 85"/>
                  <a:gd name="T35" fmla="*/ 18 h 31"/>
                  <a:gd name="T36" fmla="*/ 45 w 85"/>
                  <a:gd name="T37" fmla="*/ 27 h 31"/>
                  <a:gd name="T38" fmla="*/ 36 w 85"/>
                  <a:gd name="T39" fmla="*/ 27 h 31"/>
                  <a:gd name="T40" fmla="*/ 32 w 85"/>
                  <a:gd name="T41" fmla="*/ 31 h 31"/>
                  <a:gd name="T42" fmla="*/ 14 w 85"/>
                  <a:gd name="T43" fmla="*/ 31 h 31"/>
                  <a:gd name="T44" fmla="*/ 9 w 85"/>
                  <a:gd name="T45" fmla="*/ 27 h 31"/>
                  <a:gd name="T46" fmla="*/ 9 w 85"/>
                  <a:gd name="T47" fmla="*/ 22 h 31"/>
                  <a:gd name="T48" fmla="*/ 5 w 85"/>
                  <a:gd name="T49" fmla="*/ 22 h 31"/>
                  <a:gd name="T50" fmla="*/ 0 w 85"/>
                  <a:gd name="T51" fmla="*/ 2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5" h="31">
                    <a:moveTo>
                      <a:pt x="0" y="22"/>
                    </a:moveTo>
                    <a:lnTo>
                      <a:pt x="5" y="18"/>
                    </a:lnTo>
                    <a:lnTo>
                      <a:pt x="14" y="18"/>
                    </a:lnTo>
                    <a:lnTo>
                      <a:pt x="18" y="13"/>
                    </a:lnTo>
                    <a:lnTo>
                      <a:pt x="23" y="5"/>
                    </a:lnTo>
                    <a:lnTo>
                      <a:pt x="27" y="0"/>
                    </a:lnTo>
                    <a:lnTo>
                      <a:pt x="32" y="5"/>
                    </a:lnTo>
                    <a:lnTo>
                      <a:pt x="40" y="0"/>
                    </a:lnTo>
                    <a:lnTo>
                      <a:pt x="49" y="9"/>
                    </a:lnTo>
                    <a:lnTo>
                      <a:pt x="54" y="0"/>
                    </a:lnTo>
                    <a:lnTo>
                      <a:pt x="58" y="5"/>
                    </a:lnTo>
                    <a:lnTo>
                      <a:pt x="72" y="0"/>
                    </a:lnTo>
                    <a:lnTo>
                      <a:pt x="85" y="9"/>
                    </a:lnTo>
                    <a:lnTo>
                      <a:pt x="81" y="22"/>
                    </a:lnTo>
                    <a:lnTo>
                      <a:pt x="72" y="22"/>
                    </a:lnTo>
                    <a:lnTo>
                      <a:pt x="67" y="18"/>
                    </a:lnTo>
                    <a:lnTo>
                      <a:pt x="63" y="22"/>
                    </a:lnTo>
                    <a:lnTo>
                      <a:pt x="54" y="18"/>
                    </a:lnTo>
                    <a:lnTo>
                      <a:pt x="45" y="27"/>
                    </a:lnTo>
                    <a:lnTo>
                      <a:pt x="36" y="27"/>
                    </a:lnTo>
                    <a:lnTo>
                      <a:pt x="32" y="31"/>
                    </a:lnTo>
                    <a:lnTo>
                      <a:pt x="14" y="31"/>
                    </a:lnTo>
                    <a:lnTo>
                      <a:pt x="9" y="27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49" name="Freeform 33"/>
              <p:cNvSpPr>
                <a:spLocks/>
              </p:cNvSpPr>
              <p:nvPr/>
            </p:nvSpPr>
            <p:spPr bwMode="gray">
              <a:xfrm>
                <a:off x="2981" y="2912"/>
                <a:ext cx="124" cy="74"/>
              </a:xfrm>
              <a:custGeom>
                <a:avLst/>
                <a:gdLst>
                  <a:gd name="T0" fmla="*/ 5 w 45"/>
                  <a:gd name="T1" fmla="*/ 27 h 27"/>
                  <a:gd name="T2" fmla="*/ 5 w 45"/>
                  <a:gd name="T3" fmla="*/ 27 h 27"/>
                  <a:gd name="T4" fmla="*/ 5 w 45"/>
                  <a:gd name="T5" fmla="*/ 27 h 27"/>
                  <a:gd name="T6" fmla="*/ 14 w 45"/>
                  <a:gd name="T7" fmla="*/ 27 h 27"/>
                  <a:gd name="T8" fmla="*/ 14 w 45"/>
                  <a:gd name="T9" fmla="*/ 27 h 27"/>
                  <a:gd name="T10" fmla="*/ 18 w 45"/>
                  <a:gd name="T11" fmla="*/ 23 h 27"/>
                  <a:gd name="T12" fmla="*/ 22 w 45"/>
                  <a:gd name="T13" fmla="*/ 27 h 27"/>
                  <a:gd name="T14" fmla="*/ 27 w 45"/>
                  <a:gd name="T15" fmla="*/ 27 h 27"/>
                  <a:gd name="T16" fmla="*/ 27 w 45"/>
                  <a:gd name="T17" fmla="*/ 27 h 27"/>
                  <a:gd name="T18" fmla="*/ 27 w 45"/>
                  <a:gd name="T19" fmla="*/ 23 h 27"/>
                  <a:gd name="T20" fmla="*/ 31 w 45"/>
                  <a:gd name="T21" fmla="*/ 18 h 27"/>
                  <a:gd name="T22" fmla="*/ 31 w 45"/>
                  <a:gd name="T23" fmla="*/ 18 h 27"/>
                  <a:gd name="T24" fmla="*/ 31 w 45"/>
                  <a:gd name="T25" fmla="*/ 14 h 27"/>
                  <a:gd name="T26" fmla="*/ 31 w 45"/>
                  <a:gd name="T27" fmla="*/ 14 h 27"/>
                  <a:gd name="T28" fmla="*/ 36 w 45"/>
                  <a:gd name="T29" fmla="*/ 14 h 27"/>
                  <a:gd name="T30" fmla="*/ 36 w 45"/>
                  <a:gd name="T31" fmla="*/ 9 h 27"/>
                  <a:gd name="T32" fmla="*/ 40 w 45"/>
                  <a:gd name="T33" fmla="*/ 9 h 27"/>
                  <a:gd name="T34" fmla="*/ 40 w 45"/>
                  <a:gd name="T35" fmla="*/ 9 h 27"/>
                  <a:gd name="T36" fmla="*/ 40 w 45"/>
                  <a:gd name="T37" fmla="*/ 5 h 27"/>
                  <a:gd name="T38" fmla="*/ 45 w 45"/>
                  <a:gd name="T39" fmla="*/ 9 h 27"/>
                  <a:gd name="T40" fmla="*/ 45 w 45"/>
                  <a:gd name="T41" fmla="*/ 9 h 27"/>
                  <a:gd name="T42" fmla="*/ 40 w 45"/>
                  <a:gd name="T43" fmla="*/ 0 h 27"/>
                  <a:gd name="T44" fmla="*/ 27 w 45"/>
                  <a:gd name="T45" fmla="*/ 5 h 27"/>
                  <a:gd name="T46" fmla="*/ 18 w 45"/>
                  <a:gd name="T47" fmla="*/ 9 h 27"/>
                  <a:gd name="T48" fmla="*/ 5 w 45"/>
                  <a:gd name="T49" fmla="*/ 9 h 27"/>
                  <a:gd name="T50" fmla="*/ 0 w 45"/>
                  <a:gd name="T51" fmla="*/ 9 h 27"/>
                  <a:gd name="T52" fmla="*/ 5 w 45"/>
                  <a:gd name="T53" fmla="*/ 14 h 27"/>
                  <a:gd name="T54" fmla="*/ 5 w 45"/>
                  <a:gd name="T55" fmla="*/ 18 h 27"/>
                  <a:gd name="T56" fmla="*/ 9 w 45"/>
                  <a:gd name="T57" fmla="*/ 27 h 27"/>
                  <a:gd name="T58" fmla="*/ 5 w 45"/>
                  <a:gd name="T59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5" h="27">
                    <a:moveTo>
                      <a:pt x="5" y="27"/>
                    </a:moveTo>
                    <a:lnTo>
                      <a:pt x="5" y="27"/>
                    </a:lnTo>
                    <a:lnTo>
                      <a:pt x="5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8" y="23"/>
                    </a:lnTo>
                    <a:lnTo>
                      <a:pt x="22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3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6" y="14"/>
                    </a:lnTo>
                    <a:lnTo>
                      <a:pt x="36" y="9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0" y="5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0" y="0"/>
                    </a:lnTo>
                    <a:lnTo>
                      <a:pt x="27" y="5"/>
                    </a:lnTo>
                    <a:lnTo>
                      <a:pt x="18" y="9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5" y="18"/>
                    </a:lnTo>
                    <a:lnTo>
                      <a:pt x="9" y="27"/>
                    </a:lnTo>
                    <a:lnTo>
                      <a:pt x="5" y="27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50" name="Freeform 34"/>
              <p:cNvSpPr>
                <a:spLocks noEditPoints="1"/>
              </p:cNvSpPr>
              <p:nvPr/>
            </p:nvSpPr>
            <p:spPr bwMode="gray">
              <a:xfrm>
                <a:off x="2897" y="1164"/>
                <a:ext cx="511" cy="1198"/>
              </a:xfrm>
              <a:custGeom>
                <a:avLst/>
                <a:gdLst>
                  <a:gd name="T0" fmla="*/ 0 w 187"/>
                  <a:gd name="T1" fmla="*/ 340 h 438"/>
                  <a:gd name="T2" fmla="*/ 9 w 187"/>
                  <a:gd name="T3" fmla="*/ 358 h 438"/>
                  <a:gd name="T4" fmla="*/ 13 w 187"/>
                  <a:gd name="T5" fmla="*/ 358 h 438"/>
                  <a:gd name="T6" fmla="*/ 9 w 187"/>
                  <a:gd name="T7" fmla="*/ 371 h 438"/>
                  <a:gd name="T8" fmla="*/ 13 w 187"/>
                  <a:gd name="T9" fmla="*/ 384 h 438"/>
                  <a:gd name="T10" fmla="*/ 27 w 187"/>
                  <a:gd name="T11" fmla="*/ 402 h 438"/>
                  <a:gd name="T12" fmla="*/ 22 w 187"/>
                  <a:gd name="T13" fmla="*/ 411 h 438"/>
                  <a:gd name="T14" fmla="*/ 22 w 187"/>
                  <a:gd name="T15" fmla="*/ 429 h 438"/>
                  <a:gd name="T16" fmla="*/ 31 w 187"/>
                  <a:gd name="T17" fmla="*/ 438 h 438"/>
                  <a:gd name="T18" fmla="*/ 45 w 187"/>
                  <a:gd name="T19" fmla="*/ 434 h 438"/>
                  <a:gd name="T20" fmla="*/ 45 w 187"/>
                  <a:gd name="T21" fmla="*/ 420 h 438"/>
                  <a:gd name="T22" fmla="*/ 53 w 187"/>
                  <a:gd name="T23" fmla="*/ 416 h 438"/>
                  <a:gd name="T24" fmla="*/ 76 w 187"/>
                  <a:gd name="T25" fmla="*/ 407 h 438"/>
                  <a:gd name="T26" fmla="*/ 85 w 187"/>
                  <a:gd name="T27" fmla="*/ 358 h 438"/>
                  <a:gd name="T28" fmla="*/ 112 w 187"/>
                  <a:gd name="T29" fmla="*/ 340 h 438"/>
                  <a:gd name="T30" fmla="*/ 116 w 187"/>
                  <a:gd name="T31" fmla="*/ 317 h 438"/>
                  <a:gd name="T32" fmla="*/ 98 w 187"/>
                  <a:gd name="T33" fmla="*/ 295 h 438"/>
                  <a:gd name="T34" fmla="*/ 94 w 187"/>
                  <a:gd name="T35" fmla="*/ 282 h 438"/>
                  <a:gd name="T36" fmla="*/ 98 w 187"/>
                  <a:gd name="T37" fmla="*/ 259 h 438"/>
                  <a:gd name="T38" fmla="*/ 98 w 187"/>
                  <a:gd name="T39" fmla="*/ 241 h 438"/>
                  <a:gd name="T40" fmla="*/ 98 w 187"/>
                  <a:gd name="T41" fmla="*/ 233 h 438"/>
                  <a:gd name="T42" fmla="*/ 103 w 187"/>
                  <a:gd name="T43" fmla="*/ 224 h 438"/>
                  <a:gd name="T44" fmla="*/ 103 w 187"/>
                  <a:gd name="T45" fmla="*/ 215 h 438"/>
                  <a:gd name="T46" fmla="*/ 116 w 187"/>
                  <a:gd name="T47" fmla="*/ 210 h 438"/>
                  <a:gd name="T48" fmla="*/ 125 w 187"/>
                  <a:gd name="T49" fmla="*/ 201 h 438"/>
                  <a:gd name="T50" fmla="*/ 138 w 187"/>
                  <a:gd name="T51" fmla="*/ 188 h 438"/>
                  <a:gd name="T52" fmla="*/ 143 w 187"/>
                  <a:gd name="T53" fmla="*/ 165 h 438"/>
                  <a:gd name="T54" fmla="*/ 161 w 187"/>
                  <a:gd name="T55" fmla="*/ 139 h 438"/>
                  <a:gd name="T56" fmla="*/ 165 w 187"/>
                  <a:gd name="T57" fmla="*/ 125 h 438"/>
                  <a:gd name="T58" fmla="*/ 174 w 187"/>
                  <a:gd name="T59" fmla="*/ 125 h 438"/>
                  <a:gd name="T60" fmla="*/ 183 w 187"/>
                  <a:gd name="T61" fmla="*/ 112 h 438"/>
                  <a:gd name="T62" fmla="*/ 187 w 187"/>
                  <a:gd name="T63" fmla="*/ 81 h 438"/>
                  <a:gd name="T64" fmla="*/ 179 w 187"/>
                  <a:gd name="T65" fmla="*/ 36 h 438"/>
                  <a:gd name="T66" fmla="*/ 152 w 187"/>
                  <a:gd name="T67" fmla="*/ 14 h 438"/>
                  <a:gd name="T68" fmla="*/ 129 w 187"/>
                  <a:gd name="T69" fmla="*/ 0 h 438"/>
                  <a:gd name="T70" fmla="*/ 125 w 187"/>
                  <a:gd name="T71" fmla="*/ 22 h 438"/>
                  <a:gd name="T72" fmla="*/ 98 w 187"/>
                  <a:gd name="T73" fmla="*/ 22 h 438"/>
                  <a:gd name="T74" fmla="*/ 98 w 187"/>
                  <a:gd name="T75" fmla="*/ 40 h 438"/>
                  <a:gd name="T76" fmla="*/ 80 w 187"/>
                  <a:gd name="T77" fmla="*/ 49 h 438"/>
                  <a:gd name="T78" fmla="*/ 80 w 187"/>
                  <a:gd name="T79" fmla="*/ 81 h 438"/>
                  <a:gd name="T80" fmla="*/ 62 w 187"/>
                  <a:gd name="T81" fmla="*/ 112 h 438"/>
                  <a:gd name="T82" fmla="*/ 53 w 187"/>
                  <a:gd name="T83" fmla="*/ 116 h 438"/>
                  <a:gd name="T84" fmla="*/ 49 w 187"/>
                  <a:gd name="T85" fmla="*/ 139 h 438"/>
                  <a:gd name="T86" fmla="*/ 45 w 187"/>
                  <a:gd name="T87" fmla="*/ 179 h 438"/>
                  <a:gd name="T88" fmla="*/ 27 w 187"/>
                  <a:gd name="T89" fmla="*/ 179 h 438"/>
                  <a:gd name="T90" fmla="*/ 13 w 187"/>
                  <a:gd name="T91" fmla="*/ 201 h 438"/>
                  <a:gd name="T92" fmla="*/ 13 w 187"/>
                  <a:gd name="T93" fmla="*/ 210 h 438"/>
                  <a:gd name="T94" fmla="*/ 27 w 187"/>
                  <a:gd name="T95" fmla="*/ 273 h 438"/>
                  <a:gd name="T96" fmla="*/ 22 w 187"/>
                  <a:gd name="T97" fmla="*/ 313 h 438"/>
                  <a:gd name="T98" fmla="*/ 13 w 187"/>
                  <a:gd name="T99" fmla="*/ 331 h 438"/>
                  <a:gd name="T100" fmla="*/ 4 w 187"/>
                  <a:gd name="T101" fmla="*/ 340 h 438"/>
                  <a:gd name="T102" fmla="*/ 80 w 187"/>
                  <a:gd name="T103" fmla="*/ 402 h 438"/>
                  <a:gd name="T104" fmla="*/ 80 w 187"/>
                  <a:gd name="T105" fmla="*/ 411 h 438"/>
                  <a:gd name="T106" fmla="*/ 89 w 187"/>
                  <a:gd name="T107" fmla="*/ 384 h 438"/>
                  <a:gd name="T108" fmla="*/ 120 w 187"/>
                  <a:gd name="T109" fmla="*/ 371 h 438"/>
                  <a:gd name="T110" fmla="*/ 112 w 187"/>
                  <a:gd name="T111" fmla="*/ 371 h 438"/>
                  <a:gd name="T112" fmla="*/ 103 w 187"/>
                  <a:gd name="T113" fmla="*/ 376 h 438"/>
                  <a:gd name="T114" fmla="*/ 107 w 187"/>
                  <a:gd name="T115" fmla="*/ 393 h 438"/>
                  <a:gd name="T116" fmla="*/ 112 w 187"/>
                  <a:gd name="T117" fmla="*/ 380 h 438"/>
                  <a:gd name="T118" fmla="*/ 120 w 187"/>
                  <a:gd name="T119" fmla="*/ 371 h 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7" h="438">
                    <a:moveTo>
                      <a:pt x="4" y="340"/>
                    </a:moveTo>
                    <a:lnTo>
                      <a:pt x="0" y="340"/>
                    </a:lnTo>
                    <a:lnTo>
                      <a:pt x="0" y="358"/>
                    </a:lnTo>
                    <a:lnTo>
                      <a:pt x="9" y="358"/>
                    </a:lnTo>
                    <a:lnTo>
                      <a:pt x="9" y="353"/>
                    </a:lnTo>
                    <a:lnTo>
                      <a:pt x="13" y="358"/>
                    </a:lnTo>
                    <a:lnTo>
                      <a:pt x="9" y="367"/>
                    </a:lnTo>
                    <a:lnTo>
                      <a:pt x="9" y="371"/>
                    </a:lnTo>
                    <a:lnTo>
                      <a:pt x="9" y="384"/>
                    </a:lnTo>
                    <a:lnTo>
                      <a:pt x="13" y="384"/>
                    </a:lnTo>
                    <a:lnTo>
                      <a:pt x="18" y="398"/>
                    </a:lnTo>
                    <a:lnTo>
                      <a:pt x="27" y="402"/>
                    </a:lnTo>
                    <a:lnTo>
                      <a:pt x="18" y="411"/>
                    </a:lnTo>
                    <a:lnTo>
                      <a:pt x="22" y="411"/>
                    </a:lnTo>
                    <a:lnTo>
                      <a:pt x="18" y="411"/>
                    </a:lnTo>
                    <a:lnTo>
                      <a:pt x="22" y="429"/>
                    </a:lnTo>
                    <a:lnTo>
                      <a:pt x="22" y="434"/>
                    </a:lnTo>
                    <a:lnTo>
                      <a:pt x="31" y="438"/>
                    </a:lnTo>
                    <a:lnTo>
                      <a:pt x="45" y="438"/>
                    </a:lnTo>
                    <a:lnTo>
                      <a:pt x="45" y="434"/>
                    </a:lnTo>
                    <a:lnTo>
                      <a:pt x="45" y="429"/>
                    </a:lnTo>
                    <a:lnTo>
                      <a:pt x="45" y="420"/>
                    </a:lnTo>
                    <a:lnTo>
                      <a:pt x="53" y="420"/>
                    </a:lnTo>
                    <a:lnTo>
                      <a:pt x="53" y="416"/>
                    </a:lnTo>
                    <a:lnTo>
                      <a:pt x="71" y="416"/>
                    </a:lnTo>
                    <a:lnTo>
                      <a:pt x="76" y="407"/>
                    </a:lnTo>
                    <a:lnTo>
                      <a:pt x="80" y="380"/>
                    </a:lnTo>
                    <a:lnTo>
                      <a:pt x="85" y="358"/>
                    </a:lnTo>
                    <a:lnTo>
                      <a:pt x="94" y="344"/>
                    </a:lnTo>
                    <a:lnTo>
                      <a:pt x="112" y="340"/>
                    </a:lnTo>
                    <a:lnTo>
                      <a:pt x="107" y="331"/>
                    </a:lnTo>
                    <a:lnTo>
                      <a:pt x="116" y="317"/>
                    </a:lnTo>
                    <a:lnTo>
                      <a:pt x="112" y="308"/>
                    </a:lnTo>
                    <a:lnTo>
                      <a:pt x="98" y="295"/>
                    </a:lnTo>
                    <a:lnTo>
                      <a:pt x="94" y="291"/>
                    </a:lnTo>
                    <a:lnTo>
                      <a:pt x="94" y="282"/>
                    </a:lnTo>
                    <a:lnTo>
                      <a:pt x="94" y="259"/>
                    </a:lnTo>
                    <a:lnTo>
                      <a:pt x="98" y="259"/>
                    </a:lnTo>
                    <a:lnTo>
                      <a:pt x="94" y="255"/>
                    </a:lnTo>
                    <a:lnTo>
                      <a:pt x="98" y="241"/>
                    </a:lnTo>
                    <a:lnTo>
                      <a:pt x="94" y="237"/>
                    </a:lnTo>
                    <a:lnTo>
                      <a:pt x="98" y="233"/>
                    </a:lnTo>
                    <a:lnTo>
                      <a:pt x="98" y="224"/>
                    </a:lnTo>
                    <a:lnTo>
                      <a:pt x="103" y="224"/>
                    </a:lnTo>
                    <a:lnTo>
                      <a:pt x="107" y="219"/>
                    </a:lnTo>
                    <a:lnTo>
                      <a:pt x="103" y="215"/>
                    </a:lnTo>
                    <a:lnTo>
                      <a:pt x="112" y="206"/>
                    </a:lnTo>
                    <a:lnTo>
                      <a:pt x="116" y="210"/>
                    </a:lnTo>
                    <a:lnTo>
                      <a:pt x="125" y="197"/>
                    </a:lnTo>
                    <a:lnTo>
                      <a:pt x="125" y="201"/>
                    </a:lnTo>
                    <a:lnTo>
                      <a:pt x="129" y="192"/>
                    </a:lnTo>
                    <a:lnTo>
                      <a:pt x="138" y="188"/>
                    </a:lnTo>
                    <a:lnTo>
                      <a:pt x="152" y="174"/>
                    </a:lnTo>
                    <a:lnTo>
                      <a:pt x="143" y="165"/>
                    </a:lnTo>
                    <a:lnTo>
                      <a:pt x="152" y="148"/>
                    </a:lnTo>
                    <a:lnTo>
                      <a:pt x="161" y="139"/>
                    </a:lnTo>
                    <a:lnTo>
                      <a:pt x="161" y="130"/>
                    </a:lnTo>
                    <a:lnTo>
                      <a:pt x="165" y="125"/>
                    </a:lnTo>
                    <a:lnTo>
                      <a:pt x="165" y="121"/>
                    </a:lnTo>
                    <a:lnTo>
                      <a:pt x="174" y="125"/>
                    </a:lnTo>
                    <a:lnTo>
                      <a:pt x="187" y="125"/>
                    </a:lnTo>
                    <a:lnTo>
                      <a:pt x="183" y="112"/>
                    </a:lnTo>
                    <a:lnTo>
                      <a:pt x="183" y="98"/>
                    </a:lnTo>
                    <a:lnTo>
                      <a:pt x="187" y="81"/>
                    </a:lnTo>
                    <a:lnTo>
                      <a:pt x="183" y="58"/>
                    </a:lnTo>
                    <a:lnTo>
                      <a:pt x="179" y="36"/>
                    </a:lnTo>
                    <a:lnTo>
                      <a:pt x="174" y="22"/>
                    </a:lnTo>
                    <a:lnTo>
                      <a:pt x="152" y="14"/>
                    </a:lnTo>
                    <a:lnTo>
                      <a:pt x="138" y="0"/>
                    </a:lnTo>
                    <a:lnTo>
                      <a:pt x="129" y="0"/>
                    </a:lnTo>
                    <a:lnTo>
                      <a:pt x="125" y="9"/>
                    </a:lnTo>
                    <a:lnTo>
                      <a:pt x="125" y="22"/>
                    </a:lnTo>
                    <a:lnTo>
                      <a:pt x="103" y="18"/>
                    </a:lnTo>
                    <a:lnTo>
                      <a:pt x="98" y="22"/>
                    </a:lnTo>
                    <a:lnTo>
                      <a:pt x="103" y="36"/>
                    </a:lnTo>
                    <a:lnTo>
                      <a:pt x="98" y="40"/>
                    </a:lnTo>
                    <a:lnTo>
                      <a:pt x="89" y="36"/>
                    </a:lnTo>
                    <a:lnTo>
                      <a:pt x="80" y="49"/>
                    </a:lnTo>
                    <a:lnTo>
                      <a:pt x="76" y="63"/>
                    </a:lnTo>
                    <a:lnTo>
                      <a:pt x="80" y="81"/>
                    </a:lnTo>
                    <a:lnTo>
                      <a:pt x="58" y="103"/>
                    </a:lnTo>
                    <a:lnTo>
                      <a:pt x="62" y="112"/>
                    </a:lnTo>
                    <a:lnTo>
                      <a:pt x="58" y="121"/>
                    </a:lnTo>
                    <a:lnTo>
                      <a:pt x="53" y="116"/>
                    </a:lnTo>
                    <a:lnTo>
                      <a:pt x="49" y="121"/>
                    </a:lnTo>
                    <a:lnTo>
                      <a:pt x="49" y="139"/>
                    </a:lnTo>
                    <a:lnTo>
                      <a:pt x="40" y="165"/>
                    </a:lnTo>
                    <a:lnTo>
                      <a:pt x="45" y="179"/>
                    </a:lnTo>
                    <a:lnTo>
                      <a:pt x="36" y="183"/>
                    </a:lnTo>
                    <a:lnTo>
                      <a:pt x="27" y="179"/>
                    </a:lnTo>
                    <a:lnTo>
                      <a:pt x="18" y="183"/>
                    </a:lnTo>
                    <a:lnTo>
                      <a:pt x="13" y="201"/>
                    </a:lnTo>
                    <a:lnTo>
                      <a:pt x="18" y="206"/>
                    </a:lnTo>
                    <a:lnTo>
                      <a:pt x="13" y="210"/>
                    </a:lnTo>
                    <a:lnTo>
                      <a:pt x="13" y="255"/>
                    </a:lnTo>
                    <a:lnTo>
                      <a:pt x="27" y="273"/>
                    </a:lnTo>
                    <a:lnTo>
                      <a:pt x="18" y="286"/>
                    </a:lnTo>
                    <a:lnTo>
                      <a:pt x="22" y="313"/>
                    </a:lnTo>
                    <a:lnTo>
                      <a:pt x="13" y="322"/>
                    </a:lnTo>
                    <a:lnTo>
                      <a:pt x="13" y="331"/>
                    </a:lnTo>
                    <a:lnTo>
                      <a:pt x="13" y="344"/>
                    </a:lnTo>
                    <a:lnTo>
                      <a:pt x="4" y="340"/>
                    </a:lnTo>
                    <a:close/>
                    <a:moveTo>
                      <a:pt x="85" y="384"/>
                    </a:moveTo>
                    <a:lnTo>
                      <a:pt x="80" y="402"/>
                    </a:lnTo>
                    <a:lnTo>
                      <a:pt x="80" y="416"/>
                    </a:lnTo>
                    <a:lnTo>
                      <a:pt x="80" y="411"/>
                    </a:lnTo>
                    <a:lnTo>
                      <a:pt x="80" y="407"/>
                    </a:lnTo>
                    <a:lnTo>
                      <a:pt x="89" y="384"/>
                    </a:lnTo>
                    <a:lnTo>
                      <a:pt x="85" y="384"/>
                    </a:lnTo>
                    <a:close/>
                    <a:moveTo>
                      <a:pt x="120" y="371"/>
                    </a:moveTo>
                    <a:lnTo>
                      <a:pt x="116" y="367"/>
                    </a:lnTo>
                    <a:lnTo>
                      <a:pt x="112" y="371"/>
                    </a:lnTo>
                    <a:lnTo>
                      <a:pt x="107" y="367"/>
                    </a:lnTo>
                    <a:lnTo>
                      <a:pt x="103" y="376"/>
                    </a:lnTo>
                    <a:lnTo>
                      <a:pt x="103" y="384"/>
                    </a:lnTo>
                    <a:lnTo>
                      <a:pt x="107" y="393"/>
                    </a:lnTo>
                    <a:lnTo>
                      <a:pt x="112" y="380"/>
                    </a:lnTo>
                    <a:lnTo>
                      <a:pt x="112" y="380"/>
                    </a:lnTo>
                    <a:lnTo>
                      <a:pt x="112" y="371"/>
                    </a:lnTo>
                    <a:lnTo>
                      <a:pt x="120" y="371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51" name="Freeform 35"/>
              <p:cNvSpPr>
                <a:spLocks/>
              </p:cNvSpPr>
              <p:nvPr/>
            </p:nvSpPr>
            <p:spPr bwMode="gray">
              <a:xfrm>
                <a:off x="2713" y="2863"/>
                <a:ext cx="159" cy="99"/>
              </a:xfrm>
              <a:custGeom>
                <a:avLst/>
                <a:gdLst>
                  <a:gd name="T0" fmla="*/ 13 w 58"/>
                  <a:gd name="T1" fmla="*/ 36 h 36"/>
                  <a:gd name="T2" fmla="*/ 9 w 58"/>
                  <a:gd name="T3" fmla="*/ 27 h 36"/>
                  <a:gd name="T4" fmla="*/ 4 w 58"/>
                  <a:gd name="T5" fmla="*/ 23 h 36"/>
                  <a:gd name="T6" fmla="*/ 0 w 58"/>
                  <a:gd name="T7" fmla="*/ 32 h 36"/>
                  <a:gd name="T8" fmla="*/ 0 w 58"/>
                  <a:gd name="T9" fmla="*/ 23 h 36"/>
                  <a:gd name="T10" fmla="*/ 9 w 58"/>
                  <a:gd name="T11" fmla="*/ 9 h 36"/>
                  <a:gd name="T12" fmla="*/ 9 w 58"/>
                  <a:gd name="T13" fmla="*/ 5 h 36"/>
                  <a:gd name="T14" fmla="*/ 18 w 58"/>
                  <a:gd name="T15" fmla="*/ 5 h 36"/>
                  <a:gd name="T16" fmla="*/ 22 w 58"/>
                  <a:gd name="T17" fmla="*/ 0 h 36"/>
                  <a:gd name="T18" fmla="*/ 22 w 58"/>
                  <a:gd name="T19" fmla="*/ 5 h 36"/>
                  <a:gd name="T20" fmla="*/ 31 w 58"/>
                  <a:gd name="T21" fmla="*/ 0 h 36"/>
                  <a:gd name="T22" fmla="*/ 40 w 58"/>
                  <a:gd name="T23" fmla="*/ 0 h 36"/>
                  <a:gd name="T24" fmla="*/ 49 w 58"/>
                  <a:gd name="T25" fmla="*/ 0 h 36"/>
                  <a:gd name="T26" fmla="*/ 49 w 58"/>
                  <a:gd name="T27" fmla="*/ 14 h 36"/>
                  <a:gd name="T28" fmla="*/ 49 w 58"/>
                  <a:gd name="T29" fmla="*/ 18 h 36"/>
                  <a:gd name="T30" fmla="*/ 58 w 58"/>
                  <a:gd name="T31" fmla="*/ 14 h 36"/>
                  <a:gd name="T32" fmla="*/ 58 w 58"/>
                  <a:gd name="T33" fmla="*/ 18 h 36"/>
                  <a:gd name="T34" fmla="*/ 53 w 58"/>
                  <a:gd name="T35" fmla="*/ 27 h 36"/>
                  <a:gd name="T36" fmla="*/ 45 w 58"/>
                  <a:gd name="T37" fmla="*/ 27 h 36"/>
                  <a:gd name="T38" fmla="*/ 40 w 58"/>
                  <a:gd name="T39" fmla="*/ 23 h 36"/>
                  <a:gd name="T40" fmla="*/ 40 w 58"/>
                  <a:gd name="T41" fmla="*/ 32 h 36"/>
                  <a:gd name="T42" fmla="*/ 36 w 58"/>
                  <a:gd name="T43" fmla="*/ 36 h 36"/>
                  <a:gd name="T44" fmla="*/ 31 w 58"/>
                  <a:gd name="T45" fmla="*/ 27 h 36"/>
                  <a:gd name="T46" fmla="*/ 27 w 58"/>
                  <a:gd name="T47" fmla="*/ 27 h 36"/>
                  <a:gd name="T48" fmla="*/ 27 w 58"/>
                  <a:gd name="T49" fmla="*/ 36 h 36"/>
                  <a:gd name="T50" fmla="*/ 18 w 58"/>
                  <a:gd name="T51" fmla="*/ 36 h 36"/>
                  <a:gd name="T52" fmla="*/ 13 w 58"/>
                  <a:gd name="T5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8" h="36">
                    <a:moveTo>
                      <a:pt x="13" y="36"/>
                    </a:moveTo>
                    <a:lnTo>
                      <a:pt x="9" y="27"/>
                    </a:lnTo>
                    <a:lnTo>
                      <a:pt x="4" y="23"/>
                    </a:lnTo>
                    <a:lnTo>
                      <a:pt x="0" y="32"/>
                    </a:lnTo>
                    <a:lnTo>
                      <a:pt x="0" y="23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8" y="5"/>
                    </a:lnTo>
                    <a:lnTo>
                      <a:pt x="22" y="0"/>
                    </a:lnTo>
                    <a:lnTo>
                      <a:pt x="22" y="5"/>
                    </a:lnTo>
                    <a:lnTo>
                      <a:pt x="31" y="0"/>
                    </a:lnTo>
                    <a:lnTo>
                      <a:pt x="40" y="0"/>
                    </a:lnTo>
                    <a:lnTo>
                      <a:pt x="49" y="0"/>
                    </a:lnTo>
                    <a:lnTo>
                      <a:pt x="49" y="14"/>
                    </a:lnTo>
                    <a:lnTo>
                      <a:pt x="49" y="18"/>
                    </a:lnTo>
                    <a:lnTo>
                      <a:pt x="58" y="14"/>
                    </a:lnTo>
                    <a:lnTo>
                      <a:pt x="58" y="18"/>
                    </a:lnTo>
                    <a:lnTo>
                      <a:pt x="53" y="27"/>
                    </a:lnTo>
                    <a:lnTo>
                      <a:pt x="45" y="27"/>
                    </a:lnTo>
                    <a:lnTo>
                      <a:pt x="40" y="23"/>
                    </a:lnTo>
                    <a:lnTo>
                      <a:pt x="40" y="32"/>
                    </a:lnTo>
                    <a:lnTo>
                      <a:pt x="36" y="36"/>
                    </a:lnTo>
                    <a:lnTo>
                      <a:pt x="31" y="27"/>
                    </a:lnTo>
                    <a:lnTo>
                      <a:pt x="27" y="27"/>
                    </a:lnTo>
                    <a:lnTo>
                      <a:pt x="27" y="36"/>
                    </a:lnTo>
                    <a:lnTo>
                      <a:pt x="18" y="36"/>
                    </a:lnTo>
                    <a:lnTo>
                      <a:pt x="13" y="36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52" name="Freeform 36"/>
              <p:cNvSpPr>
                <a:spLocks noEditPoints="1"/>
              </p:cNvSpPr>
              <p:nvPr/>
            </p:nvSpPr>
            <p:spPr bwMode="gray">
              <a:xfrm>
                <a:off x="3482" y="3169"/>
                <a:ext cx="747" cy="342"/>
              </a:xfrm>
              <a:custGeom>
                <a:avLst/>
                <a:gdLst>
                  <a:gd name="T0" fmla="*/ 0 w 273"/>
                  <a:gd name="T1" fmla="*/ 18 h 125"/>
                  <a:gd name="T2" fmla="*/ 18 w 273"/>
                  <a:gd name="T3" fmla="*/ 0 h 125"/>
                  <a:gd name="T4" fmla="*/ 32 w 273"/>
                  <a:gd name="T5" fmla="*/ 4 h 125"/>
                  <a:gd name="T6" fmla="*/ 45 w 273"/>
                  <a:gd name="T7" fmla="*/ 18 h 125"/>
                  <a:gd name="T8" fmla="*/ 32 w 273"/>
                  <a:gd name="T9" fmla="*/ 22 h 125"/>
                  <a:gd name="T10" fmla="*/ 14 w 273"/>
                  <a:gd name="T11" fmla="*/ 31 h 125"/>
                  <a:gd name="T12" fmla="*/ 0 w 273"/>
                  <a:gd name="T13" fmla="*/ 40 h 125"/>
                  <a:gd name="T14" fmla="*/ 9 w 273"/>
                  <a:gd name="T15" fmla="*/ 27 h 125"/>
                  <a:gd name="T16" fmla="*/ 63 w 273"/>
                  <a:gd name="T17" fmla="*/ 112 h 125"/>
                  <a:gd name="T18" fmla="*/ 85 w 273"/>
                  <a:gd name="T19" fmla="*/ 107 h 125"/>
                  <a:gd name="T20" fmla="*/ 99 w 273"/>
                  <a:gd name="T21" fmla="*/ 116 h 125"/>
                  <a:gd name="T22" fmla="*/ 121 w 273"/>
                  <a:gd name="T23" fmla="*/ 107 h 125"/>
                  <a:gd name="T24" fmla="*/ 139 w 273"/>
                  <a:gd name="T25" fmla="*/ 112 h 125"/>
                  <a:gd name="T26" fmla="*/ 148 w 273"/>
                  <a:gd name="T27" fmla="*/ 107 h 125"/>
                  <a:gd name="T28" fmla="*/ 143 w 273"/>
                  <a:gd name="T29" fmla="*/ 116 h 125"/>
                  <a:gd name="T30" fmla="*/ 139 w 273"/>
                  <a:gd name="T31" fmla="*/ 125 h 125"/>
                  <a:gd name="T32" fmla="*/ 157 w 273"/>
                  <a:gd name="T33" fmla="*/ 116 h 125"/>
                  <a:gd name="T34" fmla="*/ 179 w 273"/>
                  <a:gd name="T35" fmla="*/ 103 h 125"/>
                  <a:gd name="T36" fmla="*/ 210 w 273"/>
                  <a:gd name="T37" fmla="*/ 103 h 125"/>
                  <a:gd name="T38" fmla="*/ 241 w 273"/>
                  <a:gd name="T39" fmla="*/ 103 h 125"/>
                  <a:gd name="T40" fmla="*/ 264 w 273"/>
                  <a:gd name="T41" fmla="*/ 103 h 125"/>
                  <a:gd name="T42" fmla="*/ 273 w 273"/>
                  <a:gd name="T43" fmla="*/ 94 h 125"/>
                  <a:gd name="T44" fmla="*/ 259 w 273"/>
                  <a:gd name="T45" fmla="*/ 63 h 125"/>
                  <a:gd name="T46" fmla="*/ 264 w 273"/>
                  <a:gd name="T47" fmla="*/ 45 h 125"/>
                  <a:gd name="T48" fmla="*/ 250 w 273"/>
                  <a:gd name="T49" fmla="*/ 22 h 125"/>
                  <a:gd name="T50" fmla="*/ 219 w 273"/>
                  <a:gd name="T51" fmla="*/ 13 h 125"/>
                  <a:gd name="T52" fmla="*/ 206 w 273"/>
                  <a:gd name="T53" fmla="*/ 22 h 125"/>
                  <a:gd name="T54" fmla="*/ 183 w 273"/>
                  <a:gd name="T55" fmla="*/ 22 h 125"/>
                  <a:gd name="T56" fmla="*/ 148 w 273"/>
                  <a:gd name="T57" fmla="*/ 18 h 125"/>
                  <a:gd name="T58" fmla="*/ 134 w 273"/>
                  <a:gd name="T59" fmla="*/ 9 h 125"/>
                  <a:gd name="T60" fmla="*/ 130 w 273"/>
                  <a:gd name="T61" fmla="*/ 0 h 125"/>
                  <a:gd name="T62" fmla="*/ 103 w 273"/>
                  <a:gd name="T63" fmla="*/ 0 h 125"/>
                  <a:gd name="T64" fmla="*/ 76 w 273"/>
                  <a:gd name="T65" fmla="*/ 18 h 125"/>
                  <a:gd name="T66" fmla="*/ 54 w 273"/>
                  <a:gd name="T67" fmla="*/ 18 h 125"/>
                  <a:gd name="T68" fmla="*/ 45 w 273"/>
                  <a:gd name="T69" fmla="*/ 22 h 125"/>
                  <a:gd name="T70" fmla="*/ 40 w 273"/>
                  <a:gd name="T71" fmla="*/ 27 h 125"/>
                  <a:gd name="T72" fmla="*/ 36 w 273"/>
                  <a:gd name="T73" fmla="*/ 31 h 125"/>
                  <a:gd name="T74" fmla="*/ 23 w 273"/>
                  <a:gd name="T75" fmla="*/ 40 h 125"/>
                  <a:gd name="T76" fmla="*/ 9 w 273"/>
                  <a:gd name="T77" fmla="*/ 36 h 125"/>
                  <a:gd name="T78" fmla="*/ 0 w 273"/>
                  <a:gd name="T79" fmla="*/ 49 h 125"/>
                  <a:gd name="T80" fmla="*/ 9 w 273"/>
                  <a:gd name="T81" fmla="*/ 54 h 125"/>
                  <a:gd name="T82" fmla="*/ 14 w 273"/>
                  <a:gd name="T83" fmla="*/ 72 h 125"/>
                  <a:gd name="T84" fmla="*/ 5 w 273"/>
                  <a:gd name="T85" fmla="*/ 67 h 125"/>
                  <a:gd name="T86" fmla="*/ 9 w 273"/>
                  <a:gd name="T87" fmla="*/ 76 h 125"/>
                  <a:gd name="T88" fmla="*/ 14 w 273"/>
                  <a:gd name="T89" fmla="*/ 85 h 125"/>
                  <a:gd name="T90" fmla="*/ 23 w 273"/>
                  <a:gd name="T91" fmla="*/ 94 h 125"/>
                  <a:gd name="T92" fmla="*/ 27 w 273"/>
                  <a:gd name="T93" fmla="*/ 98 h 125"/>
                  <a:gd name="T94" fmla="*/ 23 w 273"/>
                  <a:gd name="T95" fmla="*/ 107 h 125"/>
                  <a:gd name="T96" fmla="*/ 32 w 273"/>
                  <a:gd name="T97" fmla="*/ 107 h 125"/>
                  <a:gd name="T98" fmla="*/ 45 w 273"/>
                  <a:gd name="T99" fmla="*/ 103 h 125"/>
                  <a:gd name="T100" fmla="*/ 54 w 273"/>
                  <a:gd name="T101" fmla="*/ 116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73" h="125">
                    <a:moveTo>
                      <a:pt x="0" y="22"/>
                    </a:moveTo>
                    <a:lnTo>
                      <a:pt x="0" y="18"/>
                    </a:lnTo>
                    <a:lnTo>
                      <a:pt x="0" y="9"/>
                    </a:lnTo>
                    <a:lnTo>
                      <a:pt x="18" y="0"/>
                    </a:lnTo>
                    <a:lnTo>
                      <a:pt x="23" y="4"/>
                    </a:lnTo>
                    <a:lnTo>
                      <a:pt x="32" y="4"/>
                    </a:lnTo>
                    <a:lnTo>
                      <a:pt x="32" y="13"/>
                    </a:lnTo>
                    <a:lnTo>
                      <a:pt x="45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18" y="22"/>
                    </a:lnTo>
                    <a:lnTo>
                      <a:pt x="14" y="31"/>
                    </a:lnTo>
                    <a:lnTo>
                      <a:pt x="9" y="31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9" y="27"/>
                    </a:lnTo>
                    <a:lnTo>
                      <a:pt x="0" y="22"/>
                    </a:lnTo>
                    <a:close/>
                    <a:moveTo>
                      <a:pt x="63" y="112"/>
                    </a:moveTo>
                    <a:lnTo>
                      <a:pt x="67" y="103"/>
                    </a:lnTo>
                    <a:lnTo>
                      <a:pt x="85" y="107"/>
                    </a:lnTo>
                    <a:lnTo>
                      <a:pt x="90" y="116"/>
                    </a:lnTo>
                    <a:lnTo>
                      <a:pt x="99" y="116"/>
                    </a:lnTo>
                    <a:lnTo>
                      <a:pt x="116" y="112"/>
                    </a:lnTo>
                    <a:lnTo>
                      <a:pt x="121" y="107"/>
                    </a:lnTo>
                    <a:lnTo>
                      <a:pt x="125" y="107"/>
                    </a:lnTo>
                    <a:lnTo>
                      <a:pt x="139" y="112"/>
                    </a:lnTo>
                    <a:lnTo>
                      <a:pt x="143" y="103"/>
                    </a:lnTo>
                    <a:lnTo>
                      <a:pt x="148" y="107"/>
                    </a:lnTo>
                    <a:lnTo>
                      <a:pt x="143" y="112"/>
                    </a:lnTo>
                    <a:lnTo>
                      <a:pt x="143" y="116"/>
                    </a:lnTo>
                    <a:lnTo>
                      <a:pt x="139" y="121"/>
                    </a:lnTo>
                    <a:lnTo>
                      <a:pt x="139" y="125"/>
                    </a:lnTo>
                    <a:lnTo>
                      <a:pt x="148" y="125"/>
                    </a:lnTo>
                    <a:lnTo>
                      <a:pt x="157" y="116"/>
                    </a:lnTo>
                    <a:lnTo>
                      <a:pt x="157" y="107"/>
                    </a:lnTo>
                    <a:lnTo>
                      <a:pt x="179" y="103"/>
                    </a:lnTo>
                    <a:lnTo>
                      <a:pt x="197" y="107"/>
                    </a:lnTo>
                    <a:lnTo>
                      <a:pt x="210" y="103"/>
                    </a:lnTo>
                    <a:lnTo>
                      <a:pt x="233" y="98"/>
                    </a:lnTo>
                    <a:lnTo>
                      <a:pt x="241" y="103"/>
                    </a:lnTo>
                    <a:lnTo>
                      <a:pt x="246" y="98"/>
                    </a:lnTo>
                    <a:lnTo>
                      <a:pt x="264" y="103"/>
                    </a:lnTo>
                    <a:lnTo>
                      <a:pt x="273" y="98"/>
                    </a:lnTo>
                    <a:lnTo>
                      <a:pt x="273" y="94"/>
                    </a:lnTo>
                    <a:lnTo>
                      <a:pt x="264" y="89"/>
                    </a:lnTo>
                    <a:lnTo>
                      <a:pt x="259" y="63"/>
                    </a:lnTo>
                    <a:lnTo>
                      <a:pt x="268" y="54"/>
                    </a:lnTo>
                    <a:lnTo>
                      <a:pt x="264" y="45"/>
                    </a:lnTo>
                    <a:lnTo>
                      <a:pt x="255" y="40"/>
                    </a:lnTo>
                    <a:lnTo>
                      <a:pt x="250" y="22"/>
                    </a:lnTo>
                    <a:lnTo>
                      <a:pt x="241" y="18"/>
                    </a:lnTo>
                    <a:lnTo>
                      <a:pt x="219" y="13"/>
                    </a:lnTo>
                    <a:lnTo>
                      <a:pt x="210" y="18"/>
                    </a:lnTo>
                    <a:lnTo>
                      <a:pt x="206" y="22"/>
                    </a:lnTo>
                    <a:lnTo>
                      <a:pt x="192" y="18"/>
                    </a:lnTo>
                    <a:lnTo>
                      <a:pt x="183" y="22"/>
                    </a:lnTo>
                    <a:lnTo>
                      <a:pt x="170" y="22"/>
                    </a:lnTo>
                    <a:lnTo>
                      <a:pt x="148" y="18"/>
                    </a:lnTo>
                    <a:lnTo>
                      <a:pt x="143" y="9"/>
                    </a:lnTo>
                    <a:lnTo>
                      <a:pt x="134" y="9"/>
                    </a:lnTo>
                    <a:lnTo>
                      <a:pt x="134" y="0"/>
                    </a:lnTo>
                    <a:lnTo>
                      <a:pt x="130" y="0"/>
                    </a:lnTo>
                    <a:lnTo>
                      <a:pt x="125" y="4"/>
                    </a:lnTo>
                    <a:lnTo>
                      <a:pt x="103" y="0"/>
                    </a:lnTo>
                    <a:lnTo>
                      <a:pt x="76" y="13"/>
                    </a:lnTo>
                    <a:lnTo>
                      <a:pt x="76" y="18"/>
                    </a:lnTo>
                    <a:lnTo>
                      <a:pt x="63" y="18"/>
                    </a:lnTo>
                    <a:lnTo>
                      <a:pt x="54" y="18"/>
                    </a:lnTo>
                    <a:lnTo>
                      <a:pt x="45" y="18"/>
                    </a:lnTo>
                    <a:lnTo>
                      <a:pt x="45" y="22"/>
                    </a:lnTo>
                    <a:lnTo>
                      <a:pt x="45" y="27"/>
                    </a:lnTo>
                    <a:lnTo>
                      <a:pt x="40" y="27"/>
                    </a:lnTo>
                    <a:lnTo>
                      <a:pt x="45" y="31"/>
                    </a:lnTo>
                    <a:lnTo>
                      <a:pt x="36" y="31"/>
                    </a:lnTo>
                    <a:lnTo>
                      <a:pt x="27" y="31"/>
                    </a:lnTo>
                    <a:lnTo>
                      <a:pt x="23" y="40"/>
                    </a:lnTo>
                    <a:lnTo>
                      <a:pt x="14" y="36"/>
                    </a:lnTo>
                    <a:lnTo>
                      <a:pt x="9" y="36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14" y="49"/>
                    </a:lnTo>
                    <a:lnTo>
                      <a:pt x="9" y="54"/>
                    </a:lnTo>
                    <a:lnTo>
                      <a:pt x="14" y="67"/>
                    </a:lnTo>
                    <a:lnTo>
                      <a:pt x="14" y="72"/>
                    </a:lnTo>
                    <a:lnTo>
                      <a:pt x="9" y="72"/>
                    </a:lnTo>
                    <a:lnTo>
                      <a:pt x="5" y="67"/>
                    </a:lnTo>
                    <a:lnTo>
                      <a:pt x="5" y="76"/>
                    </a:lnTo>
                    <a:lnTo>
                      <a:pt x="9" y="76"/>
                    </a:lnTo>
                    <a:lnTo>
                      <a:pt x="14" y="80"/>
                    </a:lnTo>
                    <a:lnTo>
                      <a:pt x="14" y="85"/>
                    </a:lnTo>
                    <a:lnTo>
                      <a:pt x="14" y="94"/>
                    </a:lnTo>
                    <a:lnTo>
                      <a:pt x="23" y="94"/>
                    </a:lnTo>
                    <a:lnTo>
                      <a:pt x="14" y="98"/>
                    </a:lnTo>
                    <a:lnTo>
                      <a:pt x="27" y="98"/>
                    </a:lnTo>
                    <a:lnTo>
                      <a:pt x="27" y="103"/>
                    </a:lnTo>
                    <a:lnTo>
                      <a:pt x="23" y="107"/>
                    </a:lnTo>
                    <a:lnTo>
                      <a:pt x="27" y="103"/>
                    </a:lnTo>
                    <a:lnTo>
                      <a:pt x="32" y="107"/>
                    </a:lnTo>
                    <a:lnTo>
                      <a:pt x="36" y="98"/>
                    </a:lnTo>
                    <a:lnTo>
                      <a:pt x="45" y="103"/>
                    </a:lnTo>
                    <a:lnTo>
                      <a:pt x="49" y="112"/>
                    </a:lnTo>
                    <a:lnTo>
                      <a:pt x="54" y="116"/>
                    </a:lnTo>
                    <a:lnTo>
                      <a:pt x="63" y="112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53" name="Freeform 37"/>
              <p:cNvSpPr>
                <a:spLocks/>
              </p:cNvSpPr>
              <p:nvPr/>
            </p:nvSpPr>
            <p:spPr bwMode="gray">
              <a:xfrm>
                <a:off x="3337" y="2584"/>
                <a:ext cx="695" cy="462"/>
              </a:xfrm>
              <a:custGeom>
                <a:avLst/>
                <a:gdLst>
                  <a:gd name="T0" fmla="*/ 4 w 254"/>
                  <a:gd name="T1" fmla="*/ 71 h 169"/>
                  <a:gd name="T2" fmla="*/ 4 w 254"/>
                  <a:gd name="T3" fmla="*/ 67 h 169"/>
                  <a:gd name="T4" fmla="*/ 22 w 254"/>
                  <a:gd name="T5" fmla="*/ 49 h 169"/>
                  <a:gd name="T6" fmla="*/ 22 w 254"/>
                  <a:gd name="T7" fmla="*/ 40 h 169"/>
                  <a:gd name="T8" fmla="*/ 18 w 254"/>
                  <a:gd name="T9" fmla="*/ 17 h 169"/>
                  <a:gd name="T10" fmla="*/ 26 w 254"/>
                  <a:gd name="T11" fmla="*/ 17 h 169"/>
                  <a:gd name="T12" fmla="*/ 35 w 254"/>
                  <a:gd name="T13" fmla="*/ 4 h 169"/>
                  <a:gd name="T14" fmla="*/ 58 w 254"/>
                  <a:gd name="T15" fmla="*/ 13 h 169"/>
                  <a:gd name="T16" fmla="*/ 76 w 254"/>
                  <a:gd name="T17" fmla="*/ 13 h 169"/>
                  <a:gd name="T18" fmla="*/ 80 w 254"/>
                  <a:gd name="T19" fmla="*/ 17 h 169"/>
                  <a:gd name="T20" fmla="*/ 89 w 254"/>
                  <a:gd name="T21" fmla="*/ 13 h 169"/>
                  <a:gd name="T22" fmla="*/ 98 w 254"/>
                  <a:gd name="T23" fmla="*/ 13 h 169"/>
                  <a:gd name="T24" fmla="*/ 111 w 254"/>
                  <a:gd name="T25" fmla="*/ 17 h 169"/>
                  <a:gd name="T26" fmla="*/ 120 w 254"/>
                  <a:gd name="T27" fmla="*/ 17 h 169"/>
                  <a:gd name="T28" fmla="*/ 125 w 254"/>
                  <a:gd name="T29" fmla="*/ 0 h 169"/>
                  <a:gd name="T30" fmla="*/ 138 w 254"/>
                  <a:gd name="T31" fmla="*/ 4 h 169"/>
                  <a:gd name="T32" fmla="*/ 147 w 254"/>
                  <a:gd name="T33" fmla="*/ 4 h 169"/>
                  <a:gd name="T34" fmla="*/ 165 w 254"/>
                  <a:gd name="T35" fmla="*/ 0 h 169"/>
                  <a:gd name="T36" fmla="*/ 174 w 254"/>
                  <a:gd name="T37" fmla="*/ 8 h 169"/>
                  <a:gd name="T38" fmla="*/ 187 w 254"/>
                  <a:gd name="T39" fmla="*/ 22 h 169"/>
                  <a:gd name="T40" fmla="*/ 192 w 254"/>
                  <a:gd name="T41" fmla="*/ 44 h 169"/>
                  <a:gd name="T42" fmla="*/ 205 w 254"/>
                  <a:gd name="T43" fmla="*/ 49 h 169"/>
                  <a:gd name="T44" fmla="*/ 219 w 254"/>
                  <a:gd name="T45" fmla="*/ 44 h 169"/>
                  <a:gd name="T46" fmla="*/ 223 w 254"/>
                  <a:gd name="T47" fmla="*/ 53 h 169"/>
                  <a:gd name="T48" fmla="*/ 232 w 254"/>
                  <a:gd name="T49" fmla="*/ 58 h 169"/>
                  <a:gd name="T50" fmla="*/ 241 w 254"/>
                  <a:gd name="T51" fmla="*/ 58 h 169"/>
                  <a:gd name="T52" fmla="*/ 250 w 254"/>
                  <a:gd name="T53" fmla="*/ 71 h 169"/>
                  <a:gd name="T54" fmla="*/ 250 w 254"/>
                  <a:gd name="T55" fmla="*/ 80 h 169"/>
                  <a:gd name="T56" fmla="*/ 250 w 254"/>
                  <a:gd name="T57" fmla="*/ 93 h 169"/>
                  <a:gd name="T58" fmla="*/ 232 w 254"/>
                  <a:gd name="T59" fmla="*/ 111 h 169"/>
                  <a:gd name="T60" fmla="*/ 205 w 254"/>
                  <a:gd name="T61" fmla="*/ 120 h 169"/>
                  <a:gd name="T62" fmla="*/ 192 w 254"/>
                  <a:gd name="T63" fmla="*/ 125 h 169"/>
                  <a:gd name="T64" fmla="*/ 183 w 254"/>
                  <a:gd name="T65" fmla="*/ 125 h 169"/>
                  <a:gd name="T66" fmla="*/ 192 w 254"/>
                  <a:gd name="T67" fmla="*/ 147 h 169"/>
                  <a:gd name="T68" fmla="*/ 201 w 254"/>
                  <a:gd name="T69" fmla="*/ 156 h 169"/>
                  <a:gd name="T70" fmla="*/ 192 w 254"/>
                  <a:gd name="T71" fmla="*/ 156 h 169"/>
                  <a:gd name="T72" fmla="*/ 178 w 254"/>
                  <a:gd name="T73" fmla="*/ 160 h 169"/>
                  <a:gd name="T74" fmla="*/ 156 w 254"/>
                  <a:gd name="T75" fmla="*/ 165 h 169"/>
                  <a:gd name="T76" fmla="*/ 160 w 254"/>
                  <a:gd name="T77" fmla="*/ 151 h 169"/>
                  <a:gd name="T78" fmla="*/ 147 w 254"/>
                  <a:gd name="T79" fmla="*/ 147 h 169"/>
                  <a:gd name="T80" fmla="*/ 165 w 254"/>
                  <a:gd name="T81" fmla="*/ 138 h 169"/>
                  <a:gd name="T82" fmla="*/ 156 w 254"/>
                  <a:gd name="T83" fmla="*/ 129 h 169"/>
                  <a:gd name="T84" fmla="*/ 138 w 254"/>
                  <a:gd name="T85" fmla="*/ 129 h 169"/>
                  <a:gd name="T86" fmla="*/ 138 w 254"/>
                  <a:gd name="T87" fmla="*/ 120 h 169"/>
                  <a:gd name="T88" fmla="*/ 116 w 254"/>
                  <a:gd name="T89" fmla="*/ 129 h 169"/>
                  <a:gd name="T90" fmla="*/ 111 w 254"/>
                  <a:gd name="T91" fmla="*/ 129 h 169"/>
                  <a:gd name="T92" fmla="*/ 111 w 254"/>
                  <a:gd name="T93" fmla="*/ 143 h 169"/>
                  <a:gd name="T94" fmla="*/ 102 w 254"/>
                  <a:gd name="T95" fmla="*/ 151 h 169"/>
                  <a:gd name="T96" fmla="*/ 89 w 254"/>
                  <a:gd name="T97" fmla="*/ 156 h 169"/>
                  <a:gd name="T98" fmla="*/ 80 w 254"/>
                  <a:gd name="T99" fmla="*/ 147 h 169"/>
                  <a:gd name="T100" fmla="*/ 93 w 254"/>
                  <a:gd name="T101" fmla="*/ 143 h 169"/>
                  <a:gd name="T102" fmla="*/ 93 w 254"/>
                  <a:gd name="T103" fmla="*/ 129 h 169"/>
                  <a:gd name="T104" fmla="*/ 98 w 254"/>
                  <a:gd name="T105" fmla="*/ 129 h 169"/>
                  <a:gd name="T106" fmla="*/ 107 w 254"/>
                  <a:gd name="T107" fmla="*/ 129 h 169"/>
                  <a:gd name="T108" fmla="*/ 102 w 254"/>
                  <a:gd name="T109" fmla="*/ 111 h 169"/>
                  <a:gd name="T110" fmla="*/ 89 w 254"/>
                  <a:gd name="T111" fmla="*/ 93 h 169"/>
                  <a:gd name="T112" fmla="*/ 80 w 254"/>
                  <a:gd name="T113" fmla="*/ 89 h 169"/>
                  <a:gd name="T114" fmla="*/ 76 w 254"/>
                  <a:gd name="T115" fmla="*/ 89 h 169"/>
                  <a:gd name="T116" fmla="*/ 40 w 254"/>
                  <a:gd name="T117" fmla="*/ 98 h 169"/>
                  <a:gd name="T118" fmla="*/ 9 w 254"/>
                  <a:gd name="T119" fmla="*/ 98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54" h="169">
                    <a:moveTo>
                      <a:pt x="0" y="84"/>
                    </a:moveTo>
                    <a:lnTo>
                      <a:pt x="4" y="71"/>
                    </a:lnTo>
                    <a:lnTo>
                      <a:pt x="9" y="71"/>
                    </a:lnTo>
                    <a:lnTo>
                      <a:pt x="4" y="67"/>
                    </a:lnTo>
                    <a:lnTo>
                      <a:pt x="13" y="53"/>
                    </a:lnTo>
                    <a:lnTo>
                      <a:pt x="22" y="49"/>
                    </a:lnTo>
                    <a:lnTo>
                      <a:pt x="26" y="44"/>
                    </a:lnTo>
                    <a:lnTo>
                      <a:pt x="22" y="40"/>
                    </a:lnTo>
                    <a:lnTo>
                      <a:pt x="22" y="31"/>
                    </a:lnTo>
                    <a:lnTo>
                      <a:pt x="18" y="17"/>
                    </a:lnTo>
                    <a:lnTo>
                      <a:pt x="18" y="13"/>
                    </a:lnTo>
                    <a:lnTo>
                      <a:pt x="26" y="17"/>
                    </a:lnTo>
                    <a:lnTo>
                      <a:pt x="31" y="8"/>
                    </a:lnTo>
                    <a:lnTo>
                      <a:pt x="35" y="4"/>
                    </a:lnTo>
                    <a:lnTo>
                      <a:pt x="49" y="8"/>
                    </a:lnTo>
                    <a:lnTo>
                      <a:pt x="58" y="13"/>
                    </a:lnTo>
                    <a:lnTo>
                      <a:pt x="71" y="8"/>
                    </a:lnTo>
                    <a:lnTo>
                      <a:pt x="76" y="13"/>
                    </a:lnTo>
                    <a:lnTo>
                      <a:pt x="80" y="22"/>
                    </a:lnTo>
                    <a:lnTo>
                      <a:pt x="80" y="17"/>
                    </a:lnTo>
                    <a:lnTo>
                      <a:pt x="89" y="17"/>
                    </a:lnTo>
                    <a:lnTo>
                      <a:pt x="89" y="13"/>
                    </a:lnTo>
                    <a:lnTo>
                      <a:pt x="93" y="17"/>
                    </a:lnTo>
                    <a:lnTo>
                      <a:pt x="98" y="13"/>
                    </a:lnTo>
                    <a:lnTo>
                      <a:pt x="102" y="22"/>
                    </a:lnTo>
                    <a:lnTo>
                      <a:pt x="111" y="17"/>
                    </a:lnTo>
                    <a:lnTo>
                      <a:pt x="120" y="22"/>
                    </a:lnTo>
                    <a:lnTo>
                      <a:pt x="120" y="17"/>
                    </a:lnTo>
                    <a:lnTo>
                      <a:pt x="120" y="13"/>
                    </a:lnTo>
                    <a:lnTo>
                      <a:pt x="125" y="0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3" y="0"/>
                    </a:lnTo>
                    <a:lnTo>
                      <a:pt x="147" y="4"/>
                    </a:lnTo>
                    <a:lnTo>
                      <a:pt x="156" y="0"/>
                    </a:lnTo>
                    <a:lnTo>
                      <a:pt x="165" y="0"/>
                    </a:lnTo>
                    <a:lnTo>
                      <a:pt x="169" y="8"/>
                    </a:lnTo>
                    <a:lnTo>
                      <a:pt x="174" y="8"/>
                    </a:lnTo>
                    <a:lnTo>
                      <a:pt x="169" y="17"/>
                    </a:lnTo>
                    <a:lnTo>
                      <a:pt x="187" y="22"/>
                    </a:lnTo>
                    <a:lnTo>
                      <a:pt x="187" y="31"/>
                    </a:lnTo>
                    <a:lnTo>
                      <a:pt x="192" y="44"/>
                    </a:lnTo>
                    <a:lnTo>
                      <a:pt x="201" y="44"/>
                    </a:lnTo>
                    <a:lnTo>
                      <a:pt x="205" y="49"/>
                    </a:lnTo>
                    <a:lnTo>
                      <a:pt x="210" y="44"/>
                    </a:lnTo>
                    <a:lnTo>
                      <a:pt x="219" y="44"/>
                    </a:lnTo>
                    <a:lnTo>
                      <a:pt x="223" y="49"/>
                    </a:lnTo>
                    <a:lnTo>
                      <a:pt x="223" y="53"/>
                    </a:lnTo>
                    <a:lnTo>
                      <a:pt x="232" y="53"/>
                    </a:lnTo>
                    <a:lnTo>
                      <a:pt x="232" y="58"/>
                    </a:lnTo>
                    <a:lnTo>
                      <a:pt x="236" y="53"/>
                    </a:lnTo>
                    <a:lnTo>
                      <a:pt x="241" y="58"/>
                    </a:lnTo>
                    <a:lnTo>
                      <a:pt x="254" y="67"/>
                    </a:lnTo>
                    <a:lnTo>
                      <a:pt x="250" y="71"/>
                    </a:lnTo>
                    <a:lnTo>
                      <a:pt x="254" y="75"/>
                    </a:lnTo>
                    <a:lnTo>
                      <a:pt x="250" y="80"/>
                    </a:lnTo>
                    <a:lnTo>
                      <a:pt x="254" y="84"/>
                    </a:lnTo>
                    <a:lnTo>
                      <a:pt x="250" y="93"/>
                    </a:lnTo>
                    <a:lnTo>
                      <a:pt x="241" y="98"/>
                    </a:lnTo>
                    <a:lnTo>
                      <a:pt x="232" y="111"/>
                    </a:lnTo>
                    <a:lnTo>
                      <a:pt x="223" y="111"/>
                    </a:lnTo>
                    <a:lnTo>
                      <a:pt x="205" y="120"/>
                    </a:lnTo>
                    <a:lnTo>
                      <a:pt x="196" y="125"/>
                    </a:lnTo>
                    <a:lnTo>
                      <a:pt x="192" y="125"/>
                    </a:lnTo>
                    <a:lnTo>
                      <a:pt x="187" y="129"/>
                    </a:lnTo>
                    <a:lnTo>
                      <a:pt x="183" y="125"/>
                    </a:lnTo>
                    <a:lnTo>
                      <a:pt x="174" y="134"/>
                    </a:lnTo>
                    <a:lnTo>
                      <a:pt x="192" y="147"/>
                    </a:lnTo>
                    <a:lnTo>
                      <a:pt x="205" y="147"/>
                    </a:lnTo>
                    <a:lnTo>
                      <a:pt x="201" y="156"/>
                    </a:lnTo>
                    <a:lnTo>
                      <a:pt x="196" y="156"/>
                    </a:lnTo>
                    <a:lnTo>
                      <a:pt x="192" y="156"/>
                    </a:lnTo>
                    <a:lnTo>
                      <a:pt x="183" y="160"/>
                    </a:lnTo>
                    <a:lnTo>
                      <a:pt x="178" y="160"/>
                    </a:lnTo>
                    <a:lnTo>
                      <a:pt x="169" y="169"/>
                    </a:lnTo>
                    <a:lnTo>
                      <a:pt x="156" y="165"/>
                    </a:lnTo>
                    <a:lnTo>
                      <a:pt x="160" y="160"/>
                    </a:lnTo>
                    <a:lnTo>
                      <a:pt x="160" y="151"/>
                    </a:lnTo>
                    <a:lnTo>
                      <a:pt x="156" y="151"/>
                    </a:lnTo>
                    <a:lnTo>
                      <a:pt x="147" y="147"/>
                    </a:lnTo>
                    <a:lnTo>
                      <a:pt x="156" y="138"/>
                    </a:lnTo>
                    <a:lnTo>
                      <a:pt x="165" y="138"/>
                    </a:lnTo>
                    <a:lnTo>
                      <a:pt x="160" y="134"/>
                    </a:lnTo>
                    <a:lnTo>
                      <a:pt x="156" y="129"/>
                    </a:lnTo>
                    <a:lnTo>
                      <a:pt x="134" y="134"/>
                    </a:lnTo>
                    <a:lnTo>
                      <a:pt x="138" y="129"/>
                    </a:lnTo>
                    <a:lnTo>
                      <a:pt x="129" y="125"/>
                    </a:lnTo>
                    <a:lnTo>
                      <a:pt x="138" y="120"/>
                    </a:lnTo>
                    <a:lnTo>
                      <a:pt x="125" y="125"/>
                    </a:lnTo>
                    <a:lnTo>
                      <a:pt x="116" y="129"/>
                    </a:lnTo>
                    <a:lnTo>
                      <a:pt x="111" y="125"/>
                    </a:lnTo>
                    <a:lnTo>
                      <a:pt x="111" y="129"/>
                    </a:lnTo>
                    <a:lnTo>
                      <a:pt x="116" y="134"/>
                    </a:lnTo>
                    <a:lnTo>
                      <a:pt x="111" y="143"/>
                    </a:lnTo>
                    <a:lnTo>
                      <a:pt x="102" y="147"/>
                    </a:lnTo>
                    <a:lnTo>
                      <a:pt x="102" y="151"/>
                    </a:lnTo>
                    <a:lnTo>
                      <a:pt x="98" y="151"/>
                    </a:lnTo>
                    <a:lnTo>
                      <a:pt x="89" y="156"/>
                    </a:lnTo>
                    <a:lnTo>
                      <a:pt x="85" y="151"/>
                    </a:lnTo>
                    <a:lnTo>
                      <a:pt x="80" y="147"/>
                    </a:lnTo>
                    <a:lnTo>
                      <a:pt x="89" y="147"/>
                    </a:lnTo>
                    <a:lnTo>
                      <a:pt x="93" y="143"/>
                    </a:lnTo>
                    <a:lnTo>
                      <a:pt x="93" y="138"/>
                    </a:lnTo>
                    <a:lnTo>
                      <a:pt x="93" y="129"/>
                    </a:lnTo>
                    <a:lnTo>
                      <a:pt x="98" y="134"/>
                    </a:lnTo>
                    <a:lnTo>
                      <a:pt x="98" y="129"/>
                    </a:lnTo>
                    <a:lnTo>
                      <a:pt x="102" y="129"/>
                    </a:lnTo>
                    <a:lnTo>
                      <a:pt x="107" y="129"/>
                    </a:lnTo>
                    <a:lnTo>
                      <a:pt x="107" y="120"/>
                    </a:lnTo>
                    <a:lnTo>
                      <a:pt x="102" y="111"/>
                    </a:lnTo>
                    <a:lnTo>
                      <a:pt x="102" y="102"/>
                    </a:lnTo>
                    <a:lnTo>
                      <a:pt x="89" y="93"/>
                    </a:lnTo>
                    <a:lnTo>
                      <a:pt x="85" y="93"/>
                    </a:lnTo>
                    <a:lnTo>
                      <a:pt x="80" y="89"/>
                    </a:lnTo>
                    <a:lnTo>
                      <a:pt x="76" y="93"/>
                    </a:lnTo>
                    <a:lnTo>
                      <a:pt x="76" y="89"/>
                    </a:lnTo>
                    <a:lnTo>
                      <a:pt x="62" y="89"/>
                    </a:lnTo>
                    <a:lnTo>
                      <a:pt x="40" y="98"/>
                    </a:lnTo>
                    <a:lnTo>
                      <a:pt x="13" y="93"/>
                    </a:lnTo>
                    <a:lnTo>
                      <a:pt x="9" y="98"/>
                    </a:lnTo>
                    <a:lnTo>
                      <a:pt x="0" y="8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54" name="Freeform 38"/>
              <p:cNvSpPr>
                <a:spLocks/>
              </p:cNvSpPr>
              <p:nvPr/>
            </p:nvSpPr>
            <p:spPr bwMode="gray">
              <a:xfrm>
                <a:off x="3274" y="3159"/>
                <a:ext cx="99" cy="95"/>
              </a:xfrm>
              <a:custGeom>
                <a:avLst/>
                <a:gdLst>
                  <a:gd name="T0" fmla="*/ 9 w 36"/>
                  <a:gd name="T1" fmla="*/ 35 h 35"/>
                  <a:gd name="T2" fmla="*/ 0 w 36"/>
                  <a:gd name="T3" fmla="*/ 31 h 35"/>
                  <a:gd name="T4" fmla="*/ 0 w 36"/>
                  <a:gd name="T5" fmla="*/ 8 h 35"/>
                  <a:gd name="T6" fmla="*/ 9 w 36"/>
                  <a:gd name="T7" fmla="*/ 4 h 35"/>
                  <a:gd name="T8" fmla="*/ 9 w 36"/>
                  <a:gd name="T9" fmla="*/ 4 h 35"/>
                  <a:gd name="T10" fmla="*/ 23 w 36"/>
                  <a:gd name="T11" fmla="*/ 0 h 35"/>
                  <a:gd name="T12" fmla="*/ 27 w 36"/>
                  <a:gd name="T13" fmla="*/ 4 h 35"/>
                  <a:gd name="T14" fmla="*/ 36 w 36"/>
                  <a:gd name="T15" fmla="*/ 8 h 35"/>
                  <a:gd name="T16" fmla="*/ 36 w 36"/>
                  <a:gd name="T17" fmla="*/ 22 h 35"/>
                  <a:gd name="T18" fmla="*/ 27 w 36"/>
                  <a:gd name="T19" fmla="*/ 26 h 35"/>
                  <a:gd name="T20" fmla="*/ 23 w 36"/>
                  <a:gd name="T21" fmla="*/ 26 h 35"/>
                  <a:gd name="T22" fmla="*/ 18 w 36"/>
                  <a:gd name="T23" fmla="*/ 31 h 35"/>
                  <a:gd name="T24" fmla="*/ 9 w 36"/>
                  <a:gd name="T2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35">
                    <a:moveTo>
                      <a:pt x="9" y="35"/>
                    </a:moveTo>
                    <a:lnTo>
                      <a:pt x="0" y="31"/>
                    </a:lnTo>
                    <a:lnTo>
                      <a:pt x="0" y="8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23" y="0"/>
                    </a:lnTo>
                    <a:lnTo>
                      <a:pt x="27" y="4"/>
                    </a:lnTo>
                    <a:lnTo>
                      <a:pt x="36" y="8"/>
                    </a:lnTo>
                    <a:lnTo>
                      <a:pt x="36" y="22"/>
                    </a:lnTo>
                    <a:lnTo>
                      <a:pt x="27" y="26"/>
                    </a:lnTo>
                    <a:lnTo>
                      <a:pt x="23" y="26"/>
                    </a:lnTo>
                    <a:lnTo>
                      <a:pt x="18" y="31"/>
                    </a:lnTo>
                    <a:lnTo>
                      <a:pt x="9" y="35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55" name="Freeform 39"/>
              <p:cNvSpPr>
                <a:spLocks noEditPoints="1"/>
              </p:cNvSpPr>
              <p:nvPr/>
            </p:nvSpPr>
            <p:spPr bwMode="gray">
              <a:xfrm>
                <a:off x="2139" y="1985"/>
                <a:ext cx="402" cy="744"/>
              </a:xfrm>
              <a:custGeom>
                <a:avLst/>
                <a:gdLst>
                  <a:gd name="T0" fmla="*/ 22 w 147"/>
                  <a:gd name="T1" fmla="*/ 71 h 272"/>
                  <a:gd name="T2" fmla="*/ 31 w 147"/>
                  <a:gd name="T3" fmla="*/ 53 h 272"/>
                  <a:gd name="T4" fmla="*/ 18 w 147"/>
                  <a:gd name="T5" fmla="*/ 80 h 272"/>
                  <a:gd name="T6" fmla="*/ 13 w 147"/>
                  <a:gd name="T7" fmla="*/ 165 h 272"/>
                  <a:gd name="T8" fmla="*/ 4 w 147"/>
                  <a:gd name="T9" fmla="*/ 156 h 272"/>
                  <a:gd name="T10" fmla="*/ 22 w 147"/>
                  <a:gd name="T11" fmla="*/ 143 h 272"/>
                  <a:gd name="T12" fmla="*/ 36 w 147"/>
                  <a:gd name="T13" fmla="*/ 156 h 272"/>
                  <a:gd name="T14" fmla="*/ 36 w 147"/>
                  <a:gd name="T15" fmla="*/ 89 h 272"/>
                  <a:gd name="T16" fmla="*/ 27 w 147"/>
                  <a:gd name="T17" fmla="*/ 80 h 272"/>
                  <a:gd name="T18" fmla="*/ 31 w 147"/>
                  <a:gd name="T19" fmla="*/ 93 h 272"/>
                  <a:gd name="T20" fmla="*/ 76 w 147"/>
                  <a:gd name="T21" fmla="*/ 49 h 272"/>
                  <a:gd name="T22" fmla="*/ 45 w 147"/>
                  <a:gd name="T23" fmla="*/ 62 h 272"/>
                  <a:gd name="T24" fmla="*/ 36 w 147"/>
                  <a:gd name="T25" fmla="*/ 98 h 272"/>
                  <a:gd name="T26" fmla="*/ 27 w 147"/>
                  <a:gd name="T27" fmla="*/ 107 h 272"/>
                  <a:gd name="T28" fmla="*/ 36 w 147"/>
                  <a:gd name="T29" fmla="*/ 111 h 272"/>
                  <a:gd name="T30" fmla="*/ 36 w 147"/>
                  <a:gd name="T31" fmla="*/ 120 h 272"/>
                  <a:gd name="T32" fmla="*/ 40 w 147"/>
                  <a:gd name="T33" fmla="*/ 138 h 272"/>
                  <a:gd name="T34" fmla="*/ 45 w 147"/>
                  <a:gd name="T35" fmla="*/ 125 h 272"/>
                  <a:gd name="T36" fmla="*/ 54 w 147"/>
                  <a:gd name="T37" fmla="*/ 143 h 272"/>
                  <a:gd name="T38" fmla="*/ 58 w 147"/>
                  <a:gd name="T39" fmla="*/ 156 h 272"/>
                  <a:gd name="T40" fmla="*/ 71 w 147"/>
                  <a:gd name="T41" fmla="*/ 151 h 272"/>
                  <a:gd name="T42" fmla="*/ 76 w 147"/>
                  <a:gd name="T43" fmla="*/ 174 h 272"/>
                  <a:gd name="T44" fmla="*/ 76 w 147"/>
                  <a:gd name="T45" fmla="*/ 183 h 272"/>
                  <a:gd name="T46" fmla="*/ 54 w 147"/>
                  <a:gd name="T47" fmla="*/ 187 h 272"/>
                  <a:gd name="T48" fmla="*/ 67 w 147"/>
                  <a:gd name="T49" fmla="*/ 196 h 272"/>
                  <a:gd name="T50" fmla="*/ 45 w 147"/>
                  <a:gd name="T51" fmla="*/ 223 h 272"/>
                  <a:gd name="T52" fmla="*/ 67 w 147"/>
                  <a:gd name="T53" fmla="*/ 232 h 272"/>
                  <a:gd name="T54" fmla="*/ 76 w 147"/>
                  <a:gd name="T55" fmla="*/ 236 h 272"/>
                  <a:gd name="T56" fmla="*/ 49 w 147"/>
                  <a:gd name="T57" fmla="*/ 254 h 272"/>
                  <a:gd name="T58" fmla="*/ 40 w 147"/>
                  <a:gd name="T59" fmla="*/ 268 h 272"/>
                  <a:gd name="T60" fmla="*/ 58 w 147"/>
                  <a:gd name="T61" fmla="*/ 259 h 272"/>
                  <a:gd name="T62" fmla="*/ 89 w 147"/>
                  <a:gd name="T63" fmla="*/ 254 h 272"/>
                  <a:gd name="T64" fmla="*/ 98 w 147"/>
                  <a:gd name="T65" fmla="*/ 254 h 272"/>
                  <a:gd name="T66" fmla="*/ 121 w 147"/>
                  <a:gd name="T67" fmla="*/ 250 h 272"/>
                  <a:gd name="T68" fmla="*/ 143 w 147"/>
                  <a:gd name="T69" fmla="*/ 232 h 272"/>
                  <a:gd name="T70" fmla="*/ 143 w 147"/>
                  <a:gd name="T71" fmla="*/ 223 h 272"/>
                  <a:gd name="T72" fmla="*/ 129 w 147"/>
                  <a:gd name="T73" fmla="*/ 201 h 272"/>
                  <a:gd name="T74" fmla="*/ 121 w 147"/>
                  <a:gd name="T75" fmla="*/ 183 h 272"/>
                  <a:gd name="T76" fmla="*/ 103 w 147"/>
                  <a:gd name="T77" fmla="*/ 151 h 272"/>
                  <a:gd name="T78" fmla="*/ 85 w 147"/>
                  <a:gd name="T79" fmla="*/ 125 h 272"/>
                  <a:gd name="T80" fmla="*/ 89 w 147"/>
                  <a:gd name="T81" fmla="*/ 111 h 272"/>
                  <a:gd name="T82" fmla="*/ 98 w 147"/>
                  <a:gd name="T83" fmla="*/ 80 h 272"/>
                  <a:gd name="T84" fmla="*/ 62 w 147"/>
                  <a:gd name="T85" fmla="*/ 80 h 272"/>
                  <a:gd name="T86" fmla="*/ 67 w 147"/>
                  <a:gd name="T87" fmla="*/ 71 h 272"/>
                  <a:gd name="T88" fmla="*/ 76 w 147"/>
                  <a:gd name="T89" fmla="*/ 44 h 272"/>
                  <a:gd name="T90" fmla="*/ 76 w 147"/>
                  <a:gd name="T91" fmla="*/ 40 h 272"/>
                  <a:gd name="T92" fmla="*/ 107 w 147"/>
                  <a:gd name="T93" fmla="*/ 13 h 272"/>
                  <a:gd name="T94" fmla="*/ 103 w 147"/>
                  <a:gd name="T95" fmla="*/ 17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7" h="272">
                    <a:moveTo>
                      <a:pt x="13" y="98"/>
                    </a:moveTo>
                    <a:lnTo>
                      <a:pt x="18" y="93"/>
                    </a:lnTo>
                    <a:lnTo>
                      <a:pt x="22" y="76"/>
                    </a:lnTo>
                    <a:lnTo>
                      <a:pt x="22" y="71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31" y="58"/>
                    </a:lnTo>
                    <a:lnTo>
                      <a:pt x="31" y="53"/>
                    </a:lnTo>
                    <a:lnTo>
                      <a:pt x="22" y="58"/>
                    </a:lnTo>
                    <a:lnTo>
                      <a:pt x="18" y="76"/>
                    </a:lnTo>
                    <a:lnTo>
                      <a:pt x="13" y="76"/>
                    </a:lnTo>
                    <a:lnTo>
                      <a:pt x="18" y="80"/>
                    </a:lnTo>
                    <a:lnTo>
                      <a:pt x="13" y="98"/>
                    </a:lnTo>
                    <a:close/>
                    <a:moveTo>
                      <a:pt x="27" y="169"/>
                    </a:moveTo>
                    <a:lnTo>
                      <a:pt x="22" y="169"/>
                    </a:lnTo>
                    <a:lnTo>
                      <a:pt x="13" y="165"/>
                    </a:lnTo>
                    <a:lnTo>
                      <a:pt x="13" y="174"/>
                    </a:lnTo>
                    <a:lnTo>
                      <a:pt x="0" y="169"/>
                    </a:lnTo>
                    <a:lnTo>
                      <a:pt x="0" y="165"/>
                    </a:lnTo>
                    <a:lnTo>
                      <a:pt x="4" y="156"/>
                    </a:lnTo>
                    <a:lnTo>
                      <a:pt x="9" y="156"/>
                    </a:lnTo>
                    <a:lnTo>
                      <a:pt x="13" y="151"/>
                    </a:lnTo>
                    <a:lnTo>
                      <a:pt x="18" y="143"/>
                    </a:lnTo>
                    <a:lnTo>
                      <a:pt x="22" y="143"/>
                    </a:lnTo>
                    <a:lnTo>
                      <a:pt x="31" y="143"/>
                    </a:lnTo>
                    <a:lnTo>
                      <a:pt x="36" y="151"/>
                    </a:lnTo>
                    <a:lnTo>
                      <a:pt x="31" y="156"/>
                    </a:lnTo>
                    <a:lnTo>
                      <a:pt x="36" y="156"/>
                    </a:lnTo>
                    <a:lnTo>
                      <a:pt x="40" y="160"/>
                    </a:lnTo>
                    <a:lnTo>
                      <a:pt x="36" y="165"/>
                    </a:lnTo>
                    <a:lnTo>
                      <a:pt x="27" y="169"/>
                    </a:lnTo>
                    <a:close/>
                    <a:moveTo>
                      <a:pt x="36" y="89"/>
                    </a:moveTo>
                    <a:lnTo>
                      <a:pt x="31" y="84"/>
                    </a:lnTo>
                    <a:lnTo>
                      <a:pt x="31" y="80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22" y="89"/>
                    </a:lnTo>
                    <a:lnTo>
                      <a:pt x="27" y="89"/>
                    </a:lnTo>
                    <a:lnTo>
                      <a:pt x="27" y="93"/>
                    </a:lnTo>
                    <a:lnTo>
                      <a:pt x="31" y="93"/>
                    </a:lnTo>
                    <a:lnTo>
                      <a:pt x="36" y="89"/>
                    </a:lnTo>
                    <a:close/>
                    <a:moveTo>
                      <a:pt x="62" y="71"/>
                    </a:moveTo>
                    <a:lnTo>
                      <a:pt x="76" y="58"/>
                    </a:lnTo>
                    <a:lnTo>
                      <a:pt x="76" y="49"/>
                    </a:lnTo>
                    <a:lnTo>
                      <a:pt x="58" y="53"/>
                    </a:lnTo>
                    <a:lnTo>
                      <a:pt x="49" y="49"/>
                    </a:lnTo>
                    <a:lnTo>
                      <a:pt x="45" y="62"/>
                    </a:lnTo>
                    <a:lnTo>
                      <a:pt x="45" y="62"/>
                    </a:lnTo>
                    <a:lnTo>
                      <a:pt x="40" y="67"/>
                    </a:lnTo>
                    <a:lnTo>
                      <a:pt x="36" y="71"/>
                    </a:lnTo>
                    <a:lnTo>
                      <a:pt x="36" y="84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6" y="107"/>
                    </a:lnTo>
                    <a:lnTo>
                      <a:pt x="31" y="107"/>
                    </a:lnTo>
                    <a:lnTo>
                      <a:pt x="27" y="107"/>
                    </a:lnTo>
                    <a:lnTo>
                      <a:pt x="31" y="111"/>
                    </a:lnTo>
                    <a:lnTo>
                      <a:pt x="27" y="111"/>
                    </a:lnTo>
                    <a:lnTo>
                      <a:pt x="27" y="116"/>
                    </a:lnTo>
                    <a:lnTo>
                      <a:pt x="36" y="111"/>
                    </a:lnTo>
                    <a:lnTo>
                      <a:pt x="45" y="102"/>
                    </a:lnTo>
                    <a:lnTo>
                      <a:pt x="49" y="102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31" y="125"/>
                    </a:lnTo>
                    <a:lnTo>
                      <a:pt x="36" y="125"/>
                    </a:lnTo>
                    <a:lnTo>
                      <a:pt x="40" y="134"/>
                    </a:lnTo>
                    <a:lnTo>
                      <a:pt x="40" y="138"/>
                    </a:lnTo>
                    <a:lnTo>
                      <a:pt x="45" y="138"/>
                    </a:lnTo>
                    <a:lnTo>
                      <a:pt x="45" y="134"/>
                    </a:lnTo>
                    <a:lnTo>
                      <a:pt x="49" y="134"/>
                    </a:lnTo>
                    <a:lnTo>
                      <a:pt x="45" y="125"/>
                    </a:lnTo>
                    <a:lnTo>
                      <a:pt x="49" y="125"/>
                    </a:lnTo>
                    <a:lnTo>
                      <a:pt x="49" y="134"/>
                    </a:lnTo>
                    <a:lnTo>
                      <a:pt x="54" y="134"/>
                    </a:lnTo>
                    <a:lnTo>
                      <a:pt x="54" y="143"/>
                    </a:lnTo>
                    <a:lnTo>
                      <a:pt x="49" y="151"/>
                    </a:lnTo>
                    <a:lnTo>
                      <a:pt x="54" y="160"/>
                    </a:lnTo>
                    <a:lnTo>
                      <a:pt x="54" y="156"/>
                    </a:lnTo>
                    <a:lnTo>
                      <a:pt x="58" y="156"/>
                    </a:lnTo>
                    <a:lnTo>
                      <a:pt x="62" y="156"/>
                    </a:lnTo>
                    <a:lnTo>
                      <a:pt x="58" y="151"/>
                    </a:lnTo>
                    <a:lnTo>
                      <a:pt x="67" y="156"/>
                    </a:lnTo>
                    <a:lnTo>
                      <a:pt x="71" y="151"/>
                    </a:lnTo>
                    <a:lnTo>
                      <a:pt x="80" y="151"/>
                    </a:lnTo>
                    <a:lnTo>
                      <a:pt x="76" y="156"/>
                    </a:lnTo>
                    <a:lnTo>
                      <a:pt x="71" y="160"/>
                    </a:lnTo>
                    <a:lnTo>
                      <a:pt x="76" y="174"/>
                    </a:lnTo>
                    <a:lnTo>
                      <a:pt x="80" y="169"/>
                    </a:lnTo>
                    <a:lnTo>
                      <a:pt x="85" y="169"/>
                    </a:lnTo>
                    <a:lnTo>
                      <a:pt x="76" y="174"/>
                    </a:lnTo>
                    <a:lnTo>
                      <a:pt x="76" y="183"/>
                    </a:lnTo>
                    <a:lnTo>
                      <a:pt x="80" y="187"/>
                    </a:lnTo>
                    <a:lnTo>
                      <a:pt x="62" y="187"/>
                    </a:lnTo>
                    <a:lnTo>
                      <a:pt x="58" y="187"/>
                    </a:lnTo>
                    <a:lnTo>
                      <a:pt x="54" y="187"/>
                    </a:lnTo>
                    <a:lnTo>
                      <a:pt x="58" y="192"/>
                    </a:lnTo>
                    <a:lnTo>
                      <a:pt x="54" y="201"/>
                    </a:lnTo>
                    <a:lnTo>
                      <a:pt x="62" y="196"/>
                    </a:lnTo>
                    <a:lnTo>
                      <a:pt x="67" y="196"/>
                    </a:lnTo>
                    <a:lnTo>
                      <a:pt x="67" y="205"/>
                    </a:lnTo>
                    <a:lnTo>
                      <a:pt x="67" y="210"/>
                    </a:lnTo>
                    <a:lnTo>
                      <a:pt x="62" y="219"/>
                    </a:lnTo>
                    <a:lnTo>
                      <a:pt x="45" y="223"/>
                    </a:lnTo>
                    <a:lnTo>
                      <a:pt x="49" y="232"/>
                    </a:lnTo>
                    <a:lnTo>
                      <a:pt x="58" y="223"/>
                    </a:lnTo>
                    <a:lnTo>
                      <a:pt x="62" y="232"/>
                    </a:lnTo>
                    <a:lnTo>
                      <a:pt x="67" y="232"/>
                    </a:lnTo>
                    <a:lnTo>
                      <a:pt x="71" y="232"/>
                    </a:lnTo>
                    <a:lnTo>
                      <a:pt x="76" y="227"/>
                    </a:lnTo>
                    <a:lnTo>
                      <a:pt x="80" y="227"/>
                    </a:lnTo>
                    <a:lnTo>
                      <a:pt x="76" y="236"/>
                    </a:lnTo>
                    <a:lnTo>
                      <a:pt x="62" y="241"/>
                    </a:lnTo>
                    <a:lnTo>
                      <a:pt x="58" y="245"/>
                    </a:lnTo>
                    <a:lnTo>
                      <a:pt x="54" y="250"/>
                    </a:lnTo>
                    <a:lnTo>
                      <a:pt x="49" y="254"/>
                    </a:lnTo>
                    <a:lnTo>
                      <a:pt x="45" y="259"/>
                    </a:lnTo>
                    <a:lnTo>
                      <a:pt x="40" y="263"/>
                    </a:lnTo>
                    <a:lnTo>
                      <a:pt x="36" y="268"/>
                    </a:lnTo>
                    <a:lnTo>
                      <a:pt x="40" y="268"/>
                    </a:lnTo>
                    <a:lnTo>
                      <a:pt x="45" y="268"/>
                    </a:lnTo>
                    <a:lnTo>
                      <a:pt x="45" y="272"/>
                    </a:lnTo>
                    <a:lnTo>
                      <a:pt x="49" y="263"/>
                    </a:lnTo>
                    <a:lnTo>
                      <a:pt x="58" y="259"/>
                    </a:lnTo>
                    <a:lnTo>
                      <a:pt x="71" y="263"/>
                    </a:lnTo>
                    <a:lnTo>
                      <a:pt x="71" y="254"/>
                    </a:lnTo>
                    <a:lnTo>
                      <a:pt x="85" y="250"/>
                    </a:lnTo>
                    <a:lnTo>
                      <a:pt x="89" y="254"/>
                    </a:lnTo>
                    <a:lnTo>
                      <a:pt x="89" y="259"/>
                    </a:lnTo>
                    <a:lnTo>
                      <a:pt x="94" y="254"/>
                    </a:lnTo>
                    <a:lnTo>
                      <a:pt x="98" y="254"/>
                    </a:lnTo>
                    <a:lnTo>
                      <a:pt x="98" y="254"/>
                    </a:lnTo>
                    <a:lnTo>
                      <a:pt x="103" y="254"/>
                    </a:lnTo>
                    <a:lnTo>
                      <a:pt x="103" y="250"/>
                    </a:lnTo>
                    <a:lnTo>
                      <a:pt x="112" y="254"/>
                    </a:lnTo>
                    <a:lnTo>
                      <a:pt x="121" y="250"/>
                    </a:lnTo>
                    <a:lnTo>
                      <a:pt x="125" y="250"/>
                    </a:lnTo>
                    <a:lnTo>
                      <a:pt x="138" y="250"/>
                    </a:lnTo>
                    <a:lnTo>
                      <a:pt x="143" y="241"/>
                    </a:lnTo>
                    <a:lnTo>
                      <a:pt x="143" y="232"/>
                    </a:lnTo>
                    <a:lnTo>
                      <a:pt x="134" y="232"/>
                    </a:lnTo>
                    <a:lnTo>
                      <a:pt x="129" y="232"/>
                    </a:lnTo>
                    <a:lnTo>
                      <a:pt x="138" y="223"/>
                    </a:lnTo>
                    <a:lnTo>
                      <a:pt x="143" y="223"/>
                    </a:lnTo>
                    <a:lnTo>
                      <a:pt x="147" y="214"/>
                    </a:lnTo>
                    <a:lnTo>
                      <a:pt x="147" y="205"/>
                    </a:lnTo>
                    <a:lnTo>
                      <a:pt x="143" y="201"/>
                    </a:lnTo>
                    <a:lnTo>
                      <a:pt x="129" y="201"/>
                    </a:lnTo>
                    <a:lnTo>
                      <a:pt x="125" y="205"/>
                    </a:lnTo>
                    <a:lnTo>
                      <a:pt x="121" y="201"/>
                    </a:lnTo>
                    <a:lnTo>
                      <a:pt x="125" y="192"/>
                    </a:lnTo>
                    <a:lnTo>
                      <a:pt x="121" y="183"/>
                    </a:lnTo>
                    <a:lnTo>
                      <a:pt x="121" y="178"/>
                    </a:lnTo>
                    <a:lnTo>
                      <a:pt x="112" y="160"/>
                    </a:lnTo>
                    <a:lnTo>
                      <a:pt x="107" y="160"/>
                    </a:lnTo>
                    <a:lnTo>
                      <a:pt x="103" y="151"/>
                    </a:lnTo>
                    <a:lnTo>
                      <a:pt x="103" y="147"/>
                    </a:lnTo>
                    <a:lnTo>
                      <a:pt x="98" y="134"/>
                    </a:lnTo>
                    <a:lnTo>
                      <a:pt x="94" y="129"/>
                    </a:lnTo>
                    <a:lnTo>
                      <a:pt x="85" y="125"/>
                    </a:lnTo>
                    <a:lnTo>
                      <a:pt x="76" y="125"/>
                    </a:lnTo>
                    <a:lnTo>
                      <a:pt x="80" y="116"/>
                    </a:lnTo>
                    <a:lnTo>
                      <a:pt x="85" y="120"/>
                    </a:lnTo>
                    <a:lnTo>
                      <a:pt x="89" y="111"/>
                    </a:lnTo>
                    <a:lnTo>
                      <a:pt x="85" y="116"/>
                    </a:lnTo>
                    <a:lnTo>
                      <a:pt x="85" y="107"/>
                    </a:lnTo>
                    <a:lnTo>
                      <a:pt x="85" y="98"/>
                    </a:lnTo>
                    <a:lnTo>
                      <a:pt x="98" y="80"/>
                    </a:lnTo>
                    <a:lnTo>
                      <a:pt x="98" y="76"/>
                    </a:lnTo>
                    <a:lnTo>
                      <a:pt x="89" y="80"/>
                    </a:lnTo>
                    <a:lnTo>
                      <a:pt x="71" y="76"/>
                    </a:lnTo>
                    <a:lnTo>
                      <a:pt x="62" y="80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62" y="76"/>
                    </a:lnTo>
                    <a:lnTo>
                      <a:pt x="67" y="71"/>
                    </a:lnTo>
                    <a:lnTo>
                      <a:pt x="62" y="71"/>
                    </a:lnTo>
                    <a:close/>
                    <a:moveTo>
                      <a:pt x="71" y="35"/>
                    </a:moveTo>
                    <a:lnTo>
                      <a:pt x="71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80" y="31"/>
                    </a:lnTo>
                    <a:lnTo>
                      <a:pt x="71" y="35"/>
                    </a:lnTo>
                    <a:close/>
                    <a:moveTo>
                      <a:pt x="103" y="17"/>
                    </a:moveTo>
                    <a:lnTo>
                      <a:pt x="107" y="13"/>
                    </a:lnTo>
                    <a:lnTo>
                      <a:pt x="103" y="0"/>
                    </a:lnTo>
                    <a:lnTo>
                      <a:pt x="98" y="8"/>
                    </a:lnTo>
                    <a:lnTo>
                      <a:pt x="103" y="8"/>
                    </a:lnTo>
                    <a:lnTo>
                      <a:pt x="103" y="17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56" name="Freeform 40"/>
              <p:cNvSpPr>
                <a:spLocks/>
              </p:cNvSpPr>
              <p:nvPr/>
            </p:nvSpPr>
            <p:spPr bwMode="gray">
              <a:xfrm>
                <a:off x="3189" y="2951"/>
                <a:ext cx="184" cy="229"/>
              </a:xfrm>
              <a:custGeom>
                <a:avLst/>
                <a:gdLst>
                  <a:gd name="T0" fmla="*/ 0 w 67"/>
                  <a:gd name="T1" fmla="*/ 67 h 84"/>
                  <a:gd name="T2" fmla="*/ 0 w 67"/>
                  <a:gd name="T3" fmla="*/ 67 h 84"/>
                  <a:gd name="T4" fmla="*/ 0 w 67"/>
                  <a:gd name="T5" fmla="*/ 67 h 84"/>
                  <a:gd name="T6" fmla="*/ 0 w 67"/>
                  <a:gd name="T7" fmla="*/ 62 h 84"/>
                  <a:gd name="T8" fmla="*/ 0 w 67"/>
                  <a:gd name="T9" fmla="*/ 62 h 84"/>
                  <a:gd name="T10" fmla="*/ 0 w 67"/>
                  <a:gd name="T11" fmla="*/ 58 h 84"/>
                  <a:gd name="T12" fmla="*/ 5 w 67"/>
                  <a:gd name="T13" fmla="*/ 53 h 84"/>
                  <a:gd name="T14" fmla="*/ 5 w 67"/>
                  <a:gd name="T15" fmla="*/ 53 h 84"/>
                  <a:gd name="T16" fmla="*/ 5 w 67"/>
                  <a:gd name="T17" fmla="*/ 53 h 84"/>
                  <a:gd name="T18" fmla="*/ 5 w 67"/>
                  <a:gd name="T19" fmla="*/ 49 h 84"/>
                  <a:gd name="T20" fmla="*/ 9 w 67"/>
                  <a:gd name="T21" fmla="*/ 49 h 84"/>
                  <a:gd name="T22" fmla="*/ 13 w 67"/>
                  <a:gd name="T23" fmla="*/ 44 h 84"/>
                  <a:gd name="T24" fmla="*/ 9 w 67"/>
                  <a:gd name="T25" fmla="*/ 40 h 84"/>
                  <a:gd name="T26" fmla="*/ 13 w 67"/>
                  <a:gd name="T27" fmla="*/ 40 h 84"/>
                  <a:gd name="T28" fmla="*/ 13 w 67"/>
                  <a:gd name="T29" fmla="*/ 40 h 84"/>
                  <a:gd name="T30" fmla="*/ 5 w 67"/>
                  <a:gd name="T31" fmla="*/ 35 h 84"/>
                  <a:gd name="T32" fmla="*/ 5 w 67"/>
                  <a:gd name="T33" fmla="*/ 31 h 84"/>
                  <a:gd name="T34" fmla="*/ 9 w 67"/>
                  <a:gd name="T35" fmla="*/ 26 h 84"/>
                  <a:gd name="T36" fmla="*/ 9 w 67"/>
                  <a:gd name="T37" fmla="*/ 22 h 84"/>
                  <a:gd name="T38" fmla="*/ 5 w 67"/>
                  <a:gd name="T39" fmla="*/ 22 h 84"/>
                  <a:gd name="T40" fmla="*/ 5 w 67"/>
                  <a:gd name="T41" fmla="*/ 17 h 84"/>
                  <a:gd name="T42" fmla="*/ 9 w 67"/>
                  <a:gd name="T43" fmla="*/ 17 h 84"/>
                  <a:gd name="T44" fmla="*/ 9 w 67"/>
                  <a:gd name="T45" fmla="*/ 13 h 84"/>
                  <a:gd name="T46" fmla="*/ 5 w 67"/>
                  <a:gd name="T47" fmla="*/ 13 h 84"/>
                  <a:gd name="T48" fmla="*/ 5 w 67"/>
                  <a:gd name="T49" fmla="*/ 13 h 84"/>
                  <a:gd name="T50" fmla="*/ 5 w 67"/>
                  <a:gd name="T51" fmla="*/ 9 h 84"/>
                  <a:gd name="T52" fmla="*/ 5 w 67"/>
                  <a:gd name="T53" fmla="*/ 9 h 84"/>
                  <a:gd name="T54" fmla="*/ 5 w 67"/>
                  <a:gd name="T55" fmla="*/ 4 h 84"/>
                  <a:gd name="T56" fmla="*/ 0 w 67"/>
                  <a:gd name="T57" fmla="*/ 4 h 84"/>
                  <a:gd name="T58" fmla="*/ 13 w 67"/>
                  <a:gd name="T59" fmla="*/ 0 h 84"/>
                  <a:gd name="T60" fmla="*/ 27 w 67"/>
                  <a:gd name="T61" fmla="*/ 0 h 84"/>
                  <a:gd name="T62" fmla="*/ 31 w 67"/>
                  <a:gd name="T63" fmla="*/ 9 h 84"/>
                  <a:gd name="T64" fmla="*/ 31 w 67"/>
                  <a:gd name="T65" fmla="*/ 17 h 84"/>
                  <a:gd name="T66" fmla="*/ 40 w 67"/>
                  <a:gd name="T67" fmla="*/ 26 h 84"/>
                  <a:gd name="T68" fmla="*/ 49 w 67"/>
                  <a:gd name="T69" fmla="*/ 31 h 84"/>
                  <a:gd name="T70" fmla="*/ 54 w 67"/>
                  <a:gd name="T71" fmla="*/ 31 h 84"/>
                  <a:gd name="T72" fmla="*/ 54 w 67"/>
                  <a:gd name="T73" fmla="*/ 35 h 84"/>
                  <a:gd name="T74" fmla="*/ 58 w 67"/>
                  <a:gd name="T75" fmla="*/ 35 h 84"/>
                  <a:gd name="T76" fmla="*/ 54 w 67"/>
                  <a:gd name="T77" fmla="*/ 53 h 84"/>
                  <a:gd name="T78" fmla="*/ 67 w 67"/>
                  <a:gd name="T79" fmla="*/ 62 h 84"/>
                  <a:gd name="T80" fmla="*/ 67 w 67"/>
                  <a:gd name="T81" fmla="*/ 67 h 84"/>
                  <a:gd name="T82" fmla="*/ 58 w 67"/>
                  <a:gd name="T83" fmla="*/ 71 h 84"/>
                  <a:gd name="T84" fmla="*/ 58 w 67"/>
                  <a:gd name="T85" fmla="*/ 80 h 84"/>
                  <a:gd name="T86" fmla="*/ 54 w 67"/>
                  <a:gd name="T87" fmla="*/ 76 h 84"/>
                  <a:gd name="T88" fmla="*/ 40 w 67"/>
                  <a:gd name="T89" fmla="*/ 80 h 84"/>
                  <a:gd name="T90" fmla="*/ 40 w 67"/>
                  <a:gd name="T91" fmla="*/ 80 h 84"/>
                  <a:gd name="T92" fmla="*/ 31 w 67"/>
                  <a:gd name="T93" fmla="*/ 84 h 84"/>
                  <a:gd name="T94" fmla="*/ 27 w 67"/>
                  <a:gd name="T95" fmla="*/ 84 h 84"/>
                  <a:gd name="T96" fmla="*/ 27 w 67"/>
                  <a:gd name="T97" fmla="*/ 76 h 84"/>
                  <a:gd name="T98" fmla="*/ 18 w 67"/>
                  <a:gd name="T99" fmla="*/ 71 h 84"/>
                  <a:gd name="T100" fmla="*/ 13 w 67"/>
                  <a:gd name="T101" fmla="*/ 84 h 84"/>
                  <a:gd name="T102" fmla="*/ 9 w 67"/>
                  <a:gd name="T103" fmla="*/ 84 h 84"/>
                  <a:gd name="T104" fmla="*/ 0 w 67"/>
                  <a:gd name="T105" fmla="*/ 71 h 84"/>
                  <a:gd name="T106" fmla="*/ 0 w 67"/>
                  <a:gd name="T107" fmla="*/ 71 h 84"/>
                  <a:gd name="T108" fmla="*/ 0 w 67"/>
                  <a:gd name="T109" fmla="*/ 67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7" h="84">
                    <a:moveTo>
                      <a:pt x="0" y="67"/>
                    </a:moveTo>
                    <a:lnTo>
                      <a:pt x="0" y="67"/>
                    </a:lnTo>
                    <a:lnTo>
                      <a:pt x="0" y="67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49"/>
                    </a:lnTo>
                    <a:lnTo>
                      <a:pt x="9" y="49"/>
                    </a:lnTo>
                    <a:lnTo>
                      <a:pt x="13" y="44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5" y="35"/>
                    </a:lnTo>
                    <a:lnTo>
                      <a:pt x="5" y="31"/>
                    </a:lnTo>
                    <a:lnTo>
                      <a:pt x="9" y="26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5" y="17"/>
                    </a:lnTo>
                    <a:lnTo>
                      <a:pt x="9" y="17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13" y="0"/>
                    </a:lnTo>
                    <a:lnTo>
                      <a:pt x="27" y="0"/>
                    </a:lnTo>
                    <a:lnTo>
                      <a:pt x="31" y="9"/>
                    </a:lnTo>
                    <a:lnTo>
                      <a:pt x="31" y="17"/>
                    </a:lnTo>
                    <a:lnTo>
                      <a:pt x="40" y="26"/>
                    </a:lnTo>
                    <a:lnTo>
                      <a:pt x="49" y="31"/>
                    </a:lnTo>
                    <a:lnTo>
                      <a:pt x="54" y="31"/>
                    </a:lnTo>
                    <a:lnTo>
                      <a:pt x="54" y="35"/>
                    </a:lnTo>
                    <a:lnTo>
                      <a:pt x="58" y="35"/>
                    </a:lnTo>
                    <a:lnTo>
                      <a:pt x="54" y="53"/>
                    </a:lnTo>
                    <a:lnTo>
                      <a:pt x="67" y="62"/>
                    </a:lnTo>
                    <a:lnTo>
                      <a:pt x="67" y="67"/>
                    </a:lnTo>
                    <a:lnTo>
                      <a:pt x="58" y="71"/>
                    </a:lnTo>
                    <a:lnTo>
                      <a:pt x="58" y="80"/>
                    </a:lnTo>
                    <a:lnTo>
                      <a:pt x="54" y="76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31" y="84"/>
                    </a:lnTo>
                    <a:lnTo>
                      <a:pt x="27" y="84"/>
                    </a:lnTo>
                    <a:lnTo>
                      <a:pt x="27" y="76"/>
                    </a:lnTo>
                    <a:lnTo>
                      <a:pt x="18" y="71"/>
                    </a:lnTo>
                    <a:lnTo>
                      <a:pt x="13" y="84"/>
                    </a:lnTo>
                    <a:lnTo>
                      <a:pt x="9" y="84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74057" name="Freeform 41"/>
              <p:cNvSpPr>
                <a:spLocks/>
              </p:cNvSpPr>
              <p:nvPr/>
            </p:nvSpPr>
            <p:spPr bwMode="gray">
              <a:xfrm>
                <a:off x="3189" y="3145"/>
                <a:ext cx="36" cy="35"/>
              </a:xfrm>
              <a:custGeom>
                <a:avLst/>
                <a:gdLst>
                  <a:gd name="T0" fmla="*/ 0 w 13"/>
                  <a:gd name="T1" fmla="*/ 0 h 13"/>
                  <a:gd name="T2" fmla="*/ 0 w 13"/>
                  <a:gd name="T3" fmla="*/ 0 h 13"/>
                  <a:gd name="T4" fmla="*/ 9 w 13"/>
                  <a:gd name="T5" fmla="*/ 13 h 13"/>
                  <a:gd name="T6" fmla="*/ 13 w 13"/>
                  <a:gd name="T7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3">
                    <a:moveTo>
                      <a:pt x="0" y="0"/>
                    </a:moveTo>
                    <a:lnTo>
                      <a:pt x="0" y="0"/>
                    </a:lnTo>
                    <a:lnTo>
                      <a:pt x="9" y="13"/>
                    </a:lnTo>
                    <a:lnTo>
                      <a:pt x="13" y="13"/>
                    </a:lnTo>
                  </a:path>
                </a:pathLst>
              </a:custGeom>
              <a:solidFill>
                <a:schemeClr val="accent2"/>
              </a:solidFill>
              <a:ln w="3175" cmpd="sng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774058" name="Freeform 42"/>
            <p:cNvSpPr>
              <a:spLocks noEditPoints="1"/>
            </p:cNvSpPr>
            <p:nvPr/>
          </p:nvSpPr>
          <p:spPr bwMode="gray">
            <a:xfrm>
              <a:off x="1797" y="3115"/>
              <a:ext cx="867" cy="793"/>
            </a:xfrm>
            <a:custGeom>
              <a:avLst/>
              <a:gdLst>
                <a:gd name="T0" fmla="*/ 4 w 317"/>
                <a:gd name="T1" fmla="*/ 290 h 290"/>
                <a:gd name="T2" fmla="*/ 13 w 317"/>
                <a:gd name="T3" fmla="*/ 277 h 290"/>
                <a:gd name="T4" fmla="*/ 22 w 317"/>
                <a:gd name="T5" fmla="*/ 286 h 290"/>
                <a:gd name="T6" fmla="*/ 27 w 317"/>
                <a:gd name="T7" fmla="*/ 290 h 290"/>
                <a:gd name="T8" fmla="*/ 27 w 317"/>
                <a:gd name="T9" fmla="*/ 286 h 290"/>
                <a:gd name="T10" fmla="*/ 143 w 317"/>
                <a:gd name="T11" fmla="*/ 125 h 290"/>
                <a:gd name="T12" fmla="*/ 156 w 317"/>
                <a:gd name="T13" fmla="*/ 138 h 290"/>
                <a:gd name="T14" fmla="*/ 170 w 317"/>
                <a:gd name="T15" fmla="*/ 147 h 290"/>
                <a:gd name="T16" fmla="*/ 179 w 317"/>
                <a:gd name="T17" fmla="*/ 143 h 290"/>
                <a:gd name="T18" fmla="*/ 196 w 317"/>
                <a:gd name="T19" fmla="*/ 138 h 290"/>
                <a:gd name="T20" fmla="*/ 205 w 317"/>
                <a:gd name="T21" fmla="*/ 138 h 290"/>
                <a:gd name="T22" fmla="*/ 219 w 317"/>
                <a:gd name="T23" fmla="*/ 134 h 290"/>
                <a:gd name="T24" fmla="*/ 228 w 317"/>
                <a:gd name="T25" fmla="*/ 125 h 290"/>
                <a:gd name="T26" fmla="*/ 241 w 317"/>
                <a:gd name="T27" fmla="*/ 111 h 290"/>
                <a:gd name="T28" fmla="*/ 250 w 317"/>
                <a:gd name="T29" fmla="*/ 98 h 290"/>
                <a:gd name="T30" fmla="*/ 241 w 317"/>
                <a:gd name="T31" fmla="*/ 89 h 290"/>
                <a:gd name="T32" fmla="*/ 263 w 317"/>
                <a:gd name="T33" fmla="*/ 53 h 290"/>
                <a:gd name="T34" fmla="*/ 295 w 317"/>
                <a:gd name="T35" fmla="*/ 35 h 290"/>
                <a:gd name="T36" fmla="*/ 295 w 317"/>
                <a:gd name="T37" fmla="*/ 31 h 290"/>
                <a:gd name="T38" fmla="*/ 295 w 317"/>
                <a:gd name="T39" fmla="*/ 27 h 290"/>
                <a:gd name="T40" fmla="*/ 277 w 317"/>
                <a:gd name="T41" fmla="*/ 27 h 290"/>
                <a:gd name="T42" fmla="*/ 259 w 317"/>
                <a:gd name="T43" fmla="*/ 22 h 290"/>
                <a:gd name="T44" fmla="*/ 241 w 317"/>
                <a:gd name="T45" fmla="*/ 22 h 290"/>
                <a:gd name="T46" fmla="*/ 223 w 317"/>
                <a:gd name="T47" fmla="*/ 4 h 290"/>
                <a:gd name="T48" fmla="*/ 214 w 317"/>
                <a:gd name="T49" fmla="*/ 4 h 290"/>
                <a:gd name="T50" fmla="*/ 201 w 317"/>
                <a:gd name="T51" fmla="*/ 4 h 290"/>
                <a:gd name="T52" fmla="*/ 179 w 317"/>
                <a:gd name="T53" fmla="*/ 4 h 290"/>
                <a:gd name="T54" fmla="*/ 170 w 317"/>
                <a:gd name="T55" fmla="*/ 0 h 290"/>
                <a:gd name="T56" fmla="*/ 152 w 317"/>
                <a:gd name="T57" fmla="*/ 4 h 290"/>
                <a:gd name="T58" fmla="*/ 143 w 317"/>
                <a:gd name="T59" fmla="*/ 0 h 290"/>
                <a:gd name="T60" fmla="*/ 125 w 317"/>
                <a:gd name="T61" fmla="*/ 0 h 290"/>
                <a:gd name="T62" fmla="*/ 116 w 317"/>
                <a:gd name="T63" fmla="*/ 4 h 290"/>
                <a:gd name="T64" fmla="*/ 112 w 317"/>
                <a:gd name="T65" fmla="*/ 18 h 290"/>
                <a:gd name="T66" fmla="*/ 116 w 317"/>
                <a:gd name="T67" fmla="*/ 22 h 290"/>
                <a:gd name="T68" fmla="*/ 116 w 317"/>
                <a:gd name="T69" fmla="*/ 31 h 290"/>
                <a:gd name="T70" fmla="*/ 129 w 317"/>
                <a:gd name="T71" fmla="*/ 31 h 290"/>
                <a:gd name="T72" fmla="*/ 152 w 317"/>
                <a:gd name="T73" fmla="*/ 40 h 290"/>
                <a:gd name="T74" fmla="*/ 152 w 317"/>
                <a:gd name="T75" fmla="*/ 53 h 290"/>
                <a:gd name="T76" fmla="*/ 147 w 317"/>
                <a:gd name="T77" fmla="*/ 71 h 290"/>
                <a:gd name="T78" fmla="*/ 138 w 317"/>
                <a:gd name="T79" fmla="*/ 85 h 290"/>
                <a:gd name="T80" fmla="*/ 143 w 317"/>
                <a:gd name="T81" fmla="*/ 107 h 290"/>
                <a:gd name="T82" fmla="*/ 143 w 317"/>
                <a:gd name="T83" fmla="*/ 116 h 290"/>
                <a:gd name="T84" fmla="*/ 268 w 317"/>
                <a:gd name="T85" fmla="*/ 94 h 290"/>
                <a:gd name="T86" fmla="*/ 268 w 317"/>
                <a:gd name="T87" fmla="*/ 103 h 290"/>
                <a:gd name="T88" fmla="*/ 272 w 317"/>
                <a:gd name="T89" fmla="*/ 103 h 290"/>
                <a:gd name="T90" fmla="*/ 272 w 317"/>
                <a:gd name="T91" fmla="*/ 94 h 290"/>
                <a:gd name="T92" fmla="*/ 286 w 317"/>
                <a:gd name="T93" fmla="*/ 85 h 290"/>
                <a:gd name="T94" fmla="*/ 290 w 317"/>
                <a:gd name="T95" fmla="*/ 89 h 290"/>
                <a:gd name="T96" fmla="*/ 304 w 317"/>
                <a:gd name="T97" fmla="*/ 85 h 290"/>
                <a:gd name="T98" fmla="*/ 299 w 317"/>
                <a:gd name="T99" fmla="*/ 76 h 290"/>
                <a:gd name="T100" fmla="*/ 290 w 317"/>
                <a:gd name="T101" fmla="*/ 80 h 290"/>
                <a:gd name="T102" fmla="*/ 308 w 317"/>
                <a:gd name="T103" fmla="*/ 71 h 290"/>
                <a:gd name="T104" fmla="*/ 317 w 317"/>
                <a:gd name="T105" fmla="*/ 80 h 290"/>
                <a:gd name="T106" fmla="*/ 308 w 317"/>
                <a:gd name="T107" fmla="*/ 71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7" h="290">
                  <a:moveTo>
                    <a:pt x="0" y="281"/>
                  </a:moveTo>
                  <a:lnTo>
                    <a:pt x="4" y="290"/>
                  </a:lnTo>
                  <a:lnTo>
                    <a:pt x="13" y="286"/>
                  </a:lnTo>
                  <a:lnTo>
                    <a:pt x="13" y="277"/>
                  </a:lnTo>
                  <a:lnTo>
                    <a:pt x="0" y="281"/>
                  </a:lnTo>
                  <a:close/>
                  <a:moveTo>
                    <a:pt x="22" y="286"/>
                  </a:moveTo>
                  <a:lnTo>
                    <a:pt x="18" y="290"/>
                  </a:lnTo>
                  <a:lnTo>
                    <a:pt x="27" y="290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2" y="286"/>
                  </a:lnTo>
                  <a:close/>
                  <a:moveTo>
                    <a:pt x="143" y="125"/>
                  </a:moveTo>
                  <a:lnTo>
                    <a:pt x="156" y="134"/>
                  </a:lnTo>
                  <a:lnTo>
                    <a:pt x="156" y="138"/>
                  </a:lnTo>
                  <a:lnTo>
                    <a:pt x="156" y="143"/>
                  </a:lnTo>
                  <a:lnTo>
                    <a:pt x="170" y="147"/>
                  </a:lnTo>
                  <a:lnTo>
                    <a:pt x="174" y="138"/>
                  </a:lnTo>
                  <a:lnTo>
                    <a:pt x="179" y="143"/>
                  </a:lnTo>
                  <a:lnTo>
                    <a:pt x="187" y="134"/>
                  </a:lnTo>
                  <a:lnTo>
                    <a:pt x="196" y="138"/>
                  </a:lnTo>
                  <a:lnTo>
                    <a:pt x="205" y="134"/>
                  </a:lnTo>
                  <a:lnTo>
                    <a:pt x="205" y="138"/>
                  </a:lnTo>
                  <a:lnTo>
                    <a:pt x="214" y="134"/>
                  </a:lnTo>
                  <a:lnTo>
                    <a:pt x="219" y="134"/>
                  </a:lnTo>
                  <a:lnTo>
                    <a:pt x="223" y="129"/>
                  </a:lnTo>
                  <a:lnTo>
                    <a:pt x="228" y="125"/>
                  </a:lnTo>
                  <a:lnTo>
                    <a:pt x="237" y="125"/>
                  </a:lnTo>
                  <a:lnTo>
                    <a:pt x="241" y="111"/>
                  </a:lnTo>
                  <a:lnTo>
                    <a:pt x="246" y="103"/>
                  </a:lnTo>
                  <a:lnTo>
                    <a:pt x="250" y="98"/>
                  </a:lnTo>
                  <a:lnTo>
                    <a:pt x="246" y="98"/>
                  </a:lnTo>
                  <a:lnTo>
                    <a:pt x="241" y="89"/>
                  </a:lnTo>
                  <a:lnTo>
                    <a:pt x="241" y="85"/>
                  </a:lnTo>
                  <a:lnTo>
                    <a:pt x="263" y="53"/>
                  </a:lnTo>
                  <a:lnTo>
                    <a:pt x="281" y="49"/>
                  </a:lnTo>
                  <a:lnTo>
                    <a:pt x="295" y="35"/>
                  </a:lnTo>
                  <a:lnTo>
                    <a:pt x="295" y="31"/>
                  </a:lnTo>
                  <a:lnTo>
                    <a:pt x="295" y="31"/>
                  </a:lnTo>
                  <a:lnTo>
                    <a:pt x="299" y="27"/>
                  </a:lnTo>
                  <a:lnTo>
                    <a:pt x="295" y="27"/>
                  </a:lnTo>
                  <a:lnTo>
                    <a:pt x="286" y="27"/>
                  </a:lnTo>
                  <a:lnTo>
                    <a:pt x="277" y="27"/>
                  </a:lnTo>
                  <a:lnTo>
                    <a:pt x="268" y="22"/>
                  </a:lnTo>
                  <a:lnTo>
                    <a:pt x="259" y="22"/>
                  </a:lnTo>
                  <a:lnTo>
                    <a:pt x="246" y="22"/>
                  </a:lnTo>
                  <a:lnTo>
                    <a:pt x="241" y="22"/>
                  </a:lnTo>
                  <a:lnTo>
                    <a:pt x="228" y="13"/>
                  </a:lnTo>
                  <a:lnTo>
                    <a:pt x="223" y="4"/>
                  </a:lnTo>
                  <a:lnTo>
                    <a:pt x="214" y="9"/>
                  </a:lnTo>
                  <a:lnTo>
                    <a:pt x="214" y="4"/>
                  </a:lnTo>
                  <a:lnTo>
                    <a:pt x="205" y="4"/>
                  </a:lnTo>
                  <a:lnTo>
                    <a:pt x="201" y="4"/>
                  </a:lnTo>
                  <a:lnTo>
                    <a:pt x="192" y="4"/>
                  </a:lnTo>
                  <a:lnTo>
                    <a:pt x="179" y="4"/>
                  </a:lnTo>
                  <a:lnTo>
                    <a:pt x="170" y="4"/>
                  </a:lnTo>
                  <a:lnTo>
                    <a:pt x="170" y="0"/>
                  </a:lnTo>
                  <a:lnTo>
                    <a:pt x="161" y="0"/>
                  </a:lnTo>
                  <a:lnTo>
                    <a:pt x="152" y="4"/>
                  </a:lnTo>
                  <a:lnTo>
                    <a:pt x="147" y="0"/>
                  </a:lnTo>
                  <a:lnTo>
                    <a:pt x="143" y="0"/>
                  </a:lnTo>
                  <a:lnTo>
                    <a:pt x="134" y="0"/>
                  </a:lnTo>
                  <a:lnTo>
                    <a:pt x="125" y="0"/>
                  </a:lnTo>
                  <a:lnTo>
                    <a:pt x="129" y="4"/>
                  </a:lnTo>
                  <a:lnTo>
                    <a:pt x="116" y="4"/>
                  </a:lnTo>
                  <a:lnTo>
                    <a:pt x="112" y="9"/>
                  </a:lnTo>
                  <a:lnTo>
                    <a:pt x="112" y="18"/>
                  </a:lnTo>
                  <a:lnTo>
                    <a:pt x="116" y="18"/>
                  </a:lnTo>
                  <a:lnTo>
                    <a:pt x="116" y="22"/>
                  </a:lnTo>
                  <a:lnTo>
                    <a:pt x="120" y="27"/>
                  </a:lnTo>
                  <a:lnTo>
                    <a:pt x="116" y="31"/>
                  </a:lnTo>
                  <a:lnTo>
                    <a:pt x="120" y="35"/>
                  </a:lnTo>
                  <a:lnTo>
                    <a:pt x="129" y="31"/>
                  </a:lnTo>
                  <a:lnTo>
                    <a:pt x="134" y="40"/>
                  </a:lnTo>
                  <a:lnTo>
                    <a:pt x="152" y="40"/>
                  </a:lnTo>
                  <a:lnTo>
                    <a:pt x="161" y="44"/>
                  </a:lnTo>
                  <a:lnTo>
                    <a:pt x="152" y="53"/>
                  </a:lnTo>
                  <a:lnTo>
                    <a:pt x="147" y="67"/>
                  </a:lnTo>
                  <a:lnTo>
                    <a:pt x="147" y="71"/>
                  </a:lnTo>
                  <a:lnTo>
                    <a:pt x="147" y="80"/>
                  </a:lnTo>
                  <a:lnTo>
                    <a:pt x="138" y="85"/>
                  </a:lnTo>
                  <a:lnTo>
                    <a:pt x="147" y="98"/>
                  </a:lnTo>
                  <a:lnTo>
                    <a:pt x="143" y="107"/>
                  </a:lnTo>
                  <a:lnTo>
                    <a:pt x="147" y="116"/>
                  </a:lnTo>
                  <a:lnTo>
                    <a:pt x="143" y="116"/>
                  </a:lnTo>
                  <a:lnTo>
                    <a:pt x="143" y="125"/>
                  </a:lnTo>
                  <a:close/>
                  <a:moveTo>
                    <a:pt x="268" y="94"/>
                  </a:moveTo>
                  <a:lnTo>
                    <a:pt x="263" y="98"/>
                  </a:lnTo>
                  <a:lnTo>
                    <a:pt x="268" y="103"/>
                  </a:lnTo>
                  <a:lnTo>
                    <a:pt x="268" y="103"/>
                  </a:lnTo>
                  <a:lnTo>
                    <a:pt x="272" y="103"/>
                  </a:lnTo>
                  <a:lnTo>
                    <a:pt x="268" y="98"/>
                  </a:lnTo>
                  <a:lnTo>
                    <a:pt x="272" y="94"/>
                  </a:lnTo>
                  <a:lnTo>
                    <a:pt x="268" y="94"/>
                  </a:lnTo>
                  <a:close/>
                  <a:moveTo>
                    <a:pt x="286" y="85"/>
                  </a:moveTo>
                  <a:lnTo>
                    <a:pt x="286" y="85"/>
                  </a:lnTo>
                  <a:lnTo>
                    <a:pt x="290" y="89"/>
                  </a:lnTo>
                  <a:lnTo>
                    <a:pt x="299" y="89"/>
                  </a:lnTo>
                  <a:lnTo>
                    <a:pt x="304" y="85"/>
                  </a:lnTo>
                  <a:lnTo>
                    <a:pt x="304" y="80"/>
                  </a:lnTo>
                  <a:lnTo>
                    <a:pt x="299" y="76"/>
                  </a:lnTo>
                  <a:lnTo>
                    <a:pt x="299" y="76"/>
                  </a:lnTo>
                  <a:lnTo>
                    <a:pt x="290" y="80"/>
                  </a:lnTo>
                  <a:lnTo>
                    <a:pt x="286" y="85"/>
                  </a:lnTo>
                  <a:close/>
                  <a:moveTo>
                    <a:pt x="308" y="71"/>
                  </a:moveTo>
                  <a:lnTo>
                    <a:pt x="308" y="80"/>
                  </a:lnTo>
                  <a:lnTo>
                    <a:pt x="317" y="80"/>
                  </a:lnTo>
                  <a:lnTo>
                    <a:pt x="313" y="71"/>
                  </a:lnTo>
                  <a:lnTo>
                    <a:pt x="308" y="7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0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264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01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urope With Russia (partly)</a:t>
            </a:r>
          </a:p>
        </p:txBody>
      </p:sp>
      <p:grpSp>
        <p:nvGrpSpPr>
          <p:cNvPr id="2780205" name="Group 45"/>
          <p:cNvGrpSpPr>
            <a:grpSpLocks/>
          </p:cNvGrpSpPr>
          <p:nvPr/>
        </p:nvGrpSpPr>
        <p:grpSpPr bwMode="auto">
          <a:xfrm>
            <a:off x="2646363" y="1497014"/>
            <a:ext cx="5446712" cy="5229225"/>
            <a:chOff x="707" y="943"/>
            <a:chExt cx="3431" cy="3294"/>
          </a:xfrm>
        </p:grpSpPr>
        <p:sp>
          <p:nvSpPr>
            <p:cNvPr id="2780164" name="Freeform 4"/>
            <p:cNvSpPr>
              <a:spLocks/>
            </p:cNvSpPr>
            <p:nvPr/>
          </p:nvSpPr>
          <p:spPr bwMode="gray">
            <a:xfrm>
              <a:off x="2603" y="3425"/>
              <a:ext cx="82" cy="191"/>
            </a:xfrm>
            <a:custGeom>
              <a:avLst/>
              <a:gdLst>
                <a:gd name="T0" fmla="*/ 0 w 27"/>
                <a:gd name="T1" fmla="*/ 13 h 63"/>
                <a:gd name="T2" fmla="*/ 5 w 27"/>
                <a:gd name="T3" fmla="*/ 13 h 63"/>
                <a:gd name="T4" fmla="*/ 0 w 27"/>
                <a:gd name="T5" fmla="*/ 18 h 63"/>
                <a:gd name="T6" fmla="*/ 0 w 27"/>
                <a:gd name="T7" fmla="*/ 36 h 63"/>
                <a:gd name="T8" fmla="*/ 0 w 27"/>
                <a:gd name="T9" fmla="*/ 40 h 63"/>
                <a:gd name="T10" fmla="*/ 0 w 27"/>
                <a:gd name="T11" fmla="*/ 45 h 63"/>
                <a:gd name="T12" fmla="*/ 5 w 27"/>
                <a:gd name="T13" fmla="*/ 54 h 63"/>
                <a:gd name="T14" fmla="*/ 5 w 27"/>
                <a:gd name="T15" fmla="*/ 58 h 63"/>
                <a:gd name="T16" fmla="*/ 9 w 27"/>
                <a:gd name="T17" fmla="*/ 63 h 63"/>
                <a:gd name="T18" fmla="*/ 14 w 27"/>
                <a:gd name="T19" fmla="*/ 63 h 63"/>
                <a:gd name="T20" fmla="*/ 14 w 27"/>
                <a:gd name="T21" fmla="*/ 54 h 63"/>
                <a:gd name="T22" fmla="*/ 27 w 27"/>
                <a:gd name="T23" fmla="*/ 40 h 63"/>
                <a:gd name="T24" fmla="*/ 18 w 27"/>
                <a:gd name="T25" fmla="*/ 36 h 63"/>
                <a:gd name="T26" fmla="*/ 18 w 27"/>
                <a:gd name="T27" fmla="*/ 13 h 63"/>
                <a:gd name="T28" fmla="*/ 14 w 27"/>
                <a:gd name="T29" fmla="*/ 13 h 63"/>
                <a:gd name="T30" fmla="*/ 14 w 27"/>
                <a:gd name="T31" fmla="*/ 5 h 63"/>
                <a:gd name="T32" fmla="*/ 5 w 27"/>
                <a:gd name="T33" fmla="*/ 0 h 63"/>
                <a:gd name="T34" fmla="*/ 0 w 27"/>
                <a:gd name="T35" fmla="*/ 1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63">
                  <a:moveTo>
                    <a:pt x="0" y="13"/>
                  </a:moveTo>
                  <a:lnTo>
                    <a:pt x="5" y="13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5"/>
                  </a:lnTo>
                  <a:lnTo>
                    <a:pt x="5" y="54"/>
                  </a:lnTo>
                  <a:lnTo>
                    <a:pt x="5" y="58"/>
                  </a:lnTo>
                  <a:lnTo>
                    <a:pt x="9" y="63"/>
                  </a:lnTo>
                  <a:lnTo>
                    <a:pt x="14" y="63"/>
                  </a:lnTo>
                  <a:lnTo>
                    <a:pt x="14" y="54"/>
                  </a:lnTo>
                  <a:lnTo>
                    <a:pt x="27" y="40"/>
                  </a:lnTo>
                  <a:lnTo>
                    <a:pt x="18" y="36"/>
                  </a:lnTo>
                  <a:lnTo>
                    <a:pt x="18" y="13"/>
                  </a:lnTo>
                  <a:lnTo>
                    <a:pt x="14" y="13"/>
                  </a:lnTo>
                  <a:lnTo>
                    <a:pt x="14" y="5"/>
                  </a:lnTo>
                  <a:lnTo>
                    <a:pt x="5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65" name="Freeform 5"/>
            <p:cNvSpPr>
              <a:spLocks/>
            </p:cNvSpPr>
            <p:nvPr/>
          </p:nvSpPr>
          <p:spPr bwMode="gray">
            <a:xfrm>
              <a:off x="2185" y="3019"/>
              <a:ext cx="324" cy="175"/>
            </a:xfrm>
            <a:custGeom>
              <a:avLst/>
              <a:gdLst>
                <a:gd name="T0" fmla="*/ 0 w 107"/>
                <a:gd name="T1" fmla="*/ 31 h 58"/>
                <a:gd name="T2" fmla="*/ 0 w 107"/>
                <a:gd name="T3" fmla="*/ 45 h 58"/>
                <a:gd name="T4" fmla="*/ 0 w 107"/>
                <a:gd name="T5" fmla="*/ 49 h 58"/>
                <a:gd name="T6" fmla="*/ 9 w 107"/>
                <a:gd name="T7" fmla="*/ 45 h 58"/>
                <a:gd name="T8" fmla="*/ 9 w 107"/>
                <a:gd name="T9" fmla="*/ 49 h 58"/>
                <a:gd name="T10" fmla="*/ 18 w 107"/>
                <a:gd name="T11" fmla="*/ 49 h 58"/>
                <a:gd name="T12" fmla="*/ 22 w 107"/>
                <a:gd name="T13" fmla="*/ 45 h 58"/>
                <a:gd name="T14" fmla="*/ 36 w 107"/>
                <a:gd name="T15" fmla="*/ 45 h 58"/>
                <a:gd name="T16" fmla="*/ 40 w 107"/>
                <a:gd name="T17" fmla="*/ 54 h 58"/>
                <a:gd name="T18" fmla="*/ 54 w 107"/>
                <a:gd name="T19" fmla="*/ 58 h 58"/>
                <a:gd name="T20" fmla="*/ 67 w 107"/>
                <a:gd name="T21" fmla="*/ 58 h 58"/>
                <a:gd name="T22" fmla="*/ 76 w 107"/>
                <a:gd name="T23" fmla="*/ 54 h 58"/>
                <a:gd name="T24" fmla="*/ 89 w 107"/>
                <a:gd name="T25" fmla="*/ 49 h 58"/>
                <a:gd name="T26" fmla="*/ 94 w 107"/>
                <a:gd name="T27" fmla="*/ 45 h 58"/>
                <a:gd name="T28" fmla="*/ 94 w 107"/>
                <a:gd name="T29" fmla="*/ 40 h 58"/>
                <a:gd name="T30" fmla="*/ 94 w 107"/>
                <a:gd name="T31" fmla="*/ 36 h 58"/>
                <a:gd name="T32" fmla="*/ 94 w 107"/>
                <a:gd name="T33" fmla="*/ 31 h 58"/>
                <a:gd name="T34" fmla="*/ 103 w 107"/>
                <a:gd name="T35" fmla="*/ 31 h 58"/>
                <a:gd name="T36" fmla="*/ 107 w 107"/>
                <a:gd name="T37" fmla="*/ 22 h 58"/>
                <a:gd name="T38" fmla="*/ 107 w 107"/>
                <a:gd name="T39" fmla="*/ 18 h 58"/>
                <a:gd name="T40" fmla="*/ 107 w 107"/>
                <a:gd name="T41" fmla="*/ 13 h 58"/>
                <a:gd name="T42" fmla="*/ 103 w 107"/>
                <a:gd name="T43" fmla="*/ 13 h 58"/>
                <a:gd name="T44" fmla="*/ 98 w 107"/>
                <a:gd name="T45" fmla="*/ 13 h 58"/>
                <a:gd name="T46" fmla="*/ 98 w 107"/>
                <a:gd name="T47" fmla="*/ 4 h 58"/>
                <a:gd name="T48" fmla="*/ 76 w 107"/>
                <a:gd name="T49" fmla="*/ 0 h 58"/>
                <a:gd name="T50" fmla="*/ 67 w 107"/>
                <a:gd name="T51" fmla="*/ 9 h 58"/>
                <a:gd name="T52" fmla="*/ 58 w 107"/>
                <a:gd name="T53" fmla="*/ 9 h 58"/>
                <a:gd name="T54" fmla="*/ 54 w 107"/>
                <a:gd name="T55" fmla="*/ 13 h 58"/>
                <a:gd name="T56" fmla="*/ 45 w 107"/>
                <a:gd name="T57" fmla="*/ 18 h 58"/>
                <a:gd name="T58" fmla="*/ 40 w 107"/>
                <a:gd name="T59" fmla="*/ 22 h 58"/>
                <a:gd name="T60" fmla="*/ 49 w 107"/>
                <a:gd name="T61" fmla="*/ 27 h 58"/>
                <a:gd name="T62" fmla="*/ 45 w 107"/>
                <a:gd name="T63" fmla="*/ 36 h 58"/>
                <a:gd name="T64" fmla="*/ 40 w 107"/>
                <a:gd name="T65" fmla="*/ 31 h 58"/>
                <a:gd name="T66" fmla="*/ 22 w 107"/>
                <a:gd name="T67" fmla="*/ 36 h 58"/>
                <a:gd name="T68" fmla="*/ 0 w 107"/>
                <a:gd name="T69" fmla="*/ 3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" h="58">
                  <a:moveTo>
                    <a:pt x="0" y="31"/>
                  </a:moveTo>
                  <a:lnTo>
                    <a:pt x="0" y="45"/>
                  </a:lnTo>
                  <a:lnTo>
                    <a:pt x="0" y="49"/>
                  </a:lnTo>
                  <a:lnTo>
                    <a:pt x="9" y="45"/>
                  </a:lnTo>
                  <a:lnTo>
                    <a:pt x="9" y="49"/>
                  </a:lnTo>
                  <a:lnTo>
                    <a:pt x="18" y="49"/>
                  </a:lnTo>
                  <a:lnTo>
                    <a:pt x="22" y="45"/>
                  </a:lnTo>
                  <a:lnTo>
                    <a:pt x="36" y="45"/>
                  </a:lnTo>
                  <a:lnTo>
                    <a:pt x="40" y="54"/>
                  </a:lnTo>
                  <a:lnTo>
                    <a:pt x="54" y="58"/>
                  </a:lnTo>
                  <a:lnTo>
                    <a:pt x="67" y="58"/>
                  </a:lnTo>
                  <a:lnTo>
                    <a:pt x="76" y="54"/>
                  </a:lnTo>
                  <a:lnTo>
                    <a:pt x="89" y="49"/>
                  </a:lnTo>
                  <a:lnTo>
                    <a:pt x="94" y="45"/>
                  </a:lnTo>
                  <a:lnTo>
                    <a:pt x="94" y="40"/>
                  </a:lnTo>
                  <a:lnTo>
                    <a:pt x="94" y="36"/>
                  </a:lnTo>
                  <a:lnTo>
                    <a:pt x="94" y="31"/>
                  </a:lnTo>
                  <a:lnTo>
                    <a:pt x="103" y="31"/>
                  </a:lnTo>
                  <a:lnTo>
                    <a:pt x="107" y="22"/>
                  </a:lnTo>
                  <a:lnTo>
                    <a:pt x="107" y="18"/>
                  </a:lnTo>
                  <a:lnTo>
                    <a:pt x="107" y="13"/>
                  </a:lnTo>
                  <a:lnTo>
                    <a:pt x="103" y="13"/>
                  </a:lnTo>
                  <a:lnTo>
                    <a:pt x="98" y="13"/>
                  </a:lnTo>
                  <a:lnTo>
                    <a:pt x="98" y="4"/>
                  </a:lnTo>
                  <a:lnTo>
                    <a:pt x="76" y="0"/>
                  </a:lnTo>
                  <a:lnTo>
                    <a:pt x="67" y="9"/>
                  </a:lnTo>
                  <a:lnTo>
                    <a:pt x="58" y="9"/>
                  </a:lnTo>
                  <a:lnTo>
                    <a:pt x="54" y="13"/>
                  </a:lnTo>
                  <a:lnTo>
                    <a:pt x="45" y="18"/>
                  </a:lnTo>
                  <a:lnTo>
                    <a:pt x="40" y="22"/>
                  </a:lnTo>
                  <a:lnTo>
                    <a:pt x="49" y="27"/>
                  </a:lnTo>
                  <a:lnTo>
                    <a:pt x="45" y="36"/>
                  </a:lnTo>
                  <a:lnTo>
                    <a:pt x="40" y="31"/>
                  </a:lnTo>
                  <a:lnTo>
                    <a:pt x="22" y="36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66" name="Freeform 6"/>
            <p:cNvSpPr>
              <a:spLocks/>
            </p:cNvSpPr>
            <p:nvPr/>
          </p:nvSpPr>
          <p:spPr bwMode="gray">
            <a:xfrm>
              <a:off x="1871" y="2841"/>
              <a:ext cx="177" cy="150"/>
            </a:xfrm>
            <a:custGeom>
              <a:avLst/>
              <a:gdLst>
                <a:gd name="T0" fmla="*/ 0 w 58"/>
                <a:gd name="T1" fmla="*/ 9 h 49"/>
                <a:gd name="T2" fmla="*/ 9 w 58"/>
                <a:gd name="T3" fmla="*/ 22 h 49"/>
                <a:gd name="T4" fmla="*/ 14 w 58"/>
                <a:gd name="T5" fmla="*/ 22 h 49"/>
                <a:gd name="T6" fmla="*/ 18 w 58"/>
                <a:gd name="T7" fmla="*/ 27 h 49"/>
                <a:gd name="T8" fmla="*/ 23 w 58"/>
                <a:gd name="T9" fmla="*/ 27 h 49"/>
                <a:gd name="T10" fmla="*/ 23 w 58"/>
                <a:gd name="T11" fmla="*/ 36 h 49"/>
                <a:gd name="T12" fmla="*/ 27 w 58"/>
                <a:gd name="T13" fmla="*/ 36 h 49"/>
                <a:gd name="T14" fmla="*/ 36 w 58"/>
                <a:gd name="T15" fmla="*/ 31 h 49"/>
                <a:gd name="T16" fmla="*/ 32 w 58"/>
                <a:gd name="T17" fmla="*/ 40 h 49"/>
                <a:gd name="T18" fmla="*/ 40 w 58"/>
                <a:gd name="T19" fmla="*/ 45 h 49"/>
                <a:gd name="T20" fmla="*/ 45 w 58"/>
                <a:gd name="T21" fmla="*/ 49 h 49"/>
                <a:gd name="T22" fmla="*/ 49 w 58"/>
                <a:gd name="T23" fmla="*/ 49 h 49"/>
                <a:gd name="T24" fmla="*/ 49 w 58"/>
                <a:gd name="T25" fmla="*/ 45 h 49"/>
                <a:gd name="T26" fmla="*/ 49 w 58"/>
                <a:gd name="T27" fmla="*/ 36 h 49"/>
                <a:gd name="T28" fmla="*/ 54 w 58"/>
                <a:gd name="T29" fmla="*/ 36 h 49"/>
                <a:gd name="T30" fmla="*/ 58 w 58"/>
                <a:gd name="T31" fmla="*/ 27 h 49"/>
                <a:gd name="T32" fmla="*/ 54 w 58"/>
                <a:gd name="T33" fmla="*/ 18 h 49"/>
                <a:gd name="T34" fmla="*/ 49 w 58"/>
                <a:gd name="T35" fmla="*/ 18 h 49"/>
                <a:gd name="T36" fmla="*/ 49 w 58"/>
                <a:gd name="T37" fmla="*/ 13 h 49"/>
                <a:gd name="T38" fmla="*/ 45 w 58"/>
                <a:gd name="T39" fmla="*/ 9 h 49"/>
                <a:gd name="T40" fmla="*/ 36 w 58"/>
                <a:gd name="T41" fmla="*/ 9 h 49"/>
                <a:gd name="T42" fmla="*/ 27 w 58"/>
                <a:gd name="T43" fmla="*/ 0 h 49"/>
                <a:gd name="T44" fmla="*/ 23 w 58"/>
                <a:gd name="T45" fmla="*/ 9 h 49"/>
                <a:gd name="T46" fmla="*/ 18 w 58"/>
                <a:gd name="T47" fmla="*/ 9 h 49"/>
                <a:gd name="T48" fmla="*/ 9 w 58"/>
                <a:gd name="T49" fmla="*/ 9 h 49"/>
                <a:gd name="T50" fmla="*/ 9 w 58"/>
                <a:gd name="T51" fmla="*/ 4 h 49"/>
                <a:gd name="T52" fmla="*/ 5 w 58"/>
                <a:gd name="T53" fmla="*/ 4 h 49"/>
                <a:gd name="T54" fmla="*/ 0 w 58"/>
                <a:gd name="T55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8" h="49">
                  <a:moveTo>
                    <a:pt x="0" y="9"/>
                  </a:moveTo>
                  <a:lnTo>
                    <a:pt x="9" y="22"/>
                  </a:lnTo>
                  <a:lnTo>
                    <a:pt x="14" y="22"/>
                  </a:lnTo>
                  <a:lnTo>
                    <a:pt x="18" y="27"/>
                  </a:lnTo>
                  <a:lnTo>
                    <a:pt x="23" y="27"/>
                  </a:lnTo>
                  <a:lnTo>
                    <a:pt x="23" y="36"/>
                  </a:lnTo>
                  <a:lnTo>
                    <a:pt x="27" y="36"/>
                  </a:lnTo>
                  <a:lnTo>
                    <a:pt x="36" y="31"/>
                  </a:lnTo>
                  <a:lnTo>
                    <a:pt x="32" y="40"/>
                  </a:lnTo>
                  <a:lnTo>
                    <a:pt x="40" y="45"/>
                  </a:lnTo>
                  <a:lnTo>
                    <a:pt x="45" y="49"/>
                  </a:lnTo>
                  <a:lnTo>
                    <a:pt x="49" y="49"/>
                  </a:lnTo>
                  <a:lnTo>
                    <a:pt x="49" y="45"/>
                  </a:lnTo>
                  <a:lnTo>
                    <a:pt x="49" y="36"/>
                  </a:lnTo>
                  <a:lnTo>
                    <a:pt x="54" y="36"/>
                  </a:lnTo>
                  <a:lnTo>
                    <a:pt x="58" y="27"/>
                  </a:lnTo>
                  <a:lnTo>
                    <a:pt x="54" y="18"/>
                  </a:lnTo>
                  <a:lnTo>
                    <a:pt x="49" y="18"/>
                  </a:lnTo>
                  <a:lnTo>
                    <a:pt x="49" y="13"/>
                  </a:lnTo>
                  <a:lnTo>
                    <a:pt x="45" y="9"/>
                  </a:lnTo>
                  <a:lnTo>
                    <a:pt x="36" y="9"/>
                  </a:lnTo>
                  <a:lnTo>
                    <a:pt x="27" y="0"/>
                  </a:lnTo>
                  <a:lnTo>
                    <a:pt x="23" y="9"/>
                  </a:lnTo>
                  <a:lnTo>
                    <a:pt x="18" y="9"/>
                  </a:lnTo>
                  <a:lnTo>
                    <a:pt x="9" y="9"/>
                  </a:lnTo>
                  <a:lnTo>
                    <a:pt x="9" y="4"/>
                  </a:lnTo>
                  <a:lnTo>
                    <a:pt x="5" y="4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67" name="Freeform 7"/>
            <p:cNvSpPr>
              <a:spLocks/>
            </p:cNvSpPr>
            <p:nvPr/>
          </p:nvSpPr>
          <p:spPr bwMode="gray">
            <a:xfrm>
              <a:off x="2428" y="3262"/>
              <a:ext cx="175" cy="150"/>
            </a:xfrm>
            <a:custGeom>
              <a:avLst/>
              <a:gdLst>
                <a:gd name="T0" fmla="*/ 32 w 58"/>
                <a:gd name="T1" fmla="*/ 45 h 50"/>
                <a:gd name="T2" fmla="*/ 32 w 58"/>
                <a:gd name="T3" fmla="*/ 45 h 50"/>
                <a:gd name="T4" fmla="*/ 36 w 58"/>
                <a:gd name="T5" fmla="*/ 45 h 50"/>
                <a:gd name="T6" fmla="*/ 45 w 58"/>
                <a:gd name="T7" fmla="*/ 50 h 50"/>
                <a:gd name="T8" fmla="*/ 45 w 58"/>
                <a:gd name="T9" fmla="*/ 50 h 50"/>
                <a:gd name="T10" fmla="*/ 45 w 58"/>
                <a:gd name="T11" fmla="*/ 50 h 50"/>
                <a:gd name="T12" fmla="*/ 45 w 58"/>
                <a:gd name="T13" fmla="*/ 45 h 50"/>
                <a:gd name="T14" fmla="*/ 45 w 58"/>
                <a:gd name="T15" fmla="*/ 45 h 50"/>
                <a:gd name="T16" fmla="*/ 45 w 58"/>
                <a:gd name="T17" fmla="*/ 41 h 50"/>
                <a:gd name="T18" fmla="*/ 50 w 58"/>
                <a:gd name="T19" fmla="*/ 36 h 50"/>
                <a:gd name="T20" fmla="*/ 50 w 58"/>
                <a:gd name="T21" fmla="*/ 36 h 50"/>
                <a:gd name="T22" fmla="*/ 50 w 58"/>
                <a:gd name="T23" fmla="*/ 36 h 50"/>
                <a:gd name="T24" fmla="*/ 50 w 58"/>
                <a:gd name="T25" fmla="*/ 32 h 50"/>
                <a:gd name="T26" fmla="*/ 54 w 58"/>
                <a:gd name="T27" fmla="*/ 32 h 50"/>
                <a:gd name="T28" fmla="*/ 58 w 58"/>
                <a:gd name="T29" fmla="*/ 27 h 50"/>
                <a:gd name="T30" fmla="*/ 54 w 58"/>
                <a:gd name="T31" fmla="*/ 23 h 50"/>
                <a:gd name="T32" fmla="*/ 58 w 58"/>
                <a:gd name="T33" fmla="*/ 23 h 50"/>
                <a:gd name="T34" fmla="*/ 58 w 58"/>
                <a:gd name="T35" fmla="*/ 23 h 50"/>
                <a:gd name="T36" fmla="*/ 50 w 58"/>
                <a:gd name="T37" fmla="*/ 18 h 50"/>
                <a:gd name="T38" fmla="*/ 50 w 58"/>
                <a:gd name="T39" fmla="*/ 14 h 50"/>
                <a:gd name="T40" fmla="*/ 54 w 58"/>
                <a:gd name="T41" fmla="*/ 9 h 50"/>
                <a:gd name="T42" fmla="*/ 54 w 58"/>
                <a:gd name="T43" fmla="*/ 5 h 50"/>
                <a:gd name="T44" fmla="*/ 50 w 58"/>
                <a:gd name="T45" fmla="*/ 5 h 50"/>
                <a:gd name="T46" fmla="*/ 45 w 58"/>
                <a:gd name="T47" fmla="*/ 5 h 50"/>
                <a:gd name="T48" fmla="*/ 45 w 58"/>
                <a:gd name="T49" fmla="*/ 5 h 50"/>
                <a:gd name="T50" fmla="*/ 41 w 58"/>
                <a:gd name="T51" fmla="*/ 0 h 50"/>
                <a:gd name="T52" fmla="*/ 36 w 58"/>
                <a:gd name="T53" fmla="*/ 0 h 50"/>
                <a:gd name="T54" fmla="*/ 32 w 58"/>
                <a:gd name="T55" fmla="*/ 5 h 50"/>
                <a:gd name="T56" fmla="*/ 23 w 58"/>
                <a:gd name="T57" fmla="*/ 0 h 50"/>
                <a:gd name="T58" fmla="*/ 18 w 58"/>
                <a:gd name="T59" fmla="*/ 0 h 50"/>
                <a:gd name="T60" fmla="*/ 18 w 58"/>
                <a:gd name="T61" fmla="*/ 0 h 50"/>
                <a:gd name="T62" fmla="*/ 14 w 58"/>
                <a:gd name="T63" fmla="*/ 0 h 50"/>
                <a:gd name="T64" fmla="*/ 9 w 58"/>
                <a:gd name="T65" fmla="*/ 5 h 50"/>
                <a:gd name="T66" fmla="*/ 5 w 58"/>
                <a:gd name="T67" fmla="*/ 0 h 50"/>
                <a:gd name="T68" fmla="*/ 5 w 58"/>
                <a:gd name="T69" fmla="*/ 0 h 50"/>
                <a:gd name="T70" fmla="*/ 0 w 58"/>
                <a:gd name="T71" fmla="*/ 9 h 50"/>
                <a:gd name="T72" fmla="*/ 5 w 58"/>
                <a:gd name="T73" fmla="*/ 9 h 50"/>
                <a:gd name="T74" fmla="*/ 9 w 58"/>
                <a:gd name="T75" fmla="*/ 18 h 50"/>
                <a:gd name="T76" fmla="*/ 9 w 58"/>
                <a:gd name="T77" fmla="*/ 23 h 50"/>
                <a:gd name="T78" fmla="*/ 23 w 58"/>
                <a:gd name="T79" fmla="*/ 36 h 50"/>
                <a:gd name="T80" fmla="*/ 27 w 58"/>
                <a:gd name="T81" fmla="*/ 36 h 50"/>
                <a:gd name="T82" fmla="*/ 27 w 58"/>
                <a:gd name="T83" fmla="*/ 36 h 50"/>
                <a:gd name="T84" fmla="*/ 32 w 58"/>
                <a:gd name="T85" fmla="*/ 45 h 50"/>
                <a:gd name="T86" fmla="*/ 32 w 58"/>
                <a:gd name="T87" fmla="*/ 4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" h="50">
                  <a:moveTo>
                    <a:pt x="32" y="45"/>
                  </a:moveTo>
                  <a:lnTo>
                    <a:pt x="32" y="45"/>
                  </a:lnTo>
                  <a:lnTo>
                    <a:pt x="36" y="45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1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2"/>
                  </a:lnTo>
                  <a:lnTo>
                    <a:pt x="54" y="32"/>
                  </a:lnTo>
                  <a:lnTo>
                    <a:pt x="58" y="27"/>
                  </a:lnTo>
                  <a:lnTo>
                    <a:pt x="54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0" y="18"/>
                  </a:lnTo>
                  <a:lnTo>
                    <a:pt x="50" y="14"/>
                  </a:lnTo>
                  <a:lnTo>
                    <a:pt x="54" y="9"/>
                  </a:lnTo>
                  <a:lnTo>
                    <a:pt x="54" y="5"/>
                  </a:lnTo>
                  <a:lnTo>
                    <a:pt x="50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1" y="0"/>
                  </a:lnTo>
                  <a:lnTo>
                    <a:pt x="36" y="0"/>
                  </a:lnTo>
                  <a:lnTo>
                    <a:pt x="32" y="5"/>
                  </a:lnTo>
                  <a:lnTo>
                    <a:pt x="23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9"/>
                  </a:lnTo>
                  <a:lnTo>
                    <a:pt x="5" y="9"/>
                  </a:lnTo>
                  <a:lnTo>
                    <a:pt x="9" y="18"/>
                  </a:lnTo>
                  <a:lnTo>
                    <a:pt x="9" y="23"/>
                  </a:lnTo>
                  <a:lnTo>
                    <a:pt x="23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32" y="45"/>
                  </a:lnTo>
                  <a:lnTo>
                    <a:pt x="32" y="4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68" name="Freeform 8"/>
            <p:cNvSpPr>
              <a:spLocks/>
            </p:cNvSpPr>
            <p:nvPr/>
          </p:nvSpPr>
          <p:spPr bwMode="gray">
            <a:xfrm>
              <a:off x="2726" y="3316"/>
              <a:ext cx="272" cy="191"/>
            </a:xfrm>
            <a:custGeom>
              <a:avLst/>
              <a:gdLst>
                <a:gd name="T0" fmla="*/ 4 w 89"/>
                <a:gd name="T1" fmla="*/ 0 h 63"/>
                <a:gd name="T2" fmla="*/ 0 w 89"/>
                <a:gd name="T3" fmla="*/ 18 h 63"/>
                <a:gd name="T4" fmla="*/ 13 w 89"/>
                <a:gd name="T5" fmla="*/ 27 h 63"/>
                <a:gd name="T6" fmla="*/ 13 w 89"/>
                <a:gd name="T7" fmla="*/ 32 h 63"/>
                <a:gd name="T8" fmla="*/ 4 w 89"/>
                <a:gd name="T9" fmla="*/ 36 h 63"/>
                <a:gd name="T10" fmla="*/ 4 w 89"/>
                <a:gd name="T11" fmla="*/ 45 h 63"/>
                <a:gd name="T12" fmla="*/ 13 w 89"/>
                <a:gd name="T13" fmla="*/ 49 h 63"/>
                <a:gd name="T14" fmla="*/ 13 w 89"/>
                <a:gd name="T15" fmla="*/ 63 h 63"/>
                <a:gd name="T16" fmla="*/ 22 w 89"/>
                <a:gd name="T17" fmla="*/ 63 h 63"/>
                <a:gd name="T18" fmla="*/ 31 w 89"/>
                <a:gd name="T19" fmla="*/ 58 h 63"/>
                <a:gd name="T20" fmla="*/ 40 w 89"/>
                <a:gd name="T21" fmla="*/ 63 h 63"/>
                <a:gd name="T22" fmla="*/ 53 w 89"/>
                <a:gd name="T23" fmla="*/ 63 h 63"/>
                <a:gd name="T24" fmla="*/ 53 w 89"/>
                <a:gd name="T25" fmla="*/ 54 h 63"/>
                <a:gd name="T26" fmla="*/ 71 w 89"/>
                <a:gd name="T27" fmla="*/ 45 h 63"/>
                <a:gd name="T28" fmla="*/ 76 w 89"/>
                <a:gd name="T29" fmla="*/ 49 h 63"/>
                <a:gd name="T30" fmla="*/ 85 w 89"/>
                <a:gd name="T31" fmla="*/ 49 h 63"/>
                <a:gd name="T32" fmla="*/ 80 w 89"/>
                <a:gd name="T33" fmla="*/ 36 h 63"/>
                <a:gd name="T34" fmla="*/ 76 w 89"/>
                <a:gd name="T35" fmla="*/ 36 h 63"/>
                <a:gd name="T36" fmla="*/ 80 w 89"/>
                <a:gd name="T37" fmla="*/ 32 h 63"/>
                <a:gd name="T38" fmla="*/ 80 w 89"/>
                <a:gd name="T39" fmla="*/ 18 h 63"/>
                <a:gd name="T40" fmla="*/ 89 w 89"/>
                <a:gd name="T41" fmla="*/ 18 h 63"/>
                <a:gd name="T42" fmla="*/ 89 w 89"/>
                <a:gd name="T43" fmla="*/ 14 h 63"/>
                <a:gd name="T44" fmla="*/ 71 w 89"/>
                <a:gd name="T45" fmla="*/ 5 h 63"/>
                <a:gd name="T46" fmla="*/ 58 w 89"/>
                <a:gd name="T47" fmla="*/ 9 h 63"/>
                <a:gd name="T48" fmla="*/ 49 w 89"/>
                <a:gd name="T49" fmla="*/ 18 h 63"/>
                <a:gd name="T50" fmla="*/ 35 w 89"/>
                <a:gd name="T51" fmla="*/ 18 h 63"/>
                <a:gd name="T52" fmla="*/ 22 w 89"/>
                <a:gd name="T53" fmla="*/ 14 h 63"/>
                <a:gd name="T54" fmla="*/ 9 w 89"/>
                <a:gd name="T55" fmla="*/ 9 h 63"/>
                <a:gd name="T56" fmla="*/ 9 w 89"/>
                <a:gd name="T57" fmla="*/ 0 h 63"/>
                <a:gd name="T58" fmla="*/ 4 w 89"/>
                <a:gd name="T5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9" h="63">
                  <a:moveTo>
                    <a:pt x="4" y="0"/>
                  </a:moveTo>
                  <a:lnTo>
                    <a:pt x="0" y="18"/>
                  </a:lnTo>
                  <a:lnTo>
                    <a:pt x="13" y="27"/>
                  </a:lnTo>
                  <a:lnTo>
                    <a:pt x="13" y="32"/>
                  </a:lnTo>
                  <a:lnTo>
                    <a:pt x="4" y="36"/>
                  </a:lnTo>
                  <a:lnTo>
                    <a:pt x="4" y="45"/>
                  </a:lnTo>
                  <a:lnTo>
                    <a:pt x="13" y="49"/>
                  </a:lnTo>
                  <a:lnTo>
                    <a:pt x="13" y="63"/>
                  </a:lnTo>
                  <a:lnTo>
                    <a:pt x="22" y="63"/>
                  </a:lnTo>
                  <a:lnTo>
                    <a:pt x="31" y="58"/>
                  </a:lnTo>
                  <a:lnTo>
                    <a:pt x="40" y="63"/>
                  </a:lnTo>
                  <a:lnTo>
                    <a:pt x="53" y="63"/>
                  </a:lnTo>
                  <a:lnTo>
                    <a:pt x="53" y="54"/>
                  </a:lnTo>
                  <a:lnTo>
                    <a:pt x="71" y="45"/>
                  </a:lnTo>
                  <a:lnTo>
                    <a:pt x="76" y="49"/>
                  </a:lnTo>
                  <a:lnTo>
                    <a:pt x="85" y="49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80" y="18"/>
                  </a:lnTo>
                  <a:lnTo>
                    <a:pt x="89" y="18"/>
                  </a:lnTo>
                  <a:lnTo>
                    <a:pt x="89" y="14"/>
                  </a:lnTo>
                  <a:lnTo>
                    <a:pt x="71" y="5"/>
                  </a:lnTo>
                  <a:lnTo>
                    <a:pt x="58" y="9"/>
                  </a:lnTo>
                  <a:lnTo>
                    <a:pt x="49" y="18"/>
                  </a:lnTo>
                  <a:lnTo>
                    <a:pt x="35" y="18"/>
                  </a:lnTo>
                  <a:lnTo>
                    <a:pt x="22" y="14"/>
                  </a:lnTo>
                  <a:lnTo>
                    <a:pt x="9" y="9"/>
                  </a:lnTo>
                  <a:lnTo>
                    <a:pt x="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69" name="Freeform 9"/>
            <p:cNvSpPr>
              <a:spLocks/>
            </p:cNvSpPr>
            <p:nvPr/>
          </p:nvSpPr>
          <p:spPr bwMode="gray">
            <a:xfrm>
              <a:off x="2766" y="2503"/>
              <a:ext cx="407" cy="366"/>
            </a:xfrm>
            <a:custGeom>
              <a:avLst/>
              <a:gdLst>
                <a:gd name="T0" fmla="*/ 13 w 134"/>
                <a:gd name="T1" fmla="*/ 116 h 121"/>
                <a:gd name="T2" fmla="*/ 22 w 134"/>
                <a:gd name="T3" fmla="*/ 103 h 121"/>
                <a:gd name="T4" fmla="*/ 45 w 134"/>
                <a:gd name="T5" fmla="*/ 112 h 121"/>
                <a:gd name="T6" fmla="*/ 63 w 134"/>
                <a:gd name="T7" fmla="*/ 112 h 121"/>
                <a:gd name="T8" fmla="*/ 67 w 134"/>
                <a:gd name="T9" fmla="*/ 116 h 121"/>
                <a:gd name="T10" fmla="*/ 76 w 134"/>
                <a:gd name="T11" fmla="*/ 112 h 121"/>
                <a:gd name="T12" fmla="*/ 85 w 134"/>
                <a:gd name="T13" fmla="*/ 112 h 121"/>
                <a:gd name="T14" fmla="*/ 98 w 134"/>
                <a:gd name="T15" fmla="*/ 116 h 121"/>
                <a:gd name="T16" fmla="*/ 107 w 134"/>
                <a:gd name="T17" fmla="*/ 116 h 121"/>
                <a:gd name="T18" fmla="*/ 112 w 134"/>
                <a:gd name="T19" fmla="*/ 99 h 121"/>
                <a:gd name="T20" fmla="*/ 121 w 134"/>
                <a:gd name="T21" fmla="*/ 94 h 121"/>
                <a:gd name="T22" fmla="*/ 121 w 134"/>
                <a:gd name="T23" fmla="*/ 76 h 121"/>
                <a:gd name="T24" fmla="*/ 125 w 134"/>
                <a:gd name="T25" fmla="*/ 81 h 121"/>
                <a:gd name="T26" fmla="*/ 134 w 134"/>
                <a:gd name="T27" fmla="*/ 72 h 121"/>
                <a:gd name="T28" fmla="*/ 125 w 134"/>
                <a:gd name="T29" fmla="*/ 63 h 121"/>
                <a:gd name="T30" fmla="*/ 116 w 134"/>
                <a:gd name="T31" fmla="*/ 54 h 121"/>
                <a:gd name="T32" fmla="*/ 112 w 134"/>
                <a:gd name="T33" fmla="*/ 45 h 121"/>
                <a:gd name="T34" fmla="*/ 112 w 134"/>
                <a:gd name="T35" fmla="*/ 31 h 121"/>
                <a:gd name="T36" fmla="*/ 98 w 134"/>
                <a:gd name="T37" fmla="*/ 9 h 121"/>
                <a:gd name="T38" fmla="*/ 85 w 134"/>
                <a:gd name="T39" fmla="*/ 5 h 121"/>
                <a:gd name="T40" fmla="*/ 76 w 134"/>
                <a:gd name="T41" fmla="*/ 0 h 121"/>
                <a:gd name="T42" fmla="*/ 67 w 134"/>
                <a:gd name="T43" fmla="*/ 0 h 121"/>
                <a:gd name="T44" fmla="*/ 63 w 134"/>
                <a:gd name="T45" fmla="*/ 9 h 121"/>
                <a:gd name="T46" fmla="*/ 45 w 134"/>
                <a:gd name="T47" fmla="*/ 18 h 121"/>
                <a:gd name="T48" fmla="*/ 45 w 134"/>
                <a:gd name="T49" fmla="*/ 23 h 121"/>
                <a:gd name="T50" fmla="*/ 45 w 134"/>
                <a:gd name="T51" fmla="*/ 27 h 121"/>
                <a:gd name="T52" fmla="*/ 40 w 134"/>
                <a:gd name="T53" fmla="*/ 31 h 121"/>
                <a:gd name="T54" fmla="*/ 31 w 134"/>
                <a:gd name="T55" fmla="*/ 45 h 121"/>
                <a:gd name="T56" fmla="*/ 27 w 134"/>
                <a:gd name="T57" fmla="*/ 49 h 121"/>
                <a:gd name="T58" fmla="*/ 13 w 134"/>
                <a:gd name="T59" fmla="*/ 49 h 121"/>
                <a:gd name="T60" fmla="*/ 9 w 134"/>
                <a:gd name="T61" fmla="*/ 72 h 121"/>
                <a:gd name="T62" fmla="*/ 13 w 134"/>
                <a:gd name="T63" fmla="*/ 90 h 121"/>
                <a:gd name="T64" fmla="*/ 5 w 134"/>
                <a:gd name="T65" fmla="*/ 10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4" h="121">
                  <a:moveTo>
                    <a:pt x="5" y="112"/>
                  </a:moveTo>
                  <a:lnTo>
                    <a:pt x="13" y="116"/>
                  </a:lnTo>
                  <a:lnTo>
                    <a:pt x="18" y="107"/>
                  </a:lnTo>
                  <a:lnTo>
                    <a:pt x="22" y="103"/>
                  </a:lnTo>
                  <a:lnTo>
                    <a:pt x="36" y="107"/>
                  </a:lnTo>
                  <a:lnTo>
                    <a:pt x="45" y="112"/>
                  </a:lnTo>
                  <a:lnTo>
                    <a:pt x="58" y="107"/>
                  </a:lnTo>
                  <a:lnTo>
                    <a:pt x="63" y="112"/>
                  </a:lnTo>
                  <a:lnTo>
                    <a:pt x="67" y="121"/>
                  </a:lnTo>
                  <a:lnTo>
                    <a:pt x="67" y="116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5" y="112"/>
                  </a:lnTo>
                  <a:lnTo>
                    <a:pt x="89" y="121"/>
                  </a:lnTo>
                  <a:lnTo>
                    <a:pt x="98" y="116"/>
                  </a:lnTo>
                  <a:lnTo>
                    <a:pt x="107" y="121"/>
                  </a:lnTo>
                  <a:lnTo>
                    <a:pt x="107" y="116"/>
                  </a:lnTo>
                  <a:lnTo>
                    <a:pt x="107" y="112"/>
                  </a:lnTo>
                  <a:lnTo>
                    <a:pt x="112" y="99"/>
                  </a:lnTo>
                  <a:lnTo>
                    <a:pt x="121" y="103"/>
                  </a:lnTo>
                  <a:lnTo>
                    <a:pt x="121" y="94"/>
                  </a:lnTo>
                  <a:lnTo>
                    <a:pt x="116" y="81"/>
                  </a:lnTo>
                  <a:lnTo>
                    <a:pt x="121" y="76"/>
                  </a:lnTo>
                  <a:lnTo>
                    <a:pt x="125" y="81"/>
                  </a:lnTo>
                  <a:lnTo>
                    <a:pt x="125" y="81"/>
                  </a:lnTo>
                  <a:lnTo>
                    <a:pt x="130" y="76"/>
                  </a:lnTo>
                  <a:lnTo>
                    <a:pt x="134" y="72"/>
                  </a:lnTo>
                  <a:lnTo>
                    <a:pt x="130" y="72"/>
                  </a:lnTo>
                  <a:lnTo>
                    <a:pt x="125" y="63"/>
                  </a:lnTo>
                  <a:lnTo>
                    <a:pt x="116" y="67"/>
                  </a:lnTo>
                  <a:lnTo>
                    <a:pt x="116" y="54"/>
                  </a:lnTo>
                  <a:lnTo>
                    <a:pt x="112" y="49"/>
                  </a:lnTo>
                  <a:lnTo>
                    <a:pt x="112" y="45"/>
                  </a:lnTo>
                  <a:lnTo>
                    <a:pt x="112" y="36"/>
                  </a:lnTo>
                  <a:lnTo>
                    <a:pt x="112" y="31"/>
                  </a:lnTo>
                  <a:lnTo>
                    <a:pt x="107" y="18"/>
                  </a:lnTo>
                  <a:lnTo>
                    <a:pt x="98" y="9"/>
                  </a:lnTo>
                  <a:lnTo>
                    <a:pt x="89" y="14"/>
                  </a:lnTo>
                  <a:lnTo>
                    <a:pt x="85" y="5"/>
                  </a:lnTo>
                  <a:lnTo>
                    <a:pt x="76" y="5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3" y="9"/>
                  </a:lnTo>
                  <a:lnTo>
                    <a:pt x="58" y="14"/>
                  </a:lnTo>
                  <a:lnTo>
                    <a:pt x="45" y="18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9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0" y="31"/>
                  </a:lnTo>
                  <a:lnTo>
                    <a:pt x="36" y="40"/>
                  </a:lnTo>
                  <a:lnTo>
                    <a:pt x="31" y="45"/>
                  </a:lnTo>
                  <a:lnTo>
                    <a:pt x="31" y="54"/>
                  </a:lnTo>
                  <a:lnTo>
                    <a:pt x="27" y="49"/>
                  </a:lnTo>
                  <a:lnTo>
                    <a:pt x="22" y="54"/>
                  </a:lnTo>
                  <a:lnTo>
                    <a:pt x="13" y="49"/>
                  </a:lnTo>
                  <a:lnTo>
                    <a:pt x="5" y="58"/>
                  </a:lnTo>
                  <a:lnTo>
                    <a:pt x="9" y="72"/>
                  </a:lnTo>
                  <a:lnTo>
                    <a:pt x="13" y="81"/>
                  </a:lnTo>
                  <a:lnTo>
                    <a:pt x="13" y="90"/>
                  </a:lnTo>
                  <a:lnTo>
                    <a:pt x="0" y="94"/>
                  </a:lnTo>
                  <a:lnTo>
                    <a:pt x="5" y="103"/>
                  </a:lnTo>
                  <a:lnTo>
                    <a:pt x="5" y="11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70" name="Freeform 10"/>
            <p:cNvSpPr>
              <a:spLocks noEditPoints="1"/>
            </p:cNvSpPr>
            <p:nvPr/>
          </p:nvSpPr>
          <p:spPr bwMode="gray">
            <a:xfrm>
              <a:off x="2332" y="3182"/>
              <a:ext cx="259" cy="243"/>
            </a:xfrm>
            <a:custGeom>
              <a:avLst/>
              <a:gdLst>
                <a:gd name="T0" fmla="*/ 0 w 85"/>
                <a:gd name="T1" fmla="*/ 22 h 80"/>
                <a:gd name="T2" fmla="*/ 9 w 85"/>
                <a:gd name="T3" fmla="*/ 35 h 80"/>
                <a:gd name="T4" fmla="*/ 22 w 85"/>
                <a:gd name="T5" fmla="*/ 31 h 80"/>
                <a:gd name="T6" fmla="*/ 27 w 85"/>
                <a:gd name="T7" fmla="*/ 44 h 80"/>
                <a:gd name="T8" fmla="*/ 22 w 85"/>
                <a:gd name="T9" fmla="*/ 53 h 80"/>
                <a:gd name="T10" fmla="*/ 36 w 85"/>
                <a:gd name="T11" fmla="*/ 62 h 80"/>
                <a:gd name="T12" fmla="*/ 45 w 85"/>
                <a:gd name="T13" fmla="*/ 67 h 80"/>
                <a:gd name="T14" fmla="*/ 45 w 85"/>
                <a:gd name="T15" fmla="*/ 62 h 80"/>
                <a:gd name="T16" fmla="*/ 54 w 85"/>
                <a:gd name="T17" fmla="*/ 67 h 80"/>
                <a:gd name="T18" fmla="*/ 63 w 85"/>
                <a:gd name="T19" fmla="*/ 71 h 80"/>
                <a:gd name="T20" fmla="*/ 58 w 85"/>
                <a:gd name="T21" fmla="*/ 62 h 80"/>
                <a:gd name="T22" fmla="*/ 54 w 85"/>
                <a:gd name="T23" fmla="*/ 62 h 80"/>
                <a:gd name="T24" fmla="*/ 40 w 85"/>
                <a:gd name="T25" fmla="*/ 44 h 80"/>
                <a:gd name="T26" fmla="*/ 31 w 85"/>
                <a:gd name="T27" fmla="*/ 35 h 80"/>
                <a:gd name="T28" fmla="*/ 36 w 85"/>
                <a:gd name="T29" fmla="*/ 26 h 80"/>
                <a:gd name="T30" fmla="*/ 45 w 85"/>
                <a:gd name="T31" fmla="*/ 26 h 80"/>
                <a:gd name="T32" fmla="*/ 49 w 85"/>
                <a:gd name="T33" fmla="*/ 26 h 80"/>
                <a:gd name="T34" fmla="*/ 63 w 85"/>
                <a:gd name="T35" fmla="*/ 31 h 80"/>
                <a:gd name="T36" fmla="*/ 72 w 85"/>
                <a:gd name="T37" fmla="*/ 26 h 80"/>
                <a:gd name="T38" fmla="*/ 76 w 85"/>
                <a:gd name="T39" fmla="*/ 31 h 80"/>
                <a:gd name="T40" fmla="*/ 81 w 85"/>
                <a:gd name="T41" fmla="*/ 26 h 80"/>
                <a:gd name="T42" fmla="*/ 85 w 85"/>
                <a:gd name="T43" fmla="*/ 22 h 80"/>
                <a:gd name="T44" fmla="*/ 81 w 85"/>
                <a:gd name="T45" fmla="*/ 22 h 80"/>
                <a:gd name="T46" fmla="*/ 81 w 85"/>
                <a:gd name="T47" fmla="*/ 18 h 80"/>
                <a:gd name="T48" fmla="*/ 76 w 85"/>
                <a:gd name="T49" fmla="*/ 13 h 80"/>
                <a:gd name="T50" fmla="*/ 49 w 85"/>
                <a:gd name="T51" fmla="*/ 13 h 80"/>
                <a:gd name="T52" fmla="*/ 45 w 85"/>
                <a:gd name="T53" fmla="*/ 4 h 80"/>
                <a:gd name="T54" fmla="*/ 40 w 85"/>
                <a:gd name="T55" fmla="*/ 0 h 80"/>
                <a:gd name="T56" fmla="*/ 40 w 85"/>
                <a:gd name="T57" fmla="*/ 4 h 80"/>
                <a:gd name="T58" fmla="*/ 36 w 85"/>
                <a:gd name="T59" fmla="*/ 9 h 80"/>
                <a:gd name="T60" fmla="*/ 31 w 85"/>
                <a:gd name="T61" fmla="*/ 9 h 80"/>
                <a:gd name="T62" fmla="*/ 31 w 85"/>
                <a:gd name="T63" fmla="*/ 13 h 80"/>
                <a:gd name="T64" fmla="*/ 27 w 85"/>
                <a:gd name="T65" fmla="*/ 22 h 80"/>
                <a:gd name="T66" fmla="*/ 22 w 85"/>
                <a:gd name="T67" fmla="*/ 22 h 80"/>
                <a:gd name="T68" fmla="*/ 14 w 85"/>
                <a:gd name="T69" fmla="*/ 22 h 80"/>
                <a:gd name="T70" fmla="*/ 5 w 85"/>
                <a:gd name="T71" fmla="*/ 22 h 80"/>
                <a:gd name="T72" fmla="*/ 63 w 85"/>
                <a:gd name="T73" fmla="*/ 71 h 80"/>
                <a:gd name="T74" fmla="*/ 72 w 85"/>
                <a:gd name="T75" fmla="*/ 80 h 80"/>
                <a:gd name="T76" fmla="*/ 76 w 85"/>
                <a:gd name="T77" fmla="*/ 76 h 80"/>
                <a:gd name="T78" fmla="*/ 63 w 85"/>
                <a:gd name="T79" fmla="*/ 7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5" h="80">
                  <a:moveTo>
                    <a:pt x="5" y="22"/>
                  </a:moveTo>
                  <a:lnTo>
                    <a:pt x="0" y="22"/>
                  </a:lnTo>
                  <a:lnTo>
                    <a:pt x="5" y="35"/>
                  </a:lnTo>
                  <a:lnTo>
                    <a:pt x="9" y="35"/>
                  </a:lnTo>
                  <a:lnTo>
                    <a:pt x="14" y="26"/>
                  </a:lnTo>
                  <a:lnTo>
                    <a:pt x="22" y="31"/>
                  </a:lnTo>
                  <a:lnTo>
                    <a:pt x="18" y="35"/>
                  </a:lnTo>
                  <a:lnTo>
                    <a:pt x="27" y="44"/>
                  </a:lnTo>
                  <a:lnTo>
                    <a:pt x="22" y="44"/>
                  </a:lnTo>
                  <a:lnTo>
                    <a:pt x="22" y="53"/>
                  </a:lnTo>
                  <a:lnTo>
                    <a:pt x="31" y="49"/>
                  </a:lnTo>
                  <a:lnTo>
                    <a:pt x="36" y="62"/>
                  </a:lnTo>
                  <a:lnTo>
                    <a:pt x="45" y="62"/>
                  </a:lnTo>
                  <a:lnTo>
                    <a:pt x="45" y="67"/>
                  </a:lnTo>
                  <a:lnTo>
                    <a:pt x="54" y="67"/>
                  </a:lnTo>
                  <a:lnTo>
                    <a:pt x="45" y="62"/>
                  </a:lnTo>
                  <a:lnTo>
                    <a:pt x="49" y="62"/>
                  </a:lnTo>
                  <a:lnTo>
                    <a:pt x="54" y="67"/>
                  </a:lnTo>
                  <a:lnTo>
                    <a:pt x="54" y="71"/>
                  </a:lnTo>
                  <a:lnTo>
                    <a:pt x="63" y="71"/>
                  </a:lnTo>
                  <a:lnTo>
                    <a:pt x="63" y="71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4" y="62"/>
                  </a:lnTo>
                  <a:lnTo>
                    <a:pt x="40" y="49"/>
                  </a:lnTo>
                  <a:lnTo>
                    <a:pt x="40" y="44"/>
                  </a:lnTo>
                  <a:lnTo>
                    <a:pt x="36" y="35"/>
                  </a:lnTo>
                  <a:lnTo>
                    <a:pt x="31" y="35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40" y="31"/>
                  </a:lnTo>
                  <a:lnTo>
                    <a:pt x="45" y="26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4" y="26"/>
                  </a:lnTo>
                  <a:lnTo>
                    <a:pt x="63" y="31"/>
                  </a:lnTo>
                  <a:lnTo>
                    <a:pt x="67" y="26"/>
                  </a:lnTo>
                  <a:lnTo>
                    <a:pt x="72" y="26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81" y="31"/>
                  </a:lnTo>
                  <a:lnTo>
                    <a:pt x="81" y="26"/>
                  </a:lnTo>
                  <a:lnTo>
                    <a:pt x="85" y="26"/>
                  </a:lnTo>
                  <a:lnTo>
                    <a:pt x="85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3"/>
                  </a:lnTo>
                  <a:lnTo>
                    <a:pt x="76" y="13"/>
                  </a:lnTo>
                  <a:lnTo>
                    <a:pt x="67" y="18"/>
                  </a:lnTo>
                  <a:lnTo>
                    <a:pt x="49" y="13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27" y="18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2" y="22"/>
                  </a:lnTo>
                  <a:lnTo>
                    <a:pt x="18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5" y="22"/>
                  </a:lnTo>
                  <a:lnTo>
                    <a:pt x="5" y="22"/>
                  </a:lnTo>
                  <a:close/>
                  <a:moveTo>
                    <a:pt x="63" y="71"/>
                  </a:moveTo>
                  <a:lnTo>
                    <a:pt x="72" y="80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76" y="76"/>
                  </a:lnTo>
                  <a:lnTo>
                    <a:pt x="67" y="71"/>
                  </a:lnTo>
                  <a:lnTo>
                    <a:pt x="63" y="7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71" name="Freeform 11"/>
            <p:cNvSpPr>
              <a:spLocks/>
            </p:cNvSpPr>
            <p:nvPr/>
          </p:nvSpPr>
          <p:spPr bwMode="gray">
            <a:xfrm>
              <a:off x="3160" y="3819"/>
              <a:ext cx="107" cy="54"/>
            </a:xfrm>
            <a:custGeom>
              <a:avLst/>
              <a:gdLst>
                <a:gd name="T0" fmla="*/ 9 w 35"/>
                <a:gd name="T1" fmla="*/ 9 h 18"/>
                <a:gd name="T2" fmla="*/ 9 w 35"/>
                <a:gd name="T3" fmla="*/ 9 h 18"/>
                <a:gd name="T4" fmla="*/ 0 w 35"/>
                <a:gd name="T5" fmla="*/ 13 h 18"/>
                <a:gd name="T6" fmla="*/ 4 w 35"/>
                <a:gd name="T7" fmla="*/ 18 h 18"/>
                <a:gd name="T8" fmla="*/ 13 w 35"/>
                <a:gd name="T9" fmla="*/ 18 h 18"/>
                <a:gd name="T10" fmla="*/ 22 w 35"/>
                <a:gd name="T11" fmla="*/ 13 h 18"/>
                <a:gd name="T12" fmla="*/ 22 w 35"/>
                <a:gd name="T13" fmla="*/ 9 h 18"/>
                <a:gd name="T14" fmla="*/ 35 w 35"/>
                <a:gd name="T15" fmla="*/ 0 h 18"/>
                <a:gd name="T16" fmla="*/ 31 w 35"/>
                <a:gd name="T17" fmla="*/ 0 h 18"/>
                <a:gd name="T18" fmla="*/ 26 w 35"/>
                <a:gd name="T19" fmla="*/ 0 h 18"/>
                <a:gd name="T20" fmla="*/ 17 w 35"/>
                <a:gd name="T21" fmla="*/ 9 h 18"/>
                <a:gd name="T22" fmla="*/ 9 w 35"/>
                <a:gd name="T2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18">
                  <a:moveTo>
                    <a:pt x="9" y="9"/>
                  </a:moveTo>
                  <a:lnTo>
                    <a:pt x="9" y="9"/>
                  </a:lnTo>
                  <a:lnTo>
                    <a:pt x="0" y="13"/>
                  </a:lnTo>
                  <a:lnTo>
                    <a:pt x="4" y="18"/>
                  </a:lnTo>
                  <a:lnTo>
                    <a:pt x="13" y="18"/>
                  </a:lnTo>
                  <a:lnTo>
                    <a:pt x="22" y="13"/>
                  </a:lnTo>
                  <a:lnTo>
                    <a:pt x="22" y="9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17" y="9"/>
                  </a:lnTo>
                  <a:lnTo>
                    <a:pt x="9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72" name="Freeform 12"/>
            <p:cNvSpPr>
              <a:spLocks/>
            </p:cNvSpPr>
            <p:nvPr/>
          </p:nvSpPr>
          <p:spPr bwMode="gray">
            <a:xfrm>
              <a:off x="2278" y="2896"/>
              <a:ext cx="286" cy="163"/>
            </a:xfrm>
            <a:custGeom>
              <a:avLst/>
              <a:gdLst>
                <a:gd name="T0" fmla="*/ 40 w 94"/>
                <a:gd name="T1" fmla="*/ 0 h 53"/>
                <a:gd name="T2" fmla="*/ 36 w 94"/>
                <a:gd name="T3" fmla="*/ 0 h 53"/>
                <a:gd name="T4" fmla="*/ 32 w 94"/>
                <a:gd name="T5" fmla="*/ 9 h 53"/>
                <a:gd name="T6" fmla="*/ 18 w 94"/>
                <a:gd name="T7" fmla="*/ 9 h 53"/>
                <a:gd name="T8" fmla="*/ 9 w 94"/>
                <a:gd name="T9" fmla="*/ 18 h 53"/>
                <a:gd name="T10" fmla="*/ 5 w 94"/>
                <a:gd name="T11" fmla="*/ 18 h 53"/>
                <a:gd name="T12" fmla="*/ 0 w 94"/>
                <a:gd name="T13" fmla="*/ 18 h 53"/>
                <a:gd name="T14" fmla="*/ 5 w 94"/>
                <a:gd name="T15" fmla="*/ 27 h 53"/>
                <a:gd name="T16" fmla="*/ 9 w 94"/>
                <a:gd name="T17" fmla="*/ 36 h 53"/>
                <a:gd name="T18" fmla="*/ 18 w 94"/>
                <a:gd name="T19" fmla="*/ 36 h 53"/>
                <a:gd name="T20" fmla="*/ 27 w 94"/>
                <a:gd name="T21" fmla="*/ 44 h 53"/>
                <a:gd name="T22" fmla="*/ 27 w 94"/>
                <a:gd name="T23" fmla="*/ 49 h 53"/>
                <a:gd name="T24" fmla="*/ 36 w 94"/>
                <a:gd name="T25" fmla="*/ 49 h 53"/>
                <a:gd name="T26" fmla="*/ 45 w 94"/>
                <a:gd name="T27" fmla="*/ 40 h 53"/>
                <a:gd name="T28" fmla="*/ 67 w 94"/>
                <a:gd name="T29" fmla="*/ 44 h 53"/>
                <a:gd name="T30" fmla="*/ 67 w 94"/>
                <a:gd name="T31" fmla="*/ 53 h 53"/>
                <a:gd name="T32" fmla="*/ 72 w 94"/>
                <a:gd name="T33" fmla="*/ 49 h 53"/>
                <a:gd name="T34" fmla="*/ 81 w 94"/>
                <a:gd name="T35" fmla="*/ 49 h 53"/>
                <a:gd name="T36" fmla="*/ 85 w 94"/>
                <a:gd name="T37" fmla="*/ 44 h 53"/>
                <a:gd name="T38" fmla="*/ 90 w 94"/>
                <a:gd name="T39" fmla="*/ 36 h 53"/>
                <a:gd name="T40" fmla="*/ 94 w 94"/>
                <a:gd name="T41" fmla="*/ 31 h 53"/>
                <a:gd name="T42" fmla="*/ 94 w 94"/>
                <a:gd name="T43" fmla="*/ 22 h 53"/>
                <a:gd name="T44" fmla="*/ 85 w 94"/>
                <a:gd name="T45" fmla="*/ 22 h 53"/>
                <a:gd name="T46" fmla="*/ 81 w 94"/>
                <a:gd name="T47" fmla="*/ 13 h 53"/>
                <a:gd name="T48" fmla="*/ 72 w 94"/>
                <a:gd name="T49" fmla="*/ 9 h 53"/>
                <a:gd name="T50" fmla="*/ 67 w 94"/>
                <a:gd name="T51" fmla="*/ 18 h 53"/>
                <a:gd name="T52" fmla="*/ 58 w 94"/>
                <a:gd name="T53" fmla="*/ 13 h 53"/>
                <a:gd name="T54" fmla="*/ 63 w 94"/>
                <a:gd name="T55" fmla="*/ 9 h 53"/>
                <a:gd name="T56" fmla="*/ 54 w 94"/>
                <a:gd name="T57" fmla="*/ 9 h 53"/>
                <a:gd name="T58" fmla="*/ 49 w 94"/>
                <a:gd name="T59" fmla="*/ 0 h 53"/>
                <a:gd name="T60" fmla="*/ 45 w 94"/>
                <a:gd name="T61" fmla="*/ 4 h 53"/>
                <a:gd name="T62" fmla="*/ 40 w 94"/>
                <a:gd name="T63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4" h="53">
                  <a:moveTo>
                    <a:pt x="40" y="0"/>
                  </a:moveTo>
                  <a:lnTo>
                    <a:pt x="36" y="0"/>
                  </a:lnTo>
                  <a:lnTo>
                    <a:pt x="32" y="9"/>
                  </a:lnTo>
                  <a:lnTo>
                    <a:pt x="18" y="9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0" y="18"/>
                  </a:lnTo>
                  <a:lnTo>
                    <a:pt x="5" y="27"/>
                  </a:lnTo>
                  <a:lnTo>
                    <a:pt x="9" y="36"/>
                  </a:lnTo>
                  <a:lnTo>
                    <a:pt x="18" y="36"/>
                  </a:lnTo>
                  <a:lnTo>
                    <a:pt x="27" y="44"/>
                  </a:lnTo>
                  <a:lnTo>
                    <a:pt x="27" y="49"/>
                  </a:lnTo>
                  <a:lnTo>
                    <a:pt x="36" y="49"/>
                  </a:lnTo>
                  <a:lnTo>
                    <a:pt x="45" y="40"/>
                  </a:lnTo>
                  <a:lnTo>
                    <a:pt x="67" y="44"/>
                  </a:lnTo>
                  <a:lnTo>
                    <a:pt x="67" y="53"/>
                  </a:lnTo>
                  <a:lnTo>
                    <a:pt x="72" y="49"/>
                  </a:lnTo>
                  <a:lnTo>
                    <a:pt x="81" y="49"/>
                  </a:lnTo>
                  <a:lnTo>
                    <a:pt x="85" y="44"/>
                  </a:lnTo>
                  <a:lnTo>
                    <a:pt x="90" y="36"/>
                  </a:lnTo>
                  <a:lnTo>
                    <a:pt x="94" y="31"/>
                  </a:lnTo>
                  <a:lnTo>
                    <a:pt x="94" y="22"/>
                  </a:lnTo>
                  <a:lnTo>
                    <a:pt x="85" y="22"/>
                  </a:lnTo>
                  <a:lnTo>
                    <a:pt x="81" y="13"/>
                  </a:lnTo>
                  <a:lnTo>
                    <a:pt x="72" y="9"/>
                  </a:lnTo>
                  <a:lnTo>
                    <a:pt x="67" y="18"/>
                  </a:lnTo>
                  <a:lnTo>
                    <a:pt x="58" y="13"/>
                  </a:lnTo>
                  <a:lnTo>
                    <a:pt x="63" y="9"/>
                  </a:lnTo>
                  <a:lnTo>
                    <a:pt x="54" y="9"/>
                  </a:lnTo>
                  <a:lnTo>
                    <a:pt x="49" y="0"/>
                  </a:lnTo>
                  <a:lnTo>
                    <a:pt x="45" y="4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73" name="Freeform 13"/>
            <p:cNvSpPr>
              <a:spLocks noEditPoints="1"/>
            </p:cNvSpPr>
            <p:nvPr/>
          </p:nvSpPr>
          <p:spPr bwMode="gray">
            <a:xfrm>
              <a:off x="1466" y="1948"/>
              <a:ext cx="950" cy="677"/>
            </a:xfrm>
            <a:custGeom>
              <a:avLst/>
              <a:gdLst>
                <a:gd name="T0" fmla="*/ 0 w 313"/>
                <a:gd name="T1" fmla="*/ 9 h 223"/>
                <a:gd name="T2" fmla="*/ 5 w 313"/>
                <a:gd name="T3" fmla="*/ 18 h 223"/>
                <a:gd name="T4" fmla="*/ 5 w 313"/>
                <a:gd name="T5" fmla="*/ 27 h 223"/>
                <a:gd name="T6" fmla="*/ 9 w 313"/>
                <a:gd name="T7" fmla="*/ 31 h 223"/>
                <a:gd name="T8" fmla="*/ 9 w 313"/>
                <a:gd name="T9" fmla="*/ 18 h 223"/>
                <a:gd name="T10" fmla="*/ 5 w 313"/>
                <a:gd name="T11" fmla="*/ 13 h 223"/>
                <a:gd name="T12" fmla="*/ 14 w 313"/>
                <a:gd name="T13" fmla="*/ 0 h 223"/>
                <a:gd name="T14" fmla="*/ 0 w 313"/>
                <a:gd name="T15" fmla="*/ 4 h 223"/>
                <a:gd name="T16" fmla="*/ 241 w 313"/>
                <a:gd name="T17" fmla="*/ 214 h 223"/>
                <a:gd name="T18" fmla="*/ 237 w 313"/>
                <a:gd name="T19" fmla="*/ 206 h 223"/>
                <a:gd name="T20" fmla="*/ 237 w 313"/>
                <a:gd name="T21" fmla="*/ 192 h 223"/>
                <a:gd name="T22" fmla="*/ 241 w 313"/>
                <a:gd name="T23" fmla="*/ 188 h 223"/>
                <a:gd name="T24" fmla="*/ 246 w 313"/>
                <a:gd name="T25" fmla="*/ 183 h 223"/>
                <a:gd name="T26" fmla="*/ 250 w 313"/>
                <a:gd name="T27" fmla="*/ 170 h 223"/>
                <a:gd name="T28" fmla="*/ 246 w 313"/>
                <a:gd name="T29" fmla="*/ 165 h 223"/>
                <a:gd name="T30" fmla="*/ 241 w 313"/>
                <a:gd name="T31" fmla="*/ 156 h 223"/>
                <a:gd name="T32" fmla="*/ 246 w 313"/>
                <a:gd name="T33" fmla="*/ 156 h 223"/>
                <a:gd name="T34" fmla="*/ 246 w 313"/>
                <a:gd name="T35" fmla="*/ 143 h 223"/>
                <a:gd name="T36" fmla="*/ 246 w 313"/>
                <a:gd name="T37" fmla="*/ 134 h 223"/>
                <a:gd name="T38" fmla="*/ 237 w 313"/>
                <a:gd name="T39" fmla="*/ 152 h 223"/>
                <a:gd name="T40" fmla="*/ 219 w 313"/>
                <a:gd name="T41" fmla="*/ 161 h 223"/>
                <a:gd name="T42" fmla="*/ 224 w 313"/>
                <a:gd name="T43" fmla="*/ 165 h 223"/>
                <a:gd name="T44" fmla="*/ 219 w 313"/>
                <a:gd name="T45" fmla="*/ 170 h 223"/>
                <a:gd name="T46" fmla="*/ 224 w 313"/>
                <a:gd name="T47" fmla="*/ 174 h 223"/>
                <a:gd name="T48" fmla="*/ 219 w 313"/>
                <a:gd name="T49" fmla="*/ 183 h 223"/>
                <a:gd name="T50" fmla="*/ 224 w 313"/>
                <a:gd name="T51" fmla="*/ 188 h 223"/>
                <a:gd name="T52" fmla="*/ 219 w 313"/>
                <a:gd name="T53" fmla="*/ 201 h 223"/>
                <a:gd name="T54" fmla="*/ 224 w 313"/>
                <a:gd name="T55" fmla="*/ 206 h 223"/>
                <a:gd name="T56" fmla="*/ 224 w 313"/>
                <a:gd name="T57" fmla="*/ 219 h 223"/>
                <a:gd name="T58" fmla="*/ 241 w 313"/>
                <a:gd name="T59" fmla="*/ 206 h 223"/>
                <a:gd name="T60" fmla="*/ 246 w 313"/>
                <a:gd name="T61" fmla="*/ 210 h 223"/>
                <a:gd name="T62" fmla="*/ 246 w 313"/>
                <a:gd name="T63" fmla="*/ 219 h 223"/>
                <a:gd name="T64" fmla="*/ 246 w 313"/>
                <a:gd name="T65" fmla="*/ 210 h 223"/>
                <a:gd name="T66" fmla="*/ 246 w 313"/>
                <a:gd name="T67" fmla="*/ 201 h 223"/>
                <a:gd name="T68" fmla="*/ 250 w 313"/>
                <a:gd name="T69" fmla="*/ 214 h 223"/>
                <a:gd name="T70" fmla="*/ 259 w 313"/>
                <a:gd name="T71" fmla="*/ 223 h 223"/>
                <a:gd name="T72" fmla="*/ 264 w 313"/>
                <a:gd name="T73" fmla="*/ 219 h 223"/>
                <a:gd name="T74" fmla="*/ 264 w 313"/>
                <a:gd name="T75" fmla="*/ 214 h 223"/>
                <a:gd name="T76" fmla="*/ 250 w 313"/>
                <a:gd name="T77" fmla="*/ 214 h 223"/>
                <a:gd name="T78" fmla="*/ 264 w 313"/>
                <a:gd name="T79" fmla="*/ 192 h 223"/>
                <a:gd name="T80" fmla="*/ 255 w 313"/>
                <a:gd name="T81" fmla="*/ 192 h 223"/>
                <a:gd name="T82" fmla="*/ 255 w 313"/>
                <a:gd name="T83" fmla="*/ 206 h 223"/>
                <a:gd name="T84" fmla="*/ 264 w 313"/>
                <a:gd name="T85" fmla="*/ 210 h 223"/>
                <a:gd name="T86" fmla="*/ 273 w 313"/>
                <a:gd name="T87" fmla="*/ 210 h 223"/>
                <a:gd name="T88" fmla="*/ 273 w 313"/>
                <a:gd name="T89" fmla="*/ 201 h 223"/>
                <a:gd name="T90" fmla="*/ 273 w 313"/>
                <a:gd name="T91" fmla="*/ 197 h 223"/>
                <a:gd name="T92" fmla="*/ 273 w 313"/>
                <a:gd name="T93" fmla="*/ 183 h 223"/>
                <a:gd name="T94" fmla="*/ 264 w 313"/>
                <a:gd name="T95" fmla="*/ 183 h 223"/>
                <a:gd name="T96" fmla="*/ 304 w 313"/>
                <a:gd name="T97" fmla="*/ 210 h 223"/>
                <a:gd name="T98" fmla="*/ 313 w 313"/>
                <a:gd name="T99" fmla="*/ 20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13" h="223">
                  <a:moveTo>
                    <a:pt x="0" y="4"/>
                  </a:moveTo>
                  <a:lnTo>
                    <a:pt x="0" y="9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9" y="22"/>
                  </a:lnTo>
                  <a:lnTo>
                    <a:pt x="5" y="27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5" y="27"/>
                  </a:lnTo>
                  <a:lnTo>
                    <a:pt x="9" y="18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4"/>
                  </a:lnTo>
                  <a:lnTo>
                    <a:pt x="14" y="0"/>
                  </a:lnTo>
                  <a:lnTo>
                    <a:pt x="9" y="0"/>
                  </a:lnTo>
                  <a:lnTo>
                    <a:pt x="0" y="4"/>
                  </a:lnTo>
                  <a:close/>
                  <a:moveTo>
                    <a:pt x="224" y="219"/>
                  </a:moveTo>
                  <a:lnTo>
                    <a:pt x="241" y="214"/>
                  </a:lnTo>
                  <a:lnTo>
                    <a:pt x="237" y="210"/>
                  </a:lnTo>
                  <a:lnTo>
                    <a:pt x="237" y="206"/>
                  </a:lnTo>
                  <a:lnTo>
                    <a:pt x="241" y="197"/>
                  </a:lnTo>
                  <a:lnTo>
                    <a:pt x="237" y="192"/>
                  </a:lnTo>
                  <a:lnTo>
                    <a:pt x="241" y="192"/>
                  </a:lnTo>
                  <a:lnTo>
                    <a:pt x="241" y="188"/>
                  </a:lnTo>
                  <a:lnTo>
                    <a:pt x="241" y="179"/>
                  </a:lnTo>
                  <a:lnTo>
                    <a:pt x="246" y="183"/>
                  </a:lnTo>
                  <a:lnTo>
                    <a:pt x="250" y="174"/>
                  </a:lnTo>
                  <a:lnTo>
                    <a:pt x="250" y="170"/>
                  </a:lnTo>
                  <a:lnTo>
                    <a:pt x="246" y="170"/>
                  </a:lnTo>
                  <a:lnTo>
                    <a:pt x="246" y="165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1" y="152"/>
                  </a:lnTo>
                  <a:lnTo>
                    <a:pt x="246" y="156"/>
                  </a:lnTo>
                  <a:lnTo>
                    <a:pt x="250" y="147"/>
                  </a:lnTo>
                  <a:lnTo>
                    <a:pt x="246" y="143"/>
                  </a:lnTo>
                  <a:lnTo>
                    <a:pt x="246" y="139"/>
                  </a:lnTo>
                  <a:lnTo>
                    <a:pt x="246" y="134"/>
                  </a:lnTo>
                  <a:lnTo>
                    <a:pt x="241" y="134"/>
                  </a:lnTo>
                  <a:lnTo>
                    <a:pt x="237" y="152"/>
                  </a:lnTo>
                  <a:lnTo>
                    <a:pt x="224" y="156"/>
                  </a:lnTo>
                  <a:lnTo>
                    <a:pt x="219" y="161"/>
                  </a:lnTo>
                  <a:lnTo>
                    <a:pt x="219" y="165"/>
                  </a:lnTo>
                  <a:lnTo>
                    <a:pt x="224" y="165"/>
                  </a:lnTo>
                  <a:lnTo>
                    <a:pt x="224" y="170"/>
                  </a:lnTo>
                  <a:lnTo>
                    <a:pt x="219" y="170"/>
                  </a:lnTo>
                  <a:lnTo>
                    <a:pt x="219" y="174"/>
                  </a:lnTo>
                  <a:lnTo>
                    <a:pt x="224" y="174"/>
                  </a:lnTo>
                  <a:lnTo>
                    <a:pt x="219" y="179"/>
                  </a:lnTo>
                  <a:lnTo>
                    <a:pt x="219" y="183"/>
                  </a:lnTo>
                  <a:lnTo>
                    <a:pt x="219" y="183"/>
                  </a:lnTo>
                  <a:lnTo>
                    <a:pt x="224" y="188"/>
                  </a:lnTo>
                  <a:lnTo>
                    <a:pt x="219" y="192"/>
                  </a:lnTo>
                  <a:lnTo>
                    <a:pt x="219" y="201"/>
                  </a:lnTo>
                  <a:lnTo>
                    <a:pt x="224" y="197"/>
                  </a:lnTo>
                  <a:lnTo>
                    <a:pt x="224" y="206"/>
                  </a:lnTo>
                  <a:lnTo>
                    <a:pt x="224" y="214"/>
                  </a:lnTo>
                  <a:lnTo>
                    <a:pt x="224" y="219"/>
                  </a:lnTo>
                  <a:close/>
                  <a:moveTo>
                    <a:pt x="241" y="197"/>
                  </a:moveTo>
                  <a:lnTo>
                    <a:pt x="241" y="206"/>
                  </a:lnTo>
                  <a:lnTo>
                    <a:pt x="241" y="210"/>
                  </a:lnTo>
                  <a:lnTo>
                    <a:pt x="246" y="210"/>
                  </a:lnTo>
                  <a:lnTo>
                    <a:pt x="246" y="219"/>
                  </a:lnTo>
                  <a:lnTo>
                    <a:pt x="246" y="219"/>
                  </a:lnTo>
                  <a:lnTo>
                    <a:pt x="250" y="210"/>
                  </a:lnTo>
                  <a:lnTo>
                    <a:pt x="246" y="210"/>
                  </a:lnTo>
                  <a:lnTo>
                    <a:pt x="246" y="206"/>
                  </a:lnTo>
                  <a:lnTo>
                    <a:pt x="246" y="201"/>
                  </a:lnTo>
                  <a:lnTo>
                    <a:pt x="241" y="197"/>
                  </a:lnTo>
                  <a:close/>
                  <a:moveTo>
                    <a:pt x="250" y="214"/>
                  </a:moveTo>
                  <a:lnTo>
                    <a:pt x="250" y="219"/>
                  </a:lnTo>
                  <a:lnTo>
                    <a:pt x="259" y="223"/>
                  </a:lnTo>
                  <a:lnTo>
                    <a:pt x="264" y="219"/>
                  </a:lnTo>
                  <a:lnTo>
                    <a:pt x="264" y="219"/>
                  </a:lnTo>
                  <a:lnTo>
                    <a:pt x="268" y="219"/>
                  </a:lnTo>
                  <a:lnTo>
                    <a:pt x="264" y="214"/>
                  </a:lnTo>
                  <a:lnTo>
                    <a:pt x="259" y="214"/>
                  </a:lnTo>
                  <a:lnTo>
                    <a:pt x="250" y="214"/>
                  </a:lnTo>
                  <a:close/>
                  <a:moveTo>
                    <a:pt x="264" y="183"/>
                  </a:moveTo>
                  <a:lnTo>
                    <a:pt x="264" y="192"/>
                  </a:lnTo>
                  <a:lnTo>
                    <a:pt x="259" y="183"/>
                  </a:lnTo>
                  <a:lnTo>
                    <a:pt x="255" y="192"/>
                  </a:lnTo>
                  <a:lnTo>
                    <a:pt x="250" y="192"/>
                  </a:lnTo>
                  <a:lnTo>
                    <a:pt x="255" y="206"/>
                  </a:lnTo>
                  <a:lnTo>
                    <a:pt x="259" y="206"/>
                  </a:lnTo>
                  <a:lnTo>
                    <a:pt x="264" y="210"/>
                  </a:lnTo>
                  <a:lnTo>
                    <a:pt x="273" y="214"/>
                  </a:lnTo>
                  <a:lnTo>
                    <a:pt x="273" y="210"/>
                  </a:lnTo>
                  <a:lnTo>
                    <a:pt x="268" y="206"/>
                  </a:lnTo>
                  <a:lnTo>
                    <a:pt x="273" y="201"/>
                  </a:lnTo>
                  <a:lnTo>
                    <a:pt x="268" y="197"/>
                  </a:lnTo>
                  <a:lnTo>
                    <a:pt x="273" y="197"/>
                  </a:lnTo>
                  <a:lnTo>
                    <a:pt x="273" y="192"/>
                  </a:lnTo>
                  <a:lnTo>
                    <a:pt x="273" y="183"/>
                  </a:lnTo>
                  <a:lnTo>
                    <a:pt x="268" y="179"/>
                  </a:lnTo>
                  <a:lnTo>
                    <a:pt x="264" y="183"/>
                  </a:lnTo>
                  <a:close/>
                  <a:moveTo>
                    <a:pt x="308" y="206"/>
                  </a:moveTo>
                  <a:lnTo>
                    <a:pt x="304" y="210"/>
                  </a:lnTo>
                  <a:lnTo>
                    <a:pt x="313" y="210"/>
                  </a:lnTo>
                  <a:lnTo>
                    <a:pt x="313" y="206"/>
                  </a:lnTo>
                  <a:lnTo>
                    <a:pt x="308" y="206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74" name="Freeform 14"/>
            <p:cNvSpPr>
              <a:spLocks noEditPoints="1"/>
            </p:cNvSpPr>
            <p:nvPr/>
          </p:nvSpPr>
          <p:spPr bwMode="gray">
            <a:xfrm>
              <a:off x="2700" y="2207"/>
              <a:ext cx="298" cy="186"/>
            </a:xfrm>
            <a:custGeom>
              <a:avLst/>
              <a:gdLst>
                <a:gd name="T0" fmla="*/ 4 w 98"/>
                <a:gd name="T1" fmla="*/ 31 h 62"/>
                <a:gd name="T2" fmla="*/ 0 w 98"/>
                <a:gd name="T3" fmla="*/ 36 h 62"/>
                <a:gd name="T4" fmla="*/ 4 w 98"/>
                <a:gd name="T5" fmla="*/ 40 h 62"/>
                <a:gd name="T6" fmla="*/ 0 w 98"/>
                <a:gd name="T7" fmla="*/ 45 h 62"/>
                <a:gd name="T8" fmla="*/ 4 w 98"/>
                <a:gd name="T9" fmla="*/ 49 h 62"/>
                <a:gd name="T10" fmla="*/ 9 w 98"/>
                <a:gd name="T11" fmla="*/ 40 h 62"/>
                <a:gd name="T12" fmla="*/ 13 w 98"/>
                <a:gd name="T13" fmla="*/ 40 h 62"/>
                <a:gd name="T14" fmla="*/ 22 w 98"/>
                <a:gd name="T15" fmla="*/ 31 h 62"/>
                <a:gd name="T16" fmla="*/ 22 w 98"/>
                <a:gd name="T17" fmla="*/ 27 h 62"/>
                <a:gd name="T18" fmla="*/ 18 w 98"/>
                <a:gd name="T19" fmla="*/ 27 h 62"/>
                <a:gd name="T20" fmla="*/ 13 w 98"/>
                <a:gd name="T21" fmla="*/ 27 h 62"/>
                <a:gd name="T22" fmla="*/ 22 w 98"/>
                <a:gd name="T23" fmla="*/ 22 h 62"/>
                <a:gd name="T24" fmla="*/ 13 w 98"/>
                <a:gd name="T25" fmla="*/ 18 h 62"/>
                <a:gd name="T26" fmla="*/ 9 w 98"/>
                <a:gd name="T27" fmla="*/ 22 h 62"/>
                <a:gd name="T28" fmla="*/ 13 w 98"/>
                <a:gd name="T29" fmla="*/ 27 h 62"/>
                <a:gd name="T30" fmla="*/ 13 w 98"/>
                <a:gd name="T31" fmla="*/ 27 h 62"/>
                <a:gd name="T32" fmla="*/ 4 w 98"/>
                <a:gd name="T33" fmla="*/ 31 h 62"/>
                <a:gd name="T34" fmla="*/ 40 w 98"/>
                <a:gd name="T35" fmla="*/ 54 h 62"/>
                <a:gd name="T36" fmla="*/ 53 w 98"/>
                <a:gd name="T37" fmla="*/ 49 h 62"/>
                <a:gd name="T38" fmla="*/ 62 w 98"/>
                <a:gd name="T39" fmla="*/ 54 h 62"/>
                <a:gd name="T40" fmla="*/ 71 w 98"/>
                <a:gd name="T41" fmla="*/ 58 h 62"/>
                <a:gd name="T42" fmla="*/ 76 w 98"/>
                <a:gd name="T43" fmla="*/ 58 h 62"/>
                <a:gd name="T44" fmla="*/ 85 w 98"/>
                <a:gd name="T45" fmla="*/ 62 h 62"/>
                <a:gd name="T46" fmla="*/ 94 w 98"/>
                <a:gd name="T47" fmla="*/ 58 h 62"/>
                <a:gd name="T48" fmla="*/ 98 w 98"/>
                <a:gd name="T49" fmla="*/ 54 h 62"/>
                <a:gd name="T50" fmla="*/ 89 w 98"/>
                <a:gd name="T51" fmla="*/ 45 h 62"/>
                <a:gd name="T52" fmla="*/ 85 w 98"/>
                <a:gd name="T53" fmla="*/ 36 h 62"/>
                <a:gd name="T54" fmla="*/ 85 w 98"/>
                <a:gd name="T55" fmla="*/ 31 h 62"/>
                <a:gd name="T56" fmla="*/ 85 w 98"/>
                <a:gd name="T57" fmla="*/ 22 h 62"/>
                <a:gd name="T58" fmla="*/ 94 w 98"/>
                <a:gd name="T59" fmla="*/ 18 h 62"/>
                <a:gd name="T60" fmla="*/ 98 w 98"/>
                <a:gd name="T61" fmla="*/ 9 h 62"/>
                <a:gd name="T62" fmla="*/ 94 w 98"/>
                <a:gd name="T63" fmla="*/ 0 h 62"/>
                <a:gd name="T64" fmla="*/ 89 w 98"/>
                <a:gd name="T65" fmla="*/ 4 h 62"/>
                <a:gd name="T66" fmla="*/ 71 w 98"/>
                <a:gd name="T67" fmla="*/ 0 h 62"/>
                <a:gd name="T68" fmla="*/ 40 w 98"/>
                <a:gd name="T69" fmla="*/ 9 h 62"/>
                <a:gd name="T70" fmla="*/ 27 w 98"/>
                <a:gd name="T71" fmla="*/ 18 h 62"/>
                <a:gd name="T72" fmla="*/ 27 w 98"/>
                <a:gd name="T73" fmla="*/ 31 h 62"/>
                <a:gd name="T74" fmla="*/ 35 w 98"/>
                <a:gd name="T75" fmla="*/ 40 h 62"/>
                <a:gd name="T76" fmla="*/ 40 w 98"/>
                <a:gd name="T77" fmla="*/ 36 h 62"/>
                <a:gd name="T78" fmla="*/ 40 w 98"/>
                <a:gd name="T79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8" h="62">
                  <a:moveTo>
                    <a:pt x="4" y="31"/>
                  </a:moveTo>
                  <a:lnTo>
                    <a:pt x="0" y="36"/>
                  </a:lnTo>
                  <a:lnTo>
                    <a:pt x="4" y="40"/>
                  </a:lnTo>
                  <a:lnTo>
                    <a:pt x="0" y="45"/>
                  </a:lnTo>
                  <a:lnTo>
                    <a:pt x="4" y="49"/>
                  </a:lnTo>
                  <a:lnTo>
                    <a:pt x="9" y="40"/>
                  </a:lnTo>
                  <a:lnTo>
                    <a:pt x="13" y="40"/>
                  </a:lnTo>
                  <a:lnTo>
                    <a:pt x="22" y="31"/>
                  </a:lnTo>
                  <a:lnTo>
                    <a:pt x="22" y="27"/>
                  </a:lnTo>
                  <a:lnTo>
                    <a:pt x="18" y="27"/>
                  </a:lnTo>
                  <a:lnTo>
                    <a:pt x="13" y="27"/>
                  </a:lnTo>
                  <a:lnTo>
                    <a:pt x="22" y="22"/>
                  </a:lnTo>
                  <a:lnTo>
                    <a:pt x="13" y="18"/>
                  </a:lnTo>
                  <a:lnTo>
                    <a:pt x="9" y="22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4" y="31"/>
                  </a:lnTo>
                  <a:close/>
                  <a:moveTo>
                    <a:pt x="40" y="54"/>
                  </a:moveTo>
                  <a:lnTo>
                    <a:pt x="53" y="49"/>
                  </a:lnTo>
                  <a:lnTo>
                    <a:pt x="62" y="54"/>
                  </a:lnTo>
                  <a:lnTo>
                    <a:pt x="71" y="58"/>
                  </a:lnTo>
                  <a:lnTo>
                    <a:pt x="76" y="58"/>
                  </a:lnTo>
                  <a:lnTo>
                    <a:pt x="85" y="62"/>
                  </a:lnTo>
                  <a:lnTo>
                    <a:pt x="94" y="58"/>
                  </a:lnTo>
                  <a:lnTo>
                    <a:pt x="98" y="54"/>
                  </a:lnTo>
                  <a:lnTo>
                    <a:pt x="89" y="45"/>
                  </a:lnTo>
                  <a:lnTo>
                    <a:pt x="85" y="36"/>
                  </a:lnTo>
                  <a:lnTo>
                    <a:pt x="85" y="31"/>
                  </a:lnTo>
                  <a:lnTo>
                    <a:pt x="85" y="22"/>
                  </a:lnTo>
                  <a:lnTo>
                    <a:pt x="94" y="18"/>
                  </a:lnTo>
                  <a:lnTo>
                    <a:pt x="98" y="9"/>
                  </a:lnTo>
                  <a:lnTo>
                    <a:pt x="94" y="0"/>
                  </a:lnTo>
                  <a:lnTo>
                    <a:pt x="89" y="4"/>
                  </a:lnTo>
                  <a:lnTo>
                    <a:pt x="71" y="0"/>
                  </a:lnTo>
                  <a:lnTo>
                    <a:pt x="40" y="9"/>
                  </a:lnTo>
                  <a:lnTo>
                    <a:pt x="27" y="18"/>
                  </a:lnTo>
                  <a:lnTo>
                    <a:pt x="27" y="31"/>
                  </a:lnTo>
                  <a:lnTo>
                    <a:pt x="35" y="40"/>
                  </a:lnTo>
                  <a:lnTo>
                    <a:pt x="40" y="36"/>
                  </a:lnTo>
                  <a:lnTo>
                    <a:pt x="40" y="5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75" name="Freeform 15"/>
            <p:cNvSpPr>
              <a:spLocks/>
            </p:cNvSpPr>
            <p:nvPr/>
          </p:nvSpPr>
          <p:spPr bwMode="gray">
            <a:xfrm>
              <a:off x="2644" y="1107"/>
              <a:ext cx="502" cy="1100"/>
            </a:xfrm>
            <a:custGeom>
              <a:avLst/>
              <a:gdLst>
                <a:gd name="T0" fmla="*/ 18 w 165"/>
                <a:gd name="T1" fmla="*/ 54 h 362"/>
                <a:gd name="T2" fmla="*/ 45 w 165"/>
                <a:gd name="T3" fmla="*/ 76 h 362"/>
                <a:gd name="T4" fmla="*/ 53 w 165"/>
                <a:gd name="T5" fmla="*/ 121 h 362"/>
                <a:gd name="T6" fmla="*/ 49 w 165"/>
                <a:gd name="T7" fmla="*/ 152 h 362"/>
                <a:gd name="T8" fmla="*/ 58 w 165"/>
                <a:gd name="T9" fmla="*/ 165 h 362"/>
                <a:gd name="T10" fmla="*/ 67 w 165"/>
                <a:gd name="T11" fmla="*/ 192 h 362"/>
                <a:gd name="T12" fmla="*/ 45 w 165"/>
                <a:gd name="T13" fmla="*/ 219 h 362"/>
                <a:gd name="T14" fmla="*/ 22 w 165"/>
                <a:gd name="T15" fmla="*/ 250 h 362"/>
                <a:gd name="T16" fmla="*/ 9 w 165"/>
                <a:gd name="T17" fmla="*/ 264 h 362"/>
                <a:gd name="T18" fmla="*/ 13 w 165"/>
                <a:gd name="T19" fmla="*/ 277 h 362"/>
                <a:gd name="T20" fmla="*/ 13 w 165"/>
                <a:gd name="T21" fmla="*/ 313 h 362"/>
                <a:gd name="T22" fmla="*/ 27 w 165"/>
                <a:gd name="T23" fmla="*/ 335 h 362"/>
                <a:gd name="T24" fmla="*/ 36 w 165"/>
                <a:gd name="T25" fmla="*/ 340 h 362"/>
                <a:gd name="T26" fmla="*/ 36 w 165"/>
                <a:gd name="T27" fmla="*/ 348 h 362"/>
                <a:gd name="T28" fmla="*/ 40 w 165"/>
                <a:gd name="T29" fmla="*/ 353 h 362"/>
                <a:gd name="T30" fmla="*/ 40 w 165"/>
                <a:gd name="T31" fmla="*/ 362 h 362"/>
                <a:gd name="T32" fmla="*/ 58 w 165"/>
                <a:gd name="T33" fmla="*/ 348 h 362"/>
                <a:gd name="T34" fmla="*/ 62 w 165"/>
                <a:gd name="T35" fmla="*/ 353 h 362"/>
                <a:gd name="T36" fmla="*/ 76 w 165"/>
                <a:gd name="T37" fmla="*/ 348 h 362"/>
                <a:gd name="T38" fmla="*/ 85 w 165"/>
                <a:gd name="T39" fmla="*/ 344 h 362"/>
                <a:gd name="T40" fmla="*/ 98 w 165"/>
                <a:gd name="T41" fmla="*/ 340 h 362"/>
                <a:gd name="T42" fmla="*/ 112 w 165"/>
                <a:gd name="T43" fmla="*/ 340 h 362"/>
                <a:gd name="T44" fmla="*/ 129 w 165"/>
                <a:gd name="T45" fmla="*/ 322 h 362"/>
                <a:gd name="T46" fmla="*/ 161 w 165"/>
                <a:gd name="T47" fmla="*/ 281 h 362"/>
                <a:gd name="T48" fmla="*/ 147 w 165"/>
                <a:gd name="T49" fmla="*/ 255 h 362"/>
                <a:gd name="T50" fmla="*/ 147 w 165"/>
                <a:gd name="T51" fmla="*/ 228 h 362"/>
                <a:gd name="T52" fmla="*/ 143 w 165"/>
                <a:gd name="T53" fmla="*/ 214 h 362"/>
                <a:gd name="T54" fmla="*/ 134 w 165"/>
                <a:gd name="T55" fmla="*/ 165 h 362"/>
                <a:gd name="T56" fmla="*/ 134 w 165"/>
                <a:gd name="T57" fmla="*/ 147 h 362"/>
                <a:gd name="T58" fmla="*/ 120 w 165"/>
                <a:gd name="T59" fmla="*/ 116 h 362"/>
                <a:gd name="T60" fmla="*/ 134 w 165"/>
                <a:gd name="T61" fmla="*/ 80 h 362"/>
                <a:gd name="T62" fmla="*/ 116 w 165"/>
                <a:gd name="T63" fmla="*/ 54 h 362"/>
                <a:gd name="T64" fmla="*/ 112 w 165"/>
                <a:gd name="T65" fmla="*/ 40 h 362"/>
                <a:gd name="T66" fmla="*/ 116 w 165"/>
                <a:gd name="T67" fmla="*/ 31 h 362"/>
                <a:gd name="T68" fmla="*/ 120 w 165"/>
                <a:gd name="T69" fmla="*/ 9 h 362"/>
                <a:gd name="T70" fmla="*/ 107 w 165"/>
                <a:gd name="T71" fmla="*/ 0 h 362"/>
                <a:gd name="T72" fmla="*/ 76 w 165"/>
                <a:gd name="T73" fmla="*/ 22 h 362"/>
                <a:gd name="T74" fmla="*/ 62 w 165"/>
                <a:gd name="T75" fmla="*/ 58 h 362"/>
                <a:gd name="T76" fmla="*/ 31 w 165"/>
                <a:gd name="T77" fmla="*/ 54 h 362"/>
                <a:gd name="T78" fmla="*/ 9 w 165"/>
                <a:gd name="T79" fmla="*/ 31 h 362"/>
                <a:gd name="T80" fmla="*/ 0 w 165"/>
                <a:gd name="T81" fmla="*/ 36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5" h="362">
                  <a:moveTo>
                    <a:pt x="4" y="40"/>
                  </a:moveTo>
                  <a:lnTo>
                    <a:pt x="18" y="54"/>
                  </a:lnTo>
                  <a:lnTo>
                    <a:pt x="40" y="62"/>
                  </a:lnTo>
                  <a:lnTo>
                    <a:pt x="45" y="76"/>
                  </a:lnTo>
                  <a:lnTo>
                    <a:pt x="49" y="98"/>
                  </a:lnTo>
                  <a:lnTo>
                    <a:pt x="53" y="121"/>
                  </a:lnTo>
                  <a:lnTo>
                    <a:pt x="49" y="138"/>
                  </a:lnTo>
                  <a:lnTo>
                    <a:pt x="49" y="152"/>
                  </a:lnTo>
                  <a:lnTo>
                    <a:pt x="53" y="165"/>
                  </a:lnTo>
                  <a:lnTo>
                    <a:pt x="58" y="165"/>
                  </a:lnTo>
                  <a:lnTo>
                    <a:pt x="71" y="183"/>
                  </a:lnTo>
                  <a:lnTo>
                    <a:pt x="67" y="192"/>
                  </a:lnTo>
                  <a:lnTo>
                    <a:pt x="71" y="197"/>
                  </a:lnTo>
                  <a:lnTo>
                    <a:pt x="45" y="219"/>
                  </a:lnTo>
                  <a:lnTo>
                    <a:pt x="31" y="237"/>
                  </a:lnTo>
                  <a:lnTo>
                    <a:pt x="22" y="250"/>
                  </a:lnTo>
                  <a:lnTo>
                    <a:pt x="13" y="250"/>
                  </a:lnTo>
                  <a:lnTo>
                    <a:pt x="9" y="264"/>
                  </a:lnTo>
                  <a:lnTo>
                    <a:pt x="9" y="277"/>
                  </a:lnTo>
                  <a:lnTo>
                    <a:pt x="13" y="277"/>
                  </a:lnTo>
                  <a:lnTo>
                    <a:pt x="18" y="299"/>
                  </a:lnTo>
                  <a:lnTo>
                    <a:pt x="13" y="313"/>
                  </a:lnTo>
                  <a:lnTo>
                    <a:pt x="18" y="331"/>
                  </a:lnTo>
                  <a:lnTo>
                    <a:pt x="27" y="335"/>
                  </a:lnTo>
                  <a:lnTo>
                    <a:pt x="31" y="344"/>
                  </a:lnTo>
                  <a:lnTo>
                    <a:pt x="36" y="340"/>
                  </a:lnTo>
                  <a:lnTo>
                    <a:pt x="36" y="344"/>
                  </a:lnTo>
                  <a:lnTo>
                    <a:pt x="36" y="348"/>
                  </a:lnTo>
                  <a:lnTo>
                    <a:pt x="36" y="353"/>
                  </a:lnTo>
                  <a:lnTo>
                    <a:pt x="40" y="353"/>
                  </a:lnTo>
                  <a:lnTo>
                    <a:pt x="36" y="362"/>
                  </a:lnTo>
                  <a:lnTo>
                    <a:pt x="40" y="362"/>
                  </a:lnTo>
                  <a:lnTo>
                    <a:pt x="45" y="353"/>
                  </a:lnTo>
                  <a:lnTo>
                    <a:pt x="58" y="348"/>
                  </a:lnTo>
                  <a:lnTo>
                    <a:pt x="58" y="353"/>
                  </a:lnTo>
                  <a:lnTo>
                    <a:pt x="62" y="353"/>
                  </a:lnTo>
                  <a:lnTo>
                    <a:pt x="67" y="344"/>
                  </a:lnTo>
                  <a:lnTo>
                    <a:pt x="76" y="348"/>
                  </a:lnTo>
                  <a:lnTo>
                    <a:pt x="80" y="344"/>
                  </a:lnTo>
                  <a:lnTo>
                    <a:pt x="85" y="344"/>
                  </a:lnTo>
                  <a:lnTo>
                    <a:pt x="94" y="344"/>
                  </a:lnTo>
                  <a:lnTo>
                    <a:pt x="98" y="340"/>
                  </a:lnTo>
                  <a:lnTo>
                    <a:pt x="107" y="344"/>
                  </a:lnTo>
                  <a:lnTo>
                    <a:pt x="112" y="340"/>
                  </a:lnTo>
                  <a:lnTo>
                    <a:pt x="120" y="331"/>
                  </a:lnTo>
                  <a:lnTo>
                    <a:pt x="129" y="322"/>
                  </a:lnTo>
                  <a:lnTo>
                    <a:pt x="134" y="308"/>
                  </a:lnTo>
                  <a:lnTo>
                    <a:pt x="161" y="281"/>
                  </a:lnTo>
                  <a:lnTo>
                    <a:pt x="165" y="273"/>
                  </a:lnTo>
                  <a:lnTo>
                    <a:pt x="147" y="255"/>
                  </a:lnTo>
                  <a:lnTo>
                    <a:pt x="134" y="241"/>
                  </a:lnTo>
                  <a:lnTo>
                    <a:pt x="147" y="228"/>
                  </a:lnTo>
                  <a:lnTo>
                    <a:pt x="134" y="219"/>
                  </a:lnTo>
                  <a:lnTo>
                    <a:pt x="143" y="214"/>
                  </a:lnTo>
                  <a:lnTo>
                    <a:pt x="134" y="210"/>
                  </a:lnTo>
                  <a:lnTo>
                    <a:pt x="134" y="165"/>
                  </a:lnTo>
                  <a:lnTo>
                    <a:pt x="143" y="161"/>
                  </a:lnTo>
                  <a:lnTo>
                    <a:pt x="134" y="147"/>
                  </a:lnTo>
                  <a:lnTo>
                    <a:pt x="129" y="130"/>
                  </a:lnTo>
                  <a:lnTo>
                    <a:pt x="120" y="116"/>
                  </a:lnTo>
                  <a:lnTo>
                    <a:pt x="134" y="89"/>
                  </a:lnTo>
                  <a:lnTo>
                    <a:pt x="134" y="80"/>
                  </a:lnTo>
                  <a:lnTo>
                    <a:pt x="120" y="71"/>
                  </a:lnTo>
                  <a:lnTo>
                    <a:pt x="116" y="54"/>
                  </a:lnTo>
                  <a:lnTo>
                    <a:pt x="125" y="36"/>
                  </a:lnTo>
                  <a:lnTo>
                    <a:pt x="112" y="40"/>
                  </a:lnTo>
                  <a:lnTo>
                    <a:pt x="112" y="36"/>
                  </a:lnTo>
                  <a:lnTo>
                    <a:pt x="116" y="31"/>
                  </a:lnTo>
                  <a:lnTo>
                    <a:pt x="120" y="13"/>
                  </a:lnTo>
                  <a:lnTo>
                    <a:pt x="120" y="9"/>
                  </a:lnTo>
                  <a:lnTo>
                    <a:pt x="112" y="9"/>
                  </a:lnTo>
                  <a:lnTo>
                    <a:pt x="107" y="0"/>
                  </a:lnTo>
                  <a:lnTo>
                    <a:pt x="89" y="4"/>
                  </a:lnTo>
                  <a:lnTo>
                    <a:pt x="76" y="22"/>
                  </a:lnTo>
                  <a:lnTo>
                    <a:pt x="76" y="45"/>
                  </a:lnTo>
                  <a:lnTo>
                    <a:pt x="62" y="58"/>
                  </a:lnTo>
                  <a:lnTo>
                    <a:pt x="53" y="54"/>
                  </a:lnTo>
                  <a:lnTo>
                    <a:pt x="31" y="54"/>
                  </a:lnTo>
                  <a:lnTo>
                    <a:pt x="18" y="31"/>
                  </a:lnTo>
                  <a:lnTo>
                    <a:pt x="9" y="31"/>
                  </a:lnTo>
                  <a:lnTo>
                    <a:pt x="9" y="36"/>
                  </a:lnTo>
                  <a:lnTo>
                    <a:pt x="0" y="36"/>
                  </a:lnTo>
                  <a:lnTo>
                    <a:pt x="4" y="4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76" name="Freeform 16"/>
            <p:cNvSpPr>
              <a:spLocks noEditPoints="1"/>
            </p:cNvSpPr>
            <p:nvPr/>
          </p:nvSpPr>
          <p:spPr bwMode="gray">
            <a:xfrm>
              <a:off x="1564" y="2869"/>
              <a:ext cx="621" cy="622"/>
            </a:xfrm>
            <a:custGeom>
              <a:avLst/>
              <a:gdLst>
                <a:gd name="T0" fmla="*/ 49 w 205"/>
                <a:gd name="T1" fmla="*/ 174 h 205"/>
                <a:gd name="T2" fmla="*/ 67 w 205"/>
                <a:gd name="T3" fmla="*/ 183 h 205"/>
                <a:gd name="T4" fmla="*/ 89 w 205"/>
                <a:gd name="T5" fmla="*/ 183 h 205"/>
                <a:gd name="T6" fmla="*/ 107 w 205"/>
                <a:gd name="T7" fmla="*/ 188 h 205"/>
                <a:gd name="T8" fmla="*/ 116 w 205"/>
                <a:gd name="T9" fmla="*/ 174 h 205"/>
                <a:gd name="T10" fmla="*/ 129 w 205"/>
                <a:gd name="T11" fmla="*/ 174 h 205"/>
                <a:gd name="T12" fmla="*/ 142 w 205"/>
                <a:gd name="T13" fmla="*/ 170 h 205"/>
                <a:gd name="T14" fmla="*/ 165 w 205"/>
                <a:gd name="T15" fmla="*/ 170 h 205"/>
                <a:gd name="T16" fmla="*/ 178 w 205"/>
                <a:gd name="T17" fmla="*/ 161 h 205"/>
                <a:gd name="T18" fmla="*/ 165 w 205"/>
                <a:gd name="T19" fmla="*/ 156 h 205"/>
                <a:gd name="T20" fmla="*/ 160 w 205"/>
                <a:gd name="T21" fmla="*/ 129 h 205"/>
                <a:gd name="T22" fmla="*/ 169 w 205"/>
                <a:gd name="T23" fmla="*/ 116 h 205"/>
                <a:gd name="T24" fmla="*/ 160 w 205"/>
                <a:gd name="T25" fmla="*/ 103 h 205"/>
                <a:gd name="T26" fmla="*/ 156 w 205"/>
                <a:gd name="T27" fmla="*/ 103 h 205"/>
                <a:gd name="T28" fmla="*/ 165 w 205"/>
                <a:gd name="T29" fmla="*/ 85 h 205"/>
                <a:gd name="T30" fmla="*/ 178 w 205"/>
                <a:gd name="T31" fmla="*/ 80 h 205"/>
                <a:gd name="T32" fmla="*/ 183 w 205"/>
                <a:gd name="T33" fmla="*/ 53 h 205"/>
                <a:gd name="T34" fmla="*/ 174 w 205"/>
                <a:gd name="T35" fmla="*/ 45 h 205"/>
                <a:gd name="T36" fmla="*/ 160 w 205"/>
                <a:gd name="T37" fmla="*/ 40 h 205"/>
                <a:gd name="T38" fmla="*/ 151 w 205"/>
                <a:gd name="T39" fmla="*/ 40 h 205"/>
                <a:gd name="T40" fmla="*/ 142 w 205"/>
                <a:gd name="T41" fmla="*/ 36 h 205"/>
                <a:gd name="T42" fmla="*/ 138 w 205"/>
                <a:gd name="T43" fmla="*/ 22 h 205"/>
                <a:gd name="T44" fmla="*/ 125 w 205"/>
                <a:gd name="T45" fmla="*/ 27 h 205"/>
                <a:gd name="T46" fmla="*/ 120 w 205"/>
                <a:gd name="T47" fmla="*/ 18 h 205"/>
                <a:gd name="T48" fmla="*/ 111 w 205"/>
                <a:gd name="T49" fmla="*/ 13 h 205"/>
                <a:gd name="T50" fmla="*/ 93 w 205"/>
                <a:gd name="T51" fmla="*/ 4 h 205"/>
                <a:gd name="T52" fmla="*/ 93 w 205"/>
                <a:gd name="T53" fmla="*/ 22 h 205"/>
                <a:gd name="T54" fmla="*/ 93 w 205"/>
                <a:gd name="T55" fmla="*/ 27 h 205"/>
                <a:gd name="T56" fmla="*/ 80 w 205"/>
                <a:gd name="T57" fmla="*/ 31 h 205"/>
                <a:gd name="T58" fmla="*/ 67 w 205"/>
                <a:gd name="T59" fmla="*/ 36 h 205"/>
                <a:gd name="T60" fmla="*/ 67 w 205"/>
                <a:gd name="T61" fmla="*/ 40 h 205"/>
                <a:gd name="T62" fmla="*/ 49 w 205"/>
                <a:gd name="T63" fmla="*/ 45 h 205"/>
                <a:gd name="T64" fmla="*/ 40 w 205"/>
                <a:gd name="T65" fmla="*/ 36 h 205"/>
                <a:gd name="T66" fmla="*/ 44 w 205"/>
                <a:gd name="T67" fmla="*/ 45 h 205"/>
                <a:gd name="T68" fmla="*/ 49 w 205"/>
                <a:gd name="T69" fmla="*/ 58 h 205"/>
                <a:gd name="T70" fmla="*/ 35 w 205"/>
                <a:gd name="T71" fmla="*/ 58 h 205"/>
                <a:gd name="T72" fmla="*/ 22 w 205"/>
                <a:gd name="T73" fmla="*/ 53 h 205"/>
                <a:gd name="T74" fmla="*/ 17 w 205"/>
                <a:gd name="T75" fmla="*/ 58 h 205"/>
                <a:gd name="T76" fmla="*/ 8 w 205"/>
                <a:gd name="T77" fmla="*/ 58 h 205"/>
                <a:gd name="T78" fmla="*/ 0 w 205"/>
                <a:gd name="T79" fmla="*/ 62 h 205"/>
                <a:gd name="T80" fmla="*/ 4 w 205"/>
                <a:gd name="T81" fmla="*/ 62 h 205"/>
                <a:gd name="T82" fmla="*/ 0 w 205"/>
                <a:gd name="T83" fmla="*/ 67 h 205"/>
                <a:gd name="T84" fmla="*/ 4 w 205"/>
                <a:gd name="T85" fmla="*/ 76 h 205"/>
                <a:gd name="T86" fmla="*/ 22 w 205"/>
                <a:gd name="T87" fmla="*/ 80 h 205"/>
                <a:gd name="T88" fmla="*/ 26 w 205"/>
                <a:gd name="T89" fmla="*/ 80 h 205"/>
                <a:gd name="T90" fmla="*/ 35 w 205"/>
                <a:gd name="T91" fmla="*/ 89 h 205"/>
                <a:gd name="T92" fmla="*/ 40 w 205"/>
                <a:gd name="T93" fmla="*/ 98 h 205"/>
                <a:gd name="T94" fmla="*/ 53 w 205"/>
                <a:gd name="T95" fmla="*/ 112 h 205"/>
                <a:gd name="T96" fmla="*/ 49 w 205"/>
                <a:gd name="T97" fmla="*/ 116 h 205"/>
                <a:gd name="T98" fmla="*/ 58 w 205"/>
                <a:gd name="T99" fmla="*/ 129 h 205"/>
                <a:gd name="T100" fmla="*/ 49 w 205"/>
                <a:gd name="T101" fmla="*/ 129 h 205"/>
                <a:gd name="T102" fmla="*/ 53 w 205"/>
                <a:gd name="T103" fmla="*/ 138 h 205"/>
                <a:gd name="T104" fmla="*/ 49 w 205"/>
                <a:gd name="T105" fmla="*/ 147 h 205"/>
                <a:gd name="T106" fmla="*/ 44 w 205"/>
                <a:gd name="T107" fmla="*/ 165 h 205"/>
                <a:gd name="T108" fmla="*/ 192 w 205"/>
                <a:gd name="T109" fmla="*/ 192 h 205"/>
                <a:gd name="T110" fmla="*/ 192 w 205"/>
                <a:gd name="T111" fmla="*/ 205 h 205"/>
                <a:gd name="T112" fmla="*/ 205 w 205"/>
                <a:gd name="T113" fmla="*/ 188 h 205"/>
                <a:gd name="T114" fmla="*/ 196 w 205"/>
                <a:gd name="T115" fmla="*/ 174 h 205"/>
                <a:gd name="T116" fmla="*/ 192 w 205"/>
                <a:gd name="T117" fmla="*/ 183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5" h="205">
                  <a:moveTo>
                    <a:pt x="44" y="165"/>
                  </a:moveTo>
                  <a:lnTo>
                    <a:pt x="49" y="174"/>
                  </a:lnTo>
                  <a:lnTo>
                    <a:pt x="62" y="183"/>
                  </a:lnTo>
                  <a:lnTo>
                    <a:pt x="67" y="183"/>
                  </a:lnTo>
                  <a:lnTo>
                    <a:pt x="80" y="183"/>
                  </a:lnTo>
                  <a:lnTo>
                    <a:pt x="89" y="183"/>
                  </a:lnTo>
                  <a:lnTo>
                    <a:pt x="98" y="188"/>
                  </a:lnTo>
                  <a:lnTo>
                    <a:pt x="107" y="188"/>
                  </a:lnTo>
                  <a:lnTo>
                    <a:pt x="116" y="188"/>
                  </a:lnTo>
                  <a:lnTo>
                    <a:pt x="116" y="174"/>
                  </a:lnTo>
                  <a:lnTo>
                    <a:pt x="120" y="170"/>
                  </a:lnTo>
                  <a:lnTo>
                    <a:pt x="129" y="174"/>
                  </a:lnTo>
                  <a:lnTo>
                    <a:pt x="134" y="170"/>
                  </a:lnTo>
                  <a:lnTo>
                    <a:pt x="142" y="170"/>
                  </a:lnTo>
                  <a:lnTo>
                    <a:pt x="151" y="174"/>
                  </a:lnTo>
                  <a:lnTo>
                    <a:pt x="165" y="170"/>
                  </a:lnTo>
                  <a:lnTo>
                    <a:pt x="169" y="165"/>
                  </a:lnTo>
                  <a:lnTo>
                    <a:pt x="178" y="161"/>
                  </a:lnTo>
                  <a:lnTo>
                    <a:pt x="174" y="156"/>
                  </a:lnTo>
                  <a:lnTo>
                    <a:pt x="165" y="156"/>
                  </a:lnTo>
                  <a:lnTo>
                    <a:pt x="156" y="143"/>
                  </a:lnTo>
                  <a:lnTo>
                    <a:pt x="160" y="129"/>
                  </a:lnTo>
                  <a:lnTo>
                    <a:pt x="165" y="129"/>
                  </a:lnTo>
                  <a:lnTo>
                    <a:pt x="169" y="116"/>
                  </a:lnTo>
                  <a:lnTo>
                    <a:pt x="165" y="107"/>
                  </a:lnTo>
                  <a:lnTo>
                    <a:pt x="160" y="103"/>
                  </a:lnTo>
                  <a:lnTo>
                    <a:pt x="156" y="112"/>
                  </a:lnTo>
                  <a:lnTo>
                    <a:pt x="156" y="103"/>
                  </a:lnTo>
                  <a:lnTo>
                    <a:pt x="165" y="89"/>
                  </a:lnTo>
                  <a:lnTo>
                    <a:pt x="165" y="85"/>
                  </a:lnTo>
                  <a:lnTo>
                    <a:pt x="174" y="85"/>
                  </a:lnTo>
                  <a:lnTo>
                    <a:pt x="178" y="80"/>
                  </a:lnTo>
                  <a:lnTo>
                    <a:pt x="178" y="67"/>
                  </a:lnTo>
                  <a:lnTo>
                    <a:pt x="183" y="53"/>
                  </a:lnTo>
                  <a:lnTo>
                    <a:pt x="178" y="45"/>
                  </a:lnTo>
                  <a:lnTo>
                    <a:pt x="174" y="45"/>
                  </a:lnTo>
                  <a:lnTo>
                    <a:pt x="160" y="49"/>
                  </a:lnTo>
                  <a:lnTo>
                    <a:pt x="160" y="40"/>
                  </a:lnTo>
                  <a:lnTo>
                    <a:pt x="156" y="40"/>
                  </a:lnTo>
                  <a:lnTo>
                    <a:pt x="151" y="40"/>
                  </a:lnTo>
                  <a:lnTo>
                    <a:pt x="147" y="40"/>
                  </a:lnTo>
                  <a:lnTo>
                    <a:pt x="142" y="36"/>
                  </a:lnTo>
                  <a:lnTo>
                    <a:pt x="134" y="31"/>
                  </a:lnTo>
                  <a:lnTo>
                    <a:pt x="138" y="22"/>
                  </a:lnTo>
                  <a:lnTo>
                    <a:pt x="129" y="27"/>
                  </a:lnTo>
                  <a:lnTo>
                    <a:pt x="125" y="27"/>
                  </a:lnTo>
                  <a:lnTo>
                    <a:pt x="125" y="18"/>
                  </a:lnTo>
                  <a:lnTo>
                    <a:pt x="120" y="18"/>
                  </a:lnTo>
                  <a:lnTo>
                    <a:pt x="116" y="13"/>
                  </a:lnTo>
                  <a:lnTo>
                    <a:pt x="111" y="13"/>
                  </a:lnTo>
                  <a:lnTo>
                    <a:pt x="102" y="0"/>
                  </a:lnTo>
                  <a:lnTo>
                    <a:pt x="93" y="4"/>
                  </a:lnTo>
                  <a:lnTo>
                    <a:pt x="93" y="13"/>
                  </a:lnTo>
                  <a:lnTo>
                    <a:pt x="93" y="22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84" y="27"/>
                  </a:lnTo>
                  <a:lnTo>
                    <a:pt x="80" y="31"/>
                  </a:lnTo>
                  <a:lnTo>
                    <a:pt x="75" y="31"/>
                  </a:lnTo>
                  <a:lnTo>
                    <a:pt x="67" y="36"/>
                  </a:lnTo>
                  <a:lnTo>
                    <a:pt x="71" y="40"/>
                  </a:lnTo>
                  <a:lnTo>
                    <a:pt x="67" y="40"/>
                  </a:lnTo>
                  <a:lnTo>
                    <a:pt x="53" y="40"/>
                  </a:lnTo>
                  <a:lnTo>
                    <a:pt x="49" y="45"/>
                  </a:lnTo>
                  <a:lnTo>
                    <a:pt x="49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4" y="45"/>
                  </a:lnTo>
                  <a:lnTo>
                    <a:pt x="44" y="53"/>
                  </a:lnTo>
                  <a:lnTo>
                    <a:pt x="49" y="58"/>
                  </a:lnTo>
                  <a:lnTo>
                    <a:pt x="40" y="58"/>
                  </a:lnTo>
                  <a:lnTo>
                    <a:pt x="35" y="58"/>
                  </a:lnTo>
                  <a:lnTo>
                    <a:pt x="31" y="62"/>
                  </a:lnTo>
                  <a:lnTo>
                    <a:pt x="22" y="53"/>
                  </a:lnTo>
                  <a:lnTo>
                    <a:pt x="17" y="53"/>
                  </a:lnTo>
                  <a:lnTo>
                    <a:pt x="17" y="58"/>
                  </a:lnTo>
                  <a:lnTo>
                    <a:pt x="13" y="58"/>
                  </a:lnTo>
                  <a:lnTo>
                    <a:pt x="8" y="58"/>
                  </a:lnTo>
                  <a:lnTo>
                    <a:pt x="4" y="58"/>
                  </a:lnTo>
                  <a:lnTo>
                    <a:pt x="0" y="62"/>
                  </a:lnTo>
                  <a:lnTo>
                    <a:pt x="0" y="67"/>
                  </a:lnTo>
                  <a:lnTo>
                    <a:pt x="4" y="62"/>
                  </a:lnTo>
                  <a:lnTo>
                    <a:pt x="8" y="67"/>
                  </a:lnTo>
                  <a:lnTo>
                    <a:pt x="0" y="67"/>
                  </a:lnTo>
                  <a:lnTo>
                    <a:pt x="0" y="71"/>
                  </a:lnTo>
                  <a:lnTo>
                    <a:pt x="4" y="76"/>
                  </a:lnTo>
                  <a:lnTo>
                    <a:pt x="8" y="71"/>
                  </a:lnTo>
                  <a:lnTo>
                    <a:pt x="22" y="80"/>
                  </a:lnTo>
                  <a:lnTo>
                    <a:pt x="22" y="85"/>
                  </a:lnTo>
                  <a:lnTo>
                    <a:pt x="26" y="80"/>
                  </a:lnTo>
                  <a:lnTo>
                    <a:pt x="35" y="85"/>
                  </a:lnTo>
                  <a:lnTo>
                    <a:pt x="35" y="89"/>
                  </a:lnTo>
                  <a:lnTo>
                    <a:pt x="40" y="89"/>
                  </a:lnTo>
                  <a:lnTo>
                    <a:pt x="40" y="98"/>
                  </a:lnTo>
                  <a:lnTo>
                    <a:pt x="44" y="107"/>
                  </a:lnTo>
                  <a:lnTo>
                    <a:pt x="53" y="112"/>
                  </a:lnTo>
                  <a:lnTo>
                    <a:pt x="49" y="116"/>
                  </a:lnTo>
                  <a:lnTo>
                    <a:pt x="49" y="116"/>
                  </a:lnTo>
                  <a:lnTo>
                    <a:pt x="49" y="121"/>
                  </a:lnTo>
                  <a:lnTo>
                    <a:pt x="58" y="129"/>
                  </a:lnTo>
                  <a:lnTo>
                    <a:pt x="58" y="129"/>
                  </a:lnTo>
                  <a:lnTo>
                    <a:pt x="49" y="129"/>
                  </a:lnTo>
                  <a:lnTo>
                    <a:pt x="49" y="143"/>
                  </a:lnTo>
                  <a:lnTo>
                    <a:pt x="53" y="138"/>
                  </a:lnTo>
                  <a:lnTo>
                    <a:pt x="53" y="143"/>
                  </a:lnTo>
                  <a:lnTo>
                    <a:pt x="49" y="147"/>
                  </a:lnTo>
                  <a:lnTo>
                    <a:pt x="44" y="165"/>
                  </a:lnTo>
                  <a:lnTo>
                    <a:pt x="44" y="165"/>
                  </a:lnTo>
                  <a:close/>
                  <a:moveTo>
                    <a:pt x="192" y="183"/>
                  </a:moveTo>
                  <a:lnTo>
                    <a:pt x="192" y="192"/>
                  </a:lnTo>
                  <a:lnTo>
                    <a:pt x="187" y="196"/>
                  </a:lnTo>
                  <a:lnTo>
                    <a:pt x="192" y="205"/>
                  </a:lnTo>
                  <a:lnTo>
                    <a:pt x="201" y="205"/>
                  </a:lnTo>
                  <a:lnTo>
                    <a:pt x="205" y="188"/>
                  </a:lnTo>
                  <a:lnTo>
                    <a:pt x="201" y="174"/>
                  </a:lnTo>
                  <a:lnTo>
                    <a:pt x="196" y="174"/>
                  </a:lnTo>
                  <a:lnTo>
                    <a:pt x="196" y="183"/>
                  </a:lnTo>
                  <a:lnTo>
                    <a:pt x="192" y="18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77" name="Freeform 17"/>
            <p:cNvSpPr>
              <a:spLocks noEditPoints="1"/>
            </p:cNvSpPr>
            <p:nvPr/>
          </p:nvSpPr>
          <p:spPr bwMode="gray">
            <a:xfrm>
              <a:off x="2021" y="2596"/>
              <a:ext cx="379" cy="532"/>
            </a:xfrm>
            <a:custGeom>
              <a:avLst/>
              <a:gdLst>
                <a:gd name="T0" fmla="*/ 9 w 125"/>
                <a:gd name="T1" fmla="*/ 108 h 175"/>
                <a:gd name="T2" fmla="*/ 0 w 125"/>
                <a:gd name="T3" fmla="*/ 94 h 175"/>
                <a:gd name="T4" fmla="*/ 0 w 125"/>
                <a:gd name="T5" fmla="*/ 81 h 175"/>
                <a:gd name="T6" fmla="*/ 9 w 125"/>
                <a:gd name="T7" fmla="*/ 72 h 175"/>
                <a:gd name="T8" fmla="*/ 14 w 125"/>
                <a:gd name="T9" fmla="*/ 54 h 175"/>
                <a:gd name="T10" fmla="*/ 18 w 125"/>
                <a:gd name="T11" fmla="*/ 45 h 175"/>
                <a:gd name="T12" fmla="*/ 14 w 125"/>
                <a:gd name="T13" fmla="*/ 36 h 175"/>
                <a:gd name="T14" fmla="*/ 18 w 125"/>
                <a:gd name="T15" fmla="*/ 36 h 175"/>
                <a:gd name="T16" fmla="*/ 27 w 125"/>
                <a:gd name="T17" fmla="*/ 32 h 175"/>
                <a:gd name="T18" fmla="*/ 32 w 125"/>
                <a:gd name="T19" fmla="*/ 36 h 175"/>
                <a:gd name="T20" fmla="*/ 36 w 125"/>
                <a:gd name="T21" fmla="*/ 32 h 175"/>
                <a:gd name="T22" fmla="*/ 41 w 125"/>
                <a:gd name="T23" fmla="*/ 27 h 175"/>
                <a:gd name="T24" fmla="*/ 50 w 125"/>
                <a:gd name="T25" fmla="*/ 27 h 175"/>
                <a:gd name="T26" fmla="*/ 45 w 125"/>
                <a:gd name="T27" fmla="*/ 18 h 175"/>
                <a:gd name="T28" fmla="*/ 45 w 125"/>
                <a:gd name="T29" fmla="*/ 14 h 175"/>
                <a:gd name="T30" fmla="*/ 58 w 125"/>
                <a:gd name="T31" fmla="*/ 0 h 175"/>
                <a:gd name="T32" fmla="*/ 58 w 125"/>
                <a:gd name="T33" fmla="*/ 14 h 175"/>
                <a:gd name="T34" fmla="*/ 67 w 125"/>
                <a:gd name="T35" fmla="*/ 14 h 175"/>
                <a:gd name="T36" fmla="*/ 72 w 125"/>
                <a:gd name="T37" fmla="*/ 9 h 175"/>
                <a:gd name="T38" fmla="*/ 67 w 125"/>
                <a:gd name="T39" fmla="*/ 18 h 175"/>
                <a:gd name="T40" fmla="*/ 63 w 125"/>
                <a:gd name="T41" fmla="*/ 23 h 175"/>
                <a:gd name="T42" fmla="*/ 72 w 125"/>
                <a:gd name="T43" fmla="*/ 27 h 175"/>
                <a:gd name="T44" fmla="*/ 76 w 125"/>
                <a:gd name="T45" fmla="*/ 23 h 175"/>
                <a:gd name="T46" fmla="*/ 90 w 125"/>
                <a:gd name="T47" fmla="*/ 14 h 175"/>
                <a:gd name="T48" fmla="*/ 94 w 125"/>
                <a:gd name="T49" fmla="*/ 18 h 175"/>
                <a:gd name="T50" fmla="*/ 108 w 125"/>
                <a:gd name="T51" fmla="*/ 23 h 175"/>
                <a:gd name="T52" fmla="*/ 112 w 125"/>
                <a:gd name="T53" fmla="*/ 27 h 175"/>
                <a:gd name="T54" fmla="*/ 112 w 125"/>
                <a:gd name="T55" fmla="*/ 50 h 175"/>
                <a:gd name="T56" fmla="*/ 121 w 125"/>
                <a:gd name="T57" fmla="*/ 72 h 175"/>
                <a:gd name="T58" fmla="*/ 125 w 125"/>
                <a:gd name="T59" fmla="*/ 90 h 175"/>
                <a:gd name="T60" fmla="*/ 121 w 125"/>
                <a:gd name="T61" fmla="*/ 99 h 175"/>
                <a:gd name="T62" fmla="*/ 103 w 125"/>
                <a:gd name="T63" fmla="*/ 108 h 175"/>
                <a:gd name="T64" fmla="*/ 90 w 125"/>
                <a:gd name="T65" fmla="*/ 117 h 175"/>
                <a:gd name="T66" fmla="*/ 90 w 125"/>
                <a:gd name="T67" fmla="*/ 126 h 175"/>
                <a:gd name="T68" fmla="*/ 103 w 125"/>
                <a:gd name="T69" fmla="*/ 135 h 175"/>
                <a:gd name="T70" fmla="*/ 112 w 125"/>
                <a:gd name="T71" fmla="*/ 148 h 175"/>
                <a:gd name="T72" fmla="*/ 99 w 125"/>
                <a:gd name="T73" fmla="*/ 157 h 175"/>
                <a:gd name="T74" fmla="*/ 103 w 125"/>
                <a:gd name="T75" fmla="*/ 166 h 175"/>
                <a:gd name="T76" fmla="*/ 94 w 125"/>
                <a:gd name="T77" fmla="*/ 170 h 175"/>
                <a:gd name="T78" fmla="*/ 54 w 125"/>
                <a:gd name="T79" fmla="*/ 170 h 175"/>
                <a:gd name="T80" fmla="*/ 36 w 125"/>
                <a:gd name="T81" fmla="*/ 170 h 175"/>
                <a:gd name="T82" fmla="*/ 27 w 125"/>
                <a:gd name="T83" fmla="*/ 170 h 175"/>
                <a:gd name="T84" fmla="*/ 32 w 125"/>
                <a:gd name="T85" fmla="*/ 143 h 175"/>
                <a:gd name="T86" fmla="*/ 23 w 125"/>
                <a:gd name="T87" fmla="*/ 135 h 175"/>
                <a:gd name="T88" fmla="*/ 9 w 125"/>
                <a:gd name="T89" fmla="*/ 130 h 175"/>
                <a:gd name="T90" fmla="*/ 5 w 125"/>
                <a:gd name="T91" fmla="*/ 121 h 175"/>
                <a:gd name="T92" fmla="*/ 103 w 125"/>
                <a:gd name="T93" fmla="*/ 9 h 175"/>
                <a:gd name="T94" fmla="*/ 108 w 125"/>
                <a:gd name="T95" fmla="*/ 18 h 175"/>
                <a:gd name="T96" fmla="*/ 103 w 125"/>
                <a:gd name="T97" fmla="*/ 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5" h="175">
                  <a:moveTo>
                    <a:pt x="5" y="117"/>
                  </a:moveTo>
                  <a:lnTo>
                    <a:pt x="9" y="108"/>
                  </a:lnTo>
                  <a:lnTo>
                    <a:pt x="5" y="99"/>
                  </a:lnTo>
                  <a:lnTo>
                    <a:pt x="0" y="94"/>
                  </a:lnTo>
                  <a:lnTo>
                    <a:pt x="5" y="85"/>
                  </a:lnTo>
                  <a:lnTo>
                    <a:pt x="0" y="81"/>
                  </a:lnTo>
                  <a:lnTo>
                    <a:pt x="0" y="76"/>
                  </a:lnTo>
                  <a:lnTo>
                    <a:pt x="9" y="72"/>
                  </a:lnTo>
                  <a:lnTo>
                    <a:pt x="14" y="72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8" y="45"/>
                  </a:lnTo>
                  <a:lnTo>
                    <a:pt x="14" y="45"/>
                  </a:lnTo>
                  <a:lnTo>
                    <a:pt x="14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2"/>
                  </a:lnTo>
                  <a:lnTo>
                    <a:pt x="27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1" y="27"/>
                  </a:lnTo>
                  <a:lnTo>
                    <a:pt x="45" y="27"/>
                  </a:lnTo>
                  <a:lnTo>
                    <a:pt x="50" y="27"/>
                  </a:lnTo>
                  <a:lnTo>
                    <a:pt x="45" y="23"/>
                  </a:lnTo>
                  <a:lnTo>
                    <a:pt x="45" y="18"/>
                  </a:lnTo>
                  <a:lnTo>
                    <a:pt x="41" y="14"/>
                  </a:lnTo>
                  <a:lnTo>
                    <a:pt x="45" y="14"/>
                  </a:lnTo>
                  <a:lnTo>
                    <a:pt x="41" y="5"/>
                  </a:lnTo>
                  <a:lnTo>
                    <a:pt x="58" y="0"/>
                  </a:lnTo>
                  <a:lnTo>
                    <a:pt x="58" y="9"/>
                  </a:lnTo>
                  <a:lnTo>
                    <a:pt x="58" y="14"/>
                  </a:lnTo>
                  <a:lnTo>
                    <a:pt x="63" y="18"/>
                  </a:lnTo>
                  <a:lnTo>
                    <a:pt x="67" y="14"/>
                  </a:lnTo>
                  <a:lnTo>
                    <a:pt x="67" y="9"/>
                  </a:lnTo>
                  <a:lnTo>
                    <a:pt x="72" y="9"/>
                  </a:lnTo>
                  <a:lnTo>
                    <a:pt x="72" y="14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72" y="27"/>
                  </a:lnTo>
                  <a:lnTo>
                    <a:pt x="76" y="27"/>
                  </a:lnTo>
                  <a:lnTo>
                    <a:pt x="76" y="23"/>
                  </a:lnTo>
                  <a:lnTo>
                    <a:pt x="85" y="23"/>
                  </a:lnTo>
                  <a:lnTo>
                    <a:pt x="90" y="14"/>
                  </a:lnTo>
                  <a:lnTo>
                    <a:pt x="94" y="14"/>
                  </a:lnTo>
                  <a:lnTo>
                    <a:pt x="94" y="18"/>
                  </a:lnTo>
                  <a:lnTo>
                    <a:pt x="99" y="18"/>
                  </a:lnTo>
                  <a:lnTo>
                    <a:pt x="108" y="23"/>
                  </a:lnTo>
                  <a:lnTo>
                    <a:pt x="108" y="27"/>
                  </a:lnTo>
                  <a:lnTo>
                    <a:pt x="112" y="27"/>
                  </a:lnTo>
                  <a:lnTo>
                    <a:pt x="112" y="36"/>
                  </a:lnTo>
                  <a:lnTo>
                    <a:pt x="112" y="50"/>
                  </a:lnTo>
                  <a:lnTo>
                    <a:pt x="121" y="59"/>
                  </a:lnTo>
                  <a:lnTo>
                    <a:pt x="121" y="72"/>
                  </a:lnTo>
                  <a:lnTo>
                    <a:pt x="121" y="85"/>
                  </a:lnTo>
                  <a:lnTo>
                    <a:pt x="125" y="90"/>
                  </a:lnTo>
                  <a:lnTo>
                    <a:pt x="125" y="99"/>
                  </a:lnTo>
                  <a:lnTo>
                    <a:pt x="121" y="99"/>
                  </a:lnTo>
                  <a:lnTo>
                    <a:pt x="117" y="108"/>
                  </a:lnTo>
                  <a:lnTo>
                    <a:pt x="103" y="108"/>
                  </a:lnTo>
                  <a:lnTo>
                    <a:pt x="94" y="117"/>
                  </a:lnTo>
                  <a:lnTo>
                    <a:pt x="90" y="117"/>
                  </a:lnTo>
                  <a:lnTo>
                    <a:pt x="85" y="117"/>
                  </a:lnTo>
                  <a:lnTo>
                    <a:pt x="90" y="126"/>
                  </a:lnTo>
                  <a:lnTo>
                    <a:pt x="94" y="135"/>
                  </a:lnTo>
                  <a:lnTo>
                    <a:pt x="103" y="135"/>
                  </a:lnTo>
                  <a:lnTo>
                    <a:pt x="112" y="143"/>
                  </a:lnTo>
                  <a:lnTo>
                    <a:pt x="112" y="148"/>
                  </a:lnTo>
                  <a:lnTo>
                    <a:pt x="108" y="152"/>
                  </a:lnTo>
                  <a:lnTo>
                    <a:pt x="99" y="157"/>
                  </a:lnTo>
                  <a:lnTo>
                    <a:pt x="94" y="161"/>
                  </a:lnTo>
                  <a:lnTo>
                    <a:pt x="103" y="166"/>
                  </a:lnTo>
                  <a:lnTo>
                    <a:pt x="99" y="175"/>
                  </a:lnTo>
                  <a:lnTo>
                    <a:pt x="94" y="170"/>
                  </a:lnTo>
                  <a:lnTo>
                    <a:pt x="76" y="175"/>
                  </a:lnTo>
                  <a:lnTo>
                    <a:pt x="54" y="170"/>
                  </a:lnTo>
                  <a:lnTo>
                    <a:pt x="45" y="170"/>
                  </a:lnTo>
                  <a:lnTo>
                    <a:pt x="36" y="170"/>
                  </a:lnTo>
                  <a:lnTo>
                    <a:pt x="27" y="175"/>
                  </a:lnTo>
                  <a:lnTo>
                    <a:pt x="27" y="170"/>
                  </a:lnTo>
                  <a:lnTo>
                    <a:pt x="27" y="157"/>
                  </a:lnTo>
                  <a:lnTo>
                    <a:pt x="32" y="143"/>
                  </a:lnTo>
                  <a:lnTo>
                    <a:pt x="27" y="135"/>
                  </a:lnTo>
                  <a:lnTo>
                    <a:pt x="23" y="135"/>
                  </a:lnTo>
                  <a:lnTo>
                    <a:pt x="9" y="139"/>
                  </a:lnTo>
                  <a:lnTo>
                    <a:pt x="9" y="130"/>
                  </a:lnTo>
                  <a:lnTo>
                    <a:pt x="9" y="126"/>
                  </a:lnTo>
                  <a:lnTo>
                    <a:pt x="5" y="121"/>
                  </a:lnTo>
                  <a:lnTo>
                    <a:pt x="5" y="117"/>
                  </a:lnTo>
                  <a:close/>
                  <a:moveTo>
                    <a:pt x="103" y="9"/>
                  </a:moveTo>
                  <a:lnTo>
                    <a:pt x="99" y="18"/>
                  </a:lnTo>
                  <a:lnTo>
                    <a:pt x="108" y="18"/>
                  </a:lnTo>
                  <a:lnTo>
                    <a:pt x="108" y="14"/>
                  </a:lnTo>
                  <a:lnTo>
                    <a:pt x="103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78" name="Freeform 18"/>
            <p:cNvSpPr>
              <a:spLocks noEditPoints="1"/>
            </p:cNvSpPr>
            <p:nvPr/>
          </p:nvSpPr>
          <p:spPr bwMode="gray">
            <a:xfrm>
              <a:off x="2630" y="3491"/>
              <a:ext cx="355" cy="382"/>
            </a:xfrm>
            <a:custGeom>
              <a:avLst/>
              <a:gdLst>
                <a:gd name="T0" fmla="*/ 9 w 117"/>
                <a:gd name="T1" fmla="*/ 45 h 126"/>
                <a:gd name="T2" fmla="*/ 14 w 117"/>
                <a:gd name="T3" fmla="*/ 63 h 126"/>
                <a:gd name="T4" fmla="*/ 41 w 117"/>
                <a:gd name="T5" fmla="*/ 63 h 126"/>
                <a:gd name="T6" fmla="*/ 41 w 117"/>
                <a:gd name="T7" fmla="*/ 72 h 126"/>
                <a:gd name="T8" fmla="*/ 14 w 117"/>
                <a:gd name="T9" fmla="*/ 67 h 126"/>
                <a:gd name="T10" fmla="*/ 23 w 117"/>
                <a:gd name="T11" fmla="*/ 94 h 126"/>
                <a:gd name="T12" fmla="*/ 36 w 117"/>
                <a:gd name="T13" fmla="*/ 94 h 126"/>
                <a:gd name="T14" fmla="*/ 41 w 117"/>
                <a:gd name="T15" fmla="*/ 99 h 126"/>
                <a:gd name="T16" fmla="*/ 41 w 117"/>
                <a:gd name="T17" fmla="*/ 81 h 126"/>
                <a:gd name="T18" fmla="*/ 50 w 117"/>
                <a:gd name="T19" fmla="*/ 81 h 126"/>
                <a:gd name="T20" fmla="*/ 54 w 117"/>
                <a:gd name="T21" fmla="*/ 76 h 126"/>
                <a:gd name="T22" fmla="*/ 45 w 117"/>
                <a:gd name="T23" fmla="*/ 59 h 126"/>
                <a:gd name="T24" fmla="*/ 36 w 117"/>
                <a:gd name="T25" fmla="*/ 50 h 126"/>
                <a:gd name="T26" fmla="*/ 36 w 117"/>
                <a:gd name="T27" fmla="*/ 27 h 126"/>
                <a:gd name="T28" fmla="*/ 45 w 117"/>
                <a:gd name="T29" fmla="*/ 32 h 126"/>
                <a:gd name="T30" fmla="*/ 58 w 117"/>
                <a:gd name="T31" fmla="*/ 27 h 126"/>
                <a:gd name="T32" fmla="*/ 72 w 117"/>
                <a:gd name="T33" fmla="*/ 9 h 126"/>
                <a:gd name="T34" fmla="*/ 72 w 117"/>
                <a:gd name="T35" fmla="*/ 5 h 126"/>
                <a:gd name="T36" fmla="*/ 45 w 117"/>
                <a:gd name="T37" fmla="*/ 5 h 126"/>
                <a:gd name="T38" fmla="*/ 27 w 117"/>
                <a:gd name="T39" fmla="*/ 14 h 126"/>
                <a:gd name="T40" fmla="*/ 5 w 117"/>
                <a:gd name="T41" fmla="*/ 41 h 126"/>
                <a:gd name="T42" fmla="*/ 54 w 117"/>
                <a:gd name="T43" fmla="*/ 59 h 126"/>
                <a:gd name="T44" fmla="*/ 67 w 117"/>
                <a:gd name="T45" fmla="*/ 72 h 126"/>
                <a:gd name="T46" fmla="*/ 58 w 117"/>
                <a:gd name="T47" fmla="*/ 54 h 126"/>
                <a:gd name="T48" fmla="*/ 41 w 117"/>
                <a:gd name="T49" fmla="*/ 50 h 126"/>
                <a:gd name="T50" fmla="*/ 50 w 117"/>
                <a:gd name="T51" fmla="*/ 112 h 126"/>
                <a:gd name="T52" fmla="*/ 63 w 117"/>
                <a:gd name="T53" fmla="*/ 126 h 126"/>
                <a:gd name="T54" fmla="*/ 81 w 117"/>
                <a:gd name="T55" fmla="*/ 117 h 126"/>
                <a:gd name="T56" fmla="*/ 63 w 117"/>
                <a:gd name="T57" fmla="*/ 112 h 126"/>
                <a:gd name="T58" fmla="*/ 58 w 117"/>
                <a:gd name="T59" fmla="*/ 90 h 126"/>
                <a:gd name="T60" fmla="*/ 58 w 117"/>
                <a:gd name="T61" fmla="*/ 90 h 126"/>
                <a:gd name="T62" fmla="*/ 72 w 117"/>
                <a:gd name="T63" fmla="*/ 85 h 126"/>
                <a:gd name="T64" fmla="*/ 76 w 117"/>
                <a:gd name="T65" fmla="*/ 81 h 126"/>
                <a:gd name="T66" fmla="*/ 81 w 117"/>
                <a:gd name="T67" fmla="*/ 90 h 126"/>
                <a:gd name="T68" fmla="*/ 81 w 117"/>
                <a:gd name="T69" fmla="*/ 90 h 126"/>
                <a:gd name="T70" fmla="*/ 85 w 117"/>
                <a:gd name="T71" fmla="*/ 45 h 126"/>
                <a:gd name="T72" fmla="*/ 90 w 117"/>
                <a:gd name="T73" fmla="*/ 45 h 126"/>
                <a:gd name="T74" fmla="*/ 81 w 117"/>
                <a:gd name="T75" fmla="*/ 76 h 126"/>
                <a:gd name="T76" fmla="*/ 81 w 117"/>
                <a:gd name="T77" fmla="*/ 76 h 126"/>
                <a:gd name="T78" fmla="*/ 85 w 117"/>
                <a:gd name="T79" fmla="*/ 63 h 126"/>
                <a:gd name="T80" fmla="*/ 112 w 117"/>
                <a:gd name="T81" fmla="*/ 99 h 126"/>
                <a:gd name="T82" fmla="*/ 112 w 117"/>
                <a:gd name="T83" fmla="*/ 108 h 126"/>
                <a:gd name="T84" fmla="*/ 112 w 117"/>
                <a:gd name="T85" fmla="*/ 9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7" h="126">
                  <a:moveTo>
                    <a:pt x="0" y="41"/>
                  </a:moveTo>
                  <a:lnTo>
                    <a:pt x="5" y="45"/>
                  </a:lnTo>
                  <a:lnTo>
                    <a:pt x="9" y="45"/>
                  </a:lnTo>
                  <a:lnTo>
                    <a:pt x="14" y="50"/>
                  </a:lnTo>
                  <a:lnTo>
                    <a:pt x="9" y="50"/>
                  </a:lnTo>
                  <a:lnTo>
                    <a:pt x="14" y="63"/>
                  </a:lnTo>
                  <a:lnTo>
                    <a:pt x="18" y="59"/>
                  </a:lnTo>
                  <a:lnTo>
                    <a:pt x="36" y="59"/>
                  </a:lnTo>
                  <a:lnTo>
                    <a:pt x="41" y="63"/>
                  </a:lnTo>
                  <a:lnTo>
                    <a:pt x="41" y="67"/>
                  </a:lnTo>
                  <a:lnTo>
                    <a:pt x="45" y="72"/>
                  </a:lnTo>
                  <a:lnTo>
                    <a:pt x="41" y="72"/>
                  </a:lnTo>
                  <a:lnTo>
                    <a:pt x="27" y="63"/>
                  </a:lnTo>
                  <a:lnTo>
                    <a:pt x="23" y="63"/>
                  </a:lnTo>
                  <a:lnTo>
                    <a:pt x="14" y="67"/>
                  </a:lnTo>
                  <a:lnTo>
                    <a:pt x="18" y="76"/>
                  </a:lnTo>
                  <a:lnTo>
                    <a:pt x="23" y="85"/>
                  </a:lnTo>
                  <a:lnTo>
                    <a:pt x="23" y="94"/>
                  </a:lnTo>
                  <a:lnTo>
                    <a:pt x="27" y="85"/>
                  </a:lnTo>
                  <a:lnTo>
                    <a:pt x="32" y="99"/>
                  </a:lnTo>
                  <a:lnTo>
                    <a:pt x="36" y="94"/>
                  </a:lnTo>
                  <a:lnTo>
                    <a:pt x="36" y="90"/>
                  </a:lnTo>
                  <a:lnTo>
                    <a:pt x="41" y="94"/>
                  </a:lnTo>
                  <a:lnTo>
                    <a:pt x="41" y="99"/>
                  </a:lnTo>
                  <a:lnTo>
                    <a:pt x="45" y="94"/>
                  </a:lnTo>
                  <a:lnTo>
                    <a:pt x="45" y="90"/>
                  </a:lnTo>
                  <a:lnTo>
                    <a:pt x="41" y="81"/>
                  </a:lnTo>
                  <a:lnTo>
                    <a:pt x="41" y="76"/>
                  </a:lnTo>
                  <a:lnTo>
                    <a:pt x="45" y="81"/>
                  </a:lnTo>
                  <a:lnTo>
                    <a:pt x="50" y="81"/>
                  </a:lnTo>
                  <a:lnTo>
                    <a:pt x="45" y="76"/>
                  </a:lnTo>
                  <a:lnTo>
                    <a:pt x="50" y="72"/>
                  </a:lnTo>
                  <a:lnTo>
                    <a:pt x="54" y="76"/>
                  </a:lnTo>
                  <a:lnTo>
                    <a:pt x="58" y="72"/>
                  </a:lnTo>
                  <a:lnTo>
                    <a:pt x="54" y="63"/>
                  </a:lnTo>
                  <a:lnTo>
                    <a:pt x="45" y="59"/>
                  </a:lnTo>
                  <a:lnTo>
                    <a:pt x="41" y="54"/>
                  </a:lnTo>
                  <a:lnTo>
                    <a:pt x="32" y="50"/>
                  </a:lnTo>
                  <a:lnTo>
                    <a:pt x="36" y="50"/>
                  </a:lnTo>
                  <a:lnTo>
                    <a:pt x="41" y="45"/>
                  </a:lnTo>
                  <a:lnTo>
                    <a:pt x="45" y="45"/>
                  </a:lnTo>
                  <a:lnTo>
                    <a:pt x="36" y="27"/>
                  </a:lnTo>
                  <a:lnTo>
                    <a:pt x="36" y="18"/>
                  </a:lnTo>
                  <a:lnTo>
                    <a:pt x="41" y="27"/>
                  </a:lnTo>
                  <a:lnTo>
                    <a:pt x="45" y="32"/>
                  </a:lnTo>
                  <a:lnTo>
                    <a:pt x="54" y="32"/>
                  </a:lnTo>
                  <a:lnTo>
                    <a:pt x="54" y="23"/>
                  </a:lnTo>
                  <a:lnTo>
                    <a:pt x="58" y="27"/>
                  </a:lnTo>
                  <a:lnTo>
                    <a:pt x="50" y="18"/>
                  </a:lnTo>
                  <a:lnTo>
                    <a:pt x="58" y="9"/>
                  </a:lnTo>
                  <a:lnTo>
                    <a:pt x="72" y="9"/>
                  </a:lnTo>
                  <a:lnTo>
                    <a:pt x="85" y="9"/>
                  </a:lnTo>
                  <a:lnTo>
                    <a:pt x="85" y="5"/>
                  </a:lnTo>
                  <a:lnTo>
                    <a:pt x="72" y="5"/>
                  </a:lnTo>
                  <a:lnTo>
                    <a:pt x="63" y="0"/>
                  </a:lnTo>
                  <a:lnTo>
                    <a:pt x="54" y="5"/>
                  </a:lnTo>
                  <a:lnTo>
                    <a:pt x="45" y="5"/>
                  </a:lnTo>
                  <a:lnTo>
                    <a:pt x="36" y="9"/>
                  </a:lnTo>
                  <a:lnTo>
                    <a:pt x="32" y="9"/>
                  </a:lnTo>
                  <a:lnTo>
                    <a:pt x="27" y="14"/>
                  </a:lnTo>
                  <a:lnTo>
                    <a:pt x="18" y="18"/>
                  </a:lnTo>
                  <a:lnTo>
                    <a:pt x="5" y="32"/>
                  </a:lnTo>
                  <a:lnTo>
                    <a:pt x="5" y="41"/>
                  </a:lnTo>
                  <a:lnTo>
                    <a:pt x="0" y="41"/>
                  </a:lnTo>
                  <a:close/>
                  <a:moveTo>
                    <a:pt x="41" y="50"/>
                  </a:moveTo>
                  <a:lnTo>
                    <a:pt x="54" y="59"/>
                  </a:lnTo>
                  <a:lnTo>
                    <a:pt x="58" y="67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58" y="63"/>
                  </a:lnTo>
                  <a:lnTo>
                    <a:pt x="58" y="59"/>
                  </a:lnTo>
                  <a:lnTo>
                    <a:pt x="58" y="54"/>
                  </a:lnTo>
                  <a:lnTo>
                    <a:pt x="50" y="54"/>
                  </a:lnTo>
                  <a:lnTo>
                    <a:pt x="45" y="50"/>
                  </a:lnTo>
                  <a:lnTo>
                    <a:pt x="41" y="50"/>
                  </a:lnTo>
                  <a:close/>
                  <a:moveTo>
                    <a:pt x="58" y="108"/>
                  </a:moveTo>
                  <a:lnTo>
                    <a:pt x="54" y="108"/>
                  </a:lnTo>
                  <a:lnTo>
                    <a:pt x="50" y="112"/>
                  </a:lnTo>
                  <a:lnTo>
                    <a:pt x="50" y="117"/>
                  </a:lnTo>
                  <a:lnTo>
                    <a:pt x="63" y="117"/>
                  </a:lnTo>
                  <a:lnTo>
                    <a:pt x="63" y="126"/>
                  </a:lnTo>
                  <a:lnTo>
                    <a:pt x="90" y="121"/>
                  </a:lnTo>
                  <a:lnTo>
                    <a:pt x="90" y="112"/>
                  </a:lnTo>
                  <a:lnTo>
                    <a:pt x="81" y="117"/>
                  </a:lnTo>
                  <a:lnTo>
                    <a:pt x="81" y="112"/>
                  </a:lnTo>
                  <a:lnTo>
                    <a:pt x="67" y="112"/>
                  </a:lnTo>
                  <a:lnTo>
                    <a:pt x="63" y="112"/>
                  </a:lnTo>
                  <a:lnTo>
                    <a:pt x="58" y="108"/>
                  </a:lnTo>
                  <a:close/>
                  <a:moveTo>
                    <a:pt x="58" y="90"/>
                  </a:moveTo>
                  <a:lnTo>
                    <a:pt x="58" y="90"/>
                  </a:lnTo>
                  <a:lnTo>
                    <a:pt x="58" y="94"/>
                  </a:lnTo>
                  <a:lnTo>
                    <a:pt x="63" y="90"/>
                  </a:lnTo>
                  <a:lnTo>
                    <a:pt x="58" y="90"/>
                  </a:lnTo>
                  <a:close/>
                  <a:moveTo>
                    <a:pt x="72" y="81"/>
                  </a:moveTo>
                  <a:lnTo>
                    <a:pt x="72" y="85"/>
                  </a:lnTo>
                  <a:lnTo>
                    <a:pt x="72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6" y="81"/>
                  </a:lnTo>
                  <a:lnTo>
                    <a:pt x="72" y="85"/>
                  </a:lnTo>
                  <a:lnTo>
                    <a:pt x="72" y="81"/>
                  </a:lnTo>
                  <a:close/>
                  <a:moveTo>
                    <a:pt x="81" y="90"/>
                  </a:moveTo>
                  <a:lnTo>
                    <a:pt x="81" y="90"/>
                  </a:lnTo>
                  <a:lnTo>
                    <a:pt x="85" y="85"/>
                  </a:lnTo>
                  <a:lnTo>
                    <a:pt x="81" y="90"/>
                  </a:lnTo>
                  <a:close/>
                  <a:moveTo>
                    <a:pt x="81" y="41"/>
                  </a:moveTo>
                  <a:lnTo>
                    <a:pt x="81" y="41"/>
                  </a:lnTo>
                  <a:lnTo>
                    <a:pt x="85" y="45"/>
                  </a:lnTo>
                  <a:lnTo>
                    <a:pt x="90" y="45"/>
                  </a:lnTo>
                  <a:lnTo>
                    <a:pt x="90" y="50"/>
                  </a:lnTo>
                  <a:lnTo>
                    <a:pt x="90" y="45"/>
                  </a:lnTo>
                  <a:lnTo>
                    <a:pt x="90" y="41"/>
                  </a:lnTo>
                  <a:lnTo>
                    <a:pt x="81" y="41"/>
                  </a:lnTo>
                  <a:close/>
                  <a:moveTo>
                    <a:pt x="81" y="76"/>
                  </a:moveTo>
                  <a:lnTo>
                    <a:pt x="85" y="76"/>
                  </a:lnTo>
                  <a:lnTo>
                    <a:pt x="90" y="76"/>
                  </a:lnTo>
                  <a:lnTo>
                    <a:pt x="81" y="76"/>
                  </a:lnTo>
                  <a:close/>
                  <a:moveTo>
                    <a:pt x="85" y="54"/>
                  </a:moveTo>
                  <a:lnTo>
                    <a:pt x="81" y="59"/>
                  </a:lnTo>
                  <a:lnTo>
                    <a:pt x="85" y="63"/>
                  </a:lnTo>
                  <a:lnTo>
                    <a:pt x="85" y="59"/>
                  </a:lnTo>
                  <a:lnTo>
                    <a:pt x="85" y="54"/>
                  </a:lnTo>
                  <a:close/>
                  <a:moveTo>
                    <a:pt x="112" y="99"/>
                  </a:moveTo>
                  <a:lnTo>
                    <a:pt x="108" y="103"/>
                  </a:lnTo>
                  <a:lnTo>
                    <a:pt x="108" y="112"/>
                  </a:lnTo>
                  <a:lnTo>
                    <a:pt x="112" y="108"/>
                  </a:lnTo>
                  <a:lnTo>
                    <a:pt x="117" y="108"/>
                  </a:lnTo>
                  <a:lnTo>
                    <a:pt x="117" y="99"/>
                  </a:lnTo>
                  <a:lnTo>
                    <a:pt x="112" y="9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79" name="Freeform 19"/>
            <p:cNvSpPr>
              <a:spLocks/>
            </p:cNvSpPr>
            <p:nvPr/>
          </p:nvSpPr>
          <p:spPr bwMode="gray">
            <a:xfrm>
              <a:off x="2453" y="3044"/>
              <a:ext cx="302" cy="191"/>
            </a:xfrm>
            <a:custGeom>
              <a:avLst/>
              <a:gdLst>
                <a:gd name="T0" fmla="*/ 0 w 99"/>
                <a:gd name="T1" fmla="*/ 40 h 63"/>
                <a:gd name="T2" fmla="*/ 5 w 99"/>
                <a:gd name="T3" fmla="*/ 36 h 63"/>
                <a:gd name="T4" fmla="*/ 5 w 99"/>
                <a:gd name="T5" fmla="*/ 31 h 63"/>
                <a:gd name="T6" fmla="*/ 5 w 99"/>
                <a:gd name="T7" fmla="*/ 27 h 63"/>
                <a:gd name="T8" fmla="*/ 5 w 99"/>
                <a:gd name="T9" fmla="*/ 22 h 63"/>
                <a:gd name="T10" fmla="*/ 14 w 99"/>
                <a:gd name="T11" fmla="*/ 22 h 63"/>
                <a:gd name="T12" fmla="*/ 18 w 99"/>
                <a:gd name="T13" fmla="*/ 13 h 63"/>
                <a:gd name="T14" fmla="*/ 18 w 99"/>
                <a:gd name="T15" fmla="*/ 9 h 63"/>
                <a:gd name="T16" fmla="*/ 23 w 99"/>
                <a:gd name="T17" fmla="*/ 13 h 63"/>
                <a:gd name="T18" fmla="*/ 41 w 99"/>
                <a:gd name="T19" fmla="*/ 13 h 63"/>
                <a:gd name="T20" fmla="*/ 45 w 99"/>
                <a:gd name="T21" fmla="*/ 9 h 63"/>
                <a:gd name="T22" fmla="*/ 54 w 99"/>
                <a:gd name="T23" fmla="*/ 9 h 63"/>
                <a:gd name="T24" fmla="*/ 63 w 99"/>
                <a:gd name="T25" fmla="*/ 0 h 63"/>
                <a:gd name="T26" fmla="*/ 72 w 99"/>
                <a:gd name="T27" fmla="*/ 4 h 63"/>
                <a:gd name="T28" fmla="*/ 76 w 99"/>
                <a:gd name="T29" fmla="*/ 0 h 63"/>
                <a:gd name="T30" fmla="*/ 81 w 99"/>
                <a:gd name="T31" fmla="*/ 4 h 63"/>
                <a:gd name="T32" fmla="*/ 90 w 99"/>
                <a:gd name="T33" fmla="*/ 4 h 63"/>
                <a:gd name="T34" fmla="*/ 99 w 99"/>
                <a:gd name="T35" fmla="*/ 18 h 63"/>
                <a:gd name="T36" fmla="*/ 99 w 99"/>
                <a:gd name="T37" fmla="*/ 22 h 63"/>
                <a:gd name="T38" fmla="*/ 85 w 99"/>
                <a:gd name="T39" fmla="*/ 27 h 63"/>
                <a:gd name="T40" fmla="*/ 76 w 99"/>
                <a:gd name="T41" fmla="*/ 45 h 63"/>
                <a:gd name="T42" fmla="*/ 76 w 99"/>
                <a:gd name="T43" fmla="*/ 49 h 63"/>
                <a:gd name="T44" fmla="*/ 67 w 99"/>
                <a:gd name="T45" fmla="*/ 54 h 63"/>
                <a:gd name="T46" fmla="*/ 63 w 99"/>
                <a:gd name="T47" fmla="*/ 54 h 63"/>
                <a:gd name="T48" fmla="*/ 49 w 99"/>
                <a:gd name="T49" fmla="*/ 54 h 63"/>
                <a:gd name="T50" fmla="*/ 36 w 99"/>
                <a:gd name="T51" fmla="*/ 58 h 63"/>
                <a:gd name="T52" fmla="*/ 27 w 99"/>
                <a:gd name="T53" fmla="*/ 63 h 63"/>
                <a:gd name="T54" fmla="*/ 9 w 99"/>
                <a:gd name="T55" fmla="*/ 58 h 63"/>
                <a:gd name="T56" fmla="*/ 5 w 99"/>
                <a:gd name="T57" fmla="*/ 49 h 63"/>
                <a:gd name="T58" fmla="*/ 5 w 99"/>
                <a:gd name="T59" fmla="*/ 49 h 63"/>
                <a:gd name="T60" fmla="*/ 0 w 99"/>
                <a:gd name="T61" fmla="*/ 4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9" h="63">
                  <a:moveTo>
                    <a:pt x="0" y="40"/>
                  </a:moveTo>
                  <a:lnTo>
                    <a:pt x="5" y="36"/>
                  </a:lnTo>
                  <a:lnTo>
                    <a:pt x="5" y="31"/>
                  </a:lnTo>
                  <a:lnTo>
                    <a:pt x="5" y="27"/>
                  </a:lnTo>
                  <a:lnTo>
                    <a:pt x="5" y="22"/>
                  </a:lnTo>
                  <a:lnTo>
                    <a:pt x="14" y="22"/>
                  </a:lnTo>
                  <a:lnTo>
                    <a:pt x="18" y="13"/>
                  </a:lnTo>
                  <a:lnTo>
                    <a:pt x="18" y="9"/>
                  </a:lnTo>
                  <a:lnTo>
                    <a:pt x="23" y="13"/>
                  </a:lnTo>
                  <a:lnTo>
                    <a:pt x="41" y="13"/>
                  </a:lnTo>
                  <a:lnTo>
                    <a:pt x="45" y="9"/>
                  </a:lnTo>
                  <a:lnTo>
                    <a:pt x="54" y="9"/>
                  </a:lnTo>
                  <a:lnTo>
                    <a:pt x="63" y="0"/>
                  </a:lnTo>
                  <a:lnTo>
                    <a:pt x="72" y="4"/>
                  </a:lnTo>
                  <a:lnTo>
                    <a:pt x="76" y="0"/>
                  </a:lnTo>
                  <a:lnTo>
                    <a:pt x="81" y="4"/>
                  </a:lnTo>
                  <a:lnTo>
                    <a:pt x="90" y="4"/>
                  </a:lnTo>
                  <a:lnTo>
                    <a:pt x="99" y="18"/>
                  </a:lnTo>
                  <a:lnTo>
                    <a:pt x="99" y="22"/>
                  </a:lnTo>
                  <a:lnTo>
                    <a:pt x="85" y="27"/>
                  </a:lnTo>
                  <a:lnTo>
                    <a:pt x="76" y="45"/>
                  </a:lnTo>
                  <a:lnTo>
                    <a:pt x="76" y="49"/>
                  </a:lnTo>
                  <a:lnTo>
                    <a:pt x="67" y="54"/>
                  </a:lnTo>
                  <a:lnTo>
                    <a:pt x="63" y="54"/>
                  </a:lnTo>
                  <a:lnTo>
                    <a:pt x="49" y="54"/>
                  </a:lnTo>
                  <a:lnTo>
                    <a:pt x="36" y="58"/>
                  </a:lnTo>
                  <a:lnTo>
                    <a:pt x="27" y="63"/>
                  </a:lnTo>
                  <a:lnTo>
                    <a:pt x="9" y="58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80" name="Freeform 20"/>
            <p:cNvSpPr>
              <a:spLocks/>
            </p:cNvSpPr>
            <p:nvPr/>
          </p:nvSpPr>
          <p:spPr bwMode="gray">
            <a:xfrm>
              <a:off x="707" y="1541"/>
              <a:ext cx="473" cy="313"/>
            </a:xfrm>
            <a:custGeom>
              <a:avLst/>
              <a:gdLst>
                <a:gd name="T0" fmla="*/ 45 w 156"/>
                <a:gd name="T1" fmla="*/ 85 h 103"/>
                <a:gd name="T2" fmla="*/ 81 w 156"/>
                <a:gd name="T3" fmla="*/ 103 h 103"/>
                <a:gd name="T4" fmla="*/ 98 w 156"/>
                <a:gd name="T5" fmla="*/ 89 h 103"/>
                <a:gd name="T6" fmla="*/ 121 w 156"/>
                <a:gd name="T7" fmla="*/ 76 h 103"/>
                <a:gd name="T8" fmla="*/ 134 w 156"/>
                <a:gd name="T9" fmla="*/ 71 h 103"/>
                <a:gd name="T10" fmla="*/ 148 w 156"/>
                <a:gd name="T11" fmla="*/ 62 h 103"/>
                <a:gd name="T12" fmla="*/ 152 w 156"/>
                <a:gd name="T13" fmla="*/ 54 h 103"/>
                <a:gd name="T14" fmla="*/ 152 w 156"/>
                <a:gd name="T15" fmla="*/ 45 h 103"/>
                <a:gd name="T16" fmla="*/ 148 w 156"/>
                <a:gd name="T17" fmla="*/ 31 h 103"/>
                <a:gd name="T18" fmla="*/ 143 w 156"/>
                <a:gd name="T19" fmla="*/ 27 h 103"/>
                <a:gd name="T20" fmla="*/ 143 w 156"/>
                <a:gd name="T21" fmla="*/ 18 h 103"/>
                <a:gd name="T22" fmla="*/ 134 w 156"/>
                <a:gd name="T23" fmla="*/ 13 h 103"/>
                <a:gd name="T24" fmla="*/ 139 w 156"/>
                <a:gd name="T25" fmla="*/ 0 h 103"/>
                <a:gd name="T26" fmla="*/ 125 w 156"/>
                <a:gd name="T27" fmla="*/ 9 h 103"/>
                <a:gd name="T28" fmla="*/ 107 w 156"/>
                <a:gd name="T29" fmla="*/ 0 h 103"/>
                <a:gd name="T30" fmla="*/ 107 w 156"/>
                <a:gd name="T31" fmla="*/ 13 h 103"/>
                <a:gd name="T32" fmla="*/ 98 w 156"/>
                <a:gd name="T33" fmla="*/ 18 h 103"/>
                <a:gd name="T34" fmla="*/ 85 w 156"/>
                <a:gd name="T35" fmla="*/ 13 h 103"/>
                <a:gd name="T36" fmla="*/ 76 w 156"/>
                <a:gd name="T37" fmla="*/ 13 h 103"/>
                <a:gd name="T38" fmla="*/ 72 w 156"/>
                <a:gd name="T39" fmla="*/ 27 h 103"/>
                <a:gd name="T40" fmla="*/ 58 w 156"/>
                <a:gd name="T41" fmla="*/ 13 h 103"/>
                <a:gd name="T42" fmla="*/ 54 w 156"/>
                <a:gd name="T43" fmla="*/ 31 h 103"/>
                <a:gd name="T44" fmla="*/ 40 w 156"/>
                <a:gd name="T45" fmla="*/ 27 h 103"/>
                <a:gd name="T46" fmla="*/ 45 w 156"/>
                <a:gd name="T47" fmla="*/ 13 h 103"/>
                <a:gd name="T48" fmla="*/ 18 w 156"/>
                <a:gd name="T49" fmla="*/ 0 h 103"/>
                <a:gd name="T50" fmla="*/ 22 w 156"/>
                <a:gd name="T51" fmla="*/ 9 h 103"/>
                <a:gd name="T52" fmla="*/ 22 w 156"/>
                <a:gd name="T53" fmla="*/ 13 h 103"/>
                <a:gd name="T54" fmla="*/ 9 w 156"/>
                <a:gd name="T55" fmla="*/ 13 h 103"/>
                <a:gd name="T56" fmla="*/ 14 w 156"/>
                <a:gd name="T57" fmla="*/ 27 h 103"/>
                <a:gd name="T58" fmla="*/ 9 w 156"/>
                <a:gd name="T59" fmla="*/ 31 h 103"/>
                <a:gd name="T60" fmla="*/ 0 w 156"/>
                <a:gd name="T61" fmla="*/ 36 h 103"/>
                <a:gd name="T62" fmla="*/ 27 w 156"/>
                <a:gd name="T63" fmla="*/ 36 h 103"/>
                <a:gd name="T64" fmla="*/ 31 w 156"/>
                <a:gd name="T65" fmla="*/ 45 h 103"/>
                <a:gd name="T66" fmla="*/ 27 w 156"/>
                <a:gd name="T67" fmla="*/ 49 h 103"/>
                <a:gd name="T68" fmla="*/ 9 w 156"/>
                <a:gd name="T69" fmla="*/ 67 h 103"/>
                <a:gd name="T70" fmla="*/ 31 w 156"/>
                <a:gd name="T71" fmla="*/ 62 h 103"/>
                <a:gd name="T72" fmla="*/ 36 w 156"/>
                <a:gd name="T73" fmla="*/ 62 h 103"/>
                <a:gd name="T74" fmla="*/ 22 w 156"/>
                <a:gd name="T75" fmla="*/ 8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6" h="103">
                  <a:moveTo>
                    <a:pt x="27" y="89"/>
                  </a:moveTo>
                  <a:lnTo>
                    <a:pt x="45" y="85"/>
                  </a:lnTo>
                  <a:lnTo>
                    <a:pt x="63" y="98"/>
                  </a:lnTo>
                  <a:lnTo>
                    <a:pt x="81" y="103"/>
                  </a:lnTo>
                  <a:lnTo>
                    <a:pt x="94" y="98"/>
                  </a:lnTo>
                  <a:lnTo>
                    <a:pt x="98" y="89"/>
                  </a:lnTo>
                  <a:lnTo>
                    <a:pt x="112" y="89"/>
                  </a:lnTo>
                  <a:lnTo>
                    <a:pt x="121" y="76"/>
                  </a:lnTo>
                  <a:lnTo>
                    <a:pt x="130" y="71"/>
                  </a:lnTo>
                  <a:lnTo>
                    <a:pt x="134" y="71"/>
                  </a:lnTo>
                  <a:lnTo>
                    <a:pt x="143" y="67"/>
                  </a:lnTo>
                  <a:lnTo>
                    <a:pt x="148" y="62"/>
                  </a:lnTo>
                  <a:lnTo>
                    <a:pt x="148" y="62"/>
                  </a:lnTo>
                  <a:lnTo>
                    <a:pt x="152" y="54"/>
                  </a:lnTo>
                  <a:lnTo>
                    <a:pt x="156" y="49"/>
                  </a:lnTo>
                  <a:lnTo>
                    <a:pt x="152" y="45"/>
                  </a:lnTo>
                  <a:lnTo>
                    <a:pt x="152" y="36"/>
                  </a:lnTo>
                  <a:lnTo>
                    <a:pt x="148" y="31"/>
                  </a:lnTo>
                  <a:lnTo>
                    <a:pt x="143" y="36"/>
                  </a:lnTo>
                  <a:lnTo>
                    <a:pt x="143" y="27"/>
                  </a:lnTo>
                  <a:lnTo>
                    <a:pt x="139" y="27"/>
                  </a:lnTo>
                  <a:lnTo>
                    <a:pt x="143" y="18"/>
                  </a:lnTo>
                  <a:lnTo>
                    <a:pt x="139" y="22"/>
                  </a:lnTo>
                  <a:lnTo>
                    <a:pt x="134" y="13"/>
                  </a:lnTo>
                  <a:lnTo>
                    <a:pt x="143" y="4"/>
                  </a:lnTo>
                  <a:lnTo>
                    <a:pt x="139" y="0"/>
                  </a:lnTo>
                  <a:lnTo>
                    <a:pt x="130" y="13"/>
                  </a:lnTo>
                  <a:lnTo>
                    <a:pt x="125" y="9"/>
                  </a:lnTo>
                  <a:lnTo>
                    <a:pt x="116" y="0"/>
                  </a:lnTo>
                  <a:lnTo>
                    <a:pt x="107" y="0"/>
                  </a:lnTo>
                  <a:lnTo>
                    <a:pt x="112" y="9"/>
                  </a:lnTo>
                  <a:lnTo>
                    <a:pt x="107" y="13"/>
                  </a:lnTo>
                  <a:lnTo>
                    <a:pt x="103" y="13"/>
                  </a:lnTo>
                  <a:lnTo>
                    <a:pt x="98" y="18"/>
                  </a:lnTo>
                  <a:lnTo>
                    <a:pt x="89" y="9"/>
                  </a:lnTo>
                  <a:lnTo>
                    <a:pt x="85" y="13"/>
                  </a:lnTo>
                  <a:lnTo>
                    <a:pt x="89" y="27"/>
                  </a:lnTo>
                  <a:lnTo>
                    <a:pt x="76" y="13"/>
                  </a:lnTo>
                  <a:lnTo>
                    <a:pt x="72" y="13"/>
                  </a:lnTo>
                  <a:lnTo>
                    <a:pt x="72" y="27"/>
                  </a:lnTo>
                  <a:lnTo>
                    <a:pt x="63" y="13"/>
                  </a:lnTo>
                  <a:lnTo>
                    <a:pt x="58" y="13"/>
                  </a:lnTo>
                  <a:lnTo>
                    <a:pt x="58" y="31"/>
                  </a:lnTo>
                  <a:lnTo>
                    <a:pt x="54" y="31"/>
                  </a:lnTo>
                  <a:lnTo>
                    <a:pt x="45" y="40"/>
                  </a:lnTo>
                  <a:lnTo>
                    <a:pt x="40" y="27"/>
                  </a:lnTo>
                  <a:lnTo>
                    <a:pt x="45" y="22"/>
                  </a:lnTo>
                  <a:lnTo>
                    <a:pt x="45" y="13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22" y="9"/>
                  </a:lnTo>
                  <a:lnTo>
                    <a:pt x="27" y="18"/>
                  </a:lnTo>
                  <a:lnTo>
                    <a:pt x="22" y="13"/>
                  </a:lnTo>
                  <a:lnTo>
                    <a:pt x="14" y="9"/>
                  </a:lnTo>
                  <a:lnTo>
                    <a:pt x="9" y="13"/>
                  </a:lnTo>
                  <a:lnTo>
                    <a:pt x="14" y="18"/>
                  </a:lnTo>
                  <a:lnTo>
                    <a:pt x="14" y="27"/>
                  </a:lnTo>
                  <a:lnTo>
                    <a:pt x="9" y="27"/>
                  </a:lnTo>
                  <a:lnTo>
                    <a:pt x="9" y="31"/>
                  </a:lnTo>
                  <a:lnTo>
                    <a:pt x="5" y="31"/>
                  </a:lnTo>
                  <a:lnTo>
                    <a:pt x="0" y="36"/>
                  </a:lnTo>
                  <a:lnTo>
                    <a:pt x="14" y="40"/>
                  </a:lnTo>
                  <a:lnTo>
                    <a:pt x="27" y="36"/>
                  </a:lnTo>
                  <a:lnTo>
                    <a:pt x="36" y="36"/>
                  </a:lnTo>
                  <a:lnTo>
                    <a:pt x="31" y="45"/>
                  </a:lnTo>
                  <a:lnTo>
                    <a:pt x="31" y="49"/>
                  </a:lnTo>
                  <a:lnTo>
                    <a:pt x="27" y="49"/>
                  </a:lnTo>
                  <a:lnTo>
                    <a:pt x="5" y="58"/>
                  </a:lnTo>
                  <a:lnTo>
                    <a:pt x="9" y="67"/>
                  </a:lnTo>
                  <a:lnTo>
                    <a:pt x="14" y="62"/>
                  </a:lnTo>
                  <a:lnTo>
                    <a:pt x="31" y="62"/>
                  </a:lnTo>
                  <a:lnTo>
                    <a:pt x="31" y="67"/>
                  </a:lnTo>
                  <a:lnTo>
                    <a:pt x="36" y="62"/>
                  </a:lnTo>
                  <a:lnTo>
                    <a:pt x="31" y="80"/>
                  </a:lnTo>
                  <a:lnTo>
                    <a:pt x="22" y="80"/>
                  </a:lnTo>
                  <a:lnTo>
                    <a:pt x="27" y="8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81" name="Freeform 21"/>
            <p:cNvSpPr>
              <a:spLocks/>
            </p:cNvSpPr>
            <p:nvPr/>
          </p:nvSpPr>
          <p:spPr bwMode="gray">
            <a:xfrm>
              <a:off x="1316" y="2557"/>
              <a:ext cx="178" cy="298"/>
            </a:xfrm>
            <a:custGeom>
              <a:avLst/>
              <a:gdLst>
                <a:gd name="T0" fmla="*/ 45 w 58"/>
                <a:gd name="T1" fmla="*/ 5 h 98"/>
                <a:gd name="T2" fmla="*/ 45 w 58"/>
                <a:gd name="T3" fmla="*/ 0 h 98"/>
                <a:gd name="T4" fmla="*/ 40 w 58"/>
                <a:gd name="T5" fmla="*/ 0 h 98"/>
                <a:gd name="T6" fmla="*/ 40 w 58"/>
                <a:gd name="T7" fmla="*/ 0 h 98"/>
                <a:gd name="T8" fmla="*/ 36 w 58"/>
                <a:gd name="T9" fmla="*/ 9 h 98"/>
                <a:gd name="T10" fmla="*/ 36 w 58"/>
                <a:gd name="T11" fmla="*/ 0 h 98"/>
                <a:gd name="T12" fmla="*/ 27 w 58"/>
                <a:gd name="T13" fmla="*/ 5 h 98"/>
                <a:gd name="T14" fmla="*/ 27 w 58"/>
                <a:gd name="T15" fmla="*/ 13 h 98"/>
                <a:gd name="T16" fmla="*/ 22 w 58"/>
                <a:gd name="T17" fmla="*/ 18 h 98"/>
                <a:gd name="T18" fmla="*/ 27 w 58"/>
                <a:gd name="T19" fmla="*/ 22 h 98"/>
                <a:gd name="T20" fmla="*/ 27 w 58"/>
                <a:gd name="T21" fmla="*/ 22 h 98"/>
                <a:gd name="T22" fmla="*/ 22 w 58"/>
                <a:gd name="T23" fmla="*/ 27 h 98"/>
                <a:gd name="T24" fmla="*/ 22 w 58"/>
                <a:gd name="T25" fmla="*/ 27 h 98"/>
                <a:gd name="T26" fmla="*/ 18 w 58"/>
                <a:gd name="T27" fmla="*/ 27 h 98"/>
                <a:gd name="T28" fmla="*/ 5 w 58"/>
                <a:gd name="T29" fmla="*/ 27 h 98"/>
                <a:gd name="T30" fmla="*/ 0 w 58"/>
                <a:gd name="T31" fmla="*/ 36 h 98"/>
                <a:gd name="T32" fmla="*/ 9 w 58"/>
                <a:gd name="T33" fmla="*/ 36 h 98"/>
                <a:gd name="T34" fmla="*/ 5 w 58"/>
                <a:gd name="T35" fmla="*/ 45 h 98"/>
                <a:gd name="T36" fmla="*/ 0 w 58"/>
                <a:gd name="T37" fmla="*/ 45 h 98"/>
                <a:gd name="T38" fmla="*/ 0 w 58"/>
                <a:gd name="T39" fmla="*/ 54 h 98"/>
                <a:gd name="T40" fmla="*/ 9 w 58"/>
                <a:gd name="T41" fmla="*/ 58 h 98"/>
                <a:gd name="T42" fmla="*/ 14 w 58"/>
                <a:gd name="T43" fmla="*/ 54 h 98"/>
                <a:gd name="T44" fmla="*/ 18 w 58"/>
                <a:gd name="T45" fmla="*/ 54 h 98"/>
                <a:gd name="T46" fmla="*/ 14 w 58"/>
                <a:gd name="T47" fmla="*/ 63 h 98"/>
                <a:gd name="T48" fmla="*/ 14 w 58"/>
                <a:gd name="T49" fmla="*/ 63 h 98"/>
                <a:gd name="T50" fmla="*/ 9 w 58"/>
                <a:gd name="T51" fmla="*/ 72 h 98"/>
                <a:gd name="T52" fmla="*/ 18 w 58"/>
                <a:gd name="T53" fmla="*/ 67 h 98"/>
                <a:gd name="T54" fmla="*/ 18 w 58"/>
                <a:gd name="T55" fmla="*/ 72 h 98"/>
                <a:gd name="T56" fmla="*/ 9 w 58"/>
                <a:gd name="T57" fmla="*/ 76 h 98"/>
                <a:gd name="T58" fmla="*/ 9 w 58"/>
                <a:gd name="T59" fmla="*/ 81 h 98"/>
                <a:gd name="T60" fmla="*/ 0 w 58"/>
                <a:gd name="T61" fmla="*/ 81 h 98"/>
                <a:gd name="T62" fmla="*/ 0 w 58"/>
                <a:gd name="T63" fmla="*/ 89 h 98"/>
                <a:gd name="T64" fmla="*/ 9 w 58"/>
                <a:gd name="T65" fmla="*/ 89 h 98"/>
                <a:gd name="T66" fmla="*/ 0 w 58"/>
                <a:gd name="T67" fmla="*/ 94 h 98"/>
                <a:gd name="T68" fmla="*/ 9 w 58"/>
                <a:gd name="T69" fmla="*/ 98 h 98"/>
                <a:gd name="T70" fmla="*/ 27 w 58"/>
                <a:gd name="T71" fmla="*/ 89 h 98"/>
                <a:gd name="T72" fmla="*/ 40 w 58"/>
                <a:gd name="T73" fmla="*/ 85 h 98"/>
                <a:gd name="T74" fmla="*/ 49 w 58"/>
                <a:gd name="T75" fmla="*/ 85 h 98"/>
                <a:gd name="T76" fmla="*/ 54 w 58"/>
                <a:gd name="T77" fmla="*/ 81 h 98"/>
                <a:gd name="T78" fmla="*/ 58 w 58"/>
                <a:gd name="T79" fmla="*/ 72 h 98"/>
                <a:gd name="T80" fmla="*/ 58 w 58"/>
                <a:gd name="T81" fmla="*/ 54 h 98"/>
                <a:gd name="T82" fmla="*/ 58 w 58"/>
                <a:gd name="T83" fmla="*/ 49 h 98"/>
                <a:gd name="T84" fmla="*/ 58 w 58"/>
                <a:gd name="T85" fmla="*/ 49 h 98"/>
                <a:gd name="T86" fmla="*/ 54 w 58"/>
                <a:gd name="T87" fmla="*/ 31 h 98"/>
                <a:gd name="T88" fmla="*/ 49 w 58"/>
                <a:gd name="T89" fmla="*/ 31 h 98"/>
                <a:gd name="T90" fmla="*/ 40 w 58"/>
                <a:gd name="T91" fmla="*/ 27 h 98"/>
                <a:gd name="T92" fmla="*/ 40 w 58"/>
                <a:gd name="T93" fmla="*/ 36 h 98"/>
                <a:gd name="T94" fmla="*/ 27 w 58"/>
                <a:gd name="T95" fmla="*/ 31 h 98"/>
                <a:gd name="T96" fmla="*/ 27 w 58"/>
                <a:gd name="T97" fmla="*/ 27 h 98"/>
                <a:gd name="T98" fmla="*/ 31 w 58"/>
                <a:gd name="T99" fmla="*/ 18 h 98"/>
                <a:gd name="T100" fmla="*/ 36 w 58"/>
                <a:gd name="T101" fmla="*/ 18 h 98"/>
                <a:gd name="T102" fmla="*/ 40 w 58"/>
                <a:gd name="T103" fmla="*/ 13 h 98"/>
                <a:gd name="T104" fmla="*/ 45 w 58"/>
                <a:gd name="T105" fmla="*/ 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" h="98">
                  <a:moveTo>
                    <a:pt x="45" y="5"/>
                  </a:moveTo>
                  <a:lnTo>
                    <a:pt x="45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9"/>
                  </a:lnTo>
                  <a:lnTo>
                    <a:pt x="36" y="0"/>
                  </a:lnTo>
                  <a:lnTo>
                    <a:pt x="27" y="5"/>
                  </a:lnTo>
                  <a:lnTo>
                    <a:pt x="27" y="13"/>
                  </a:lnTo>
                  <a:lnTo>
                    <a:pt x="22" y="18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18" y="27"/>
                  </a:lnTo>
                  <a:lnTo>
                    <a:pt x="5" y="27"/>
                  </a:lnTo>
                  <a:lnTo>
                    <a:pt x="0" y="36"/>
                  </a:lnTo>
                  <a:lnTo>
                    <a:pt x="9" y="36"/>
                  </a:lnTo>
                  <a:lnTo>
                    <a:pt x="5" y="45"/>
                  </a:lnTo>
                  <a:lnTo>
                    <a:pt x="0" y="45"/>
                  </a:lnTo>
                  <a:lnTo>
                    <a:pt x="0" y="54"/>
                  </a:lnTo>
                  <a:lnTo>
                    <a:pt x="9" y="58"/>
                  </a:lnTo>
                  <a:lnTo>
                    <a:pt x="14" y="54"/>
                  </a:lnTo>
                  <a:lnTo>
                    <a:pt x="18" y="54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9" y="72"/>
                  </a:lnTo>
                  <a:lnTo>
                    <a:pt x="18" y="67"/>
                  </a:lnTo>
                  <a:lnTo>
                    <a:pt x="18" y="72"/>
                  </a:lnTo>
                  <a:lnTo>
                    <a:pt x="9" y="76"/>
                  </a:lnTo>
                  <a:lnTo>
                    <a:pt x="9" y="81"/>
                  </a:lnTo>
                  <a:lnTo>
                    <a:pt x="0" y="81"/>
                  </a:lnTo>
                  <a:lnTo>
                    <a:pt x="0" y="89"/>
                  </a:lnTo>
                  <a:lnTo>
                    <a:pt x="9" y="89"/>
                  </a:lnTo>
                  <a:lnTo>
                    <a:pt x="0" y="94"/>
                  </a:lnTo>
                  <a:lnTo>
                    <a:pt x="9" y="98"/>
                  </a:lnTo>
                  <a:lnTo>
                    <a:pt x="27" y="89"/>
                  </a:lnTo>
                  <a:lnTo>
                    <a:pt x="40" y="85"/>
                  </a:lnTo>
                  <a:lnTo>
                    <a:pt x="49" y="85"/>
                  </a:lnTo>
                  <a:lnTo>
                    <a:pt x="54" y="81"/>
                  </a:lnTo>
                  <a:lnTo>
                    <a:pt x="58" y="72"/>
                  </a:lnTo>
                  <a:lnTo>
                    <a:pt x="58" y="54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4" y="31"/>
                  </a:lnTo>
                  <a:lnTo>
                    <a:pt x="49" y="31"/>
                  </a:lnTo>
                  <a:lnTo>
                    <a:pt x="40" y="27"/>
                  </a:lnTo>
                  <a:lnTo>
                    <a:pt x="40" y="36"/>
                  </a:lnTo>
                  <a:lnTo>
                    <a:pt x="27" y="31"/>
                  </a:lnTo>
                  <a:lnTo>
                    <a:pt x="27" y="27"/>
                  </a:lnTo>
                  <a:lnTo>
                    <a:pt x="31" y="18"/>
                  </a:lnTo>
                  <a:lnTo>
                    <a:pt x="36" y="18"/>
                  </a:lnTo>
                  <a:lnTo>
                    <a:pt x="40" y="13"/>
                  </a:lnTo>
                  <a:lnTo>
                    <a:pt x="45" y="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82" name="Freeform 22"/>
            <p:cNvSpPr>
              <a:spLocks noEditPoints="1"/>
            </p:cNvSpPr>
            <p:nvPr/>
          </p:nvSpPr>
          <p:spPr bwMode="gray">
            <a:xfrm>
              <a:off x="2035" y="3153"/>
              <a:ext cx="529" cy="623"/>
            </a:xfrm>
            <a:custGeom>
              <a:avLst/>
              <a:gdLst>
                <a:gd name="T0" fmla="*/ 27 w 174"/>
                <a:gd name="T1" fmla="*/ 62 h 205"/>
                <a:gd name="T2" fmla="*/ 36 w 174"/>
                <a:gd name="T3" fmla="*/ 49 h 205"/>
                <a:gd name="T4" fmla="*/ 53 w 174"/>
                <a:gd name="T5" fmla="*/ 62 h 205"/>
                <a:gd name="T6" fmla="*/ 62 w 174"/>
                <a:gd name="T7" fmla="*/ 94 h 205"/>
                <a:gd name="T8" fmla="*/ 94 w 174"/>
                <a:gd name="T9" fmla="*/ 120 h 205"/>
                <a:gd name="T10" fmla="*/ 112 w 174"/>
                <a:gd name="T11" fmla="*/ 129 h 205"/>
                <a:gd name="T12" fmla="*/ 120 w 174"/>
                <a:gd name="T13" fmla="*/ 138 h 205"/>
                <a:gd name="T14" fmla="*/ 138 w 174"/>
                <a:gd name="T15" fmla="*/ 161 h 205"/>
                <a:gd name="T16" fmla="*/ 134 w 174"/>
                <a:gd name="T17" fmla="*/ 170 h 205"/>
                <a:gd name="T18" fmla="*/ 134 w 174"/>
                <a:gd name="T19" fmla="*/ 183 h 205"/>
                <a:gd name="T20" fmla="*/ 147 w 174"/>
                <a:gd name="T21" fmla="*/ 170 h 205"/>
                <a:gd name="T22" fmla="*/ 152 w 174"/>
                <a:gd name="T23" fmla="*/ 161 h 205"/>
                <a:gd name="T24" fmla="*/ 143 w 174"/>
                <a:gd name="T25" fmla="*/ 143 h 205"/>
                <a:gd name="T26" fmla="*/ 156 w 174"/>
                <a:gd name="T27" fmla="*/ 134 h 205"/>
                <a:gd name="T28" fmla="*/ 165 w 174"/>
                <a:gd name="T29" fmla="*/ 143 h 205"/>
                <a:gd name="T30" fmla="*/ 174 w 174"/>
                <a:gd name="T31" fmla="*/ 138 h 205"/>
                <a:gd name="T32" fmla="*/ 147 w 174"/>
                <a:gd name="T33" fmla="*/ 111 h 205"/>
                <a:gd name="T34" fmla="*/ 138 w 174"/>
                <a:gd name="T35" fmla="*/ 102 h 205"/>
                <a:gd name="T36" fmla="*/ 120 w 174"/>
                <a:gd name="T37" fmla="*/ 98 h 205"/>
                <a:gd name="T38" fmla="*/ 103 w 174"/>
                <a:gd name="T39" fmla="*/ 80 h 205"/>
                <a:gd name="T40" fmla="*/ 85 w 174"/>
                <a:gd name="T41" fmla="*/ 58 h 205"/>
                <a:gd name="T42" fmla="*/ 85 w 174"/>
                <a:gd name="T43" fmla="*/ 44 h 205"/>
                <a:gd name="T44" fmla="*/ 80 w 174"/>
                <a:gd name="T45" fmla="*/ 31 h 205"/>
                <a:gd name="T46" fmla="*/ 94 w 174"/>
                <a:gd name="T47" fmla="*/ 22 h 205"/>
                <a:gd name="T48" fmla="*/ 103 w 174"/>
                <a:gd name="T49" fmla="*/ 27 h 205"/>
                <a:gd name="T50" fmla="*/ 107 w 174"/>
                <a:gd name="T51" fmla="*/ 31 h 205"/>
                <a:gd name="T52" fmla="*/ 103 w 174"/>
                <a:gd name="T53" fmla="*/ 18 h 205"/>
                <a:gd name="T54" fmla="*/ 103 w 174"/>
                <a:gd name="T55" fmla="*/ 13 h 205"/>
                <a:gd name="T56" fmla="*/ 85 w 174"/>
                <a:gd name="T57" fmla="*/ 0 h 205"/>
                <a:gd name="T58" fmla="*/ 67 w 174"/>
                <a:gd name="T59" fmla="*/ 4 h 205"/>
                <a:gd name="T60" fmla="*/ 53 w 174"/>
                <a:gd name="T61" fmla="*/ 13 h 205"/>
                <a:gd name="T62" fmla="*/ 40 w 174"/>
                <a:gd name="T63" fmla="*/ 9 h 205"/>
                <a:gd name="T64" fmla="*/ 36 w 174"/>
                <a:gd name="T65" fmla="*/ 22 h 205"/>
                <a:gd name="T66" fmla="*/ 27 w 174"/>
                <a:gd name="T67" fmla="*/ 13 h 205"/>
                <a:gd name="T68" fmla="*/ 18 w 174"/>
                <a:gd name="T69" fmla="*/ 22 h 205"/>
                <a:gd name="T70" fmla="*/ 9 w 174"/>
                <a:gd name="T71" fmla="*/ 35 h 205"/>
                <a:gd name="T72" fmla="*/ 0 w 174"/>
                <a:gd name="T73" fmla="*/ 49 h 205"/>
                <a:gd name="T74" fmla="*/ 18 w 174"/>
                <a:gd name="T75" fmla="*/ 62 h 205"/>
                <a:gd name="T76" fmla="*/ 40 w 174"/>
                <a:gd name="T77" fmla="*/ 116 h 205"/>
                <a:gd name="T78" fmla="*/ 27 w 174"/>
                <a:gd name="T79" fmla="*/ 125 h 205"/>
                <a:gd name="T80" fmla="*/ 31 w 174"/>
                <a:gd name="T81" fmla="*/ 129 h 205"/>
                <a:gd name="T82" fmla="*/ 36 w 174"/>
                <a:gd name="T83" fmla="*/ 143 h 205"/>
                <a:gd name="T84" fmla="*/ 31 w 174"/>
                <a:gd name="T85" fmla="*/ 147 h 205"/>
                <a:gd name="T86" fmla="*/ 36 w 174"/>
                <a:gd name="T87" fmla="*/ 161 h 205"/>
                <a:gd name="T88" fmla="*/ 45 w 174"/>
                <a:gd name="T89" fmla="*/ 156 h 205"/>
                <a:gd name="T90" fmla="*/ 49 w 174"/>
                <a:gd name="T91" fmla="*/ 143 h 205"/>
                <a:gd name="T92" fmla="*/ 49 w 174"/>
                <a:gd name="T93" fmla="*/ 129 h 205"/>
                <a:gd name="T94" fmla="*/ 40 w 174"/>
                <a:gd name="T95" fmla="*/ 116 h 205"/>
                <a:gd name="T96" fmla="*/ 120 w 174"/>
                <a:gd name="T97" fmla="*/ 174 h 205"/>
                <a:gd name="T98" fmla="*/ 98 w 174"/>
                <a:gd name="T99" fmla="*/ 170 h 205"/>
                <a:gd name="T100" fmla="*/ 85 w 174"/>
                <a:gd name="T101" fmla="*/ 178 h 205"/>
                <a:gd name="T102" fmla="*/ 89 w 174"/>
                <a:gd name="T103" fmla="*/ 187 h 205"/>
                <a:gd name="T104" fmla="*/ 103 w 174"/>
                <a:gd name="T105" fmla="*/ 196 h 205"/>
                <a:gd name="T106" fmla="*/ 116 w 174"/>
                <a:gd name="T107" fmla="*/ 201 h 205"/>
                <a:gd name="T108" fmla="*/ 125 w 174"/>
                <a:gd name="T109" fmla="*/ 201 h 205"/>
                <a:gd name="T110" fmla="*/ 129 w 174"/>
                <a:gd name="T111" fmla="*/ 178 h 205"/>
                <a:gd name="T112" fmla="*/ 125 w 174"/>
                <a:gd name="T113" fmla="*/ 174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4" h="205">
                  <a:moveTo>
                    <a:pt x="22" y="67"/>
                  </a:moveTo>
                  <a:lnTo>
                    <a:pt x="27" y="62"/>
                  </a:lnTo>
                  <a:lnTo>
                    <a:pt x="31" y="58"/>
                  </a:lnTo>
                  <a:lnTo>
                    <a:pt x="36" y="49"/>
                  </a:lnTo>
                  <a:lnTo>
                    <a:pt x="49" y="58"/>
                  </a:lnTo>
                  <a:lnTo>
                    <a:pt x="53" y="62"/>
                  </a:lnTo>
                  <a:lnTo>
                    <a:pt x="58" y="80"/>
                  </a:lnTo>
                  <a:lnTo>
                    <a:pt x="62" y="94"/>
                  </a:lnTo>
                  <a:lnTo>
                    <a:pt x="85" y="111"/>
                  </a:lnTo>
                  <a:lnTo>
                    <a:pt x="94" y="120"/>
                  </a:lnTo>
                  <a:lnTo>
                    <a:pt x="103" y="116"/>
                  </a:lnTo>
                  <a:lnTo>
                    <a:pt x="112" y="129"/>
                  </a:lnTo>
                  <a:lnTo>
                    <a:pt x="120" y="129"/>
                  </a:lnTo>
                  <a:lnTo>
                    <a:pt x="120" y="138"/>
                  </a:lnTo>
                  <a:lnTo>
                    <a:pt x="129" y="143"/>
                  </a:lnTo>
                  <a:lnTo>
                    <a:pt x="138" y="161"/>
                  </a:lnTo>
                  <a:lnTo>
                    <a:pt x="134" y="165"/>
                  </a:lnTo>
                  <a:lnTo>
                    <a:pt x="134" y="170"/>
                  </a:lnTo>
                  <a:lnTo>
                    <a:pt x="129" y="174"/>
                  </a:lnTo>
                  <a:lnTo>
                    <a:pt x="134" y="183"/>
                  </a:lnTo>
                  <a:lnTo>
                    <a:pt x="138" y="178"/>
                  </a:lnTo>
                  <a:lnTo>
                    <a:pt x="147" y="170"/>
                  </a:lnTo>
                  <a:lnTo>
                    <a:pt x="147" y="165"/>
                  </a:lnTo>
                  <a:lnTo>
                    <a:pt x="152" y="161"/>
                  </a:lnTo>
                  <a:lnTo>
                    <a:pt x="156" y="152"/>
                  </a:lnTo>
                  <a:lnTo>
                    <a:pt x="143" y="143"/>
                  </a:lnTo>
                  <a:lnTo>
                    <a:pt x="152" y="134"/>
                  </a:lnTo>
                  <a:lnTo>
                    <a:pt x="156" y="134"/>
                  </a:lnTo>
                  <a:lnTo>
                    <a:pt x="165" y="134"/>
                  </a:lnTo>
                  <a:lnTo>
                    <a:pt x="165" y="143"/>
                  </a:lnTo>
                  <a:lnTo>
                    <a:pt x="170" y="147"/>
                  </a:lnTo>
                  <a:lnTo>
                    <a:pt x="174" y="138"/>
                  </a:lnTo>
                  <a:lnTo>
                    <a:pt x="165" y="125"/>
                  </a:lnTo>
                  <a:lnTo>
                    <a:pt x="147" y="111"/>
                  </a:lnTo>
                  <a:lnTo>
                    <a:pt x="138" y="111"/>
                  </a:lnTo>
                  <a:lnTo>
                    <a:pt x="138" y="102"/>
                  </a:lnTo>
                  <a:lnTo>
                    <a:pt x="138" y="98"/>
                  </a:lnTo>
                  <a:lnTo>
                    <a:pt x="120" y="98"/>
                  </a:lnTo>
                  <a:lnTo>
                    <a:pt x="112" y="89"/>
                  </a:lnTo>
                  <a:lnTo>
                    <a:pt x="103" y="80"/>
                  </a:lnTo>
                  <a:lnTo>
                    <a:pt x="98" y="71"/>
                  </a:lnTo>
                  <a:lnTo>
                    <a:pt x="85" y="58"/>
                  </a:lnTo>
                  <a:lnTo>
                    <a:pt x="80" y="49"/>
                  </a:lnTo>
                  <a:lnTo>
                    <a:pt x="85" y="44"/>
                  </a:lnTo>
                  <a:lnTo>
                    <a:pt x="80" y="35"/>
                  </a:lnTo>
                  <a:lnTo>
                    <a:pt x="80" y="31"/>
                  </a:lnTo>
                  <a:lnTo>
                    <a:pt x="85" y="27"/>
                  </a:lnTo>
                  <a:lnTo>
                    <a:pt x="94" y="22"/>
                  </a:lnTo>
                  <a:lnTo>
                    <a:pt x="98" y="27"/>
                  </a:lnTo>
                  <a:lnTo>
                    <a:pt x="103" y="27"/>
                  </a:lnTo>
                  <a:lnTo>
                    <a:pt x="103" y="31"/>
                  </a:lnTo>
                  <a:lnTo>
                    <a:pt x="107" y="31"/>
                  </a:lnTo>
                  <a:lnTo>
                    <a:pt x="103" y="22"/>
                  </a:lnTo>
                  <a:lnTo>
                    <a:pt x="103" y="18"/>
                  </a:lnTo>
                  <a:lnTo>
                    <a:pt x="98" y="13"/>
                  </a:lnTo>
                  <a:lnTo>
                    <a:pt x="103" y="13"/>
                  </a:lnTo>
                  <a:lnTo>
                    <a:pt x="89" y="9"/>
                  </a:lnTo>
                  <a:lnTo>
                    <a:pt x="85" y="0"/>
                  </a:lnTo>
                  <a:lnTo>
                    <a:pt x="71" y="0"/>
                  </a:lnTo>
                  <a:lnTo>
                    <a:pt x="67" y="4"/>
                  </a:lnTo>
                  <a:lnTo>
                    <a:pt x="58" y="4"/>
                  </a:lnTo>
                  <a:lnTo>
                    <a:pt x="53" y="13"/>
                  </a:lnTo>
                  <a:lnTo>
                    <a:pt x="45" y="13"/>
                  </a:lnTo>
                  <a:lnTo>
                    <a:pt x="40" y="9"/>
                  </a:lnTo>
                  <a:lnTo>
                    <a:pt x="40" y="18"/>
                  </a:lnTo>
                  <a:lnTo>
                    <a:pt x="36" y="22"/>
                  </a:lnTo>
                  <a:lnTo>
                    <a:pt x="31" y="13"/>
                  </a:lnTo>
                  <a:lnTo>
                    <a:pt x="27" y="13"/>
                  </a:lnTo>
                  <a:lnTo>
                    <a:pt x="27" y="22"/>
                  </a:lnTo>
                  <a:lnTo>
                    <a:pt x="18" y="22"/>
                  </a:lnTo>
                  <a:lnTo>
                    <a:pt x="13" y="22"/>
                  </a:lnTo>
                  <a:lnTo>
                    <a:pt x="9" y="35"/>
                  </a:lnTo>
                  <a:lnTo>
                    <a:pt x="4" y="35"/>
                  </a:lnTo>
                  <a:lnTo>
                    <a:pt x="0" y="49"/>
                  </a:lnTo>
                  <a:lnTo>
                    <a:pt x="9" y="62"/>
                  </a:lnTo>
                  <a:lnTo>
                    <a:pt x="18" y="62"/>
                  </a:lnTo>
                  <a:lnTo>
                    <a:pt x="22" y="67"/>
                  </a:lnTo>
                  <a:close/>
                  <a:moveTo>
                    <a:pt x="40" y="116"/>
                  </a:moveTo>
                  <a:lnTo>
                    <a:pt x="36" y="125"/>
                  </a:lnTo>
                  <a:lnTo>
                    <a:pt x="27" y="125"/>
                  </a:lnTo>
                  <a:lnTo>
                    <a:pt x="27" y="129"/>
                  </a:lnTo>
                  <a:lnTo>
                    <a:pt x="31" y="129"/>
                  </a:lnTo>
                  <a:lnTo>
                    <a:pt x="31" y="143"/>
                  </a:lnTo>
                  <a:lnTo>
                    <a:pt x="36" y="143"/>
                  </a:lnTo>
                  <a:lnTo>
                    <a:pt x="36" y="147"/>
                  </a:lnTo>
                  <a:lnTo>
                    <a:pt x="31" y="147"/>
                  </a:lnTo>
                  <a:lnTo>
                    <a:pt x="31" y="156"/>
                  </a:lnTo>
                  <a:lnTo>
                    <a:pt x="36" y="161"/>
                  </a:lnTo>
                  <a:lnTo>
                    <a:pt x="40" y="161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9" y="143"/>
                  </a:lnTo>
                  <a:lnTo>
                    <a:pt x="45" y="134"/>
                  </a:lnTo>
                  <a:lnTo>
                    <a:pt x="49" y="129"/>
                  </a:lnTo>
                  <a:lnTo>
                    <a:pt x="49" y="120"/>
                  </a:lnTo>
                  <a:lnTo>
                    <a:pt x="40" y="116"/>
                  </a:lnTo>
                  <a:close/>
                  <a:moveTo>
                    <a:pt x="125" y="174"/>
                  </a:moveTo>
                  <a:lnTo>
                    <a:pt x="120" y="174"/>
                  </a:lnTo>
                  <a:lnTo>
                    <a:pt x="107" y="174"/>
                  </a:lnTo>
                  <a:lnTo>
                    <a:pt x="98" y="170"/>
                  </a:lnTo>
                  <a:lnTo>
                    <a:pt x="89" y="174"/>
                  </a:lnTo>
                  <a:lnTo>
                    <a:pt x="85" y="178"/>
                  </a:lnTo>
                  <a:lnTo>
                    <a:pt x="85" y="187"/>
                  </a:lnTo>
                  <a:lnTo>
                    <a:pt x="89" y="187"/>
                  </a:lnTo>
                  <a:lnTo>
                    <a:pt x="94" y="187"/>
                  </a:lnTo>
                  <a:lnTo>
                    <a:pt x="103" y="196"/>
                  </a:lnTo>
                  <a:lnTo>
                    <a:pt x="112" y="196"/>
                  </a:lnTo>
                  <a:lnTo>
                    <a:pt x="116" y="201"/>
                  </a:lnTo>
                  <a:lnTo>
                    <a:pt x="125" y="205"/>
                  </a:lnTo>
                  <a:lnTo>
                    <a:pt x="125" y="201"/>
                  </a:lnTo>
                  <a:lnTo>
                    <a:pt x="125" y="187"/>
                  </a:lnTo>
                  <a:lnTo>
                    <a:pt x="129" y="178"/>
                  </a:lnTo>
                  <a:lnTo>
                    <a:pt x="129" y="174"/>
                  </a:lnTo>
                  <a:lnTo>
                    <a:pt x="125" y="17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83" name="Freeform 23"/>
            <p:cNvSpPr>
              <a:spLocks/>
            </p:cNvSpPr>
            <p:nvPr/>
          </p:nvSpPr>
          <p:spPr bwMode="gray">
            <a:xfrm>
              <a:off x="2657" y="2353"/>
              <a:ext cx="328" cy="204"/>
            </a:xfrm>
            <a:custGeom>
              <a:avLst/>
              <a:gdLst>
                <a:gd name="T0" fmla="*/ 5 w 108"/>
                <a:gd name="T1" fmla="*/ 49 h 67"/>
                <a:gd name="T2" fmla="*/ 9 w 108"/>
                <a:gd name="T3" fmla="*/ 49 h 67"/>
                <a:gd name="T4" fmla="*/ 18 w 108"/>
                <a:gd name="T5" fmla="*/ 45 h 67"/>
                <a:gd name="T6" fmla="*/ 23 w 108"/>
                <a:gd name="T7" fmla="*/ 49 h 67"/>
                <a:gd name="T8" fmla="*/ 32 w 108"/>
                <a:gd name="T9" fmla="*/ 45 h 67"/>
                <a:gd name="T10" fmla="*/ 49 w 108"/>
                <a:gd name="T11" fmla="*/ 49 h 67"/>
                <a:gd name="T12" fmla="*/ 58 w 108"/>
                <a:gd name="T13" fmla="*/ 45 h 67"/>
                <a:gd name="T14" fmla="*/ 63 w 108"/>
                <a:gd name="T15" fmla="*/ 49 h 67"/>
                <a:gd name="T16" fmla="*/ 67 w 108"/>
                <a:gd name="T17" fmla="*/ 54 h 67"/>
                <a:gd name="T18" fmla="*/ 81 w 108"/>
                <a:gd name="T19" fmla="*/ 67 h 67"/>
                <a:gd name="T20" fmla="*/ 94 w 108"/>
                <a:gd name="T21" fmla="*/ 63 h 67"/>
                <a:gd name="T22" fmla="*/ 99 w 108"/>
                <a:gd name="T23" fmla="*/ 58 h 67"/>
                <a:gd name="T24" fmla="*/ 103 w 108"/>
                <a:gd name="T25" fmla="*/ 49 h 67"/>
                <a:gd name="T26" fmla="*/ 103 w 108"/>
                <a:gd name="T27" fmla="*/ 49 h 67"/>
                <a:gd name="T28" fmla="*/ 103 w 108"/>
                <a:gd name="T29" fmla="*/ 40 h 67"/>
                <a:gd name="T30" fmla="*/ 103 w 108"/>
                <a:gd name="T31" fmla="*/ 22 h 67"/>
                <a:gd name="T32" fmla="*/ 108 w 108"/>
                <a:gd name="T33" fmla="*/ 18 h 67"/>
                <a:gd name="T34" fmla="*/ 103 w 108"/>
                <a:gd name="T35" fmla="*/ 13 h 67"/>
                <a:gd name="T36" fmla="*/ 99 w 108"/>
                <a:gd name="T37" fmla="*/ 13 h 67"/>
                <a:gd name="T38" fmla="*/ 90 w 108"/>
                <a:gd name="T39" fmla="*/ 9 h 67"/>
                <a:gd name="T40" fmla="*/ 85 w 108"/>
                <a:gd name="T41" fmla="*/ 9 h 67"/>
                <a:gd name="T42" fmla="*/ 76 w 108"/>
                <a:gd name="T43" fmla="*/ 5 h 67"/>
                <a:gd name="T44" fmla="*/ 67 w 108"/>
                <a:gd name="T45" fmla="*/ 0 h 67"/>
                <a:gd name="T46" fmla="*/ 54 w 108"/>
                <a:gd name="T47" fmla="*/ 5 h 67"/>
                <a:gd name="T48" fmla="*/ 54 w 108"/>
                <a:gd name="T49" fmla="*/ 18 h 67"/>
                <a:gd name="T50" fmla="*/ 49 w 108"/>
                <a:gd name="T51" fmla="*/ 22 h 67"/>
                <a:gd name="T52" fmla="*/ 41 w 108"/>
                <a:gd name="T53" fmla="*/ 27 h 67"/>
                <a:gd name="T54" fmla="*/ 32 w 108"/>
                <a:gd name="T55" fmla="*/ 22 h 67"/>
                <a:gd name="T56" fmla="*/ 32 w 108"/>
                <a:gd name="T57" fmla="*/ 18 h 67"/>
                <a:gd name="T58" fmla="*/ 27 w 108"/>
                <a:gd name="T59" fmla="*/ 9 h 67"/>
                <a:gd name="T60" fmla="*/ 23 w 108"/>
                <a:gd name="T61" fmla="*/ 5 h 67"/>
                <a:gd name="T62" fmla="*/ 14 w 108"/>
                <a:gd name="T63" fmla="*/ 9 h 67"/>
                <a:gd name="T64" fmla="*/ 9 w 108"/>
                <a:gd name="T65" fmla="*/ 13 h 67"/>
                <a:gd name="T66" fmla="*/ 9 w 108"/>
                <a:gd name="T67" fmla="*/ 22 h 67"/>
                <a:gd name="T68" fmla="*/ 0 w 108"/>
                <a:gd name="T69" fmla="*/ 31 h 67"/>
                <a:gd name="T70" fmla="*/ 5 w 108"/>
                <a:gd name="T71" fmla="*/ 49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" h="67">
                  <a:moveTo>
                    <a:pt x="5" y="49"/>
                  </a:moveTo>
                  <a:lnTo>
                    <a:pt x="9" y="49"/>
                  </a:lnTo>
                  <a:lnTo>
                    <a:pt x="18" y="45"/>
                  </a:lnTo>
                  <a:lnTo>
                    <a:pt x="23" y="49"/>
                  </a:lnTo>
                  <a:lnTo>
                    <a:pt x="32" y="45"/>
                  </a:lnTo>
                  <a:lnTo>
                    <a:pt x="49" y="49"/>
                  </a:lnTo>
                  <a:lnTo>
                    <a:pt x="58" y="45"/>
                  </a:lnTo>
                  <a:lnTo>
                    <a:pt x="63" y="49"/>
                  </a:lnTo>
                  <a:lnTo>
                    <a:pt x="67" y="54"/>
                  </a:lnTo>
                  <a:lnTo>
                    <a:pt x="81" y="67"/>
                  </a:lnTo>
                  <a:lnTo>
                    <a:pt x="94" y="63"/>
                  </a:lnTo>
                  <a:lnTo>
                    <a:pt x="99" y="58"/>
                  </a:lnTo>
                  <a:lnTo>
                    <a:pt x="103" y="49"/>
                  </a:lnTo>
                  <a:lnTo>
                    <a:pt x="103" y="49"/>
                  </a:lnTo>
                  <a:lnTo>
                    <a:pt x="103" y="40"/>
                  </a:lnTo>
                  <a:lnTo>
                    <a:pt x="103" y="22"/>
                  </a:lnTo>
                  <a:lnTo>
                    <a:pt x="108" y="18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0" y="9"/>
                  </a:lnTo>
                  <a:lnTo>
                    <a:pt x="85" y="9"/>
                  </a:lnTo>
                  <a:lnTo>
                    <a:pt x="76" y="5"/>
                  </a:lnTo>
                  <a:lnTo>
                    <a:pt x="67" y="0"/>
                  </a:lnTo>
                  <a:lnTo>
                    <a:pt x="54" y="5"/>
                  </a:lnTo>
                  <a:lnTo>
                    <a:pt x="54" y="18"/>
                  </a:lnTo>
                  <a:lnTo>
                    <a:pt x="49" y="22"/>
                  </a:lnTo>
                  <a:lnTo>
                    <a:pt x="41" y="27"/>
                  </a:lnTo>
                  <a:lnTo>
                    <a:pt x="32" y="22"/>
                  </a:lnTo>
                  <a:lnTo>
                    <a:pt x="32" y="18"/>
                  </a:lnTo>
                  <a:lnTo>
                    <a:pt x="27" y="9"/>
                  </a:lnTo>
                  <a:lnTo>
                    <a:pt x="23" y="5"/>
                  </a:lnTo>
                  <a:lnTo>
                    <a:pt x="14" y="9"/>
                  </a:lnTo>
                  <a:lnTo>
                    <a:pt x="9" y="13"/>
                  </a:lnTo>
                  <a:lnTo>
                    <a:pt x="9" y="22"/>
                  </a:lnTo>
                  <a:lnTo>
                    <a:pt x="0" y="31"/>
                  </a:lnTo>
                  <a:lnTo>
                    <a:pt x="5" y="4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84" name="Freeform 24"/>
            <p:cNvSpPr>
              <a:spLocks/>
            </p:cNvSpPr>
            <p:nvPr/>
          </p:nvSpPr>
          <p:spPr bwMode="gray">
            <a:xfrm>
              <a:off x="2657" y="2491"/>
              <a:ext cx="259" cy="187"/>
            </a:xfrm>
            <a:custGeom>
              <a:avLst/>
              <a:gdLst>
                <a:gd name="T0" fmla="*/ 5 w 85"/>
                <a:gd name="T1" fmla="*/ 4 h 62"/>
                <a:gd name="T2" fmla="*/ 0 w 85"/>
                <a:gd name="T3" fmla="*/ 4 h 62"/>
                <a:gd name="T4" fmla="*/ 5 w 85"/>
                <a:gd name="T5" fmla="*/ 18 h 62"/>
                <a:gd name="T6" fmla="*/ 5 w 85"/>
                <a:gd name="T7" fmla="*/ 22 h 62"/>
                <a:gd name="T8" fmla="*/ 9 w 85"/>
                <a:gd name="T9" fmla="*/ 22 h 62"/>
                <a:gd name="T10" fmla="*/ 9 w 85"/>
                <a:gd name="T11" fmla="*/ 27 h 62"/>
                <a:gd name="T12" fmla="*/ 23 w 85"/>
                <a:gd name="T13" fmla="*/ 31 h 62"/>
                <a:gd name="T14" fmla="*/ 32 w 85"/>
                <a:gd name="T15" fmla="*/ 31 h 62"/>
                <a:gd name="T16" fmla="*/ 32 w 85"/>
                <a:gd name="T17" fmla="*/ 35 h 62"/>
                <a:gd name="T18" fmla="*/ 32 w 85"/>
                <a:gd name="T19" fmla="*/ 49 h 62"/>
                <a:gd name="T20" fmla="*/ 41 w 85"/>
                <a:gd name="T21" fmla="*/ 58 h 62"/>
                <a:gd name="T22" fmla="*/ 41 w 85"/>
                <a:gd name="T23" fmla="*/ 62 h 62"/>
                <a:gd name="T24" fmla="*/ 49 w 85"/>
                <a:gd name="T25" fmla="*/ 53 h 62"/>
                <a:gd name="T26" fmla="*/ 58 w 85"/>
                <a:gd name="T27" fmla="*/ 58 h 62"/>
                <a:gd name="T28" fmla="*/ 63 w 85"/>
                <a:gd name="T29" fmla="*/ 53 h 62"/>
                <a:gd name="T30" fmla="*/ 67 w 85"/>
                <a:gd name="T31" fmla="*/ 58 h 62"/>
                <a:gd name="T32" fmla="*/ 67 w 85"/>
                <a:gd name="T33" fmla="*/ 49 h 62"/>
                <a:gd name="T34" fmla="*/ 72 w 85"/>
                <a:gd name="T35" fmla="*/ 44 h 62"/>
                <a:gd name="T36" fmla="*/ 76 w 85"/>
                <a:gd name="T37" fmla="*/ 35 h 62"/>
                <a:gd name="T38" fmla="*/ 81 w 85"/>
                <a:gd name="T39" fmla="*/ 31 h 62"/>
                <a:gd name="T40" fmla="*/ 81 w 85"/>
                <a:gd name="T41" fmla="*/ 31 h 62"/>
                <a:gd name="T42" fmla="*/ 85 w 85"/>
                <a:gd name="T43" fmla="*/ 31 h 62"/>
                <a:gd name="T44" fmla="*/ 81 w 85"/>
                <a:gd name="T45" fmla="*/ 27 h 62"/>
                <a:gd name="T46" fmla="*/ 81 w 85"/>
                <a:gd name="T47" fmla="*/ 27 h 62"/>
                <a:gd name="T48" fmla="*/ 81 w 85"/>
                <a:gd name="T49" fmla="*/ 22 h 62"/>
                <a:gd name="T50" fmla="*/ 67 w 85"/>
                <a:gd name="T51" fmla="*/ 9 h 62"/>
                <a:gd name="T52" fmla="*/ 63 w 85"/>
                <a:gd name="T53" fmla="*/ 4 h 62"/>
                <a:gd name="T54" fmla="*/ 58 w 85"/>
                <a:gd name="T55" fmla="*/ 0 h 62"/>
                <a:gd name="T56" fmla="*/ 49 w 85"/>
                <a:gd name="T57" fmla="*/ 4 h 62"/>
                <a:gd name="T58" fmla="*/ 32 w 85"/>
                <a:gd name="T59" fmla="*/ 0 h 62"/>
                <a:gd name="T60" fmla="*/ 23 w 85"/>
                <a:gd name="T61" fmla="*/ 4 h 62"/>
                <a:gd name="T62" fmla="*/ 18 w 85"/>
                <a:gd name="T63" fmla="*/ 0 h 62"/>
                <a:gd name="T64" fmla="*/ 9 w 85"/>
                <a:gd name="T65" fmla="*/ 4 h 62"/>
                <a:gd name="T66" fmla="*/ 5 w 85"/>
                <a:gd name="T67" fmla="*/ 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5" h="62">
                  <a:moveTo>
                    <a:pt x="5" y="4"/>
                  </a:moveTo>
                  <a:lnTo>
                    <a:pt x="0" y="4"/>
                  </a:lnTo>
                  <a:lnTo>
                    <a:pt x="5" y="18"/>
                  </a:lnTo>
                  <a:lnTo>
                    <a:pt x="5" y="22"/>
                  </a:lnTo>
                  <a:lnTo>
                    <a:pt x="9" y="22"/>
                  </a:lnTo>
                  <a:lnTo>
                    <a:pt x="9" y="27"/>
                  </a:lnTo>
                  <a:lnTo>
                    <a:pt x="23" y="31"/>
                  </a:lnTo>
                  <a:lnTo>
                    <a:pt x="32" y="31"/>
                  </a:lnTo>
                  <a:lnTo>
                    <a:pt x="32" y="35"/>
                  </a:lnTo>
                  <a:lnTo>
                    <a:pt x="32" y="49"/>
                  </a:lnTo>
                  <a:lnTo>
                    <a:pt x="41" y="58"/>
                  </a:lnTo>
                  <a:lnTo>
                    <a:pt x="41" y="62"/>
                  </a:lnTo>
                  <a:lnTo>
                    <a:pt x="49" y="53"/>
                  </a:lnTo>
                  <a:lnTo>
                    <a:pt x="58" y="58"/>
                  </a:lnTo>
                  <a:lnTo>
                    <a:pt x="63" y="53"/>
                  </a:lnTo>
                  <a:lnTo>
                    <a:pt x="67" y="58"/>
                  </a:lnTo>
                  <a:lnTo>
                    <a:pt x="67" y="49"/>
                  </a:lnTo>
                  <a:lnTo>
                    <a:pt x="72" y="44"/>
                  </a:lnTo>
                  <a:lnTo>
                    <a:pt x="76" y="35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5" y="31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2"/>
                  </a:lnTo>
                  <a:lnTo>
                    <a:pt x="67" y="9"/>
                  </a:lnTo>
                  <a:lnTo>
                    <a:pt x="63" y="4"/>
                  </a:lnTo>
                  <a:lnTo>
                    <a:pt x="58" y="0"/>
                  </a:lnTo>
                  <a:lnTo>
                    <a:pt x="49" y="4"/>
                  </a:lnTo>
                  <a:lnTo>
                    <a:pt x="32" y="0"/>
                  </a:lnTo>
                  <a:lnTo>
                    <a:pt x="23" y="4"/>
                  </a:lnTo>
                  <a:lnTo>
                    <a:pt x="18" y="0"/>
                  </a:lnTo>
                  <a:lnTo>
                    <a:pt x="9" y="4"/>
                  </a:lnTo>
                  <a:lnTo>
                    <a:pt x="5" y="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85" name="Freeform 25"/>
            <p:cNvSpPr>
              <a:spLocks/>
            </p:cNvSpPr>
            <p:nvPr/>
          </p:nvSpPr>
          <p:spPr bwMode="gray">
            <a:xfrm>
              <a:off x="2021" y="2952"/>
              <a:ext cx="27" cy="39"/>
            </a:xfrm>
            <a:custGeom>
              <a:avLst/>
              <a:gdLst>
                <a:gd name="T0" fmla="*/ 0 w 9"/>
                <a:gd name="T1" fmla="*/ 13 h 13"/>
                <a:gd name="T2" fmla="*/ 0 w 9"/>
                <a:gd name="T3" fmla="*/ 9 h 13"/>
                <a:gd name="T4" fmla="*/ 0 w 9"/>
                <a:gd name="T5" fmla="*/ 0 h 13"/>
                <a:gd name="T6" fmla="*/ 5 w 9"/>
                <a:gd name="T7" fmla="*/ 0 h 13"/>
                <a:gd name="T8" fmla="*/ 5 w 9"/>
                <a:gd name="T9" fmla="*/ 4 h 13"/>
                <a:gd name="T10" fmla="*/ 9 w 9"/>
                <a:gd name="T11" fmla="*/ 9 h 13"/>
                <a:gd name="T12" fmla="*/ 9 w 9"/>
                <a:gd name="T13" fmla="*/ 13 h 13"/>
                <a:gd name="T14" fmla="*/ 5 w 9"/>
                <a:gd name="T15" fmla="*/ 13 h 13"/>
                <a:gd name="T16" fmla="*/ 0 w 9"/>
                <a:gd name="T1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3">
                  <a:moveTo>
                    <a:pt x="0" y="13"/>
                  </a:moveTo>
                  <a:lnTo>
                    <a:pt x="0" y="9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4"/>
                  </a:lnTo>
                  <a:lnTo>
                    <a:pt x="9" y="9"/>
                  </a:lnTo>
                  <a:lnTo>
                    <a:pt x="9" y="13"/>
                  </a:lnTo>
                  <a:lnTo>
                    <a:pt x="5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86" name="Freeform 26"/>
            <p:cNvSpPr>
              <a:spLocks/>
            </p:cNvSpPr>
            <p:nvPr/>
          </p:nvSpPr>
          <p:spPr bwMode="gray">
            <a:xfrm>
              <a:off x="2916" y="3073"/>
              <a:ext cx="135" cy="175"/>
            </a:xfrm>
            <a:custGeom>
              <a:avLst/>
              <a:gdLst>
                <a:gd name="T0" fmla="*/ 0 w 45"/>
                <a:gd name="T1" fmla="*/ 0 h 58"/>
                <a:gd name="T2" fmla="*/ 14 w 45"/>
                <a:gd name="T3" fmla="*/ 18 h 58"/>
                <a:gd name="T4" fmla="*/ 18 w 45"/>
                <a:gd name="T5" fmla="*/ 27 h 58"/>
                <a:gd name="T6" fmla="*/ 23 w 45"/>
                <a:gd name="T7" fmla="*/ 40 h 58"/>
                <a:gd name="T8" fmla="*/ 18 w 45"/>
                <a:gd name="T9" fmla="*/ 58 h 58"/>
                <a:gd name="T10" fmla="*/ 27 w 45"/>
                <a:gd name="T11" fmla="*/ 58 h 58"/>
                <a:gd name="T12" fmla="*/ 31 w 45"/>
                <a:gd name="T13" fmla="*/ 54 h 58"/>
                <a:gd name="T14" fmla="*/ 31 w 45"/>
                <a:gd name="T15" fmla="*/ 49 h 58"/>
                <a:gd name="T16" fmla="*/ 31 w 45"/>
                <a:gd name="T17" fmla="*/ 40 h 58"/>
                <a:gd name="T18" fmla="*/ 36 w 45"/>
                <a:gd name="T19" fmla="*/ 45 h 58"/>
                <a:gd name="T20" fmla="*/ 36 w 45"/>
                <a:gd name="T21" fmla="*/ 40 h 58"/>
                <a:gd name="T22" fmla="*/ 40 w 45"/>
                <a:gd name="T23" fmla="*/ 40 h 58"/>
                <a:gd name="T24" fmla="*/ 45 w 45"/>
                <a:gd name="T25" fmla="*/ 40 h 58"/>
                <a:gd name="T26" fmla="*/ 45 w 45"/>
                <a:gd name="T27" fmla="*/ 31 h 58"/>
                <a:gd name="T28" fmla="*/ 40 w 45"/>
                <a:gd name="T29" fmla="*/ 22 h 58"/>
                <a:gd name="T30" fmla="*/ 40 w 45"/>
                <a:gd name="T31" fmla="*/ 13 h 58"/>
                <a:gd name="T32" fmla="*/ 27 w 45"/>
                <a:gd name="T33" fmla="*/ 4 h 58"/>
                <a:gd name="T34" fmla="*/ 23 w 45"/>
                <a:gd name="T35" fmla="*/ 4 h 58"/>
                <a:gd name="T36" fmla="*/ 18 w 45"/>
                <a:gd name="T37" fmla="*/ 0 h 58"/>
                <a:gd name="T38" fmla="*/ 14 w 45"/>
                <a:gd name="T39" fmla="*/ 4 h 58"/>
                <a:gd name="T40" fmla="*/ 14 w 45"/>
                <a:gd name="T41" fmla="*/ 0 h 58"/>
                <a:gd name="T42" fmla="*/ 0 w 45"/>
                <a:gd name="T4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" h="58">
                  <a:moveTo>
                    <a:pt x="0" y="0"/>
                  </a:moveTo>
                  <a:lnTo>
                    <a:pt x="14" y="18"/>
                  </a:lnTo>
                  <a:lnTo>
                    <a:pt x="18" y="27"/>
                  </a:lnTo>
                  <a:lnTo>
                    <a:pt x="23" y="40"/>
                  </a:lnTo>
                  <a:lnTo>
                    <a:pt x="18" y="58"/>
                  </a:lnTo>
                  <a:lnTo>
                    <a:pt x="27" y="58"/>
                  </a:lnTo>
                  <a:lnTo>
                    <a:pt x="31" y="54"/>
                  </a:lnTo>
                  <a:lnTo>
                    <a:pt x="31" y="49"/>
                  </a:lnTo>
                  <a:lnTo>
                    <a:pt x="31" y="40"/>
                  </a:lnTo>
                  <a:lnTo>
                    <a:pt x="36" y="45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5" y="40"/>
                  </a:lnTo>
                  <a:lnTo>
                    <a:pt x="45" y="31"/>
                  </a:lnTo>
                  <a:lnTo>
                    <a:pt x="40" y="22"/>
                  </a:lnTo>
                  <a:lnTo>
                    <a:pt x="40" y="13"/>
                  </a:lnTo>
                  <a:lnTo>
                    <a:pt x="27" y="4"/>
                  </a:lnTo>
                  <a:lnTo>
                    <a:pt x="23" y="4"/>
                  </a:lnTo>
                  <a:lnTo>
                    <a:pt x="18" y="0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87" name="Freeform 27"/>
            <p:cNvSpPr>
              <a:spLocks/>
            </p:cNvSpPr>
            <p:nvPr/>
          </p:nvSpPr>
          <p:spPr bwMode="gray">
            <a:xfrm>
              <a:off x="1900" y="2705"/>
              <a:ext cx="175" cy="191"/>
            </a:xfrm>
            <a:custGeom>
              <a:avLst/>
              <a:gdLst>
                <a:gd name="T0" fmla="*/ 45 w 58"/>
                <a:gd name="T1" fmla="*/ 63 h 63"/>
                <a:gd name="T2" fmla="*/ 40 w 58"/>
                <a:gd name="T3" fmla="*/ 63 h 63"/>
                <a:gd name="T4" fmla="*/ 40 w 58"/>
                <a:gd name="T5" fmla="*/ 58 h 63"/>
                <a:gd name="T6" fmla="*/ 36 w 58"/>
                <a:gd name="T7" fmla="*/ 54 h 63"/>
                <a:gd name="T8" fmla="*/ 27 w 58"/>
                <a:gd name="T9" fmla="*/ 54 h 63"/>
                <a:gd name="T10" fmla="*/ 18 w 58"/>
                <a:gd name="T11" fmla="*/ 45 h 63"/>
                <a:gd name="T12" fmla="*/ 14 w 58"/>
                <a:gd name="T13" fmla="*/ 54 h 63"/>
                <a:gd name="T14" fmla="*/ 9 w 58"/>
                <a:gd name="T15" fmla="*/ 54 h 63"/>
                <a:gd name="T16" fmla="*/ 0 w 58"/>
                <a:gd name="T17" fmla="*/ 54 h 63"/>
                <a:gd name="T18" fmla="*/ 0 w 58"/>
                <a:gd name="T19" fmla="*/ 49 h 63"/>
                <a:gd name="T20" fmla="*/ 5 w 58"/>
                <a:gd name="T21" fmla="*/ 49 h 63"/>
                <a:gd name="T22" fmla="*/ 5 w 58"/>
                <a:gd name="T23" fmla="*/ 49 h 63"/>
                <a:gd name="T24" fmla="*/ 5 w 58"/>
                <a:gd name="T25" fmla="*/ 49 h 63"/>
                <a:gd name="T26" fmla="*/ 0 w 58"/>
                <a:gd name="T27" fmla="*/ 45 h 63"/>
                <a:gd name="T28" fmla="*/ 5 w 58"/>
                <a:gd name="T29" fmla="*/ 40 h 63"/>
                <a:gd name="T30" fmla="*/ 14 w 58"/>
                <a:gd name="T31" fmla="*/ 45 h 63"/>
                <a:gd name="T32" fmla="*/ 14 w 58"/>
                <a:gd name="T33" fmla="*/ 40 h 63"/>
                <a:gd name="T34" fmla="*/ 9 w 58"/>
                <a:gd name="T35" fmla="*/ 40 h 63"/>
                <a:gd name="T36" fmla="*/ 5 w 58"/>
                <a:gd name="T37" fmla="*/ 40 h 63"/>
                <a:gd name="T38" fmla="*/ 14 w 58"/>
                <a:gd name="T39" fmla="*/ 36 h 63"/>
                <a:gd name="T40" fmla="*/ 18 w 58"/>
                <a:gd name="T41" fmla="*/ 27 h 63"/>
                <a:gd name="T42" fmla="*/ 27 w 58"/>
                <a:gd name="T43" fmla="*/ 9 h 63"/>
                <a:gd name="T44" fmla="*/ 27 w 58"/>
                <a:gd name="T45" fmla="*/ 9 h 63"/>
                <a:gd name="T46" fmla="*/ 31 w 58"/>
                <a:gd name="T47" fmla="*/ 9 h 63"/>
                <a:gd name="T48" fmla="*/ 36 w 58"/>
                <a:gd name="T49" fmla="*/ 5 h 63"/>
                <a:gd name="T50" fmla="*/ 40 w 58"/>
                <a:gd name="T51" fmla="*/ 0 h 63"/>
                <a:gd name="T52" fmla="*/ 54 w 58"/>
                <a:gd name="T53" fmla="*/ 0 h 63"/>
                <a:gd name="T54" fmla="*/ 54 w 58"/>
                <a:gd name="T55" fmla="*/ 0 h 63"/>
                <a:gd name="T56" fmla="*/ 54 w 58"/>
                <a:gd name="T57" fmla="*/ 9 h 63"/>
                <a:gd name="T58" fmla="*/ 58 w 58"/>
                <a:gd name="T59" fmla="*/ 9 h 63"/>
                <a:gd name="T60" fmla="*/ 54 w 58"/>
                <a:gd name="T61" fmla="*/ 18 h 63"/>
                <a:gd name="T62" fmla="*/ 54 w 58"/>
                <a:gd name="T63" fmla="*/ 18 h 63"/>
                <a:gd name="T64" fmla="*/ 54 w 58"/>
                <a:gd name="T65" fmla="*/ 36 h 63"/>
                <a:gd name="T66" fmla="*/ 49 w 58"/>
                <a:gd name="T67" fmla="*/ 36 h 63"/>
                <a:gd name="T68" fmla="*/ 40 w 58"/>
                <a:gd name="T69" fmla="*/ 40 h 63"/>
                <a:gd name="T70" fmla="*/ 40 w 58"/>
                <a:gd name="T71" fmla="*/ 45 h 63"/>
                <a:gd name="T72" fmla="*/ 45 w 58"/>
                <a:gd name="T73" fmla="*/ 49 h 63"/>
                <a:gd name="T74" fmla="*/ 40 w 58"/>
                <a:gd name="T75" fmla="*/ 58 h 63"/>
                <a:gd name="T76" fmla="*/ 45 w 58"/>
                <a:gd name="T7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" h="63">
                  <a:moveTo>
                    <a:pt x="45" y="63"/>
                  </a:moveTo>
                  <a:lnTo>
                    <a:pt x="40" y="63"/>
                  </a:lnTo>
                  <a:lnTo>
                    <a:pt x="40" y="58"/>
                  </a:lnTo>
                  <a:lnTo>
                    <a:pt x="36" y="54"/>
                  </a:lnTo>
                  <a:lnTo>
                    <a:pt x="27" y="54"/>
                  </a:lnTo>
                  <a:lnTo>
                    <a:pt x="18" y="45"/>
                  </a:lnTo>
                  <a:lnTo>
                    <a:pt x="14" y="54"/>
                  </a:lnTo>
                  <a:lnTo>
                    <a:pt x="9" y="54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0" y="45"/>
                  </a:lnTo>
                  <a:lnTo>
                    <a:pt x="5" y="40"/>
                  </a:lnTo>
                  <a:lnTo>
                    <a:pt x="14" y="45"/>
                  </a:lnTo>
                  <a:lnTo>
                    <a:pt x="14" y="40"/>
                  </a:lnTo>
                  <a:lnTo>
                    <a:pt x="9" y="40"/>
                  </a:lnTo>
                  <a:lnTo>
                    <a:pt x="5" y="40"/>
                  </a:lnTo>
                  <a:lnTo>
                    <a:pt x="14" y="36"/>
                  </a:lnTo>
                  <a:lnTo>
                    <a:pt x="18" y="27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31" y="9"/>
                  </a:lnTo>
                  <a:lnTo>
                    <a:pt x="36" y="5"/>
                  </a:lnTo>
                  <a:lnTo>
                    <a:pt x="40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9"/>
                  </a:lnTo>
                  <a:lnTo>
                    <a:pt x="58" y="9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36"/>
                  </a:lnTo>
                  <a:lnTo>
                    <a:pt x="49" y="36"/>
                  </a:lnTo>
                  <a:lnTo>
                    <a:pt x="40" y="40"/>
                  </a:lnTo>
                  <a:lnTo>
                    <a:pt x="40" y="45"/>
                  </a:lnTo>
                  <a:lnTo>
                    <a:pt x="45" y="49"/>
                  </a:lnTo>
                  <a:lnTo>
                    <a:pt x="40" y="58"/>
                  </a:lnTo>
                  <a:lnTo>
                    <a:pt x="45" y="6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88" name="Freeform 28"/>
            <p:cNvSpPr>
              <a:spLocks noEditPoints="1"/>
            </p:cNvSpPr>
            <p:nvPr/>
          </p:nvSpPr>
          <p:spPr bwMode="gray">
            <a:xfrm>
              <a:off x="1982" y="943"/>
              <a:ext cx="1125" cy="1410"/>
            </a:xfrm>
            <a:custGeom>
              <a:avLst/>
              <a:gdLst>
                <a:gd name="T0" fmla="*/ 98 w 371"/>
                <a:gd name="T1" fmla="*/ 416 h 465"/>
                <a:gd name="T2" fmla="*/ 98 w 371"/>
                <a:gd name="T3" fmla="*/ 349 h 465"/>
                <a:gd name="T4" fmla="*/ 103 w 371"/>
                <a:gd name="T5" fmla="*/ 277 h 465"/>
                <a:gd name="T6" fmla="*/ 125 w 371"/>
                <a:gd name="T7" fmla="*/ 259 h 465"/>
                <a:gd name="T8" fmla="*/ 143 w 371"/>
                <a:gd name="T9" fmla="*/ 215 h 465"/>
                <a:gd name="T10" fmla="*/ 161 w 371"/>
                <a:gd name="T11" fmla="*/ 157 h 465"/>
                <a:gd name="T12" fmla="*/ 188 w 371"/>
                <a:gd name="T13" fmla="*/ 130 h 465"/>
                <a:gd name="T14" fmla="*/ 210 w 371"/>
                <a:gd name="T15" fmla="*/ 103 h 465"/>
                <a:gd name="T16" fmla="*/ 228 w 371"/>
                <a:gd name="T17" fmla="*/ 90 h 465"/>
                <a:gd name="T18" fmla="*/ 272 w 371"/>
                <a:gd name="T19" fmla="*/ 108 h 465"/>
                <a:gd name="T20" fmla="*/ 308 w 371"/>
                <a:gd name="T21" fmla="*/ 58 h 465"/>
                <a:gd name="T22" fmla="*/ 339 w 371"/>
                <a:gd name="T23" fmla="*/ 67 h 465"/>
                <a:gd name="T24" fmla="*/ 344 w 371"/>
                <a:gd name="T25" fmla="*/ 90 h 465"/>
                <a:gd name="T26" fmla="*/ 362 w 371"/>
                <a:gd name="T27" fmla="*/ 76 h 465"/>
                <a:gd name="T28" fmla="*/ 357 w 371"/>
                <a:gd name="T29" fmla="*/ 49 h 465"/>
                <a:gd name="T30" fmla="*/ 348 w 371"/>
                <a:gd name="T31" fmla="*/ 18 h 465"/>
                <a:gd name="T32" fmla="*/ 335 w 371"/>
                <a:gd name="T33" fmla="*/ 14 h 465"/>
                <a:gd name="T34" fmla="*/ 335 w 371"/>
                <a:gd name="T35" fmla="*/ 5 h 465"/>
                <a:gd name="T36" fmla="*/ 308 w 371"/>
                <a:gd name="T37" fmla="*/ 32 h 465"/>
                <a:gd name="T38" fmla="*/ 281 w 371"/>
                <a:gd name="T39" fmla="*/ 49 h 465"/>
                <a:gd name="T40" fmla="*/ 272 w 371"/>
                <a:gd name="T41" fmla="*/ 18 h 465"/>
                <a:gd name="T42" fmla="*/ 259 w 371"/>
                <a:gd name="T43" fmla="*/ 54 h 465"/>
                <a:gd name="T44" fmla="*/ 228 w 371"/>
                <a:gd name="T45" fmla="*/ 45 h 465"/>
                <a:gd name="T46" fmla="*/ 214 w 371"/>
                <a:gd name="T47" fmla="*/ 76 h 465"/>
                <a:gd name="T48" fmla="*/ 179 w 371"/>
                <a:gd name="T49" fmla="*/ 67 h 465"/>
                <a:gd name="T50" fmla="*/ 179 w 371"/>
                <a:gd name="T51" fmla="*/ 81 h 465"/>
                <a:gd name="T52" fmla="*/ 161 w 371"/>
                <a:gd name="T53" fmla="*/ 125 h 465"/>
                <a:gd name="T54" fmla="*/ 147 w 371"/>
                <a:gd name="T55" fmla="*/ 143 h 465"/>
                <a:gd name="T56" fmla="*/ 147 w 371"/>
                <a:gd name="T57" fmla="*/ 157 h 465"/>
                <a:gd name="T58" fmla="*/ 134 w 371"/>
                <a:gd name="T59" fmla="*/ 166 h 465"/>
                <a:gd name="T60" fmla="*/ 121 w 371"/>
                <a:gd name="T61" fmla="*/ 192 h 465"/>
                <a:gd name="T62" fmla="*/ 98 w 371"/>
                <a:gd name="T63" fmla="*/ 233 h 465"/>
                <a:gd name="T64" fmla="*/ 89 w 371"/>
                <a:gd name="T65" fmla="*/ 255 h 465"/>
                <a:gd name="T66" fmla="*/ 76 w 371"/>
                <a:gd name="T67" fmla="*/ 277 h 465"/>
                <a:gd name="T68" fmla="*/ 67 w 371"/>
                <a:gd name="T69" fmla="*/ 295 h 465"/>
                <a:gd name="T70" fmla="*/ 40 w 371"/>
                <a:gd name="T71" fmla="*/ 309 h 465"/>
                <a:gd name="T72" fmla="*/ 4 w 371"/>
                <a:gd name="T73" fmla="*/ 358 h 465"/>
                <a:gd name="T74" fmla="*/ 13 w 371"/>
                <a:gd name="T75" fmla="*/ 376 h 465"/>
                <a:gd name="T76" fmla="*/ 0 w 371"/>
                <a:gd name="T77" fmla="*/ 425 h 465"/>
                <a:gd name="T78" fmla="*/ 27 w 371"/>
                <a:gd name="T79" fmla="*/ 452 h 465"/>
                <a:gd name="T80" fmla="*/ 49 w 371"/>
                <a:gd name="T81" fmla="*/ 456 h 465"/>
                <a:gd name="T82" fmla="*/ 71 w 371"/>
                <a:gd name="T83" fmla="*/ 425 h 465"/>
                <a:gd name="T84" fmla="*/ 89 w 371"/>
                <a:gd name="T85" fmla="*/ 429 h 465"/>
                <a:gd name="T86" fmla="*/ 125 w 371"/>
                <a:gd name="T87" fmla="*/ 125 h 465"/>
                <a:gd name="T88" fmla="*/ 134 w 371"/>
                <a:gd name="T89" fmla="*/ 116 h 465"/>
                <a:gd name="T90" fmla="*/ 112 w 371"/>
                <a:gd name="T91" fmla="*/ 139 h 465"/>
                <a:gd name="T92" fmla="*/ 161 w 371"/>
                <a:gd name="T93" fmla="*/ 94 h 465"/>
                <a:gd name="T94" fmla="*/ 156 w 371"/>
                <a:gd name="T95" fmla="*/ 90 h 465"/>
                <a:gd name="T96" fmla="*/ 138 w 371"/>
                <a:gd name="T97" fmla="*/ 90 h 465"/>
                <a:gd name="T98" fmla="*/ 138 w 371"/>
                <a:gd name="T99" fmla="*/ 108 h 465"/>
                <a:gd name="T100" fmla="*/ 192 w 371"/>
                <a:gd name="T101" fmla="*/ 67 h 465"/>
                <a:gd name="T102" fmla="*/ 205 w 371"/>
                <a:gd name="T103" fmla="*/ 58 h 465"/>
                <a:gd name="T104" fmla="*/ 192 w 371"/>
                <a:gd name="T105" fmla="*/ 54 h 465"/>
                <a:gd name="T106" fmla="*/ 192 w 371"/>
                <a:gd name="T107" fmla="*/ 67 h 465"/>
                <a:gd name="T108" fmla="*/ 255 w 371"/>
                <a:gd name="T109" fmla="*/ 36 h 465"/>
                <a:gd name="T110" fmla="*/ 264 w 371"/>
                <a:gd name="T111" fmla="*/ 14 h 465"/>
                <a:gd name="T112" fmla="*/ 241 w 371"/>
                <a:gd name="T113" fmla="*/ 2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71" h="465">
                  <a:moveTo>
                    <a:pt x="89" y="434"/>
                  </a:moveTo>
                  <a:lnTo>
                    <a:pt x="98" y="438"/>
                  </a:lnTo>
                  <a:lnTo>
                    <a:pt x="98" y="425"/>
                  </a:lnTo>
                  <a:lnTo>
                    <a:pt x="98" y="416"/>
                  </a:lnTo>
                  <a:lnTo>
                    <a:pt x="107" y="407"/>
                  </a:lnTo>
                  <a:lnTo>
                    <a:pt x="103" y="380"/>
                  </a:lnTo>
                  <a:lnTo>
                    <a:pt x="112" y="367"/>
                  </a:lnTo>
                  <a:lnTo>
                    <a:pt x="98" y="349"/>
                  </a:lnTo>
                  <a:lnTo>
                    <a:pt x="98" y="304"/>
                  </a:lnTo>
                  <a:lnTo>
                    <a:pt x="103" y="300"/>
                  </a:lnTo>
                  <a:lnTo>
                    <a:pt x="98" y="295"/>
                  </a:lnTo>
                  <a:lnTo>
                    <a:pt x="103" y="277"/>
                  </a:lnTo>
                  <a:lnTo>
                    <a:pt x="112" y="273"/>
                  </a:lnTo>
                  <a:lnTo>
                    <a:pt x="121" y="277"/>
                  </a:lnTo>
                  <a:lnTo>
                    <a:pt x="130" y="273"/>
                  </a:lnTo>
                  <a:lnTo>
                    <a:pt x="125" y="259"/>
                  </a:lnTo>
                  <a:lnTo>
                    <a:pt x="134" y="233"/>
                  </a:lnTo>
                  <a:lnTo>
                    <a:pt x="134" y="215"/>
                  </a:lnTo>
                  <a:lnTo>
                    <a:pt x="138" y="210"/>
                  </a:lnTo>
                  <a:lnTo>
                    <a:pt x="143" y="215"/>
                  </a:lnTo>
                  <a:lnTo>
                    <a:pt x="147" y="206"/>
                  </a:lnTo>
                  <a:lnTo>
                    <a:pt x="143" y="197"/>
                  </a:lnTo>
                  <a:lnTo>
                    <a:pt x="165" y="175"/>
                  </a:lnTo>
                  <a:lnTo>
                    <a:pt x="161" y="157"/>
                  </a:lnTo>
                  <a:lnTo>
                    <a:pt x="165" y="143"/>
                  </a:lnTo>
                  <a:lnTo>
                    <a:pt x="174" y="130"/>
                  </a:lnTo>
                  <a:lnTo>
                    <a:pt x="183" y="134"/>
                  </a:lnTo>
                  <a:lnTo>
                    <a:pt x="188" y="130"/>
                  </a:lnTo>
                  <a:lnTo>
                    <a:pt x="183" y="116"/>
                  </a:lnTo>
                  <a:lnTo>
                    <a:pt x="188" y="112"/>
                  </a:lnTo>
                  <a:lnTo>
                    <a:pt x="210" y="116"/>
                  </a:lnTo>
                  <a:lnTo>
                    <a:pt x="210" y="103"/>
                  </a:lnTo>
                  <a:lnTo>
                    <a:pt x="214" y="94"/>
                  </a:lnTo>
                  <a:lnTo>
                    <a:pt x="223" y="94"/>
                  </a:lnTo>
                  <a:lnTo>
                    <a:pt x="219" y="90"/>
                  </a:lnTo>
                  <a:lnTo>
                    <a:pt x="228" y="90"/>
                  </a:lnTo>
                  <a:lnTo>
                    <a:pt x="228" y="85"/>
                  </a:lnTo>
                  <a:lnTo>
                    <a:pt x="237" y="85"/>
                  </a:lnTo>
                  <a:lnTo>
                    <a:pt x="250" y="108"/>
                  </a:lnTo>
                  <a:lnTo>
                    <a:pt x="272" y="108"/>
                  </a:lnTo>
                  <a:lnTo>
                    <a:pt x="281" y="112"/>
                  </a:lnTo>
                  <a:lnTo>
                    <a:pt x="295" y="99"/>
                  </a:lnTo>
                  <a:lnTo>
                    <a:pt x="295" y="76"/>
                  </a:lnTo>
                  <a:lnTo>
                    <a:pt x="308" y="58"/>
                  </a:lnTo>
                  <a:lnTo>
                    <a:pt x="326" y="54"/>
                  </a:lnTo>
                  <a:lnTo>
                    <a:pt x="331" y="63"/>
                  </a:lnTo>
                  <a:lnTo>
                    <a:pt x="339" y="63"/>
                  </a:lnTo>
                  <a:lnTo>
                    <a:pt x="339" y="67"/>
                  </a:lnTo>
                  <a:lnTo>
                    <a:pt x="335" y="85"/>
                  </a:lnTo>
                  <a:lnTo>
                    <a:pt x="331" y="90"/>
                  </a:lnTo>
                  <a:lnTo>
                    <a:pt x="331" y="94"/>
                  </a:lnTo>
                  <a:lnTo>
                    <a:pt x="344" y="90"/>
                  </a:lnTo>
                  <a:lnTo>
                    <a:pt x="353" y="76"/>
                  </a:lnTo>
                  <a:lnTo>
                    <a:pt x="353" y="67"/>
                  </a:lnTo>
                  <a:lnTo>
                    <a:pt x="353" y="67"/>
                  </a:lnTo>
                  <a:lnTo>
                    <a:pt x="362" y="76"/>
                  </a:lnTo>
                  <a:lnTo>
                    <a:pt x="366" y="63"/>
                  </a:lnTo>
                  <a:lnTo>
                    <a:pt x="339" y="49"/>
                  </a:lnTo>
                  <a:lnTo>
                    <a:pt x="335" y="45"/>
                  </a:lnTo>
                  <a:lnTo>
                    <a:pt x="357" y="49"/>
                  </a:lnTo>
                  <a:lnTo>
                    <a:pt x="366" y="36"/>
                  </a:lnTo>
                  <a:lnTo>
                    <a:pt x="371" y="36"/>
                  </a:lnTo>
                  <a:lnTo>
                    <a:pt x="371" y="27"/>
                  </a:lnTo>
                  <a:lnTo>
                    <a:pt x="348" y="18"/>
                  </a:lnTo>
                  <a:lnTo>
                    <a:pt x="344" y="18"/>
                  </a:lnTo>
                  <a:lnTo>
                    <a:pt x="348" y="9"/>
                  </a:lnTo>
                  <a:lnTo>
                    <a:pt x="344" y="5"/>
                  </a:lnTo>
                  <a:lnTo>
                    <a:pt x="335" y="14"/>
                  </a:lnTo>
                  <a:lnTo>
                    <a:pt x="331" y="32"/>
                  </a:lnTo>
                  <a:lnTo>
                    <a:pt x="326" y="27"/>
                  </a:lnTo>
                  <a:lnTo>
                    <a:pt x="331" y="18"/>
                  </a:lnTo>
                  <a:lnTo>
                    <a:pt x="335" y="5"/>
                  </a:lnTo>
                  <a:lnTo>
                    <a:pt x="335" y="5"/>
                  </a:lnTo>
                  <a:lnTo>
                    <a:pt x="326" y="0"/>
                  </a:lnTo>
                  <a:lnTo>
                    <a:pt x="317" y="5"/>
                  </a:lnTo>
                  <a:lnTo>
                    <a:pt x="308" y="32"/>
                  </a:lnTo>
                  <a:lnTo>
                    <a:pt x="304" y="9"/>
                  </a:lnTo>
                  <a:lnTo>
                    <a:pt x="295" y="27"/>
                  </a:lnTo>
                  <a:lnTo>
                    <a:pt x="286" y="49"/>
                  </a:lnTo>
                  <a:lnTo>
                    <a:pt x="281" y="49"/>
                  </a:lnTo>
                  <a:lnTo>
                    <a:pt x="286" y="32"/>
                  </a:lnTo>
                  <a:lnTo>
                    <a:pt x="295" y="9"/>
                  </a:lnTo>
                  <a:lnTo>
                    <a:pt x="277" y="5"/>
                  </a:lnTo>
                  <a:lnTo>
                    <a:pt x="272" y="18"/>
                  </a:lnTo>
                  <a:lnTo>
                    <a:pt x="277" y="23"/>
                  </a:lnTo>
                  <a:lnTo>
                    <a:pt x="268" y="27"/>
                  </a:lnTo>
                  <a:lnTo>
                    <a:pt x="259" y="41"/>
                  </a:lnTo>
                  <a:lnTo>
                    <a:pt x="259" y="54"/>
                  </a:lnTo>
                  <a:lnTo>
                    <a:pt x="250" y="54"/>
                  </a:lnTo>
                  <a:lnTo>
                    <a:pt x="250" y="41"/>
                  </a:lnTo>
                  <a:lnTo>
                    <a:pt x="237" y="41"/>
                  </a:lnTo>
                  <a:lnTo>
                    <a:pt x="228" y="45"/>
                  </a:lnTo>
                  <a:lnTo>
                    <a:pt x="237" y="54"/>
                  </a:lnTo>
                  <a:lnTo>
                    <a:pt x="228" y="58"/>
                  </a:lnTo>
                  <a:lnTo>
                    <a:pt x="223" y="54"/>
                  </a:lnTo>
                  <a:lnTo>
                    <a:pt x="214" y="76"/>
                  </a:lnTo>
                  <a:lnTo>
                    <a:pt x="214" y="58"/>
                  </a:lnTo>
                  <a:lnTo>
                    <a:pt x="197" y="67"/>
                  </a:lnTo>
                  <a:lnTo>
                    <a:pt x="192" y="76"/>
                  </a:lnTo>
                  <a:lnTo>
                    <a:pt x="179" y="67"/>
                  </a:lnTo>
                  <a:lnTo>
                    <a:pt x="170" y="76"/>
                  </a:lnTo>
                  <a:lnTo>
                    <a:pt x="165" y="85"/>
                  </a:lnTo>
                  <a:lnTo>
                    <a:pt x="170" y="90"/>
                  </a:lnTo>
                  <a:lnTo>
                    <a:pt x="179" y="81"/>
                  </a:lnTo>
                  <a:lnTo>
                    <a:pt x="179" y="99"/>
                  </a:lnTo>
                  <a:lnTo>
                    <a:pt x="165" y="108"/>
                  </a:lnTo>
                  <a:lnTo>
                    <a:pt x="161" y="116"/>
                  </a:lnTo>
                  <a:lnTo>
                    <a:pt x="161" y="125"/>
                  </a:lnTo>
                  <a:lnTo>
                    <a:pt x="152" y="121"/>
                  </a:lnTo>
                  <a:lnTo>
                    <a:pt x="138" y="134"/>
                  </a:lnTo>
                  <a:lnTo>
                    <a:pt x="138" y="148"/>
                  </a:lnTo>
                  <a:lnTo>
                    <a:pt x="147" y="143"/>
                  </a:lnTo>
                  <a:lnTo>
                    <a:pt x="147" y="152"/>
                  </a:lnTo>
                  <a:lnTo>
                    <a:pt x="138" y="152"/>
                  </a:lnTo>
                  <a:lnTo>
                    <a:pt x="130" y="161"/>
                  </a:lnTo>
                  <a:lnTo>
                    <a:pt x="147" y="157"/>
                  </a:lnTo>
                  <a:lnTo>
                    <a:pt x="152" y="161"/>
                  </a:lnTo>
                  <a:lnTo>
                    <a:pt x="152" y="166"/>
                  </a:lnTo>
                  <a:lnTo>
                    <a:pt x="143" y="161"/>
                  </a:lnTo>
                  <a:lnTo>
                    <a:pt x="134" y="166"/>
                  </a:lnTo>
                  <a:lnTo>
                    <a:pt x="134" y="170"/>
                  </a:lnTo>
                  <a:lnTo>
                    <a:pt x="125" y="170"/>
                  </a:lnTo>
                  <a:lnTo>
                    <a:pt x="116" y="184"/>
                  </a:lnTo>
                  <a:lnTo>
                    <a:pt x="121" y="192"/>
                  </a:lnTo>
                  <a:lnTo>
                    <a:pt x="112" y="197"/>
                  </a:lnTo>
                  <a:lnTo>
                    <a:pt x="116" y="206"/>
                  </a:lnTo>
                  <a:lnTo>
                    <a:pt x="107" y="215"/>
                  </a:lnTo>
                  <a:lnTo>
                    <a:pt x="98" y="233"/>
                  </a:lnTo>
                  <a:lnTo>
                    <a:pt x="98" y="233"/>
                  </a:lnTo>
                  <a:lnTo>
                    <a:pt x="103" y="246"/>
                  </a:lnTo>
                  <a:lnTo>
                    <a:pt x="98" y="242"/>
                  </a:lnTo>
                  <a:lnTo>
                    <a:pt x="89" y="255"/>
                  </a:lnTo>
                  <a:lnTo>
                    <a:pt x="94" y="255"/>
                  </a:lnTo>
                  <a:lnTo>
                    <a:pt x="94" y="264"/>
                  </a:lnTo>
                  <a:lnTo>
                    <a:pt x="80" y="264"/>
                  </a:lnTo>
                  <a:lnTo>
                    <a:pt x="76" y="277"/>
                  </a:lnTo>
                  <a:lnTo>
                    <a:pt x="71" y="286"/>
                  </a:lnTo>
                  <a:lnTo>
                    <a:pt x="80" y="295"/>
                  </a:lnTo>
                  <a:lnTo>
                    <a:pt x="76" y="300"/>
                  </a:lnTo>
                  <a:lnTo>
                    <a:pt x="67" y="295"/>
                  </a:lnTo>
                  <a:lnTo>
                    <a:pt x="58" y="282"/>
                  </a:lnTo>
                  <a:lnTo>
                    <a:pt x="49" y="295"/>
                  </a:lnTo>
                  <a:lnTo>
                    <a:pt x="49" y="313"/>
                  </a:lnTo>
                  <a:lnTo>
                    <a:pt x="40" y="309"/>
                  </a:lnTo>
                  <a:lnTo>
                    <a:pt x="18" y="327"/>
                  </a:lnTo>
                  <a:lnTo>
                    <a:pt x="4" y="335"/>
                  </a:lnTo>
                  <a:lnTo>
                    <a:pt x="0" y="349"/>
                  </a:lnTo>
                  <a:lnTo>
                    <a:pt x="4" y="358"/>
                  </a:lnTo>
                  <a:lnTo>
                    <a:pt x="13" y="358"/>
                  </a:lnTo>
                  <a:lnTo>
                    <a:pt x="4" y="362"/>
                  </a:lnTo>
                  <a:lnTo>
                    <a:pt x="9" y="371"/>
                  </a:lnTo>
                  <a:lnTo>
                    <a:pt x="13" y="376"/>
                  </a:lnTo>
                  <a:lnTo>
                    <a:pt x="4" y="376"/>
                  </a:lnTo>
                  <a:lnTo>
                    <a:pt x="0" y="398"/>
                  </a:lnTo>
                  <a:lnTo>
                    <a:pt x="4" y="402"/>
                  </a:lnTo>
                  <a:lnTo>
                    <a:pt x="0" y="425"/>
                  </a:lnTo>
                  <a:lnTo>
                    <a:pt x="9" y="434"/>
                  </a:lnTo>
                  <a:lnTo>
                    <a:pt x="13" y="447"/>
                  </a:lnTo>
                  <a:lnTo>
                    <a:pt x="18" y="452"/>
                  </a:lnTo>
                  <a:lnTo>
                    <a:pt x="27" y="452"/>
                  </a:lnTo>
                  <a:lnTo>
                    <a:pt x="27" y="461"/>
                  </a:lnTo>
                  <a:lnTo>
                    <a:pt x="36" y="465"/>
                  </a:lnTo>
                  <a:lnTo>
                    <a:pt x="45" y="461"/>
                  </a:lnTo>
                  <a:lnTo>
                    <a:pt x="49" y="456"/>
                  </a:lnTo>
                  <a:lnTo>
                    <a:pt x="54" y="456"/>
                  </a:lnTo>
                  <a:lnTo>
                    <a:pt x="63" y="438"/>
                  </a:lnTo>
                  <a:lnTo>
                    <a:pt x="67" y="429"/>
                  </a:lnTo>
                  <a:lnTo>
                    <a:pt x="71" y="425"/>
                  </a:lnTo>
                  <a:lnTo>
                    <a:pt x="76" y="420"/>
                  </a:lnTo>
                  <a:lnTo>
                    <a:pt x="80" y="420"/>
                  </a:lnTo>
                  <a:lnTo>
                    <a:pt x="80" y="429"/>
                  </a:lnTo>
                  <a:lnTo>
                    <a:pt x="89" y="429"/>
                  </a:lnTo>
                  <a:lnTo>
                    <a:pt x="89" y="434"/>
                  </a:lnTo>
                  <a:close/>
                  <a:moveTo>
                    <a:pt x="112" y="139"/>
                  </a:moveTo>
                  <a:lnTo>
                    <a:pt x="121" y="130"/>
                  </a:lnTo>
                  <a:lnTo>
                    <a:pt x="125" y="125"/>
                  </a:lnTo>
                  <a:lnTo>
                    <a:pt x="130" y="125"/>
                  </a:lnTo>
                  <a:lnTo>
                    <a:pt x="138" y="121"/>
                  </a:lnTo>
                  <a:lnTo>
                    <a:pt x="138" y="112"/>
                  </a:lnTo>
                  <a:lnTo>
                    <a:pt x="134" y="116"/>
                  </a:lnTo>
                  <a:lnTo>
                    <a:pt x="130" y="121"/>
                  </a:lnTo>
                  <a:lnTo>
                    <a:pt x="125" y="121"/>
                  </a:lnTo>
                  <a:lnTo>
                    <a:pt x="112" y="130"/>
                  </a:lnTo>
                  <a:lnTo>
                    <a:pt x="112" y="139"/>
                  </a:lnTo>
                  <a:close/>
                  <a:moveTo>
                    <a:pt x="152" y="116"/>
                  </a:moveTo>
                  <a:lnTo>
                    <a:pt x="161" y="108"/>
                  </a:lnTo>
                  <a:lnTo>
                    <a:pt x="165" y="99"/>
                  </a:lnTo>
                  <a:lnTo>
                    <a:pt x="161" y="94"/>
                  </a:lnTo>
                  <a:lnTo>
                    <a:pt x="156" y="94"/>
                  </a:lnTo>
                  <a:lnTo>
                    <a:pt x="152" y="103"/>
                  </a:lnTo>
                  <a:lnTo>
                    <a:pt x="152" y="94"/>
                  </a:lnTo>
                  <a:lnTo>
                    <a:pt x="156" y="90"/>
                  </a:lnTo>
                  <a:lnTo>
                    <a:pt x="156" y="76"/>
                  </a:lnTo>
                  <a:lnTo>
                    <a:pt x="147" y="90"/>
                  </a:lnTo>
                  <a:lnTo>
                    <a:pt x="143" y="103"/>
                  </a:lnTo>
                  <a:lnTo>
                    <a:pt x="138" y="90"/>
                  </a:lnTo>
                  <a:lnTo>
                    <a:pt x="138" y="99"/>
                  </a:lnTo>
                  <a:lnTo>
                    <a:pt x="134" y="99"/>
                  </a:lnTo>
                  <a:lnTo>
                    <a:pt x="130" y="108"/>
                  </a:lnTo>
                  <a:lnTo>
                    <a:pt x="138" y="108"/>
                  </a:lnTo>
                  <a:lnTo>
                    <a:pt x="147" y="103"/>
                  </a:lnTo>
                  <a:lnTo>
                    <a:pt x="143" y="116"/>
                  </a:lnTo>
                  <a:lnTo>
                    <a:pt x="152" y="116"/>
                  </a:lnTo>
                  <a:close/>
                  <a:moveTo>
                    <a:pt x="192" y="67"/>
                  </a:moveTo>
                  <a:lnTo>
                    <a:pt x="197" y="63"/>
                  </a:lnTo>
                  <a:lnTo>
                    <a:pt x="201" y="58"/>
                  </a:lnTo>
                  <a:lnTo>
                    <a:pt x="205" y="58"/>
                  </a:lnTo>
                  <a:lnTo>
                    <a:pt x="205" y="58"/>
                  </a:lnTo>
                  <a:lnTo>
                    <a:pt x="210" y="49"/>
                  </a:lnTo>
                  <a:lnTo>
                    <a:pt x="205" y="54"/>
                  </a:lnTo>
                  <a:lnTo>
                    <a:pt x="201" y="49"/>
                  </a:lnTo>
                  <a:lnTo>
                    <a:pt x="192" y="54"/>
                  </a:lnTo>
                  <a:lnTo>
                    <a:pt x="192" y="63"/>
                  </a:lnTo>
                  <a:lnTo>
                    <a:pt x="188" y="58"/>
                  </a:lnTo>
                  <a:lnTo>
                    <a:pt x="183" y="67"/>
                  </a:lnTo>
                  <a:lnTo>
                    <a:pt x="192" y="67"/>
                  </a:lnTo>
                  <a:close/>
                  <a:moveTo>
                    <a:pt x="241" y="27"/>
                  </a:moveTo>
                  <a:lnTo>
                    <a:pt x="246" y="32"/>
                  </a:lnTo>
                  <a:lnTo>
                    <a:pt x="259" y="27"/>
                  </a:lnTo>
                  <a:lnTo>
                    <a:pt x="255" y="36"/>
                  </a:lnTo>
                  <a:lnTo>
                    <a:pt x="259" y="41"/>
                  </a:lnTo>
                  <a:lnTo>
                    <a:pt x="264" y="27"/>
                  </a:lnTo>
                  <a:lnTo>
                    <a:pt x="259" y="27"/>
                  </a:lnTo>
                  <a:lnTo>
                    <a:pt x="264" y="14"/>
                  </a:lnTo>
                  <a:lnTo>
                    <a:pt x="259" y="14"/>
                  </a:lnTo>
                  <a:lnTo>
                    <a:pt x="259" y="18"/>
                  </a:lnTo>
                  <a:lnTo>
                    <a:pt x="250" y="18"/>
                  </a:lnTo>
                  <a:lnTo>
                    <a:pt x="241" y="27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89" name="Freeform 29"/>
            <p:cNvSpPr>
              <a:spLocks/>
            </p:cNvSpPr>
            <p:nvPr/>
          </p:nvSpPr>
          <p:spPr bwMode="gray">
            <a:xfrm>
              <a:off x="2360" y="2596"/>
              <a:ext cx="447" cy="423"/>
            </a:xfrm>
            <a:custGeom>
              <a:avLst/>
              <a:gdLst>
                <a:gd name="T0" fmla="*/ 13 w 147"/>
                <a:gd name="T1" fmla="*/ 99 h 139"/>
                <a:gd name="T2" fmla="*/ 13 w 147"/>
                <a:gd name="T3" fmla="*/ 90 h 139"/>
                <a:gd name="T4" fmla="*/ 9 w 147"/>
                <a:gd name="T5" fmla="*/ 85 h 139"/>
                <a:gd name="T6" fmla="*/ 9 w 147"/>
                <a:gd name="T7" fmla="*/ 72 h 139"/>
                <a:gd name="T8" fmla="*/ 9 w 147"/>
                <a:gd name="T9" fmla="*/ 59 h 139"/>
                <a:gd name="T10" fmla="*/ 0 w 147"/>
                <a:gd name="T11" fmla="*/ 50 h 139"/>
                <a:gd name="T12" fmla="*/ 0 w 147"/>
                <a:gd name="T13" fmla="*/ 36 h 139"/>
                <a:gd name="T14" fmla="*/ 0 w 147"/>
                <a:gd name="T15" fmla="*/ 27 h 139"/>
                <a:gd name="T16" fmla="*/ 5 w 147"/>
                <a:gd name="T17" fmla="*/ 27 h 139"/>
                <a:gd name="T18" fmla="*/ 9 w 147"/>
                <a:gd name="T19" fmla="*/ 36 h 139"/>
                <a:gd name="T20" fmla="*/ 9 w 147"/>
                <a:gd name="T21" fmla="*/ 27 h 139"/>
                <a:gd name="T22" fmla="*/ 13 w 147"/>
                <a:gd name="T23" fmla="*/ 23 h 139"/>
                <a:gd name="T24" fmla="*/ 22 w 147"/>
                <a:gd name="T25" fmla="*/ 14 h 139"/>
                <a:gd name="T26" fmla="*/ 36 w 147"/>
                <a:gd name="T27" fmla="*/ 14 h 139"/>
                <a:gd name="T28" fmla="*/ 40 w 147"/>
                <a:gd name="T29" fmla="*/ 5 h 139"/>
                <a:gd name="T30" fmla="*/ 49 w 147"/>
                <a:gd name="T31" fmla="*/ 0 h 139"/>
                <a:gd name="T32" fmla="*/ 58 w 147"/>
                <a:gd name="T33" fmla="*/ 0 h 139"/>
                <a:gd name="T34" fmla="*/ 72 w 147"/>
                <a:gd name="T35" fmla="*/ 0 h 139"/>
                <a:gd name="T36" fmla="*/ 72 w 147"/>
                <a:gd name="T37" fmla="*/ 5 h 139"/>
                <a:gd name="T38" fmla="*/ 63 w 147"/>
                <a:gd name="T39" fmla="*/ 5 h 139"/>
                <a:gd name="T40" fmla="*/ 67 w 147"/>
                <a:gd name="T41" fmla="*/ 9 h 139"/>
                <a:gd name="T42" fmla="*/ 76 w 147"/>
                <a:gd name="T43" fmla="*/ 5 h 139"/>
                <a:gd name="T44" fmla="*/ 76 w 147"/>
                <a:gd name="T45" fmla="*/ 14 h 139"/>
                <a:gd name="T46" fmla="*/ 80 w 147"/>
                <a:gd name="T47" fmla="*/ 9 h 139"/>
                <a:gd name="T48" fmla="*/ 89 w 147"/>
                <a:gd name="T49" fmla="*/ 9 h 139"/>
                <a:gd name="T50" fmla="*/ 107 w 147"/>
                <a:gd name="T51" fmla="*/ 14 h 139"/>
                <a:gd name="T52" fmla="*/ 130 w 147"/>
                <a:gd name="T53" fmla="*/ 14 h 139"/>
                <a:gd name="T54" fmla="*/ 139 w 147"/>
                <a:gd name="T55" fmla="*/ 23 h 139"/>
                <a:gd name="T56" fmla="*/ 139 w 147"/>
                <a:gd name="T57" fmla="*/ 27 h 139"/>
                <a:gd name="T58" fmla="*/ 143 w 147"/>
                <a:gd name="T59" fmla="*/ 41 h 139"/>
                <a:gd name="T60" fmla="*/ 147 w 147"/>
                <a:gd name="T61" fmla="*/ 50 h 139"/>
                <a:gd name="T62" fmla="*/ 147 w 147"/>
                <a:gd name="T63" fmla="*/ 59 h 139"/>
                <a:gd name="T64" fmla="*/ 134 w 147"/>
                <a:gd name="T65" fmla="*/ 63 h 139"/>
                <a:gd name="T66" fmla="*/ 139 w 147"/>
                <a:gd name="T67" fmla="*/ 72 h 139"/>
                <a:gd name="T68" fmla="*/ 139 w 147"/>
                <a:gd name="T69" fmla="*/ 81 h 139"/>
                <a:gd name="T70" fmla="*/ 139 w 147"/>
                <a:gd name="T71" fmla="*/ 85 h 139"/>
                <a:gd name="T72" fmla="*/ 143 w 147"/>
                <a:gd name="T73" fmla="*/ 99 h 139"/>
                <a:gd name="T74" fmla="*/ 143 w 147"/>
                <a:gd name="T75" fmla="*/ 108 h 139"/>
                <a:gd name="T76" fmla="*/ 147 w 147"/>
                <a:gd name="T77" fmla="*/ 112 h 139"/>
                <a:gd name="T78" fmla="*/ 143 w 147"/>
                <a:gd name="T79" fmla="*/ 117 h 139"/>
                <a:gd name="T80" fmla="*/ 134 w 147"/>
                <a:gd name="T81" fmla="*/ 121 h 139"/>
                <a:gd name="T82" fmla="*/ 125 w 147"/>
                <a:gd name="T83" fmla="*/ 135 h 139"/>
                <a:gd name="T84" fmla="*/ 130 w 147"/>
                <a:gd name="T85" fmla="*/ 139 h 139"/>
                <a:gd name="T86" fmla="*/ 125 w 147"/>
                <a:gd name="T87" fmla="*/ 139 h 139"/>
                <a:gd name="T88" fmla="*/ 112 w 147"/>
                <a:gd name="T89" fmla="*/ 130 h 139"/>
                <a:gd name="T90" fmla="*/ 98 w 147"/>
                <a:gd name="T91" fmla="*/ 135 h 139"/>
                <a:gd name="T92" fmla="*/ 94 w 147"/>
                <a:gd name="T93" fmla="*/ 130 h 139"/>
                <a:gd name="T94" fmla="*/ 89 w 147"/>
                <a:gd name="T95" fmla="*/ 139 h 139"/>
                <a:gd name="T96" fmla="*/ 80 w 147"/>
                <a:gd name="T97" fmla="*/ 130 h 139"/>
                <a:gd name="T98" fmla="*/ 72 w 147"/>
                <a:gd name="T99" fmla="*/ 135 h 139"/>
                <a:gd name="T100" fmla="*/ 67 w 147"/>
                <a:gd name="T101" fmla="*/ 130 h 139"/>
                <a:gd name="T102" fmla="*/ 67 w 147"/>
                <a:gd name="T103" fmla="*/ 121 h 139"/>
                <a:gd name="T104" fmla="*/ 58 w 147"/>
                <a:gd name="T105" fmla="*/ 121 h 139"/>
                <a:gd name="T106" fmla="*/ 54 w 147"/>
                <a:gd name="T107" fmla="*/ 112 h 139"/>
                <a:gd name="T108" fmla="*/ 45 w 147"/>
                <a:gd name="T109" fmla="*/ 108 h 139"/>
                <a:gd name="T110" fmla="*/ 40 w 147"/>
                <a:gd name="T111" fmla="*/ 117 h 139"/>
                <a:gd name="T112" fmla="*/ 31 w 147"/>
                <a:gd name="T113" fmla="*/ 112 h 139"/>
                <a:gd name="T114" fmla="*/ 36 w 147"/>
                <a:gd name="T115" fmla="*/ 108 h 139"/>
                <a:gd name="T116" fmla="*/ 27 w 147"/>
                <a:gd name="T117" fmla="*/ 108 h 139"/>
                <a:gd name="T118" fmla="*/ 22 w 147"/>
                <a:gd name="T119" fmla="*/ 99 h 139"/>
                <a:gd name="T120" fmla="*/ 18 w 147"/>
                <a:gd name="T121" fmla="*/ 103 h 139"/>
                <a:gd name="T122" fmla="*/ 13 w 147"/>
                <a:gd name="T123" fmla="*/ 9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7" h="139">
                  <a:moveTo>
                    <a:pt x="13" y="99"/>
                  </a:moveTo>
                  <a:lnTo>
                    <a:pt x="13" y="90"/>
                  </a:lnTo>
                  <a:lnTo>
                    <a:pt x="9" y="85"/>
                  </a:lnTo>
                  <a:lnTo>
                    <a:pt x="9" y="72"/>
                  </a:lnTo>
                  <a:lnTo>
                    <a:pt x="9" y="59"/>
                  </a:lnTo>
                  <a:lnTo>
                    <a:pt x="0" y="50"/>
                  </a:lnTo>
                  <a:lnTo>
                    <a:pt x="0" y="36"/>
                  </a:lnTo>
                  <a:lnTo>
                    <a:pt x="0" y="27"/>
                  </a:lnTo>
                  <a:lnTo>
                    <a:pt x="5" y="27"/>
                  </a:lnTo>
                  <a:lnTo>
                    <a:pt x="9" y="36"/>
                  </a:lnTo>
                  <a:lnTo>
                    <a:pt x="9" y="27"/>
                  </a:lnTo>
                  <a:lnTo>
                    <a:pt x="13" y="23"/>
                  </a:lnTo>
                  <a:lnTo>
                    <a:pt x="22" y="14"/>
                  </a:lnTo>
                  <a:lnTo>
                    <a:pt x="36" y="14"/>
                  </a:lnTo>
                  <a:lnTo>
                    <a:pt x="40" y="5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72" y="0"/>
                  </a:lnTo>
                  <a:lnTo>
                    <a:pt x="72" y="5"/>
                  </a:lnTo>
                  <a:lnTo>
                    <a:pt x="63" y="5"/>
                  </a:lnTo>
                  <a:lnTo>
                    <a:pt x="67" y="9"/>
                  </a:lnTo>
                  <a:lnTo>
                    <a:pt x="76" y="5"/>
                  </a:lnTo>
                  <a:lnTo>
                    <a:pt x="76" y="14"/>
                  </a:lnTo>
                  <a:lnTo>
                    <a:pt x="80" y="9"/>
                  </a:lnTo>
                  <a:lnTo>
                    <a:pt x="89" y="9"/>
                  </a:lnTo>
                  <a:lnTo>
                    <a:pt x="107" y="14"/>
                  </a:lnTo>
                  <a:lnTo>
                    <a:pt x="130" y="14"/>
                  </a:lnTo>
                  <a:lnTo>
                    <a:pt x="139" y="23"/>
                  </a:lnTo>
                  <a:lnTo>
                    <a:pt x="139" y="27"/>
                  </a:lnTo>
                  <a:lnTo>
                    <a:pt x="143" y="41"/>
                  </a:lnTo>
                  <a:lnTo>
                    <a:pt x="147" y="50"/>
                  </a:lnTo>
                  <a:lnTo>
                    <a:pt x="147" y="59"/>
                  </a:lnTo>
                  <a:lnTo>
                    <a:pt x="134" y="63"/>
                  </a:lnTo>
                  <a:lnTo>
                    <a:pt x="139" y="72"/>
                  </a:lnTo>
                  <a:lnTo>
                    <a:pt x="139" y="81"/>
                  </a:lnTo>
                  <a:lnTo>
                    <a:pt x="139" y="85"/>
                  </a:lnTo>
                  <a:lnTo>
                    <a:pt x="143" y="99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3" y="117"/>
                  </a:lnTo>
                  <a:lnTo>
                    <a:pt x="134" y="121"/>
                  </a:lnTo>
                  <a:lnTo>
                    <a:pt x="125" y="135"/>
                  </a:lnTo>
                  <a:lnTo>
                    <a:pt x="130" y="139"/>
                  </a:lnTo>
                  <a:lnTo>
                    <a:pt x="125" y="139"/>
                  </a:lnTo>
                  <a:lnTo>
                    <a:pt x="112" y="130"/>
                  </a:lnTo>
                  <a:lnTo>
                    <a:pt x="98" y="135"/>
                  </a:lnTo>
                  <a:lnTo>
                    <a:pt x="94" y="130"/>
                  </a:lnTo>
                  <a:lnTo>
                    <a:pt x="89" y="139"/>
                  </a:lnTo>
                  <a:lnTo>
                    <a:pt x="80" y="130"/>
                  </a:lnTo>
                  <a:lnTo>
                    <a:pt x="72" y="135"/>
                  </a:lnTo>
                  <a:lnTo>
                    <a:pt x="67" y="130"/>
                  </a:lnTo>
                  <a:lnTo>
                    <a:pt x="67" y="121"/>
                  </a:lnTo>
                  <a:lnTo>
                    <a:pt x="58" y="121"/>
                  </a:lnTo>
                  <a:lnTo>
                    <a:pt x="54" y="112"/>
                  </a:lnTo>
                  <a:lnTo>
                    <a:pt x="45" y="108"/>
                  </a:lnTo>
                  <a:lnTo>
                    <a:pt x="40" y="117"/>
                  </a:lnTo>
                  <a:lnTo>
                    <a:pt x="31" y="112"/>
                  </a:lnTo>
                  <a:lnTo>
                    <a:pt x="36" y="108"/>
                  </a:lnTo>
                  <a:lnTo>
                    <a:pt x="27" y="108"/>
                  </a:lnTo>
                  <a:lnTo>
                    <a:pt x="22" y="99"/>
                  </a:lnTo>
                  <a:lnTo>
                    <a:pt x="18" y="103"/>
                  </a:lnTo>
                  <a:lnTo>
                    <a:pt x="13" y="9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90" name="Freeform 30"/>
            <p:cNvSpPr>
              <a:spLocks noEditPoints="1"/>
            </p:cNvSpPr>
            <p:nvPr/>
          </p:nvSpPr>
          <p:spPr bwMode="gray">
            <a:xfrm>
              <a:off x="1019" y="3453"/>
              <a:ext cx="488" cy="541"/>
            </a:xfrm>
            <a:custGeom>
              <a:avLst/>
              <a:gdLst>
                <a:gd name="T0" fmla="*/ 0 w 161"/>
                <a:gd name="T1" fmla="*/ 174 h 179"/>
                <a:gd name="T2" fmla="*/ 0 w 161"/>
                <a:gd name="T3" fmla="*/ 179 h 179"/>
                <a:gd name="T4" fmla="*/ 9 w 161"/>
                <a:gd name="T5" fmla="*/ 179 h 179"/>
                <a:gd name="T6" fmla="*/ 9 w 161"/>
                <a:gd name="T7" fmla="*/ 174 h 179"/>
                <a:gd name="T8" fmla="*/ 0 w 161"/>
                <a:gd name="T9" fmla="*/ 174 h 179"/>
                <a:gd name="T10" fmla="*/ 120 w 161"/>
                <a:gd name="T11" fmla="*/ 4 h 179"/>
                <a:gd name="T12" fmla="*/ 120 w 161"/>
                <a:gd name="T13" fmla="*/ 13 h 179"/>
                <a:gd name="T14" fmla="*/ 120 w 161"/>
                <a:gd name="T15" fmla="*/ 27 h 179"/>
                <a:gd name="T16" fmla="*/ 120 w 161"/>
                <a:gd name="T17" fmla="*/ 31 h 179"/>
                <a:gd name="T18" fmla="*/ 120 w 161"/>
                <a:gd name="T19" fmla="*/ 31 h 179"/>
                <a:gd name="T20" fmla="*/ 120 w 161"/>
                <a:gd name="T21" fmla="*/ 40 h 179"/>
                <a:gd name="T22" fmla="*/ 116 w 161"/>
                <a:gd name="T23" fmla="*/ 54 h 179"/>
                <a:gd name="T24" fmla="*/ 112 w 161"/>
                <a:gd name="T25" fmla="*/ 58 h 179"/>
                <a:gd name="T26" fmla="*/ 112 w 161"/>
                <a:gd name="T27" fmla="*/ 67 h 179"/>
                <a:gd name="T28" fmla="*/ 116 w 161"/>
                <a:gd name="T29" fmla="*/ 72 h 179"/>
                <a:gd name="T30" fmla="*/ 116 w 161"/>
                <a:gd name="T31" fmla="*/ 72 h 179"/>
                <a:gd name="T32" fmla="*/ 116 w 161"/>
                <a:gd name="T33" fmla="*/ 76 h 179"/>
                <a:gd name="T34" fmla="*/ 120 w 161"/>
                <a:gd name="T35" fmla="*/ 80 h 179"/>
                <a:gd name="T36" fmla="*/ 120 w 161"/>
                <a:gd name="T37" fmla="*/ 89 h 179"/>
                <a:gd name="T38" fmla="*/ 120 w 161"/>
                <a:gd name="T39" fmla="*/ 98 h 179"/>
                <a:gd name="T40" fmla="*/ 120 w 161"/>
                <a:gd name="T41" fmla="*/ 98 h 179"/>
                <a:gd name="T42" fmla="*/ 125 w 161"/>
                <a:gd name="T43" fmla="*/ 94 h 179"/>
                <a:gd name="T44" fmla="*/ 134 w 161"/>
                <a:gd name="T45" fmla="*/ 98 h 179"/>
                <a:gd name="T46" fmla="*/ 138 w 161"/>
                <a:gd name="T47" fmla="*/ 98 h 179"/>
                <a:gd name="T48" fmla="*/ 143 w 161"/>
                <a:gd name="T49" fmla="*/ 94 h 179"/>
                <a:gd name="T50" fmla="*/ 143 w 161"/>
                <a:gd name="T51" fmla="*/ 85 h 179"/>
                <a:gd name="T52" fmla="*/ 147 w 161"/>
                <a:gd name="T53" fmla="*/ 85 h 179"/>
                <a:gd name="T54" fmla="*/ 143 w 161"/>
                <a:gd name="T55" fmla="*/ 76 h 179"/>
                <a:gd name="T56" fmla="*/ 147 w 161"/>
                <a:gd name="T57" fmla="*/ 67 h 179"/>
                <a:gd name="T58" fmla="*/ 138 w 161"/>
                <a:gd name="T59" fmla="*/ 54 h 179"/>
                <a:gd name="T60" fmla="*/ 147 w 161"/>
                <a:gd name="T61" fmla="*/ 49 h 179"/>
                <a:gd name="T62" fmla="*/ 147 w 161"/>
                <a:gd name="T63" fmla="*/ 40 h 179"/>
                <a:gd name="T64" fmla="*/ 147 w 161"/>
                <a:gd name="T65" fmla="*/ 36 h 179"/>
                <a:gd name="T66" fmla="*/ 152 w 161"/>
                <a:gd name="T67" fmla="*/ 22 h 179"/>
                <a:gd name="T68" fmla="*/ 161 w 161"/>
                <a:gd name="T69" fmla="*/ 13 h 179"/>
                <a:gd name="T70" fmla="*/ 152 w 161"/>
                <a:gd name="T71" fmla="*/ 9 h 179"/>
                <a:gd name="T72" fmla="*/ 134 w 161"/>
                <a:gd name="T73" fmla="*/ 9 h 179"/>
                <a:gd name="T74" fmla="*/ 129 w 161"/>
                <a:gd name="T75" fmla="*/ 0 h 179"/>
                <a:gd name="T76" fmla="*/ 120 w 161"/>
                <a:gd name="T77" fmla="*/ 4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1" h="179">
                  <a:moveTo>
                    <a:pt x="0" y="174"/>
                  </a:moveTo>
                  <a:lnTo>
                    <a:pt x="0" y="179"/>
                  </a:lnTo>
                  <a:lnTo>
                    <a:pt x="9" y="179"/>
                  </a:lnTo>
                  <a:lnTo>
                    <a:pt x="9" y="174"/>
                  </a:lnTo>
                  <a:lnTo>
                    <a:pt x="0" y="174"/>
                  </a:lnTo>
                  <a:close/>
                  <a:moveTo>
                    <a:pt x="120" y="4"/>
                  </a:moveTo>
                  <a:lnTo>
                    <a:pt x="120" y="13"/>
                  </a:lnTo>
                  <a:lnTo>
                    <a:pt x="120" y="27"/>
                  </a:lnTo>
                  <a:lnTo>
                    <a:pt x="120" y="31"/>
                  </a:lnTo>
                  <a:lnTo>
                    <a:pt x="120" y="31"/>
                  </a:lnTo>
                  <a:lnTo>
                    <a:pt x="120" y="40"/>
                  </a:lnTo>
                  <a:lnTo>
                    <a:pt x="116" y="54"/>
                  </a:lnTo>
                  <a:lnTo>
                    <a:pt x="112" y="58"/>
                  </a:lnTo>
                  <a:lnTo>
                    <a:pt x="112" y="67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6"/>
                  </a:lnTo>
                  <a:lnTo>
                    <a:pt x="120" y="80"/>
                  </a:lnTo>
                  <a:lnTo>
                    <a:pt x="120" y="89"/>
                  </a:lnTo>
                  <a:lnTo>
                    <a:pt x="120" y="98"/>
                  </a:lnTo>
                  <a:lnTo>
                    <a:pt x="120" y="98"/>
                  </a:lnTo>
                  <a:lnTo>
                    <a:pt x="125" y="94"/>
                  </a:lnTo>
                  <a:lnTo>
                    <a:pt x="134" y="98"/>
                  </a:lnTo>
                  <a:lnTo>
                    <a:pt x="138" y="98"/>
                  </a:lnTo>
                  <a:lnTo>
                    <a:pt x="143" y="94"/>
                  </a:lnTo>
                  <a:lnTo>
                    <a:pt x="143" y="85"/>
                  </a:lnTo>
                  <a:lnTo>
                    <a:pt x="147" y="85"/>
                  </a:lnTo>
                  <a:lnTo>
                    <a:pt x="143" y="76"/>
                  </a:lnTo>
                  <a:lnTo>
                    <a:pt x="147" y="67"/>
                  </a:lnTo>
                  <a:lnTo>
                    <a:pt x="138" y="54"/>
                  </a:lnTo>
                  <a:lnTo>
                    <a:pt x="147" y="49"/>
                  </a:lnTo>
                  <a:lnTo>
                    <a:pt x="147" y="40"/>
                  </a:lnTo>
                  <a:lnTo>
                    <a:pt x="147" y="36"/>
                  </a:lnTo>
                  <a:lnTo>
                    <a:pt x="152" y="22"/>
                  </a:lnTo>
                  <a:lnTo>
                    <a:pt x="161" y="13"/>
                  </a:lnTo>
                  <a:lnTo>
                    <a:pt x="152" y="9"/>
                  </a:lnTo>
                  <a:lnTo>
                    <a:pt x="134" y="9"/>
                  </a:lnTo>
                  <a:lnTo>
                    <a:pt x="129" y="0"/>
                  </a:lnTo>
                  <a:lnTo>
                    <a:pt x="120" y="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91" name="Freeform 31"/>
            <p:cNvSpPr>
              <a:spLocks/>
            </p:cNvSpPr>
            <p:nvPr/>
          </p:nvSpPr>
          <p:spPr bwMode="gray">
            <a:xfrm>
              <a:off x="2644" y="3073"/>
              <a:ext cx="393" cy="296"/>
            </a:xfrm>
            <a:custGeom>
              <a:avLst/>
              <a:gdLst>
                <a:gd name="T0" fmla="*/ 0 w 129"/>
                <a:gd name="T1" fmla="*/ 45 h 98"/>
                <a:gd name="T2" fmla="*/ 4 w 129"/>
                <a:gd name="T3" fmla="*/ 54 h 98"/>
                <a:gd name="T4" fmla="*/ 4 w 129"/>
                <a:gd name="T5" fmla="*/ 62 h 98"/>
                <a:gd name="T6" fmla="*/ 13 w 129"/>
                <a:gd name="T7" fmla="*/ 71 h 98"/>
                <a:gd name="T8" fmla="*/ 22 w 129"/>
                <a:gd name="T9" fmla="*/ 76 h 98"/>
                <a:gd name="T10" fmla="*/ 27 w 129"/>
                <a:gd name="T11" fmla="*/ 76 h 98"/>
                <a:gd name="T12" fmla="*/ 27 w 129"/>
                <a:gd name="T13" fmla="*/ 80 h 98"/>
                <a:gd name="T14" fmla="*/ 31 w 129"/>
                <a:gd name="T15" fmla="*/ 80 h 98"/>
                <a:gd name="T16" fmla="*/ 36 w 129"/>
                <a:gd name="T17" fmla="*/ 80 h 98"/>
                <a:gd name="T18" fmla="*/ 36 w 129"/>
                <a:gd name="T19" fmla="*/ 89 h 98"/>
                <a:gd name="T20" fmla="*/ 49 w 129"/>
                <a:gd name="T21" fmla="*/ 94 h 98"/>
                <a:gd name="T22" fmla="*/ 62 w 129"/>
                <a:gd name="T23" fmla="*/ 98 h 98"/>
                <a:gd name="T24" fmla="*/ 76 w 129"/>
                <a:gd name="T25" fmla="*/ 98 h 98"/>
                <a:gd name="T26" fmla="*/ 85 w 129"/>
                <a:gd name="T27" fmla="*/ 89 h 98"/>
                <a:gd name="T28" fmla="*/ 98 w 129"/>
                <a:gd name="T29" fmla="*/ 85 h 98"/>
                <a:gd name="T30" fmla="*/ 116 w 129"/>
                <a:gd name="T31" fmla="*/ 94 h 98"/>
                <a:gd name="T32" fmla="*/ 116 w 129"/>
                <a:gd name="T33" fmla="*/ 85 h 98"/>
                <a:gd name="T34" fmla="*/ 120 w 129"/>
                <a:gd name="T35" fmla="*/ 80 h 98"/>
                <a:gd name="T36" fmla="*/ 120 w 129"/>
                <a:gd name="T37" fmla="*/ 67 h 98"/>
                <a:gd name="T38" fmla="*/ 120 w 129"/>
                <a:gd name="T39" fmla="*/ 71 h 98"/>
                <a:gd name="T40" fmla="*/ 129 w 129"/>
                <a:gd name="T41" fmla="*/ 71 h 98"/>
                <a:gd name="T42" fmla="*/ 129 w 129"/>
                <a:gd name="T43" fmla="*/ 62 h 98"/>
                <a:gd name="T44" fmla="*/ 125 w 129"/>
                <a:gd name="T45" fmla="*/ 62 h 98"/>
                <a:gd name="T46" fmla="*/ 116 w 129"/>
                <a:gd name="T47" fmla="*/ 67 h 98"/>
                <a:gd name="T48" fmla="*/ 112 w 129"/>
                <a:gd name="T49" fmla="*/ 62 h 98"/>
                <a:gd name="T50" fmla="*/ 107 w 129"/>
                <a:gd name="T51" fmla="*/ 58 h 98"/>
                <a:gd name="T52" fmla="*/ 112 w 129"/>
                <a:gd name="T53" fmla="*/ 40 h 98"/>
                <a:gd name="T54" fmla="*/ 107 w 129"/>
                <a:gd name="T55" fmla="*/ 27 h 98"/>
                <a:gd name="T56" fmla="*/ 103 w 129"/>
                <a:gd name="T57" fmla="*/ 18 h 98"/>
                <a:gd name="T58" fmla="*/ 89 w 129"/>
                <a:gd name="T59" fmla="*/ 0 h 98"/>
                <a:gd name="T60" fmla="*/ 67 w 129"/>
                <a:gd name="T61" fmla="*/ 9 h 98"/>
                <a:gd name="T62" fmla="*/ 40 w 129"/>
                <a:gd name="T63" fmla="*/ 4 h 98"/>
                <a:gd name="T64" fmla="*/ 36 w 129"/>
                <a:gd name="T65" fmla="*/ 9 h 98"/>
                <a:gd name="T66" fmla="*/ 36 w 129"/>
                <a:gd name="T67" fmla="*/ 13 h 98"/>
                <a:gd name="T68" fmla="*/ 22 w 129"/>
                <a:gd name="T69" fmla="*/ 18 h 98"/>
                <a:gd name="T70" fmla="*/ 13 w 129"/>
                <a:gd name="T71" fmla="*/ 36 h 98"/>
                <a:gd name="T72" fmla="*/ 13 w 129"/>
                <a:gd name="T73" fmla="*/ 40 h 98"/>
                <a:gd name="T74" fmla="*/ 4 w 129"/>
                <a:gd name="T75" fmla="*/ 45 h 98"/>
                <a:gd name="T76" fmla="*/ 0 w 129"/>
                <a:gd name="T77" fmla="*/ 4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9" h="98">
                  <a:moveTo>
                    <a:pt x="0" y="45"/>
                  </a:moveTo>
                  <a:lnTo>
                    <a:pt x="4" y="54"/>
                  </a:lnTo>
                  <a:lnTo>
                    <a:pt x="4" y="62"/>
                  </a:lnTo>
                  <a:lnTo>
                    <a:pt x="13" y="71"/>
                  </a:lnTo>
                  <a:lnTo>
                    <a:pt x="22" y="76"/>
                  </a:lnTo>
                  <a:lnTo>
                    <a:pt x="27" y="76"/>
                  </a:lnTo>
                  <a:lnTo>
                    <a:pt x="27" y="80"/>
                  </a:lnTo>
                  <a:lnTo>
                    <a:pt x="31" y="80"/>
                  </a:lnTo>
                  <a:lnTo>
                    <a:pt x="36" y="80"/>
                  </a:lnTo>
                  <a:lnTo>
                    <a:pt x="36" y="89"/>
                  </a:lnTo>
                  <a:lnTo>
                    <a:pt x="49" y="94"/>
                  </a:lnTo>
                  <a:lnTo>
                    <a:pt x="62" y="98"/>
                  </a:lnTo>
                  <a:lnTo>
                    <a:pt x="76" y="98"/>
                  </a:lnTo>
                  <a:lnTo>
                    <a:pt x="85" y="89"/>
                  </a:lnTo>
                  <a:lnTo>
                    <a:pt x="98" y="85"/>
                  </a:lnTo>
                  <a:lnTo>
                    <a:pt x="116" y="94"/>
                  </a:lnTo>
                  <a:lnTo>
                    <a:pt x="116" y="85"/>
                  </a:lnTo>
                  <a:lnTo>
                    <a:pt x="120" y="80"/>
                  </a:lnTo>
                  <a:lnTo>
                    <a:pt x="120" y="67"/>
                  </a:lnTo>
                  <a:lnTo>
                    <a:pt x="120" y="71"/>
                  </a:lnTo>
                  <a:lnTo>
                    <a:pt x="129" y="71"/>
                  </a:lnTo>
                  <a:lnTo>
                    <a:pt x="129" y="62"/>
                  </a:lnTo>
                  <a:lnTo>
                    <a:pt x="125" y="62"/>
                  </a:lnTo>
                  <a:lnTo>
                    <a:pt x="116" y="67"/>
                  </a:lnTo>
                  <a:lnTo>
                    <a:pt x="112" y="62"/>
                  </a:lnTo>
                  <a:lnTo>
                    <a:pt x="107" y="58"/>
                  </a:lnTo>
                  <a:lnTo>
                    <a:pt x="112" y="40"/>
                  </a:lnTo>
                  <a:lnTo>
                    <a:pt x="107" y="27"/>
                  </a:lnTo>
                  <a:lnTo>
                    <a:pt x="103" y="18"/>
                  </a:lnTo>
                  <a:lnTo>
                    <a:pt x="89" y="0"/>
                  </a:lnTo>
                  <a:lnTo>
                    <a:pt x="67" y="9"/>
                  </a:lnTo>
                  <a:lnTo>
                    <a:pt x="40" y="4"/>
                  </a:lnTo>
                  <a:lnTo>
                    <a:pt x="36" y="9"/>
                  </a:lnTo>
                  <a:lnTo>
                    <a:pt x="36" y="13"/>
                  </a:lnTo>
                  <a:lnTo>
                    <a:pt x="22" y="18"/>
                  </a:lnTo>
                  <a:lnTo>
                    <a:pt x="13" y="36"/>
                  </a:lnTo>
                  <a:lnTo>
                    <a:pt x="13" y="40"/>
                  </a:lnTo>
                  <a:lnTo>
                    <a:pt x="4" y="45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92" name="Freeform 32"/>
            <p:cNvSpPr>
              <a:spLocks/>
            </p:cNvSpPr>
            <p:nvPr/>
          </p:nvSpPr>
          <p:spPr bwMode="gray">
            <a:xfrm>
              <a:off x="2482" y="2991"/>
              <a:ext cx="259" cy="93"/>
            </a:xfrm>
            <a:custGeom>
              <a:avLst/>
              <a:gdLst>
                <a:gd name="T0" fmla="*/ 0 w 85"/>
                <a:gd name="T1" fmla="*/ 22 h 31"/>
                <a:gd name="T2" fmla="*/ 5 w 85"/>
                <a:gd name="T3" fmla="*/ 18 h 31"/>
                <a:gd name="T4" fmla="*/ 14 w 85"/>
                <a:gd name="T5" fmla="*/ 18 h 31"/>
                <a:gd name="T6" fmla="*/ 18 w 85"/>
                <a:gd name="T7" fmla="*/ 13 h 31"/>
                <a:gd name="T8" fmla="*/ 23 w 85"/>
                <a:gd name="T9" fmla="*/ 5 h 31"/>
                <a:gd name="T10" fmla="*/ 27 w 85"/>
                <a:gd name="T11" fmla="*/ 0 h 31"/>
                <a:gd name="T12" fmla="*/ 32 w 85"/>
                <a:gd name="T13" fmla="*/ 5 h 31"/>
                <a:gd name="T14" fmla="*/ 40 w 85"/>
                <a:gd name="T15" fmla="*/ 0 h 31"/>
                <a:gd name="T16" fmla="*/ 49 w 85"/>
                <a:gd name="T17" fmla="*/ 9 h 31"/>
                <a:gd name="T18" fmla="*/ 54 w 85"/>
                <a:gd name="T19" fmla="*/ 0 h 31"/>
                <a:gd name="T20" fmla="*/ 58 w 85"/>
                <a:gd name="T21" fmla="*/ 5 h 31"/>
                <a:gd name="T22" fmla="*/ 72 w 85"/>
                <a:gd name="T23" fmla="*/ 0 h 31"/>
                <a:gd name="T24" fmla="*/ 85 w 85"/>
                <a:gd name="T25" fmla="*/ 9 h 31"/>
                <a:gd name="T26" fmla="*/ 81 w 85"/>
                <a:gd name="T27" fmla="*/ 22 h 31"/>
                <a:gd name="T28" fmla="*/ 72 w 85"/>
                <a:gd name="T29" fmla="*/ 22 h 31"/>
                <a:gd name="T30" fmla="*/ 67 w 85"/>
                <a:gd name="T31" fmla="*/ 18 h 31"/>
                <a:gd name="T32" fmla="*/ 63 w 85"/>
                <a:gd name="T33" fmla="*/ 22 h 31"/>
                <a:gd name="T34" fmla="*/ 54 w 85"/>
                <a:gd name="T35" fmla="*/ 18 h 31"/>
                <a:gd name="T36" fmla="*/ 45 w 85"/>
                <a:gd name="T37" fmla="*/ 27 h 31"/>
                <a:gd name="T38" fmla="*/ 36 w 85"/>
                <a:gd name="T39" fmla="*/ 27 h 31"/>
                <a:gd name="T40" fmla="*/ 32 w 85"/>
                <a:gd name="T41" fmla="*/ 31 h 31"/>
                <a:gd name="T42" fmla="*/ 14 w 85"/>
                <a:gd name="T43" fmla="*/ 31 h 31"/>
                <a:gd name="T44" fmla="*/ 9 w 85"/>
                <a:gd name="T45" fmla="*/ 27 h 31"/>
                <a:gd name="T46" fmla="*/ 9 w 85"/>
                <a:gd name="T47" fmla="*/ 22 h 31"/>
                <a:gd name="T48" fmla="*/ 5 w 85"/>
                <a:gd name="T49" fmla="*/ 22 h 31"/>
                <a:gd name="T50" fmla="*/ 0 w 85"/>
                <a:gd name="T51" fmla="*/ 2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5" h="31">
                  <a:moveTo>
                    <a:pt x="0" y="22"/>
                  </a:moveTo>
                  <a:lnTo>
                    <a:pt x="5" y="18"/>
                  </a:lnTo>
                  <a:lnTo>
                    <a:pt x="14" y="18"/>
                  </a:lnTo>
                  <a:lnTo>
                    <a:pt x="18" y="13"/>
                  </a:lnTo>
                  <a:lnTo>
                    <a:pt x="23" y="5"/>
                  </a:lnTo>
                  <a:lnTo>
                    <a:pt x="27" y="0"/>
                  </a:lnTo>
                  <a:lnTo>
                    <a:pt x="32" y="5"/>
                  </a:lnTo>
                  <a:lnTo>
                    <a:pt x="40" y="0"/>
                  </a:lnTo>
                  <a:lnTo>
                    <a:pt x="49" y="9"/>
                  </a:lnTo>
                  <a:lnTo>
                    <a:pt x="54" y="0"/>
                  </a:lnTo>
                  <a:lnTo>
                    <a:pt x="58" y="5"/>
                  </a:lnTo>
                  <a:lnTo>
                    <a:pt x="72" y="0"/>
                  </a:lnTo>
                  <a:lnTo>
                    <a:pt x="85" y="9"/>
                  </a:lnTo>
                  <a:lnTo>
                    <a:pt x="81" y="22"/>
                  </a:lnTo>
                  <a:lnTo>
                    <a:pt x="72" y="22"/>
                  </a:lnTo>
                  <a:lnTo>
                    <a:pt x="67" y="18"/>
                  </a:lnTo>
                  <a:lnTo>
                    <a:pt x="63" y="22"/>
                  </a:lnTo>
                  <a:lnTo>
                    <a:pt x="54" y="18"/>
                  </a:lnTo>
                  <a:lnTo>
                    <a:pt x="45" y="27"/>
                  </a:lnTo>
                  <a:lnTo>
                    <a:pt x="36" y="27"/>
                  </a:lnTo>
                  <a:lnTo>
                    <a:pt x="32" y="31"/>
                  </a:lnTo>
                  <a:lnTo>
                    <a:pt x="14" y="31"/>
                  </a:lnTo>
                  <a:lnTo>
                    <a:pt x="9" y="27"/>
                  </a:lnTo>
                  <a:lnTo>
                    <a:pt x="9" y="22"/>
                  </a:lnTo>
                  <a:lnTo>
                    <a:pt x="5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93" name="Freeform 33"/>
            <p:cNvSpPr>
              <a:spLocks/>
            </p:cNvSpPr>
            <p:nvPr/>
          </p:nvSpPr>
          <p:spPr bwMode="gray">
            <a:xfrm>
              <a:off x="2332" y="3166"/>
              <a:ext cx="137" cy="82"/>
            </a:xfrm>
            <a:custGeom>
              <a:avLst/>
              <a:gdLst>
                <a:gd name="T0" fmla="*/ 5 w 45"/>
                <a:gd name="T1" fmla="*/ 27 h 27"/>
                <a:gd name="T2" fmla="*/ 5 w 45"/>
                <a:gd name="T3" fmla="*/ 27 h 27"/>
                <a:gd name="T4" fmla="*/ 5 w 45"/>
                <a:gd name="T5" fmla="*/ 27 h 27"/>
                <a:gd name="T6" fmla="*/ 14 w 45"/>
                <a:gd name="T7" fmla="*/ 27 h 27"/>
                <a:gd name="T8" fmla="*/ 14 w 45"/>
                <a:gd name="T9" fmla="*/ 27 h 27"/>
                <a:gd name="T10" fmla="*/ 18 w 45"/>
                <a:gd name="T11" fmla="*/ 23 h 27"/>
                <a:gd name="T12" fmla="*/ 22 w 45"/>
                <a:gd name="T13" fmla="*/ 27 h 27"/>
                <a:gd name="T14" fmla="*/ 27 w 45"/>
                <a:gd name="T15" fmla="*/ 27 h 27"/>
                <a:gd name="T16" fmla="*/ 27 w 45"/>
                <a:gd name="T17" fmla="*/ 27 h 27"/>
                <a:gd name="T18" fmla="*/ 27 w 45"/>
                <a:gd name="T19" fmla="*/ 23 h 27"/>
                <a:gd name="T20" fmla="*/ 31 w 45"/>
                <a:gd name="T21" fmla="*/ 18 h 27"/>
                <a:gd name="T22" fmla="*/ 31 w 45"/>
                <a:gd name="T23" fmla="*/ 18 h 27"/>
                <a:gd name="T24" fmla="*/ 31 w 45"/>
                <a:gd name="T25" fmla="*/ 14 h 27"/>
                <a:gd name="T26" fmla="*/ 31 w 45"/>
                <a:gd name="T27" fmla="*/ 14 h 27"/>
                <a:gd name="T28" fmla="*/ 36 w 45"/>
                <a:gd name="T29" fmla="*/ 14 h 27"/>
                <a:gd name="T30" fmla="*/ 36 w 45"/>
                <a:gd name="T31" fmla="*/ 9 h 27"/>
                <a:gd name="T32" fmla="*/ 40 w 45"/>
                <a:gd name="T33" fmla="*/ 9 h 27"/>
                <a:gd name="T34" fmla="*/ 40 w 45"/>
                <a:gd name="T35" fmla="*/ 9 h 27"/>
                <a:gd name="T36" fmla="*/ 40 w 45"/>
                <a:gd name="T37" fmla="*/ 5 h 27"/>
                <a:gd name="T38" fmla="*/ 45 w 45"/>
                <a:gd name="T39" fmla="*/ 9 h 27"/>
                <a:gd name="T40" fmla="*/ 45 w 45"/>
                <a:gd name="T41" fmla="*/ 9 h 27"/>
                <a:gd name="T42" fmla="*/ 40 w 45"/>
                <a:gd name="T43" fmla="*/ 0 h 27"/>
                <a:gd name="T44" fmla="*/ 27 w 45"/>
                <a:gd name="T45" fmla="*/ 5 h 27"/>
                <a:gd name="T46" fmla="*/ 18 w 45"/>
                <a:gd name="T47" fmla="*/ 9 h 27"/>
                <a:gd name="T48" fmla="*/ 5 w 45"/>
                <a:gd name="T49" fmla="*/ 9 h 27"/>
                <a:gd name="T50" fmla="*/ 0 w 45"/>
                <a:gd name="T51" fmla="*/ 9 h 27"/>
                <a:gd name="T52" fmla="*/ 5 w 45"/>
                <a:gd name="T53" fmla="*/ 14 h 27"/>
                <a:gd name="T54" fmla="*/ 5 w 45"/>
                <a:gd name="T55" fmla="*/ 18 h 27"/>
                <a:gd name="T56" fmla="*/ 9 w 45"/>
                <a:gd name="T57" fmla="*/ 27 h 27"/>
                <a:gd name="T58" fmla="*/ 5 w 45"/>
                <a:gd name="T5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5" h="27">
                  <a:moveTo>
                    <a:pt x="5" y="27"/>
                  </a:moveTo>
                  <a:lnTo>
                    <a:pt x="5" y="27"/>
                  </a:lnTo>
                  <a:lnTo>
                    <a:pt x="5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8" y="23"/>
                  </a:lnTo>
                  <a:lnTo>
                    <a:pt x="22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3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6" y="14"/>
                  </a:lnTo>
                  <a:lnTo>
                    <a:pt x="36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5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0" y="0"/>
                  </a:lnTo>
                  <a:lnTo>
                    <a:pt x="27" y="5"/>
                  </a:lnTo>
                  <a:lnTo>
                    <a:pt x="18" y="9"/>
                  </a:lnTo>
                  <a:lnTo>
                    <a:pt x="5" y="9"/>
                  </a:lnTo>
                  <a:lnTo>
                    <a:pt x="0" y="9"/>
                  </a:lnTo>
                  <a:lnTo>
                    <a:pt x="5" y="14"/>
                  </a:lnTo>
                  <a:lnTo>
                    <a:pt x="5" y="18"/>
                  </a:lnTo>
                  <a:lnTo>
                    <a:pt x="9" y="27"/>
                  </a:lnTo>
                  <a:lnTo>
                    <a:pt x="5" y="27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94" name="Freeform 34"/>
            <p:cNvSpPr>
              <a:spLocks noEditPoints="1"/>
            </p:cNvSpPr>
            <p:nvPr/>
          </p:nvSpPr>
          <p:spPr bwMode="gray">
            <a:xfrm>
              <a:off x="2239" y="1229"/>
              <a:ext cx="568" cy="1328"/>
            </a:xfrm>
            <a:custGeom>
              <a:avLst/>
              <a:gdLst>
                <a:gd name="T0" fmla="*/ 0 w 187"/>
                <a:gd name="T1" fmla="*/ 340 h 438"/>
                <a:gd name="T2" fmla="*/ 9 w 187"/>
                <a:gd name="T3" fmla="*/ 358 h 438"/>
                <a:gd name="T4" fmla="*/ 13 w 187"/>
                <a:gd name="T5" fmla="*/ 358 h 438"/>
                <a:gd name="T6" fmla="*/ 9 w 187"/>
                <a:gd name="T7" fmla="*/ 371 h 438"/>
                <a:gd name="T8" fmla="*/ 13 w 187"/>
                <a:gd name="T9" fmla="*/ 384 h 438"/>
                <a:gd name="T10" fmla="*/ 27 w 187"/>
                <a:gd name="T11" fmla="*/ 402 h 438"/>
                <a:gd name="T12" fmla="*/ 22 w 187"/>
                <a:gd name="T13" fmla="*/ 411 h 438"/>
                <a:gd name="T14" fmla="*/ 22 w 187"/>
                <a:gd name="T15" fmla="*/ 429 h 438"/>
                <a:gd name="T16" fmla="*/ 31 w 187"/>
                <a:gd name="T17" fmla="*/ 438 h 438"/>
                <a:gd name="T18" fmla="*/ 45 w 187"/>
                <a:gd name="T19" fmla="*/ 434 h 438"/>
                <a:gd name="T20" fmla="*/ 45 w 187"/>
                <a:gd name="T21" fmla="*/ 420 h 438"/>
                <a:gd name="T22" fmla="*/ 53 w 187"/>
                <a:gd name="T23" fmla="*/ 416 h 438"/>
                <a:gd name="T24" fmla="*/ 76 w 187"/>
                <a:gd name="T25" fmla="*/ 407 h 438"/>
                <a:gd name="T26" fmla="*/ 85 w 187"/>
                <a:gd name="T27" fmla="*/ 358 h 438"/>
                <a:gd name="T28" fmla="*/ 112 w 187"/>
                <a:gd name="T29" fmla="*/ 340 h 438"/>
                <a:gd name="T30" fmla="*/ 116 w 187"/>
                <a:gd name="T31" fmla="*/ 317 h 438"/>
                <a:gd name="T32" fmla="*/ 98 w 187"/>
                <a:gd name="T33" fmla="*/ 295 h 438"/>
                <a:gd name="T34" fmla="*/ 94 w 187"/>
                <a:gd name="T35" fmla="*/ 282 h 438"/>
                <a:gd name="T36" fmla="*/ 98 w 187"/>
                <a:gd name="T37" fmla="*/ 259 h 438"/>
                <a:gd name="T38" fmla="*/ 98 w 187"/>
                <a:gd name="T39" fmla="*/ 241 h 438"/>
                <a:gd name="T40" fmla="*/ 98 w 187"/>
                <a:gd name="T41" fmla="*/ 233 h 438"/>
                <a:gd name="T42" fmla="*/ 103 w 187"/>
                <a:gd name="T43" fmla="*/ 224 h 438"/>
                <a:gd name="T44" fmla="*/ 103 w 187"/>
                <a:gd name="T45" fmla="*/ 215 h 438"/>
                <a:gd name="T46" fmla="*/ 116 w 187"/>
                <a:gd name="T47" fmla="*/ 210 h 438"/>
                <a:gd name="T48" fmla="*/ 125 w 187"/>
                <a:gd name="T49" fmla="*/ 201 h 438"/>
                <a:gd name="T50" fmla="*/ 138 w 187"/>
                <a:gd name="T51" fmla="*/ 188 h 438"/>
                <a:gd name="T52" fmla="*/ 143 w 187"/>
                <a:gd name="T53" fmla="*/ 165 h 438"/>
                <a:gd name="T54" fmla="*/ 161 w 187"/>
                <a:gd name="T55" fmla="*/ 139 h 438"/>
                <a:gd name="T56" fmla="*/ 165 w 187"/>
                <a:gd name="T57" fmla="*/ 125 h 438"/>
                <a:gd name="T58" fmla="*/ 174 w 187"/>
                <a:gd name="T59" fmla="*/ 125 h 438"/>
                <a:gd name="T60" fmla="*/ 183 w 187"/>
                <a:gd name="T61" fmla="*/ 112 h 438"/>
                <a:gd name="T62" fmla="*/ 187 w 187"/>
                <a:gd name="T63" fmla="*/ 81 h 438"/>
                <a:gd name="T64" fmla="*/ 179 w 187"/>
                <a:gd name="T65" fmla="*/ 36 h 438"/>
                <a:gd name="T66" fmla="*/ 152 w 187"/>
                <a:gd name="T67" fmla="*/ 14 h 438"/>
                <a:gd name="T68" fmla="*/ 129 w 187"/>
                <a:gd name="T69" fmla="*/ 0 h 438"/>
                <a:gd name="T70" fmla="*/ 125 w 187"/>
                <a:gd name="T71" fmla="*/ 22 h 438"/>
                <a:gd name="T72" fmla="*/ 98 w 187"/>
                <a:gd name="T73" fmla="*/ 22 h 438"/>
                <a:gd name="T74" fmla="*/ 98 w 187"/>
                <a:gd name="T75" fmla="*/ 40 h 438"/>
                <a:gd name="T76" fmla="*/ 80 w 187"/>
                <a:gd name="T77" fmla="*/ 49 h 438"/>
                <a:gd name="T78" fmla="*/ 80 w 187"/>
                <a:gd name="T79" fmla="*/ 81 h 438"/>
                <a:gd name="T80" fmla="*/ 62 w 187"/>
                <a:gd name="T81" fmla="*/ 112 h 438"/>
                <a:gd name="T82" fmla="*/ 53 w 187"/>
                <a:gd name="T83" fmla="*/ 116 h 438"/>
                <a:gd name="T84" fmla="*/ 49 w 187"/>
                <a:gd name="T85" fmla="*/ 139 h 438"/>
                <a:gd name="T86" fmla="*/ 45 w 187"/>
                <a:gd name="T87" fmla="*/ 179 h 438"/>
                <a:gd name="T88" fmla="*/ 27 w 187"/>
                <a:gd name="T89" fmla="*/ 179 h 438"/>
                <a:gd name="T90" fmla="*/ 13 w 187"/>
                <a:gd name="T91" fmla="*/ 201 h 438"/>
                <a:gd name="T92" fmla="*/ 13 w 187"/>
                <a:gd name="T93" fmla="*/ 210 h 438"/>
                <a:gd name="T94" fmla="*/ 27 w 187"/>
                <a:gd name="T95" fmla="*/ 273 h 438"/>
                <a:gd name="T96" fmla="*/ 22 w 187"/>
                <a:gd name="T97" fmla="*/ 313 h 438"/>
                <a:gd name="T98" fmla="*/ 13 w 187"/>
                <a:gd name="T99" fmla="*/ 331 h 438"/>
                <a:gd name="T100" fmla="*/ 4 w 187"/>
                <a:gd name="T101" fmla="*/ 340 h 438"/>
                <a:gd name="T102" fmla="*/ 80 w 187"/>
                <a:gd name="T103" fmla="*/ 402 h 438"/>
                <a:gd name="T104" fmla="*/ 80 w 187"/>
                <a:gd name="T105" fmla="*/ 411 h 438"/>
                <a:gd name="T106" fmla="*/ 89 w 187"/>
                <a:gd name="T107" fmla="*/ 384 h 438"/>
                <a:gd name="T108" fmla="*/ 120 w 187"/>
                <a:gd name="T109" fmla="*/ 371 h 438"/>
                <a:gd name="T110" fmla="*/ 112 w 187"/>
                <a:gd name="T111" fmla="*/ 371 h 438"/>
                <a:gd name="T112" fmla="*/ 103 w 187"/>
                <a:gd name="T113" fmla="*/ 376 h 438"/>
                <a:gd name="T114" fmla="*/ 107 w 187"/>
                <a:gd name="T115" fmla="*/ 393 h 438"/>
                <a:gd name="T116" fmla="*/ 112 w 187"/>
                <a:gd name="T117" fmla="*/ 380 h 438"/>
                <a:gd name="T118" fmla="*/ 120 w 187"/>
                <a:gd name="T119" fmla="*/ 371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7" h="438">
                  <a:moveTo>
                    <a:pt x="4" y="340"/>
                  </a:moveTo>
                  <a:lnTo>
                    <a:pt x="0" y="340"/>
                  </a:lnTo>
                  <a:lnTo>
                    <a:pt x="0" y="358"/>
                  </a:lnTo>
                  <a:lnTo>
                    <a:pt x="9" y="358"/>
                  </a:lnTo>
                  <a:lnTo>
                    <a:pt x="9" y="353"/>
                  </a:lnTo>
                  <a:lnTo>
                    <a:pt x="13" y="358"/>
                  </a:lnTo>
                  <a:lnTo>
                    <a:pt x="9" y="367"/>
                  </a:lnTo>
                  <a:lnTo>
                    <a:pt x="9" y="371"/>
                  </a:lnTo>
                  <a:lnTo>
                    <a:pt x="9" y="384"/>
                  </a:lnTo>
                  <a:lnTo>
                    <a:pt x="13" y="384"/>
                  </a:lnTo>
                  <a:lnTo>
                    <a:pt x="18" y="398"/>
                  </a:lnTo>
                  <a:lnTo>
                    <a:pt x="27" y="402"/>
                  </a:lnTo>
                  <a:lnTo>
                    <a:pt x="18" y="411"/>
                  </a:lnTo>
                  <a:lnTo>
                    <a:pt x="22" y="411"/>
                  </a:lnTo>
                  <a:lnTo>
                    <a:pt x="18" y="411"/>
                  </a:lnTo>
                  <a:lnTo>
                    <a:pt x="22" y="429"/>
                  </a:lnTo>
                  <a:lnTo>
                    <a:pt x="22" y="434"/>
                  </a:lnTo>
                  <a:lnTo>
                    <a:pt x="31" y="438"/>
                  </a:lnTo>
                  <a:lnTo>
                    <a:pt x="45" y="438"/>
                  </a:lnTo>
                  <a:lnTo>
                    <a:pt x="45" y="434"/>
                  </a:lnTo>
                  <a:lnTo>
                    <a:pt x="45" y="429"/>
                  </a:lnTo>
                  <a:lnTo>
                    <a:pt x="45" y="420"/>
                  </a:lnTo>
                  <a:lnTo>
                    <a:pt x="53" y="420"/>
                  </a:lnTo>
                  <a:lnTo>
                    <a:pt x="53" y="416"/>
                  </a:lnTo>
                  <a:lnTo>
                    <a:pt x="71" y="416"/>
                  </a:lnTo>
                  <a:lnTo>
                    <a:pt x="76" y="407"/>
                  </a:lnTo>
                  <a:lnTo>
                    <a:pt x="80" y="380"/>
                  </a:lnTo>
                  <a:lnTo>
                    <a:pt x="85" y="358"/>
                  </a:lnTo>
                  <a:lnTo>
                    <a:pt x="94" y="344"/>
                  </a:lnTo>
                  <a:lnTo>
                    <a:pt x="112" y="340"/>
                  </a:lnTo>
                  <a:lnTo>
                    <a:pt x="107" y="331"/>
                  </a:lnTo>
                  <a:lnTo>
                    <a:pt x="116" y="317"/>
                  </a:lnTo>
                  <a:lnTo>
                    <a:pt x="112" y="308"/>
                  </a:lnTo>
                  <a:lnTo>
                    <a:pt x="98" y="295"/>
                  </a:lnTo>
                  <a:lnTo>
                    <a:pt x="94" y="291"/>
                  </a:lnTo>
                  <a:lnTo>
                    <a:pt x="94" y="282"/>
                  </a:lnTo>
                  <a:lnTo>
                    <a:pt x="94" y="259"/>
                  </a:lnTo>
                  <a:lnTo>
                    <a:pt x="98" y="259"/>
                  </a:lnTo>
                  <a:lnTo>
                    <a:pt x="94" y="255"/>
                  </a:lnTo>
                  <a:lnTo>
                    <a:pt x="98" y="241"/>
                  </a:lnTo>
                  <a:lnTo>
                    <a:pt x="94" y="237"/>
                  </a:lnTo>
                  <a:lnTo>
                    <a:pt x="98" y="233"/>
                  </a:lnTo>
                  <a:lnTo>
                    <a:pt x="98" y="224"/>
                  </a:lnTo>
                  <a:lnTo>
                    <a:pt x="103" y="224"/>
                  </a:lnTo>
                  <a:lnTo>
                    <a:pt x="107" y="219"/>
                  </a:lnTo>
                  <a:lnTo>
                    <a:pt x="103" y="215"/>
                  </a:lnTo>
                  <a:lnTo>
                    <a:pt x="112" y="206"/>
                  </a:lnTo>
                  <a:lnTo>
                    <a:pt x="116" y="210"/>
                  </a:lnTo>
                  <a:lnTo>
                    <a:pt x="125" y="197"/>
                  </a:lnTo>
                  <a:lnTo>
                    <a:pt x="125" y="201"/>
                  </a:lnTo>
                  <a:lnTo>
                    <a:pt x="129" y="192"/>
                  </a:lnTo>
                  <a:lnTo>
                    <a:pt x="138" y="188"/>
                  </a:lnTo>
                  <a:lnTo>
                    <a:pt x="152" y="174"/>
                  </a:lnTo>
                  <a:lnTo>
                    <a:pt x="143" y="165"/>
                  </a:lnTo>
                  <a:lnTo>
                    <a:pt x="152" y="148"/>
                  </a:lnTo>
                  <a:lnTo>
                    <a:pt x="161" y="139"/>
                  </a:lnTo>
                  <a:lnTo>
                    <a:pt x="161" y="130"/>
                  </a:lnTo>
                  <a:lnTo>
                    <a:pt x="165" y="125"/>
                  </a:lnTo>
                  <a:lnTo>
                    <a:pt x="165" y="121"/>
                  </a:lnTo>
                  <a:lnTo>
                    <a:pt x="174" y="125"/>
                  </a:lnTo>
                  <a:lnTo>
                    <a:pt x="187" y="125"/>
                  </a:lnTo>
                  <a:lnTo>
                    <a:pt x="183" y="112"/>
                  </a:lnTo>
                  <a:lnTo>
                    <a:pt x="183" y="98"/>
                  </a:lnTo>
                  <a:lnTo>
                    <a:pt x="187" y="81"/>
                  </a:lnTo>
                  <a:lnTo>
                    <a:pt x="183" y="58"/>
                  </a:lnTo>
                  <a:lnTo>
                    <a:pt x="179" y="36"/>
                  </a:lnTo>
                  <a:lnTo>
                    <a:pt x="174" y="22"/>
                  </a:lnTo>
                  <a:lnTo>
                    <a:pt x="152" y="14"/>
                  </a:lnTo>
                  <a:lnTo>
                    <a:pt x="138" y="0"/>
                  </a:lnTo>
                  <a:lnTo>
                    <a:pt x="129" y="0"/>
                  </a:lnTo>
                  <a:lnTo>
                    <a:pt x="125" y="9"/>
                  </a:lnTo>
                  <a:lnTo>
                    <a:pt x="125" y="22"/>
                  </a:lnTo>
                  <a:lnTo>
                    <a:pt x="103" y="18"/>
                  </a:lnTo>
                  <a:lnTo>
                    <a:pt x="98" y="22"/>
                  </a:lnTo>
                  <a:lnTo>
                    <a:pt x="103" y="36"/>
                  </a:lnTo>
                  <a:lnTo>
                    <a:pt x="98" y="40"/>
                  </a:lnTo>
                  <a:lnTo>
                    <a:pt x="89" y="36"/>
                  </a:lnTo>
                  <a:lnTo>
                    <a:pt x="80" y="49"/>
                  </a:lnTo>
                  <a:lnTo>
                    <a:pt x="76" y="63"/>
                  </a:lnTo>
                  <a:lnTo>
                    <a:pt x="80" y="81"/>
                  </a:lnTo>
                  <a:lnTo>
                    <a:pt x="58" y="103"/>
                  </a:lnTo>
                  <a:lnTo>
                    <a:pt x="62" y="112"/>
                  </a:lnTo>
                  <a:lnTo>
                    <a:pt x="58" y="121"/>
                  </a:lnTo>
                  <a:lnTo>
                    <a:pt x="53" y="116"/>
                  </a:lnTo>
                  <a:lnTo>
                    <a:pt x="49" y="121"/>
                  </a:lnTo>
                  <a:lnTo>
                    <a:pt x="49" y="139"/>
                  </a:lnTo>
                  <a:lnTo>
                    <a:pt x="40" y="165"/>
                  </a:lnTo>
                  <a:lnTo>
                    <a:pt x="45" y="179"/>
                  </a:lnTo>
                  <a:lnTo>
                    <a:pt x="36" y="183"/>
                  </a:lnTo>
                  <a:lnTo>
                    <a:pt x="27" y="179"/>
                  </a:lnTo>
                  <a:lnTo>
                    <a:pt x="18" y="183"/>
                  </a:lnTo>
                  <a:lnTo>
                    <a:pt x="13" y="201"/>
                  </a:lnTo>
                  <a:lnTo>
                    <a:pt x="18" y="206"/>
                  </a:lnTo>
                  <a:lnTo>
                    <a:pt x="13" y="210"/>
                  </a:lnTo>
                  <a:lnTo>
                    <a:pt x="13" y="255"/>
                  </a:lnTo>
                  <a:lnTo>
                    <a:pt x="27" y="273"/>
                  </a:lnTo>
                  <a:lnTo>
                    <a:pt x="18" y="286"/>
                  </a:lnTo>
                  <a:lnTo>
                    <a:pt x="22" y="313"/>
                  </a:lnTo>
                  <a:lnTo>
                    <a:pt x="13" y="322"/>
                  </a:lnTo>
                  <a:lnTo>
                    <a:pt x="13" y="331"/>
                  </a:lnTo>
                  <a:lnTo>
                    <a:pt x="13" y="344"/>
                  </a:lnTo>
                  <a:lnTo>
                    <a:pt x="4" y="340"/>
                  </a:lnTo>
                  <a:close/>
                  <a:moveTo>
                    <a:pt x="85" y="384"/>
                  </a:moveTo>
                  <a:lnTo>
                    <a:pt x="80" y="402"/>
                  </a:lnTo>
                  <a:lnTo>
                    <a:pt x="80" y="416"/>
                  </a:lnTo>
                  <a:lnTo>
                    <a:pt x="80" y="411"/>
                  </a:lnTo>
                  <a:lnTo>
                    <a:pt x="80" y="407"/>
                  </a:lnTo>
                  <a:lnTo>
                    <a:pt x="89" y="384"/>
                  </a:lnTo>
                  <a:lnTo>
                    <a:pt x="85" y="384"/>
                  </a:lnTo>
                  <a:close/>
                  <a:moveTo>
                    <a:pt x="120" y="371"/>
                  </a:moveTo>
                  <a:lnTo>
                    <a:pt x="116" y="367"/>
                  </a:lnTo>
                  <a:lnTo>
                    <a:pt x="112" y="371"/>
                  </a:lnTo>
                  <a:lnTo>
                    <a:pt x="107" y="367"/>
                  </a:lnTo>
                  <a:lnTo>
                    <a:pt x="103" y="376"/>
                  </a:lnTo>
                  <a:lnTo>
                    <a:pt x="103" y="384"/>
                  </a:lnTo>
                  <a:lnTo>
                    <a:pt x="107" y="393"/>
                  </a:lnTo>
                  <a:lnTo>
                    <a:pt x="112" y="380"/>
                  </a:lnTo>
                  <a:lnTo>
                    <a:pt x="112" y="380"/>
                  </a:lnTo>
                  <a:lnTo>
                    <a:pt x="112" y="371"/>
                  </a:lnTo>
                  <a:lnTo>
                    <a:pt x="120" y="37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95" name="Freeform 35"/>
            <p:cNvSpPr>
              <a:spLocks/>
            </p:cNvSpPr>
            <p:nvPr/>
          </p:nvSpPr>
          <p:spPr bwMode="gray">
            <a:xfrm>
              <a:off x="2035" y="3112"/>
              <a:ext cx="177" cy="109"/>
            </a:xfrm>
            <a:custGeom>
              <a:avLst/>
              <a:gdLst>
                <a:gd name="T0" fmla="*/ 13 w 58"/>
                <a:gd name="T1" fmla="*/ 36 h 36"/>
                <a:gd name="T2" fmla="*/ 9 w 58"/>
                <a:gd name="T3" fmla="*/ 27 h 36"/>
                <a:gd name="T4" fmla="*/ 4 w 58"/>
                <a:gd name="T5" fmla="*/ 23 h 36"/>
                <a:gd name="T6" fmla="*/ 0 w 58"/>
                <a:gd name="T7" fmla="*/ 32 h 36"/>
                <a:gd name="T8" fmla="*/ 0 w 58"/>
                <a:gd name="T9" fmla="*/ 23 h 36"/>
                <a:gd name="T10" fmla="*/ 9 w 58"/>
                <a:gd name="T11" fmla="*/ 9 h 36"/>
                <a:gd name="T12" fmla="*/ 9 w 58"/>
                <a:gd name="T13" fmla="*/ 5 h 36"/>
                <a:gd name="T14" fmla="*/ 18 w 58"/>
                <a:gd name="T15" fmla="*/ 5 h 36"/>
                <a:gd name="T16" fmla="*/ 22 w 58"/>
                <a:gd name="T17" fmla="*/ 0 h 36"/>
                <a:gd name="T18" fmla="*/ 22 w 58"/>
                <a:gd name="T19" fmla="*/ 5 h 36"/>
                <a:gd name="T20" fmla="*/ 31 w 58"/>
                <a:gd name="T21" fmla="*/ 0 h 36"/>
                <a:gd name="T22" fmla="*/ 40 w 58"/>
                <a:gd name="T23" fmla="*/ 0 h 36"/>
                <a:gd name="T24" fmla="*/ 49 w 58"/>
                <a:gd name="T25" fmla="*/ 0 h 36"/>
                <a:gd name="T26" fmla="*/ 49 w 58"/>
                <a:gd name="T27" fmla="*/ 14 h 36"/>
                <a:gd name="T28" fmla="*/ 49 w 58"/>
                <a:gd name="T29" fmla="*/ 18 h 36"/>
                <a:gd name="T30" fmla="*/ 58 w 58"/>
                <a:gd name="T31" fmla="*/ 14 h 36"/>
                <a:gd name="T32" fmla="*/ 58 w 58"/>
                <a:gd name="T33" fmla="*/ 18 h 36"/>
                <a:gd name="T34" fmla="*/ 53 w 58"/>
                <a:gd name="T35" fmla="*/ 27 h 36"/>
                <a:gd name="T36" fmla="*/ 45 w 58"/>
                <a:gd name="T37" fmla="*/ 27 h 36"/>
                <a:gd name="T38" fmla="*/ 40 w 58"/>
                <a:gd name="T39" fmla="*/ 23 h 36"/>
                <a:gd name="T40" fmla="*/ 40 w 58"/>
                <a:gd name="T41" fmla="*/ 32 h 36"/>
                <a:gd name="T42" fmla="*/ 36 w 58"/>
                <a:gd name="T43" fmla="*/ 36 h 36"/>
                <a:gd name="T44" fmla="*/ 31 w 58"/>
                <a:gd name="T45" fmla="*/ 27 h 36"/>
                <a:gd name="T46" fmla="*/ 27 w 58"/>
                <a:gd name="T47" fmla="*/ 27 h 36"/>
                <a:gd name="T48" fmla="*/ 27 w 58"/>
                <a:gd name="T49" fmla="*/ 36 h 36"/>
                <a:gd name="T50" fmla="*/ 18 w 58"/>
                <a:gd name="T51" fmla="*/ 36 h 36"/>
                <a:gd name="T52" fmla="*/ 13 w 58"/>
                <a:gd name="T5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8" h="36">
                  <a:moveTo>
                    <a:pt x="13" y="36"/>
                  </a:moveTo>
                  <a:lnTo>
                    <a:pt x="9" y="27"/>
                  </a:lnTo>
                  <a:lnTo>
                    <a:pt x="4" y="23"/>
                  </a:lnTo>
                  <a:lnTo>
                    <a:pt x="0" y="32"/>
                  </a:lnTo>
                  <a:lnTo>
                    <a:pt x="0" y="23"/>
                  </a:lnTo>
                  <a:lnTo>
                    <a:pt x="9" y="9"/>
                  </a:lnTo>
                  <a:lnTo>
                    <a:pt x="9" y="5"/>
                  </a:lnTo>
                  <a:lnTo>
                    <a:pt x="18" y="5"/>
                  </a:lnTo>
                  <a:lnTo>
                    <a:pt x="22" y="0"/>
                  </a:lnTo>
                  <a:lnTo>
                    <a:pt x="22" y="5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49" y="0"/>
                  </a:lnTo>
                  <a:lnTo>
                    <a:pt x="49" y="14"/>
                  </a:lnTo>
                  <a:lnTo>
                    <a:pt x="49" y="18"/>
                  </a:lnTo>
                  <a:lnTo>
                    <a:pt x="58" y="14"/>
                  </a:lnTo>
                  <a:lnTo>
                    <a:pt x="58" y="18"/>
                  </a:lnTo>
                  <a:lnTo>
                    <a:pt x="53" y="27"/>
                  </a:lnTo>
                  <a:lnTo>
                    <a:pt x="45" y="27"/>
                  </a:lnTo>
                  <a:lnTo>
                    <a:pt x="40" y="23"/>
                  </a:lnTo>
                  <a:lnTo>
                    <a:pt x="40" y="32"/>
                  </a:lnTo>
                  <a:lnTo>
                    <a:pt x="36" y="36"/>
                  </a:lnTo>
                  <a:lnTo>
                    <a:pt x="31" y="27"/>
                  </a:lnTo>
                  <a:lnTo>
                    <a:pt x="27" y="27"/>
                  </a:lnTo>
                  <a:lnTo>
                    <a:pt x="27" y="36"/>
                  </a:lnTo>
                  <a:lnTo>
                    <a:pt x="18" y="36"/>
                  </a:lnTo>
                  <a:lnTo>
                    <a:pt x="13" y="36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96" name="Freeform 36"/>
            <p:cNvSpPr>
              <a:spLocks noEditPoints="1"/>
            </p:cNvSpPr>
            <p:nvPr/>
          </p:nvSpPr>
          <p:spPr bwMode="gray">
            <a:xfrm>
              <a:off x="2887" y="3453"/>
              <a:ext cx="828" cy="379"/>
            </a:xfrm>
            <a:custGeom>
              <a:avLst/>
              <a:gdLst>
                <a:gd name="T0" fmla="*/ 0 w 273"/>
                <a:gd name="T1" fmla="*/ 18 h 125"/>
                <a:gd name="T2" fmla="*/ 18 w 273"/>
                <a:gd name="T3" fmla="*/ 0 h 125"/>
                <a:gd name="T4" fmla="*/ 32 w 273"/>
                <a:gd name="T5" fmla="*/ 4 h 125"/>
                <a:gd name="T6" fmla="*/ 45 w 273"/>
                <a:gd name="T7" fmla="*/ 18 h 125"/>
                <a:gd name="T8" fmla="*/ 32 w 273"/>
                <a:gd name="T9" fmla="*/ 22 h 125"/>
                <a:gd name="T10" fmla="*/ 14 w 273"/>
                <a:gd name="T11" fmla="*/ 31 h 125"/>
                <a:gd name="T12" fmla="*/ 0 w 273"/>
                <a:gd name="T13" fmla="*/ 40 h 125"/>
                <a:gd name="T14" fmla="*/ 9 w 273"/>
                <a:gd name="T15" fmla="*/ 27 h 125"/>
                <a:gd name="T16" fmla="*/ 63 w 273"/>
                <a:gd name="T17" fmla="*/ 112 h 125"/>
                <a:gd name="T18" fmla="*/ 85 w 273"/>
                <a:gd name="T19" fmla="*/ 107 h 125"/>
                <a:gd name="T20" fmla="*/ 99 w 273"/>
                <a:gd name="T21" fmla="*/ 116 h 125"/>
                <a:gd name="T22" fmla="*/ 121 w 273"/>
                <a:gd name="T23" fmla="*/ 107 h 125"/>
                <a:gd name="T24" fmla="*/ 139 w 273"/>
                <a:gd name="T25" fmla="*/ 112 h 125"/>
                <a:gd name="T26" fmla="*/ 148 w 273"/>
                <a:gd name="T27" fmla="*/ 107 h 125"/>
                <a:gd name="T28" fmla="*/ 143 w 273"/>
                <a:gd name="T29" fmla="*/ 116 h 125"/>
                <a:gd name="T30" fmla="*/ 139 w 273"/>
                <a:gd name="T31" fmla="*/ 125 h 125"/>
                <a:gd name="T32" fmla="*/ 157 w 273"/>
                <a:gd name="T33" fmla="*/ 116 h 125"/>
                <a:gd name="T34" fmla="*/ 179 w 273"/>
                <a:gd name="T35" fmla="*/ 103 h 125"/>
                <a:gd name="T36" fmla="*/ 210 w 273"/>
                <a:gd name="T37" fmla="*/ 103 h 125"/>
                <a:gd name="T38" fmla="*/ 241 w 273"/>
                <a:gd name="T39" fmla="*/ 103 h 125"/>
                <a:gd name="T40" fmla="*/ 264 w 273"/>
                <a:gd name="T41" fmla="*/ 103 h 125"/>
                <a:gd name="T42" fmla="*/ 273 w 273"/>
                <a:gd name="T43" fmla="*/ 94 h 125"/>
                <a:gd name="T44" fmla="*/ 259 w 273"/>
                <a:gd name="T45" fmla="*/ 63 h 125"/>
                <a:gd name="T46" fmla="*/ 264 w 273"/>
                <a:gd name="T47" fmla="*/ 45 h 125"/>
                <a:gd name="T48" fmla="*/ 250 w 273"/>
                <a:gd name="T49" fmla="*/ 22 h 125"/>
                <a:gd name="T50" fmla="*/ 219 w 273"/>
                <a:gd name="T51" fmla="*/ 13 h 125"/>
                <a:gd name="T52" fmla="*/ 206 w 273"/>
                <a:gd name="T53" fmla="*/ 22 h 125"/>
                <a:gd name="T54" fmla="*/ 183 w 273"/>
                <a:gd name="T55" fmla="*/ 22 h 125"/>
                <a:gd name="T56" fmla="*/ 148 w 273"/>
                <a:gd name="T57" fmla="*/ 18 h 125"/>
                <a:gd name="T58" fmla="*/ 134 w 273"/>
                <a:gd name="T59" fmla="*/ 9 h 125"/>
                <a:gd name="T60" fmla="*/ 130 w 273"/>
                <a:gd name="T61" fmla="*/ 0 h 125"/>
                <a:gd name="T62" fmla="*/ 103 w 273"/>
                <a:gd name="T63" fmla="*/ 0 h 125"/>
                <a:gd name="T64" fmla="*/ 76 w 273"/>
                <a:gd name="T65" fmla="*/ 18 h 125"/>
                <a:gd name="T66" fmla="*/ 54 w 273"/>
                <a:gd name="T67" fmla="*/ 18 h 125"/>
                <a:gd name="T68" fmla="*/ 45 w 273"/>
                <a:gd name="T69" fmla="*/ 22 h 125"/>
                <a:gd name="T70" fmla="*/ 40 w 273"/>
                <a:gd name="T71" fmla="*/ 27 h 125"/>
                <a:gd name="T72" fmla="*/ 36 w 273"/>
                <a:gd name="T73" fmla="*/ 31 h 125"/>
                <a:gd name="T74" fmla="*/ 23 w 273"/>
                <a:gd name="T75" fmla="*/ 40 h 125"/>
                <a:gd name="T76" fmla="*/ 9 w 273"/>
                <a:gd name="T77" fmla="*/ 36 h 125"/>
                <a:gd name="T78" fmla="*/ 0 w 273"/>
                <a:gd name="T79" fmla="*/ 49 h 125"/>
                <a:gd name="T80" fmla="*/ 9 w 273"/>
                <a:gd name="T81" fmla="*/ 54 h 125"/>
                <a:gd name="T82" fmla="*/ 14 w 273"/>
                <a:gd name="T83" fmla="*/ 72 h 125"/>
                <a:gd name="T84" fmla="*/ 5 w 273"/>
                <a:gd name="T85" fmla="*/ 67 h 125"/>
                <a:gd name="T86" fmla="*/ 9 w 273"/>
                <a:gd name="T87" fmla="*/ 76 h 125"/>
                <a:gd name="T88" fmla="*/ 14 w 273"/>
                <a:gd name="T89" fmla="*/ 85 h 125"/>
                <a:gd name="T90" fmla="*/ 23 w 273"/>
                <a:gd name="T91" fmla="*/ 94 h 125"/>
                <a:gd name="T92" fmla="*/ 27 w 273"/>
                <a:gd name="T93" fmla="*/ 98 h 125"/>
                <a:gd name="T94" fmla="*/ 23 w 273"/>
                <a:gd name="T95" fmla="*/ 107 h 125"/>
                <a:gd name="T96" fmla="*/ 32 w 273"/>
                <a:gd name="T97" fmla="*/ 107 h 125"/>
                <a:gd name="T98" fmla="*/ 45 w 273"/>
                <a:gd name="T99" fmla="*/ 103 h 125"/>
                <a:gd name="T100" fmla="*/ 54 w 273"/>
                <a:gd name="T101" fmla="*/ 116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3" h="125">
                  <a:moveTo>
                    <a:pt x="0" y="22"/>
                  </a:moveTo>
                  <a:lnTo>
                    <a:pt x="0" y="18"/>
                  </a:lnTo>
                  <a:lnTo>
                    <a:pt x="0" y="9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32" y="4"/>
                  </a:lnTo>
                  <a:lnTo>
                    <a:pt x="32" y="13"/>
                  </a:lnTo>
                  <a:lnTo>
                    <a:pt x="45" y="18"/>
                  </a:lnTo>
                  <a:lnTo>
                    <a:pt x="36" y="22"/>
                  </a:lnTo>
                  <a:lnTo>
                    <a:pt x="32" y="22"/>
                  </a:lnTo>
                  <a:lnTo>
                    <a:pt x="18" y="22"/>
                  </a:lnTo>
                  <a:lnTo>
                    <a:pt x="14" y="31"/>
                  </a:lnTo>
                  <a:lnTo>
                    <a:pt x="9" y="31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9" y="27"/>
                  </a:lnTo>
                  <a:lnTo>
                    <a:pt x="0" y="22"/>
                  </a:lnTo>
                  <a:close/>
                  <a:moveTo>
                    <a:pt x="63" y="112"/>
                  </a:moveTo>
                  <a:lnTo>
                    <a:pt x="67" y="103"/>
                  </a:lnTo>
                  <a:lnTo>
                    <a:pt x="85" y="107"/>
                  </a:lnTo>
                  <a:lnTo>
                    <a:pt x="90" y="116"/>
                  </a:lnTo>
                  <a:lnTo>
                    <a:pt x="99" y="116"/>
                  </a:lnTo>
                  <a:lnTo>
                    <a:pt x="116" y="112"/>
                  </a:lnTo>
                  <a:lnTo>
                    <a:pt x="121" y="107"/>
                  </a:lnTo>
                  <a:lnTo>
                    <a:pt x="125" y="107"/>
                  </a:lnTo>
                  <a:lnTo>
                    <a:pt x="139" y="112"/>
                  </a:lnTo>
                  <a:lnTo>
                    <a:pt x="143" y="103"/>
                  </a:lnTo>
                  <a:lnTo>
                    <a:pt x="148" y="107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21"/>
                  </a:lnTo>
                  <a:lnTo>
                    <a:pt x="139" y="125"/>
                  </a:lnTo>
                  <a:lnTo>
                    <a:pt x="148" y="125"/>
                  </a:lnTo>
                  <a:lnTo>
                    <a:pt x="157" y="116"/>
                  </a:lnTo>
                  <a:lnTo>
                    <a:pt x="157" y="107"/>
                  </a:lnTo>
                  <a:lnTo>
                    <a:pt x="179" y="103"/>
                  </a:lnTo>
                  <a:lnTo>
                    <a:pt x="197" y="107"/>
                  </a:lnTo>
                  <a:lnTo>
                    <a:pt x="210" y="103"/>
                  </a:lnTo>
                  <a:lnTo>
                    <a:pt x="233" y="98"/>
                  </a:lnTo>
                  <a:lnTo>
                    <a:pt x="241" y="103"/>
                  </a:lnTo>
                  <a:lnTo>
                    <a:pt x="246" y="98"/>
                  </a:lnTo>
                  <a:lnTo>
                    <a:pt x="264" y="103"/>
                  </a:lnTo>
                  <a:lnTo>
                    <a:pt x="273" y="98"/>
                  </a:lnTo>
                  <a:lnTo>
                    <a:pt x="273" y="94"/>
                  </a:lnTo>
                  <a:lnTo>
                    <a:pt x="264" y="89"/>
                  </a:lnTo>
                  <a:lnTo>
                    <a:pt x="259" y="63"/>
                  </a:lnTo>
                  <a:lnTo>
                    <a:pt x="268" y="54"/>
                  </a:lnTo>
                  <a:lnTo>
                    <a:pt x="264" y="45"/>
                  </a:lnTo>
                  <a:lnTo>
                    <a:pt x="255" y="40"/>
                  </a:lnTo>
                  <a:lnTo>
                    <a:pt x="250" y="22"/>
                  </a:lnTo>
                  <a:lnTo>
                    <a:pt x="241" y="18"/>
                  </a:lnTo>
                  <a:lnTo>
                    <a:pt x="219" y="13"/>
                  </a:lnTo>
                  <a:lnTo>
                    <a:pt x="210" y="18"/>
                  </a:lnTo>
                  <a:lnTo>
                    <a:pt x="206" y="22"/>
                  </a:lnTo>
                  <a:lnTo>
                    <a:pt x="192" y="18"/>
                  </a:lnTo>
                  <a:lnTo>
                    <a:pt x="183" y="22"/>
                  </a:lnTo>
                  <a:lnTo>
                    <a:pt x="170" y="22"/>
                  </a:lnTo>
                  <a:lnTo>
                    <a:pt x="148" y="18"/>
                  </a:lnTo>
                  <a:lnTo>
                    <a:pt x="143" y="9"/>
                  </a:lnTo>
                  <a:lnTo>
                    <a:pt x="134" y="9"/>
                  </a:lnTo>
                  <a:lnTo>
                    <a:pt x="134" y="0"/>
                  </a:lnTo>
                  <a:lnTo>
                    <a:pt x="130" y="0"/>
                  </a:lnTo>
                  <a:lnTo>
                    <a:pt x="125" y="4"/>
                  </a:lnTo>
                  <a:lnTo>
                    <a:pt x="103" y="0"/>
                  </a:lnTo>
                  <a:lnTo>
                    <a:pt x="76" y="13"/>
                  </a:lnTo>
                  <a:lnTo>
                    <a:pt x="76" y="18"/>
                  </a:lnTo>
                  <a:lnTo>
                    <a:pt x="63" y="18"/>
                  </a:lnTo>
                  <a:lnTo>
                    <a:pt x="54" y="18"/>
                  </a:lnTo>
                  <a:lnTo>
                    <a:pt x="45" y="18"/>
                  </a:lnTo>
                  <a:lnTo>
                    <a:pt x="45" y="22"/>
                  </a:lnTo>
                  <a:lnTo>
                    <a:pt x="45" y="27"/>
                  </a:lnTo>
                  <a:lnTo>
                    <a:pt x="40" y="27"/>
                  </a:lnTo>
                  <a:lnTo>
                    <a:pt x="45" y="31"/>
                  </a:lnTo>
                  <a:lnTo>
                    <a:pt x="36" y="31"/>
                  </a:lnTo>
                  <a:lnTo>
                    <a:pt x="27" y="31"/>
                  </a:lnTo>
                  <a:lnTo>
                    <a:pt x="23" y="40"/>
                  </a:lnTo>
                  <a:lnTo>
                    <a:pt x="14" y="36"/>
                  </a:lnTo>
                  <a:lnTo>
                    <a:pt x="9" y="36"/>
                  </a:lnTo>
                  <a:lnTo>
                    <a:pt x="0" y="40"/>
                  </a:lnTo>
                  <a:lnTo>
                    <a:pt x="0" y="49"/>
                  </a:lnTo>
                  <a:lnTo>
                    <a:pt x="14" y="49"/>
                  </a:lnTo>
                  <a:lnTo>
                    <a:pt x="9" y="54"/>
                  </a:lnTo>
                  <a:lnTo>
                    <a:pt x="14" y="67"/>
                  </a:lnTo>
                  <a:lnTo>
                    <a:pt x="14" y="72"/>
                  </a:lnTo>
                  <a:lnTo>
                    <a:pt x="9" y="72"/>
                  </a:lnTo>
                  <a:lnTo>
                    <a:pt x="5" y="67"/>
                  </a:lnTo>
                  <a:lnTo>
                    <a:pt x="5" y="76"/>
                  </a:lnTo>
                  <a:lnTo>
                    <a:pt x="9" y="76"/>
                  </a:lnTo>
                  <a:lnTo>
                    <a:pt x="14" y="80"/>
                  </a:lnTo>
                  <a:lnTo>
                    <a:pt x="14" y="85"/>
                  </a:lnTo>
                  <a:lnTo>
                    <a:pt x="14" y="94"/>
                  </a:lnTo>
                  <a:lnTo>
                    <a:pt x="23" y="94"/>
                  </a:lnTo>
                  <a:lnTo>
                    <a:pt x="14" y="98"/>
                  </a:lnTo>
                  <a:lnTo>
                    <a:pt x="27" y="98"/>
                  </a:lnTo>
                  <a:lnTo>
                    <a:pt x="27" y="103"/>
                  </a:lnTo>
                  <a:lnTo>
                    <a:pt x="23" y="107"/>
                  </a:lnTo>
                  <a:lnTo>
                    <a:pt x="27" y="103"/>
                  </a:lnTo>
                  <a:lnTo>
                    <a:pt x="32" y="107"/>
                  </a:lnTo>
                  <a:lnTo>
                    <a:pt x="36" y="98"/>
                  </a:lnTo>
                  <a:lnTo>
                    <a:pt x="45" y="103"/>
                  </a:lnTo>
                  <a:lnTo>
                    <a:pt x="49" y="112"/>
                  </a:lnTo>
                  <a:lnTo>
                    <a:pt x="54" y="116"/>
                  </a:lnTo>
                  <a:lnTo>
                    <a:pt x="63" y="11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97" name="Freeform 37"/>
            <p:cNvSpPr>
              <a:spLocks/>
            </p:cNvSpPr>
            <p:nvPr/>
          </p:nvSpPr>
          <p:spPr bwMode="gray">
            <a:xfrm>
              <a:off x="2726" y="2803"/>
              <a:ext cx="772" cy="513"/>
            </a:xfrm>
            <a:custGeom>
              <a:avLst/>
              <a:gdLst>
                <a:gd name="T0" fmla="*/ 4 w 254"/>
                <a:gd name="T1" fmla="*/ 71 h 169"/>
                <a:gd name="T2" fmla="*/ 4 w 254"/>
                <a:gd name="T3" fmla="*/ 67 h 169"/>
                <a:gd name="T4" fmla="*/ 22 w 254"/>
                <a:gd name="T5" fmla="*/ 49 h 169"/>
                <a:gd name="T6" fmla="*/ 22 w 254"/>
                <a:gd name="T7" fmla="*/ 40 h 169"/>
                <a:gd name="T8" fmla="*/ 18 w 254"/>
                <a:gd name="T9" fmla="*/ 17 h 169"/>
                <a:gd name="T10" fmla="*/ 26 w 254"/>
                <a:gd name="T11" fmla="*/ 17 h 169"/>
                <a:gd name="T12" fmla="*/ 35 w 254"/>
                <a:gd name="T13" fmla="*/ 4 h 169"/>
                <a:gd name="T14" fmla="*/ 58 w 254"/>
                <a:gd name="T15" fmla="*/ 13 h 169"/>
                <a:gd name="T16" fmla="*/ 76 w 254"/>
                <a:gd name="T17" fmla="*/ 13 h 169"/>
                <a:gd name="T18" fmla="*/ 80 w 254"/>
                <a:gd name="T19" fmla="*/ 17 h 169"/>
                <a:gd name="T20" fmla="*/ 89 w 254"/>
                <a:gd name="T21" fmla="*/ 13 h 169"/>
                <a:gd name="T22" fmla="*/ 98 w 254"/>
                <a:gd name="T23" fmla="*/ 13 h 169"/>
                <a:gd name="T24" fmla="*/ 111 w 254"/>
                <a:gd name="T25" fmla="*/ 17 h 169"/>
                <a:gd name="T26" fmla="*/ 120 w 254"/>
                <a:gd name="T27" fmla="*/ 17 h 169"/>
                <a:gd name="T28" fmla="*/ 125 w 254"/>
                <a:gd name="T29" fmla="*/ 0 h 169"/>
                <a:gd name="T30" fmla="*/ 138 w 254"/>
                <a:gd name="T31" fmla="*/ 4 h 169"/>
                <a:gd name="T32" fmla="*/ 147 w 254"/>
                <a:gd name="T33" fmla="*/ 4 h 169"/>
                <a:gd name="T34" fmla="*/ 165 w 254"/>
                <a:gd name="T35" fmla="*/ 0 h 169"/>
                <a:gd name="T36" fmla="*/ 174 w 254"/>
                <a:gd name="T37" fmla="*/ 8 h 169"/>
                <a:gd name="T38" fmla="*/ 187 w 254"/>
                <a:gd name="T39" fmla="*/ 22 h 169"/>
                <a:gd name="T40" fmla="*/ 192 w 254"/>
                <a:gd name="T41" fmla="*/ 44 h 169"/>
                <a:gd name="T42" fmla="*/ 205 w 254"/>
                <a:gd name="T43" fmla="*/ 49 h 169"/>
                <a:gd name="T44" fmla="*/ 219 w 254"/>
                <a:gd name="T45" fmla="*/ 44 h 169"/>
                <a:gd name="T46" fmla="*/ 223 w 254"/>
                <a:gd name="T47" fmla="*/ 53 h 169"/>
                <a:gd name="T48" fmla="*/ 232 w 254"/>
                <a:gd name="T49" fmla="*/ 58 h 169"/>
                <a:gd name="T50" fmla="*/ 241 w 254"/>
                <a:gd name="T51" fmla="*/ 58 h 169"/>
                <a:gd name="T52" fmla="*/ 250 w 254"/>
                <a:gd name="T53" fmla="*/ 71 h 169"/>
                <a:gd name="T54" fmla="*/ 250 w 254"/>
                <a:gd name="T55" fmla="*/ 80 h 169"/>
                <a:gd name="T56" fmla="*/ 250 w 254"/>
                <a:gd name="T57" fmla="*/ 93 h 169"/>
                <a:gd name="T58" fmla="*/ 232 w 254"/>
                <a:gd name="T59" fmla="*/ 111 h 169"/>
                <a:gd name="T60" fmla="*/ 205 w 254"/>
                <a:gd name="T61" fmla="*/ 120 h 169"/>
                <a:gd name="T62" fmla="*/ 192 w 254"/>
                <a:gd name="T63" fmla="*/ 125 h 169"/>
                <a:gd name="T64" fmla="*/ 183 w 254"/>
                <a:gd name="T65" fmla="*/ 125 h 169"/>
                <a:gd name="T66" fmla="*/ 192 w 254"/>
                <a:gd name="T67" fmla="*/ 147 h 169"/>
                <a:gd name="T68" fmla="*/ 201 w 254"/>
                <a:gd name="T69" fmla="*/ 156 h 169"/>
                <a:gd name="T70" fmla="*/ 192 w 254"/>
                <a:gd name="T71" fmla="*/ 156 h 169"/>
                <a:gd name="T72" fmla="*/ 178 w 254"/>
                <a:gd name="T73" fmla="*/ 160 h 169"/>
                <a:gd name="T74" fmla="*/ 156 w 254"/>
                <a:gd name="T75" fmla="*/ 165 h 169"/>
                <a:gd name="T76" fmla="*/ 160 w 254"/>
                <a:gd name="T77" fmla="*/ 151 h 169"/>
                <a:gd name="T78" fmla="*/ 147 w 254"/>
                <a:gd name="T79" fmla="*/ 147 h 169"/>
                <a:gd name="T80" fmla="*/ 165 w 254"/>
                <a:gd name="T81" fmla="*/ 138 h 169"/>
                <a:gd name="T82" fmla="*/ 156 w 254"/>
                <a:gd name="T83" fmla="*/ 129 h 169"/>
                <a:gd name="T84" fmla="*/ 138 w 254"/>
                <a:gd name="T85" fmla="*/ 129 h 169"/>
                <a:gd name="T86" fmla="*/ 138 w 254"/>
                <a:gd name="T87" fmla="*/ 120 h 169"/>
                <a:gd name="T88" fmla="*/ 116 w 254"/>
                <a:gd name="T89" fmla="*/ 129 h 169"/>
                <a:gd name="T90" fmla="*/ 111 w 254"/>
                <a:gd name="T91" fmla="*/ 129 h 169"/>
                <a:gd name="T92" fmla="*/ 111 w 254"/>
                <a:gd name="T93" fmla="*/ 143 h 169"/>
                <a:gd name="T94" fmla="*/ 102 w 254"/>
                <a:gd name="T95" fmla="*/ 151 h 169"/>
                <a:gd name="T96" fmla="*/ 89 w 254"/>
                <a:gd name="T97" fmla="*/ 156 h 169"/>
                <a:gd name="T98" fmla="*/ 80 w 254"/>
                <a:gd name="T99" fmla="*/ 147 h 169"/>
                <a:gd name="T100" fmla="*/ 93 w 254"/>
                <a:gd name="T101" fmla="*/ 143 h 169"/>
                <a:gd name="T102" fmla="*/ 93 w 254"/>
                <a:gd name="T103" fmla="*/ 129 h 169"/>
                <a:gd name="T104" fmla="*/ 98 w 254"/>
                <a:gd name="T105" fmla="*/ 129 h 169"/>
                <a:gd name="T106" fmla="*/ 107 w 254"/>
                <a:gd name="T107" fmla="*/ 129 h 169"/>
                <a:gd name="T108" fmla="*/ 102 w 254"/>
                <a:gd name="T109" fmla="*/ 111 h 169"/>
                <a:gd name="T110" fmla="*/ 89 w 254"/>
                <a:gd name="T111" fmla="*/ 93 h 169"/>
                <a:gd name="T112" fmla="*/ 80 w 254"/>
                <a:gd name="T113" fmla="*/ 89 h 169"/>
                <a:gd name="T114" fmla="*/ 76 w 254"/>
                <a:gd name="T115" fmla="*/ 89 h 169"/>
                <a:gd name="T116" fmla="*/ 40 w 254"/>
                <a:gd name="T117" fmla="*/ 98 h 169"/>
                <a:gd name="T118" fmla="*/ 9 w 254"/>
                <a:gd name="T119" fmla="*/ 98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4" h="169">
                  <a:moveTo>
                    <a:pt x="0" y="84"/>
                  </a:moveTo>
                  <a:lnTo>
                    <a:pt x="4" y="71"/>
                  </a:lnTo>
                  <a:lnTo>
                    <a:pt x="9" y="71"/>
                  </a:lnTo>
                  <a:lnTo>
                    <a:pt x="4" y="67"/>
                  </a:lnTo>
                  <a:lnTo>
                    <a:pt x="13" y="53"/>
                  </a:lnTo>
                  <a:lnTo>
                    <a:pt x="22" y="49"/>
                  </a:lnTo>
                  <a:lnTo>
                    <a:pt x="26" y="44"/>
                  </a:lnTo>
                  <a:lnTo>
                    <a:pt x="22" y="40"/>
                  </a:lnTo>
                  <a:lnTo>
                    <a:pt x="22" y="31"/>
                  </a:lnTo>
                  <a:lnTo>
                    <a:pt x="18" y="17"/>
                  </a:lnTo>
                  <a:lnTo>
                    <a:pt x="18" y="13"/>
                  </a:lnTo>
                  <a:lnTo>
                    <a:pt x="26" y="17"/>
                  </a:lnTo>
                  <a:lnTo>
                    <a:pt x="31" y="8"/>
                  </a:lnTo>
                  <a:lnTo>
                    <a:pt x="35" y="4"/>
                  </a:lnTo>
                  <a:lnTo>
                    <a:pt x="49" y="8"/>
                  </a:lnTo>
                  <a:lnTo>
                    <a:pt x="58" y="13"/>
                  </a:lnTo>
                  <a:lnTo>
                    <a:pt x="71" y="8"/>
                  </a:lnTo>
                  <a:lnTo>
                    <a:pt x="76" y="13"/>
                  </a:lnTo>
                  <a:lnTo>
                    <a:pt x="80" y="22"/>
                  </a:lnTo>
                  <a:lnTo>
                    <a:pt x="80" y="17"/>
                  </a:lnTo>
                  <a:lnTo>
                    <a:pt x="89" y="17"/>
                  </a:lnTo>
                  <a:lnTo>
                    <a:pt x="89" y="13"/>
                  </a:lnTo>
                  <a:lnTo>
                    <a:pt x="93" y="17"/>
                  </a:lnTo>
                  <a:lnTo>
                    <a:pt x="98" y="13"/>
                  </a:lnTo>
                  <a:lnTo>
                    <a:pt x="102" y="22"/>
                  </a:lnTo>
                  <a:lnTo>
                    <a:pt x="111" y="17"/>
                  </a:lnTo>
                  <a:lnTo>
                    <a:pt x="120" y="22"/>
                  </a:lnTo>
                  <a:lnTo>
                    <a:pt x="120" y="17"/>
                  </a:lnTo>
                  <a:lnTo>
                    <a:pt x="120" y="13"/>
                  </a:lnTo>
                  <a:lnTo>
                    <a:pt x="125" y="0"/>
                  </a:lnTo>
                  <a:lnTo>
                    <a:pt x="134" y="4"/>
                  </a:lnTo>
                  <a:lnTo>
                    <a:pt x="138" y="4"/>
                  </a:lnTo>
                  <a:lnTo>
                    <a:pt x="143" y="0"/>
                  </a:lnTo>
                  <a:lnTo>
                    <a:pt x="147" y="4"/>
                  </a:lnTo>
                  <a:lnTo>
                    <a:pt x="156" y="0"/>
                  </a:lnTo>
                  <a:lnTo>
                    <a:pt x="165" y="0"/>
                  </a:lnTo>
                  <a:lnTo>
                    <a:pt x="169" y="8"/>
                  </a:lnTo>
                  <a:lnTo>
                    <a:pt x="174" y="8"/>
                  </a:lnTo>
                  <a:lnTo>
                    <a:pt x="169" y="17"/>
                  </a:lnTo>
                  <a:lnTo>
                    <a:pt x="187" y="22"/>
                  </a:lnTo>
                  <a:lnTo>
                    <a:pt x="187" y="31"/>
                  </a:lnTo>
                  <a:lnTo>
                    <a:pt x="192" y="44"/>
                  </a:lnTo>
                  <a:lnTo>
                    <a:pt x="201" y="44"/>
                  </a:lnTo>
                  <a:lnTo>
                    <a:pt x="205" y="49"/>
                  </a:lnTo>
                  <a:lnTo>
                    <a:pt x="210" y="44"/>
                  </a:lnTo>
                  <a:lnTo>
                    <a:pt x="219" y="44"/>
                  </a:lnTo>
                  <a:lnTo>
                    <a:pt x="223" y="49"/>
                  </a:lnTo>
                  <a:lnTo>
                    <a:pt x="223" y="53"/>
                  </a:lnTo>
                  <a:lnTo>
                    <a:pt x="232" y="53"/>
                  </a:lnTo>
                  <a:lnTo>
                    <a:pt x="232" y="58"/>
                  </a:lnTo>
                  <a:lnTo>
                    <a:pt x="236" y="53"/>
                  </a:lnTo>
                  <a:lnTo>
                    <a:pt x="241" y="58"/>
                  </a:lnTo>
                  <a:lnTo>
                    <a:pt x="254" y="67"/>
                  </a:lnTo>
                  <a:lnTo>
                    <a:pt x="250" y="71"/>
                  </a:lnTo>
                  <a:lnTo>
                    <a:pt x="254" y="75"/>
                  </a:lnTo>
                  <a:lnTo>
                    <a:pt x="250" y="80"/>
                  </a:lnTo>
                  <a:lnTo>
                    <a:pt x="254" y="84"/>
                  </a:lnTo>
                  <a:lnTo>
                    <a:pt x="250" y="93"/>
                  </a:lnTo>
                  <a:lnTo>
                    <a:pt x="241" y="98"/>
                  </a:lnTo>
                  <a:lnTo>
                    <a:pt x="232" y="111"/>
                  </a:lnTo>
                  <a:lnTo>
                    <a:pt x="223" y="111"/>
                  </a:lnTo>
                  <a:lnTo>
                    <a:pt x="205" y="120"/>
                  </a:lnTo>
                  <a:lnTo>
                    <a:pt x="196" y="125"/>
                  </a:lnTo>
                  <a:lnTo>
                    <a:pt x="192" y="125"/>
                  </a:lnTo>
                  <a:lnTo>
                    <a:pt x="187" y="129"/>
                  </a:lnTo>
                  <a:lnTo>
                    <a:pt x="183" y="125"/>
                  </a:lnTo>
                  <a:lnTo>
                    <a:pt x="174" y="134"/>
                  </a:lnTo>
                  <a:lnTo>
                    <a:pt x="192" y="147"/>
                  </a:lnTo>
                  <a:lnTo>
                    <a:pt x="205" y="147"/>
                  </a:lnTo>
                  <a:lnTo>
                    <a:pt x="201" y="156"/>
                  </a:lnTo>
                  <a:lnTo>
                    <a:pt x="196" y="156"/>
                  </a:lnTo>
                  <a:lnTo>
                    <a:pt x="192" y="156"/>
                  </a:lnTo>
                  <a:lnTo>
                    <a:pt x="183" y="160"/>
                  </a:lnTo>
                  <a:lnTo>
                    <a:pt x="178" y="160"/>
                  </a:lnTo>
                  <a:lnTo>
                    <a:pt x="169" y="169"/>
                  </a:lnTo>
                  <a:lnTo>
                    <a:pt x="156" y="165"/>
                  </a:lnTo>
                  <a:lnTo>
                    <a:pt x="160" y="160"/>
                  </a:lnTo>
                  <a:lnTo>
                    <a:pt x="160" y="151"/>
                  </a:lnTo>
                  <a:lnTo>
                    <a:pt x="156" y="151"/>
                  </a:lnTo>
                  <a:lnTo>
                    <a:pt x="147" y="147"/>
                  </a:lnTo>
                  <a:lnTo>
                    <a:pt x="156" y="138"/>
                  </a:lnTo>
                  <a:lnTo>
                    <a:pt x="165" y="138"/>
                  </a:lnTo>
                  <a:lnTo>
                    <a:pt x="160" y="134"/>
                  </a:lnTo>
                  <a:lnTo>
                    <a:pt x="156" y="129"/>
                  </a:lnTo>
                  <a:lnTo>
                    <a:pt x="134" y="134"/>
                  </a:lnTo>
                  <a:lnTo>
                    <a:pt x="138" y="129"/>
                  </a:lnTo>
                  <a:lnTo>
                    <a:pt x="129" y="125"/>
                  </a:lnTo>
                  <a:lnTo>
                    <a:pt x="138" y="120"/>
                  </a:lnTo>
                  <a:lnTo>
                    <a:pt x="125" y="125"/>
                  </a:lnTo>
                  <a:lnTo>
                    <a:pt x="116" y="129"/>
                  </a:lnTo>
                  <a:lnTo>
                    <a:pt x="111" y="125"/>
                  </a:lnTo>
                  <a:lnTo>
                    <a:pt x="111" y="129"/>
                  </a:lnTo>
                  <a:lnTo>
                    <a:pt x="116" y="134"/>
                  </a:lnTo>
                  <a:lnTo>
                    <a:pt x="111" y="143"/>
                  </a:lnTo>
                  <a:lnTo>
                    <a:pt x="102" y="147"/>
                  </a:lnTo>
                  <a:lnTo>
                    <a:pt x="102" y="151"/>
                  </a:lnTo>
                  <a:lnTo>
                    <a:pt x="98" y="151"/>
                  </a:lnTo>
                  <a:lnTo>
                    <a:pt x="89" y="156"/>
                  </a:lnTo>
                  <a:lnTo>
                    <a:pt x="85" y="151"/>
                  </a:lnTo>
                  <a:lnTo>
                    <a:pt x="80" y="147"/>
                  </a:lnTo>
                  <a:lnTo>
                    <a:pt x="89" y="147"/>
                  </a:lnTo>
                  <a:lnTo>
                    <a:pt x="93" y="143"/>
                  </a:lnTo>
                  <a:lnTo>
                    <a:pt x="93" y="138"/>
                  </a:lnTo>
                  <a:lnTo>
                    <a:pt x="93" y="129"/>
                  </a:lnTo>
                  <a:lnTo>
                    <a:pt x="98" y="134"/>
                  </a:lnTo>
                  <a:lnTo>
                    <a:pt x="98" y="129"/>
                  </a:lnTo>
                  <a:lnTo>
                    <a:pt x="102" y="129"/>
                  </a:lnTo>
                  <a:lnTo>
                    <a:pt x="107" y="129"/>
                  </a:lnTo>
                  <a:lnTo>
                    <a:pt x="107" y="120"/>
                  </a:lnTo>
                  <a:lnTo>
                    <a:pt x="102" y="111"/>
                  </a:lnTo>
                  <a:lnTo>
                    <a:pt x="102" y="102"/>
                  </a:lnTo>
                  <a:lnTo>
                    <a:pt x="89" y="93"/>
                  </a:lnTo>
                  <a:lnTo>
                    <a:pt x="85" y="93"/>
                  </a:lnTo>
                  <a:lnTo>
                    <a:pt x="80" y="89"/>
                  </a:lnTo>
                  <a:lnTo>
                    <a:pt x="76" y="93"/>
                  </a:lnTo>
                  <a:lnTo>
                    <a:pt x="76" y="89"/>
                  </a:lnTo>
                  <a:lnTo>
                    <a:pt x="62" y="89"/>
                  </a:lnTo>
                  <a:lnTo>
                    <a:pt x="40" y="98"/>
                  </a:lnTo>
                  <a:lnTo>
                    <a:pt x="13" y="93"/>
                  </a:lnTo>
                  <a:lnTo>
                    <a:pt x="9" y="98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98" name="Freeform 38"/>
            <p:cNvSpPr>
              <a:spLocks/>
            </p:cNvSpPr>
            <p:nvPr/>
          </p:nvSpPr>
          <p:spPr bwMode="gray">
            <a:xfrm>
              <a:off x="2657" y="3439"/>
              <a:ext cx="109" cy="107"/>
            </a:xfrm>
            <a:custGeom>
              <a:avLst/>
              <a:gdLst>
                <a:gd name="T0" fmla="*/ 9 w 36"/>
                <a:gd name="T1" fmla="*/ 35 h 35"/>
                <a:gd name="T2" fmla="*/ 0 w 36"/>
                <a:gd name="T3" fmla="*/ 31 h 35"/>
                <a:gd name="T4" fmla="*/ 0 w 36"/>
                <a:gd name="T5" fmla="*/ 8 h 35"/>
                <a:gd name="T6" fmla="*/ 9 w 36"/>
                <a:gd name="T7" fmla="*/ 4 h 35"/>
                <a:gd name="T8" fmla="*/ 9 w 36"/>
                <a:gd name="T9" fmla="*/ 4 h 35"/>
                <a:gd name="T10" fmla="*/ 23 w 36"/>
                <a:gd name="T11" fmla="*/ 0 h 35"/>
                <a:gd name="T12" fmla="*/ 27 w 36"/>
                <a:gd name="T13" fmla="*/ 4 h 35"/>
                <a:gd name="T14" fmla="*/ 36 w 36"/>
                <a:gd name="T15" fmla="*/ 8 h 35"/>
                <a:gd name="T16" fmla="*/ 36 w 36"/>
                <a:gd name="T17" fmla="*/ 22 h 35"/>
                <a:gd name="T18" fmla="*/ 27 w 36"/>
                <a:gd name="T19" fmla="*/ 26 h 35"/>
                <a:gd name="T20" fmla="*/ 23 w 36"/>
                <a:gd name="T21" fmla="*/ 26 h 35"/>
                <a:gd name="T22" fmla="*/ 18 w 36"/>
                <a:gd name="T23" fmla="*/ 31 h 35"/>
                <a:gd name="T24" fmla="*/ 9 w 36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35">
                  <a:moveTo>
                    <a:pt x="9" y="35"/>
                  </a:moveTo>
                  <a:lnTo>
                    <a:pt x="0" y="31"/>
                  </a:lnTo>
                  <a:lnTo>
                    <a:pt x="0" y="8"/>
                  </a:lnTo>
                  <a:lnTo>
                    <a:pt x="9" y="4"/>
                  </a:lnTo>
                  <a:lnTo>
                    <a:pt x="9" y="4"/>
                  </a:lnTo>
                  <a:lnTo>
                    <a:pt x="23" y="0"/>
                  </a:lnTo>
                  <a:lnTo>
                    <a:pt x="27" y="4"/>
                  </a:lnTo>
                  <a:lnTo>
                    <a:pt x="36" y="8"/>
                  </a:lnTo>
                  <a:lnTo>
                    <a:pt x="36" y="22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18" y="31"/>
                  </a:lnTo>
                  <a:lnTo>
                    <a:pt x="9" y="3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199" name="Freeform 39"/>
            <p:cNvSpPr>
              <a:spLocks noEditPoints="1"/>
            </p:cNvSpPr>
            <p:nvPr/>
          </p:nvSpPr>
          <p:spPr bwMode="gray">
            <a:xfrm>
              <a:off x="1398" y="2139"/>
              <a:ext cx="446" cy="823"/>
            </a:xfrm>
            <a:custGeom>
              <a:avLst/>
              <a:gdLst>
                <a:gd name="T0" fmla="*/ 22 w 147"/>
                <a:gd name="T1" fmla="*/ 71 h 272"/>
                <a:gd name="T2" fmla="*/ 31 w 147"/>
                <a:gd name="T3" fmla="*/ 53 h 272"/>
                <a:gd name="T4" fmla="*/ 18 w 147"/>
                <a:gd name="T5" fmla="*/ 80 h 272"/>
                <a:gd name="T6" fmla="*/ 13 w 147"/>
                <a:gd name="T7" fmla="*/ 165 h 272"/>
                <a:gd name="T8" fmla="*/ 4 w 147"/>
                <a:gd name="T9" fmla="*/ 156 h 272"/>
                <a:gd name="T10" fmla="*/ 22 w 147"/>
                <a:gd name="T11" fmla="*/ 143 h 272"/>
                <a:gd name="T12" fmla="*/ 36 w 147"/>
                <a:gd name="T13" fmla="*/ 156 h 272"/>
                <a:gd name="T14" fmla="*/ 36 w 147"/>
                <a:gd name="T15" fmla="*/ 89 h 272"/>
                <a:gd name="T16" fmla="*/ 27 w 147"/>
                <a:gd name="T17" fmla="*/ 80 h 272"/>
                <a:gd name="T18" fmla="*/ 31 w 147"/>
                <a:gd name="T19" fmla="*/ 93 h 272"/>
                <a:gd name="T20" fmla="*/ 76 w 147"/>
                <a:gd name="T21" fmla="*/ 49 h 272"/>
                <a:gd name="T22" fmla="*/ 45 w 147"/>
                <a:gd name="T23" fmla="*/ 62 h 272"/>
                <a:gd name="T24" fmla="*/ 36 w 147"/>
                <a:gd name="T25" fmla="*/ 98 h 272"/>
                <a:gd name="T26" fmla="*/ 27 w 147"/>
                <a:gd name="T27" fmla="*/ 107 h 272"/>
                <a:gd name="T28" fmla="*/ 36 w 147"/>
                <a:gd name="T29" fmla="*/ 111 h 272"/>
                <a:gd name="T30" fmla="*/ 36 w 147"/>
                <a:gd name="T31" fmla="*/ 120 h 272"/>
                <a:gd name="T32" fmla="*/ 40 w 147"/>
                <a:gd name="T33" fmla="*/ 138 h 272"/>
                <a:gd name="T34" fmla="*/ 45 w 147"/>
                <a:gd name="T35" fmla="*/ 125 h 272"/>
                <a:gd name="T36" fmla="*/ 54 w 147"/>
                <a:gd name="T37" fmla="*/ 143 h 272"/>
                <a:gd name="T38" fmla="*/ 58 w 147"/>
                <a:gd name="T39" fmla="*/ 156 h 272"/>
                <a:gd name="T40" fmla="*/ 71 w 147"/>
                <a:gd name="T41" fmla="*/ 151 h 272"/>
                <a:gd name="T42" fmla="*/ 76 w 147"/>
                <a:gd name="T43" fmla="*/ 174 h 272"/>
                <a:gd name="T44" fmla="*/ 76 w 147"/>
                <a:gd name="T45" fmla="*/ 183 h 272"/>
                <a:gd name="T46" fmla="*/ 54 w 147"/>
                <a:gd name="T47" fmla="*/ 187 h 272"/>
                <a:gd name="T48" fmla="*/ 67 w 147"/>
                <a:gd name="T49" fmla="*/ 196 h 272"/>
                <a:gd name="T50" fmla="*/ 45 w 147"/>
                <a:gd name="T51" fmla="*/ 223 h 272"/>
                <a:gd name="T52" fmla="*/ 67 w 147"/>
                <a:gd name="T53" fmla="*/ 232 h 272"/>
                <a:gd name="T54" fmla="*/ 76 w 147"/>
                <a:gd name="T55" fmla="*/ 236 h 272"/>
                <a:gd name="T56" fmla="*/ 49 w 147"/>
                <a:gd name="T57" fmla="*/ 254 h 272"/>
                <a:gd name="T58" fmla="*/ 40 w 147"/>
                <a:gd name="T59" fmla="*/ 268 h 272"/>
                <a:gd name="T60" fmla="*/ 58 w 147"/>
                <a:gd name="T61" fmla="*/ 259 h 272"/>
                <a:gd name="T62" fmla="*/ 89 w 147"/>
                <a:gd name="T63" fmla="*/ 254 h 272"/>
                <a:gd name="T64" fmla="*/ 98 w 147"/>
                <a:gd name="T65" fmla="*/ 254 h 272"/>
                <a:gd name="T66" fmla="*/ 121 w 147"/>
                <a:gd name="T67" fmla="*/ 250 h 272"/>
                <a:gd name="T68" fmla="*/ 143 w 147"/>
                <a:gd name="T69" fmla="*/ 232 h 272"/>
                <a:gd name="T70" fmla="*/ 143 w 147"/>
                <a:gd name="T71" fmla="*/ 223 h 272"/>
                <a:gd name="T72" fmla="*/ 129 w 147"/>
                <a:gd name="T73" fmla="*/ 201 h 272"/>
                <a:gd name="T74" fmla="*/ 121 w 147"/>
                <a:gd name="T75" fmla="*/ 183 h 272"/>
                <a:gd name="T76" fmla="*/ 103 w 147"/>
                <a:gd name="T77" fmla="*/ 151 h 272"/>
                <a:gd name="T78" fmla="*/ 85 w 147"/>
                <a:gd name="T79" fmla="*/ 125 h 272"/>
                <a:gd name="T80" fmla="*/ 89 w 147"/>
                <a:gd name="T81" fmla="*/ 111 h 272"/>
                <a:gd name="T82" fmla="*/ 98 w 147"/>
                <a:gd name="T83" fmla="*/ 80 h 272"/>
                <a:gd name="T84" fmla="*/ 62 w 147"/>
                <a:gd name="T85" fmla="*/ 80 h 272"/>
                <a:gd name="T86" fmla="*/ 67 w 147"/>
                <a:gd name="T87" fmla="*/ 71 h 272"/>
                <a:gd name="T88" fmla="*/ 76 w 147"/>
                <a:gd name="T89" fmla="*/ 44 h 272"/>
                <a:gd name="T90" fmla="*/ 76 w 147"/>
                <a:gd name="T91" fmla="*/ 40 h 272"/>
                <a:gd name="T92" fmla="*/ 107 w 147"/>
                <a:gd name="T93" fmla="*/ 13 h 272"/>
                <a:gd name="T94" fmla="*/ 103 w 147"/>
                <a:gd name="T95" fmla="*/ 17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7" h="272">
                  <a:moveTo>
                    <a:pt x="13" y="98"/>
                  </a:moveTo>
                  <a:lnTo>
                    <a:pt x="18" y="93"/>
                  </a:lnTo>
                  <a:lnTo>
                    <a:pt x="22" y="76"/>
                  </a:lnTo>
                  <a:lnTo>
                    <a:pt x="22" y="71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31" y="58"/>
                  </a:lnTo>
                  <a:lnTo>
                    <a:pt x="31" y="53"/>
                  </a:lnTo>
                  <a:lnTo>
                    <a:pt x="22" y="58"/>
                  </a:lnTo>
                  <a:lnTo>
                    <a:pt x="18" y="76"/>
                  </a:lnTo>
                  <a:lnTo>
                    <a:pt x="13" y="76"/>
                  </a:lnTo>
                  <a:lnTo>
                    <a:pt x="18" y="80"/>
                  </a:lnTo>
                  <a:lnTo>
                    <a:pt x="13" y="98"/>
                  </a:lnTo>
                  <a:close/>
                  <a:moveTo>
                    <a:pt x="27" y="169"/>
                  </a:moveTo>
                  <a:lnTo>
                    <a:pt x="22" y="169"/>
                  </a:lnTo>
                  <a:lnTo>
                    <a:pt x="13" y="165"/>
                  </a:lnTo>
                  <a:lnTo>
                    <a:pt x="13" y="174"/>
                  </a:lnTo>
                  <a:lnTo>
                    <a:pt x="0" y="169"/>
                  </a:lnTo>
                  <a:lnTo>
                    <a:pt x="0" y="165"/>
                  </a:lnTo>
                  <a:lnTo>
                    <a:pt x="4" y="156"/>
                  </a:lnTo>
                  <a:lnTo>
                    <a:pt x="9" y="156"/>
                  </a:lnTo>
                  <a:lnTo>
                    <a:pt x="13" y="151"/>
                  </a:lnTo>
                  <a:lnTo>
                    <a:pt x="18" y="143"/>
                  </a:lnTo>
                  <a:lnTo>
                    <a:pt x="22" y="143"/>
                  </a:lnTo>
                  <a:lnTo>
                    <a:pt x="31" y="143"/>
                  </a:lnTo>
                  <a:lnTo>
                    <a:pt x="36" y="151"/>
                  </a:lnTo>
                  <a:lnTo>
                    <a:pt x="31" y="156"/>
                  </a:lnTo>
                  <a:lnTo>
                    <a:pt x="36" y="156"/>
                  </a:lnTo>
                  <a:lnTo>
                    <a:pt x="40" y="160"/>
                  </a:lnTo>
                  <a:lnTo>
                    <a:pt x="36" y="165"/>
                  </a:lnTo>
                  <a:lnTo>
                    <a:pt x="27" y="169"/>
                  </a:lnTo>
                  <a:close/>
                  <a:moveTo>
                    <a:pt x="36" y="89"/>
                  </a:moveTo>
                  <a:lnTo>
                    <a:pt x="31" y="84"/>
                  </a:lnTo>
                  <a:lnTo>
                    <a:pt x="31" y="80"/>
                  </a:lnTo>
                  <a:lnTo>
                    <a:pt x="27" y="76"/>
                  </a:lnTo>
                  <a:lnTo>
                    <a:pt x="27" y="80"/>
                  </a:lnTo>
                  <a:lnTo>
                    <a:pt x="22" y="89"/>
                  </a:lnTo>
                  <a:lnTo>
                    <a:pt x="27" y="89"/>
                  </a:lnTo>
                  <a:lnTo>
                    <a:pt x="27" y="93"/>
                  </a:lnTo>
                  <a:lnTo>
                    <a:pt x="31" y="93"/>
                  </a:lnTo>
                  <a:lnTo>
                    <a:pt x="36" y="89"/>
                  </a:lnTo>
                  <a:close/>
                  <a:moveTo>
                    <a:pt x="62" y="71"/>
                  </a:moveTo>
                  <a:lnTo>
                    <a:pt x="76" y="58"/>
                  </a:lnTo>
                  <a:lnTo>
                    <a:pt x="76" y="49"/>
                  </a:lnTo>
                  <a:lnTo>
                    <a:pt x="58" y="53"/>
                  </a:lnTo>
                  <a:lnTo>
                    <a:pt x="49" y="49"/>
                  </a:lnTo>
                  <a:lnTo>
                    <a:pt x="45" y="62"/>
                  </a:lnTo>
                  <a:lnTo>
                    <a:pt x="45" y="62"/>
                  </a:lnTo>
                  <a:lnTo>
                    <a:pt x="40" y="67"/>
                  </a:lnTo>
                  <a:lnTo>
                    <a:pt x="36" y="71"/>
                  </a:lnTo>
                  <a:lnTo>
                    <a:pt x="36" y="84"/>
                  </a:lnTo>
                  <a:lnTo>
                    <a:pt x="36" y="98"/>
                  </a:lnTo>
                  <a:lnTo>
                    <a:pt x="36" y="102"/>
                  </a:lnTo>
                  <a:lnTo>
                    <a:pt x="36" y="107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31" y="111"/>
                  </a:lnTo>
                  <a:lnTo>
                    <a:pt x="27" y="111"/>
                  </a:lnTo>
                  <a:lnTo>
                    <a:pt x="27" y="116"/>
                  </a:lnTo>
                  <a:lnTo>
                    <a:pt x="36" y="111"/>
                  </a:lnTo>
                  <a:lnTo>
                    <a:pt x="45" y="102"/>
                  </a:lnTo>
                  <a:lnTo>
                    <a:pt x="49" y="102"/>
                  </a:lnTo>
                  <a:lnTo>
                    <a:pt x="36" y="120"/>
                  </a:lnTo>
                  <a:lnTo>
                    <a:pt x="36" y="120"/>
                  </a:lnTo>
                  <a:lnTo>
                    <a:pt x="31" y="125"/>
                  </a:lnTo>
                  <a:lnTo>
                    <a:pt x="36" y="125"/>
                  </a:lnTo>
                  <a:lnTo>
                    <a:pt x="40" y="134"/>
                  </a:lnTo>
                  <a:lnTo>
                    <a:pt x="40" y="138"/>
                  </a:lnTo>
                  <a:lnTo>
                    <a:pt x="45" y="138"/>
                  </a:lnTo>
                  <a:lnTo>
                    <a:pt x="45" y="134"/>
                  </a:lnTo>
                  <a:lnTo>
                    <a:pt x="49" y="134"/>
                  </a:lnTo>
                  <a:lnTo>
                    <a:pt x="45" y="125"/>
                  </a:lnTo>
                  <a:lnTo>
                    <a:pt x="49" y="125"/>
                  </a:lnTo>
                  <a:lnTo>
                    <a:pt x="49" y="134"/>
                  </a:lnTo>
                  <a:lnTo>
                    <a:pt x="54" y="134"/>
                  </a:lnTo>
                  <a:lnTo>
                    <a:pt x="54" y="143"/>
                  </a:lnTo>
                  <a:lnTo>
                    <a:pt x="49" y="151"/>
                  </a:lnTo>
                  <a:lnTo>
                    <a:pt x="54" y="160"/>
                  </a:lnTo>
                  <a:lnTo>
                    <a:pt x="54" y="156"/>
                  </a:lnTo>
                  <a:lnTo>
                    <a:pt x="58" y="156"/>
                  </a:lnTo>
                  <a:lnTo>
                    <a:pt x="62" y="156"/>
                  </a:lnTo>
                  <a:lnTo>
                    <a:pt x="58" y="151"/>
                  </a:lnTo>
                  <a:lnTo>
                    <a:pt x="67" y="156"/>
                  </a:lnTo>
                  <a:lnTo>
                    <a:pt x="71" y="151"/>
                  </a:lnTo>
                  <a:lnTo>
                    <a:pt x="80" y="151"/>
                  </a:lnTo>
                  <a:lnTo>
                    <a:pt x="76" y="156"/>
                  </a:lnTo>
                  <a:lnTo>
                    <a:pt x="71" y="160"/>
                  </a:lnTo>
                  <a:lnTo>
                    <a:pt x="76" y="174"/>
                  </a:lnTo>
                  <a:lnTo>
                    <a:pt x="80" y="169"/>
                  </a:lnTo>
                  <a:lnTo>
                    <a:pt x="85" y="169"/>
                  </a:lnTo>
                  <a:lnTo>
                    <a:pt x="76" y="174"/>
                  </a:lnTo>
                  <a:lnTo>
                    <a:pt x="76" y="183"/>
                  </a:lnTo>
                  <a:lnTo>
                    <a:pt x="80" y="187"/>
                  </a:lnTo>
                  <a:lnTo>
                    <a:pt x="62" y="187"/>
                  </a:lnTo>
                  <a:lnTo>
                    <a:pt x="58" y="187"/>
                  </a:lnTo>
                  <a:lnTo>
                    <a:pt x="54" y="187"/>
                  </a:lnTo>
                  <a:lnTo>
                    <a:pt x="58" y="192"/>
                  </a:lnTo>
                  <a:lnTo>
                    <a:pt x="54" y="201"/>
                  </a:lnTo>
                  <a:lnTo>
                    <a:pt x="62" y="196"/>
                  </a:lnTo>
                  <a:lnTo>
                    <a:pt x="67" y="196"/>
                  </a:lnTo>
                  <a:lnTo>
                    <a:pt x="67" y="205"/>
                  </a:lnTo>
                  <a:lnTo>
                    <a:pt x="67" y="210"/>
                  </a:lnTo>
                  <a:lnTo>
                    <a:pt x="62" y="219"/>
                  </a:lnTo>
                  <a:lnTo>
                    <a:pt x="45" y="223"/>
                  </a:lnTo>
                  <a:lnTo>
                    <a:pt x="49" y="232"/>
                  </a:lnTo>
                  <a:lnTo>
                    <a:pt x="58" y="223"/>
                  </a:lnTo>
                  <a:lnTo>
                    <a:pt x="62" y="232"/>
                  </a:lnTo>
                  <a:lnTo>
                    <a:pt x="67" y="232"/>
                  </a:lnTo>
                  <a:lnTo>
                    <a:pt x="71" y="232"/>
                  </a:lnTo>
                  <a:lnTo>
                    <a:pt x="76" y="227"/>
                  </a:lnTo>
                  <a:lnTo>
                    <a:pt x="80" y="227"/>
                  </a:lnTo>
                  <a:lnTo>
                    <a:pt x="76" y="236"/>
                  </a:lnTo>
                  <a:lnTo>
                    <a:pt x="62" y="241"/>
                  </a:lnTo>
                  <a:lnTo>
                    <a:pt x="58" y="245"/>
                  </a:lnTo>
                  <a:lnTo>
                    <a:pt x="54" y="250"/>
                  </a:lnTo>
                  <a:lnTo>
                    <a:pt x="49" y="254"/>
                  </a:lnTo>
                  <a:lnTo>
                    <a:pt x="45" y="259"/>
                  </a:lnTo>
                  <a:lnTo>
                    <a:pt x="40" y="263"/>
                  </a:lnTo>
                  <a:lnTo>
                    <a:pt x="36" y="268"/>
                  </a:lnTo>
                  <a:lnTo>
                    <a:pt x="40" y="268"/>
                  </a:lnTo>
                  <a:lnTo>
                    <a:pt x="45" y="268"/>
                  </a:lnTo>
                  <a:lnTo>
                    <a:pt x="45" y="272"/>
                  </a:lnTo>
                  <a:lnTo>
                    <a:pt x="49" y="263"/>
                  </a:lnTo>
                  <a:lnTo>
                    <a:pt x="58" y="259"/>
                  </a:lnTo>
                  <a:lnTo>
                    <a:pt x="71" y="263"/>
                  </a:lnTo>
                  <a:lnTo>
                    <a:pt x="71" y="254"/>
                  </a:lnTo>
                  <a:lnTo>
                    <a:pt x="85" y="250"/>
                  </a:lnTo>
                  <a:lnTo>
                    <a:pt x="89" y="254"/>
                  </a:lnTo>
                  <a:lnTo>
                    <a:pt x="89" y="259"/>
                  </a:lnTo>
                  <a:lnTo>
                    <a:pt x="94" y="254"/>
                  </a:lnTo>
                  <a:lnTo>
                    <a:pt x="98" y="254"/>
                  </a:lnTo>
                  <a:lnTo>
                    <a:pt x="98" y="254"/>
                  </a:lnTo>
                  <a:lnTo>
                    <a:pt x="103" y="254"/>
                  </a:lnTo>
                  <a:lnTo>
                    <a:pt x="103" y="250"/>
                  </a:lnTo>
                  <a:lnTo>
                    <a:pt x="112" y="254"/>
                  </a:lnTo>
                  <a:lnTo>
                    <a:pt x="121" y="250"/>
                  </a:lnTo>
                  <a:lnTo>
                    <a:pt x="125" y="250"/>
                  </a:lnTo>
                  <a:lnTo>
                    <a:pt x="138" y="250"/>
                  </a:lnTo>
                  <a:lnTo>
                    <a:pt x="143" y="241"/>
                  </a:lnTo>
                  <a:lnTo>
                    <a:pt x="143" y="232"/>
                  </a:lnTo>
                  <a:lnTo>
                    <a:pt x="134" y="232"/>
                  </a:lnTo>
                  <a:lnTo>
                    <a:pt x="129" y="232"/>
                  </a:lnTo>
                  <a:lnTo>
                    <a:pt x="138" y="223"/>
                  </a:lnTo>
                  <a:lnTo>
                    <a:pt x="143" y="223"/>
                  </a:lnTo>
                  <a:lnTo>
                    <a:pt x="147" y="214"/>
                  </a:lnTo>
                  <a:lnTo>
                    <a:pt x="147" y="205"/>
                  </a:lnTo>
                  <a:lnTo>
                    <a:pt x="143" y="201"/>
                  </a:lnTo>
                  <a:lnTo>
                    <a:pt x="129" y="201"/>
                  </a:lnTo>
                  <a:lnTo>
                    <a:pt x="125" y="205"/>
                  </a:lnTo>
                  <a:lnTo>
                    <a:pt x="121" y="201"/>
                  </a:lnTo>
                  <a:lnTo>
                    <a:pt x="125" y="192"/>
                  </a:lnTo>
                  <a:lnTo>
                    <a:pt x="121" y="183"/>
                  </a:lnTo>
                  <a:lnTo>
                    <a:pt x="121" y="178"/>
                  </a:lnTo>
                  <a:lnTo>
                    <a:pt x="112" y="160"/>
                  </a:lnTo>
                  <a:lnTo>
                    <a:pt x="107" y="160"/>
                  </a:lnTo>
                  <a:lnTo>
                    <a:pt x="103" y="151"/>
                  </a:lnTo>
                  <a:lnTo>
                    <a:pt x="103" y="147"/>
                  </a:lnTo>
                  <a:lnTo>
                    <a:pt x="98" y="134"/>
                  </a:lnTo>
                  <a:lnTo>
                    <a:pt x="94" y="129"/>
                  </a:lnTo>
                  <a:lnTo>
                    <a:pt x="85" y="125"/>
                  </a:lnTo>
                  <a:lnTo>
                    <a:pt x="76" y="125"/>
                  </a:lnTo>
                  <a:lnTo>
                    <a:pt x="80" y="116"/>
                  </a:lnTo>
                  <a:lnTo>
                    <a:pt x="85" y="120"/>
                  </a:lnTo>
                  <a:lnTo>
                    <a:pt x="89" y="111"/>
                  </a:lnTo>
                  <a:lnTo>
                    <a:pt x="85" y="116"/>
                  </a:lnTo>
                  <a:lnTo>
                    <a:pt x="85" y="107"/>
                  </a:lnTo>
                  <a:lnTo>
                    <a:pt x="85" y="98"/>
                  </a:lnTo>
                  <a:lnTo>
                    <a:pt x="98" y="80"/>
                  </a:lnTo>
                  <a:lnTo>
                    <a:pt x="98" y="76"/>
                  </a:lnTo>
                  <a:lnTo>
                    <a:pt x="89" y="80"/>
                  </a:lnTo>
                  <a:lnTo>
                    <a:pt x="71" y="76"/>
                  </a:lnTo>
                  <a:lnTo>
                    <a:pt x="62" y="80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62" y="76"/>
                  </a:lnTo>
                  <a:lnTo>
                    <a:pt x="67" y="71"/>
                  </a:lnTo>
                  <a:lnTo>
                    <a:pt x="62" y="71"/>
                  </a:lnTo>
                  <a:close/>
                  <a:moveTo>
                    <a:pt x="71" y="35"/>
                  </a:moveTo>
                  <a:lnTo>
                    <a:pt x="71" y="44"/>
                  </a:lnTo>
                  <a:lnTo>
                    <a:pt x="76" y="44"/>
                  </a:lnTo>
                  <a:lnTo>
                    <a:pt x="76" y="40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76" y="40"/>
                  </a:lnTo>
                  <a:lnTo>
                    <a:pt x="80" y="31"/>
                  </a:lnTo>
                  <a:lnTo>
                    <a:pt x="71" y="35"/>
                  </a:lnTo>
                  <a:close/>
                  <a:moveTo>
                    <a:pt x="103" y="17"/>
                  </a:moveTo>
                  <a:lnTo>
                    <a:pt x="107" y="13"/>
                  </a:lnTo>
                  <a:lnTo>
                    <a:pt x="103" y="0"/>
                  </a:lnTo>
                  <a:lnTo>
                    <a:pt x="98" y="8"/>
                  </a:lnTo>
                  <a:lnTo>
                    <a:pt x="103" y="8"/>
                  </a:lnTo>
                  <a:lnTo>
                    <a:pt x="103" y="17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200" name="Freeform 40"/>
            <p:cNvSpPr>
              <a:spLocks/>
            </p:cNvSpPr>
            <p:nvPr/>
          </p:nvSpPr>
          <p:spPr bwMode="gray">
            <a:xfrm>
              <a:off x="2564" y="3210"/>
              <a:ext cx="202" cy="254"/>
            </a:xfrm>
            <a:custGeom>
              <a:avLst/>
              <a:gdLst>
                <a:gd name="T0" fmla="*/ 0 w 67"/>
                <a:gd name="T1" fmla="*/ 67 h 84"/>
                <a:gd name="T2" fmla="*/ 0 w 67"/>
                <a:gd name="T3" fmla="*/ 67 h 84"/>
                <a:gd name="T4" fmla="*/ 0 w 67"/>
                <a:gd name="T5" fmla="*/ 67 h 84"/>
                <a:gd name="T6" fmla="*/ 0 w 67"/>
                <a:gd name="T7" fmla="*/ 62 h 84"/>
                <a:gd name="T8" fmla="*/ 0 w 67"/>
                <a:gd name="T9" fmla="*/ 62 h 84"/>
                <a:gd name="T10" fmla="*/ 0 w 67"/>
                <a:gd name="T11" fmla="*/ 58 h 84"/>
                <a:gd name="T12" fmla="*/ 5 w 67"/>
                <a:gd name="T13" fmla="*/ 53 h 84"/>
                <a:gd name="T14" fmla="*/ 5 w 67"/>
                <a:gd name="T15" fmla="*/ 53 h 84"/>
                <a:gd name="T16" fmla="*/ 5 w 67"/>
                <a:gd name="T17" fmla="*/ 53 h 84"/>
                <a:gd name="T18" fmla="*/ 5 w 67"/>
                <a:gd name="T19" fmla="*/ 49 h 84"/>
                <a:gd name="T20" fmla="*/ 9 w 67"/>
                <a:gd name="T21" fmla="*/ 49 h 84"/>
                <a:gd name="T22" fmla="*/ 13 w 67"/>
                <a:gd name="T23" fmla="*/ 44 h 84"/>
                <a:gd name="T24" fmla="*/ 9 w 67"/>
                <a:gd name="T25" fmla="*/ 40 h 84"/>
                <a:gd name="T26" fmla="*/ 13 w 67"/>
                <a:gd name="T27" fmla="*/ 40 h 84"/>
                <a:gd name="T28" fmla="*/ 13 w 67"/>
                <a:gd name="T29" fmla="*/ 40 h 84"/>
                <a:gd name="T30" fmla="*/ 5 w 67"/>
                <a:gd name="T31" fmla="*/ 35 h 84"/>
                <a:gd name="T32" fmla="*/ 5 w 67"/>
                <a:gd name="T33" fmla="*/ 31 h 84"/>
                <a:gd name="T34" fmla="*/ 9 w 67"/>
                <a:gd name="T35" fmla="*/ 26 h 84"/>
                <a:gd name="T36" fmla="*/ 9 w 67"/>
                <a:gd name="T37" fmla="*/ 22 h 84"/>
                <a:gd name="T38" fmla="*/ 5 w 67"/>
                <a:gd name="T39" fmla="*/ 22 h 84"/>
                <a:gd name="T40" fmla="*/ 5 w 67"/>
                <a:gd name="T41" fmla="*/ 17 h 84"/>
                <a:gd name="T42" fmla="*/ 9 w 67"/>
                <a:gd name="T43" fmla="*/ 17 h 84"/>
                <a:gd name="T44" fmla="*/ 9 w 67"/>
                <a:gd name="T45" fmla="*/ 13 h 84"/>
                <a:gd name="T46" fmla="*/ 5 w 67"/>
                <a:gd name="T47" fmla="*/ 13 h 84"/>
                <a:gd name="T48" fmla="*/ 5 w 67"/>
                <a:gd name="T49" fmla="*/ 13 h 84"/>
                <a:gd name="T50" fmla="*/ 5 w 67"/>
                <a:gd name="T51" fmla="*/ 9 h 84"/>
                <a:gd name="T52" fmla="*/ 5 w 67"/>
                <a:gd name="T53" fmla="*/ 9 h 84"/>
                <a:gd name="T54" fmla="*/ 5 w 67"/>
                <a:gd name="T55" fmla="*/ 4 h 84"/>
                <a:gd name="T56" fmla="*/ 0 w 67"/>
                <a:gd name="T57" fmla="*/ 4 h 84"/>
                <a:gd name="T58" fmla="*/ 13 w 67"/>
                <a:gd name="T59" fmla="*/ 0 h 84"/>
                <a:gd name="T60" fmla="*/ 27 w 67"/>
                <a:gd name="T61" fmla="*/ 0 h 84"/>
                <a:gd name="T62" fmla="*/ 31 w 67"/>
                <a:gd name="T63" fmla="*/ 9 h 84"/>
                <a:gd name="T64" fmla="*/ 31 w 67"/>
                <a:gd name="T65" fmla="*/ 17 h 84"/>
                <a:gd name="T66" fmla="*/ 40 w 67"/>
                <a:gd name="T67" fmla="*/ 26 h 84"/>
                <a:gd name="T68" fmla="*/ 49 w 67"/>
                <a:gd name="T69" fmla="*/ 31 h 84"/>
                <a:gd name="T70" fmla="*/ 54 w 67"/>
                <a:gd name="T71" fmla="*/ 31 h 84"/>
                <a:gd name="T72" fmla="*/ 54 w 67"/>
                <a:gd name="T73" fmla="*/ 35 h 84"/>
                <a:gd name="T74" fmla="*/ 58 w 67"/>
                <a:gd name="T75" fmla="*/ 35 h 84"/>
                <a:gd name="T76" fmla="*/ 54 w 67"/>
                <a:gd name="T77" fmla="*/ 53 h 84"/>
                <a:gd name="T78" fmla="*/ 67 w 67"/>
                <a:gd name="T79" fmla="*/ 62 h 84"/>
                <a:gd name="T80" fmla="*/ 67 w 67"/>
                <a:gd name="T81" fmla="*/ 67 h 84"/>
                <a:gd name="T82" fmla="*/ 58 w 67"/>
                <a:gd name="T83" fmla="*/ 71 h 84"/>
                <a:gd name="T84" fmla="*/ 58 w 67"/>
                <a:gd name="T85" fmla="*/ 80 h 84"/>
                <a:gd name="T86" fmla="*/ 54 w 67"/>
                <a:gd name="T87" fmla="*/ 76 h 84"/>
                <a:gd name="T88" fmla="*/ 40 w 67"/>
                <a:gd name="T89" fmla="*/ 80 h 84"/>
                <a:gd name="T90" fmla="*/ 40 w 67"/>
                <a:gd name="T91" fmla="*/ 80 h 84"/>
                <a:gd name="T92" fmla="*/ 31 w 67"/>
                <a:gd name="T93" fmla="*/ 84 h 84"/>
                <a:gd name="T94" fmla="*/ 27 w 67"/>
                <a:gd name="T95" fmla="*/ 84 h 84"/>
                <a:gd name="T96" fmla="*/ 27 w 67"/>
                <a:gd name="T97" fmla="*/ 76 h 84"/>
                <a:gd name="T98" fmla="*/ 18 w 67"/>
                <a:gd name="T99" fmla="*/ 71 h 84"/>
                <a:gd name="T100" fmla="*/ 13 w 67"/>
                <a:gd name="T101" fmla="*/ 84 h 84"/>
                <a:gd name="T102" fmla="*/ 9 w 67"/>
                <a:gd name="T103" fmla="*/ 84 h 84"/>
                <a:gd name="T104" fmla="*/ 0 w 67"/>
                <a:gd name="T105" fmla="*/ 71 h 84"/>
                <a:gd name="T106" fmla="*/ 0 w 67"/>
                <a:gd name="T107" fmla="*/ 71 h 84"/>
                <a:gd name="T108" fmla="*/ 0 w 67"/>
                <a:gd name="T109" fmla="*/ 6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7" h="84">
                  <a:moveTo>
                    <a:pt x="0" y="67"/>
                  </a:moveTo>
                  <a:lnTo>
                    <a:pt x="0" y="67"/>
                  </a:lnTo>
                  <a:lnTo>
                    <a:pt x="0" y="67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58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49"/>
                  </a:lnTo>
                  <a:lnTo>
                    <a:pt x="9" y="49"/>
                  </a:lnTo>
                  <a:lnTo>
                    <a:pt x="13" y="44"/>
                  </a:lnTo>
                  <a:lnTo>
                    <a:pt x="9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5" y="35"/>
                  </a:lnTo>
                  <a:lnTo>
                    <a:pt x="5" y="31"/>
                  </a:lnTo>
                  <a:lnTo>
                    <a:pt x="9" y="26"/>
                  </a:lnTo>
                  <a:lnTo>
                    <a:pt x="9" y="22"/>
                  </a:lnTo>
                  <a:lnTo>
                    <a:pt x="5" y="22"/>
                  </a:lnTo>
                  <a:lnTo>
                    <a:pt x="5" y="17"/>
                  </a:lnTo>
                  <a:lnTo>
                    <a:pt x="9" y="17"/>
                  </a:lnTo>
                  <a:lnTo>
                    <a:pt x="9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4"/>
                  </a:lnTo>
                  <a:lnTo>
                    <a:pt x="0" y="4"/>
                  </a:lnTo>
                  <a:lnTo>
                    <a:pt x="13" y="0"/>
                  </a:lnTo>
                  <a:lnTo>
                    <a:pt x="27" y="0"/>
                  </a:lnTo>
                  <a:lnTo>
                    <a:pt x="31" y="9"/>
                  </a:lnTo>
                  <a:lnTo>
                    <a:pt x="31" y="17"/>
                  </a:lnTo>
                  <a:lnTo>
                    <a:pt x="40" y="26"/>
                  </a:lnTo>
                  <a:lnTo>
                    <a:pt x="49" y="31"/>
                  </a:lnTo>
                  <a:lnTo>
                    <a:pt x="54" y="31"/>
                  </a:lnTo>
                  <a:lnTo>
                    <a:pt x="54" y="35"/>
                  </a:lnTo>
                  <a:lnTo>
                    <a:pt x="58" y="35"/>
                  </a:lnTo>
                  <a:lnTo>
                    <a:pt x="54" y="53"/>
                  </a:lnTo>
                  <a:lnTo>
                    <a:pt x="67" y="62"/>
                  </a:lnTo>
                  <a:lnTo>
                    <a:pt x="67" y="67"/>
                  </a:lnTo>
                  <a:lnTo>
                    <a:pt x="58" y="71"/>
                  </a:lnTo>
                  <a:lnTo>
                    <a:pt x="58" y="80"/>
                  </a:lnTo>
                  <a:lnTo>
                    <a:pt x="54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31" y="84"/>
                  </a:lnTo>
                  <a:lnTo>
                    <a:pt x="27" y="84"/>
                  </a:lnTo>
                  <a:lnTo>
                    <a:pt x="27" y="76"/>
                  </a:lnTo>
                  <a:lnTo>
                    <a:pt x="18" y="71"/>
                  </a:lnTo>
                  <a:lnTo>
                    <a:pt x="13" y="84"/>
                  </a:lnTo>
                  <a:lnTo>
                    <a:pt x="9" y="84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201" name="Freeform 41"/>
            <p:cNvSpPr>
              <a:spLocks/>
            </p:cNvSpPr>
            <p:nvPr/>
          </p:nvSpPr>
          <p:spPr bwMode="gray">
            <a:xfrm>
              <a:off x="2564" y="3425"/>
              <a:ext cx="39" cy="39"/>
            </a:xfrm>
            <a:custGeom>
              <a:avLst/>
              <a:gdLst>
                <a:gd name="T0" fmla="*/ 0 w 13"/>
                <a:gd name="T1" fmla="*/ 0 h 13"/>
                <a:gd name="T2" fmla="*/ 0 w 13"/>
                <a:gd name="T3" fmla="*/ 0 h 13"/>
                <a:gd name="T4" fmla="*/ 9 w 13"/>
                <a:gd name="T5" fmla="*/ 13 h 13"/>
                <a:gd name="T6" fmla="*/ 13 w 13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3">
                  <a:moveTo>
                    <a:pt x="0" y="0"/>
                  </a:moveTo>
                  <a:lnTo>
                    <a:pt x="0" y="0"/>
                  </a:lnTo>
                  <a:lnTo>
                    <a:pt x="9" y="13"/>
                  </a:lnTo>
                  <a:lnTo>
                    <a:pt x="13" y="13"/>
                  </a:lnTo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202" name="Freeform 42"/>
            <p:cNvSpPr>
              <a:spLocks noEditPoints="1"/>
            </p:cNvSpPr>
            <p:nvPr/>
          </p:nvSpPr>
          <p:spPr bwMode="gray">
            <a:xfrm>
              <a:off x="1019" y="3357"/>
              <a:ext cx="963" cy="880"/>
            </a:xfrm>
            <a:custGeom>
              <a:avLst/>
              <a:gdLst>
                <a:gd name="T0" fmla="*/ 4 w 317"/>
                <a:gd name="T1" fmla="*/ 290 h 290"/>
                <a:gd name="T2" fmla="*/ 13 w 317"/>
                <a:gd name="T3" fmla="*/ 277 h 290"/>
                <a:gd name="T4" fmla="*/ 22 w 317"/>
                <a:gd name="T5" fmla="*/ 286 h 290"/>
                <a:gd name="T6" fmla="*/ 27 w 317"/>
                <a:gd name="T7" fmla="*/ 290 h 290"/>
                <a:gd name="T8" fmla="*/ 27 w 317"/>
                <a:gd name="T9" fmla="*/ 286 h 290"/>
                <a:gd name="T10" fmla="*/ 143 w 317"/>
                <a:gd name="T11" fmla="*/ 125 h 290"/>
                <a:gd name="T12" fmla="*/ 156 w 317"/>
                <a:gd name="T13" fmla="*/ 138 h 290"/>
                <a:gd name="T14" fmla="*/ 170 w 317"/>
                <a:gd name="T15" fmla="*/ 147 h 290"/>
                <a:gd name="T16" fmla="*/ 179 w 317"/>
                <a:gd name="T17" fmla="*/ 143 h 290"/>
                <a:gd name="T18" fmla="*/ 196 w 317"/>
                <a:gd name="T19" fmla="*/ 138 h 290"/>
                <a:gd name="T20" fmla="*/ 205 w 317"/>
                <a:gd name="T21" fmla="*/ 138 h 290"/>
                <a:gd name="T22" fmla="*/ 219 w 317"/>
                <a:gd name="T23" fmla="*/ 134 h 290"/>
                <a:gd name="T24" fmla="*/ 228 w 317"/>
                <a:gd name="T25" fmla="*/ 125 h 290"/>
                <a:gd name="T26" fmla="*/ 241 w 317"/>
                <a:gd name="T27" fmla="*/ 111 h 290"/>
                <a:gd name="T28" fmla="*/ 250 w 317"/>
                <a:gd name="T29" fmla="*/ 98 h 290"/>
                <a:gd name="T30" fmla="*/ 241 w 317"/>
                <a:gd name="T31" fmla="*/ 89 h 290"/>
                <a:gd name="T32" fmla="*/ 263 w 317"/>
                <a:gd name="T33" fmla="*/ 53 h 290"/>
                <a:gd name="T34" fmla="*/ 295 w 317"/>
                <a:gd name="T35" fmla="*/ 35 h 290"/>
                <a:gd name="T36" fmla="*/ 295 w 317"/>
                <a:gd name="T37" fmla="*/ 31 h 290"/>
                <a:gd name="T38" fmla="*/ 295 w 317"/>
                <a:gd name="T39" fmla="*/ 27 h 290"/>
                <a:gd name="T40" fmla="*/ 277 w 317"/>
                <a:gd name="T41" fmla="*/ 27 h 290"/>
                <a:gd name="T42" fmla="*/ 259 w 317"/>
                <a:gd name="T43" fmla="*/ 22 h 290"/>
                <a:gd name="T44" fmla="*/ 241 w 317"/>
                <a:gd name="T45" fmla="*/ 22 h 290"/>
                <a:gd name="T46" fmla="*/ 223 w 317"/>
                <a:gd name="T47" fmla="*/ 4 h 290"/>
                <a:gd name="T48" fmla="*/ 214 w 317"/>
                <a:gd name="T49" fmla="*/ 4 h 290"/>
                <a:gd name="T50" fmla="*/ 201 w 317"/>
                <a:gd name="T51" fmla="*/ 4 h 290"/>
                <a:gd name="T52" fmla="*/ 179 w 317"/>
                <a:gd name="T53" fmla="*/ 4 h 290"/>
                <a:gd name="T54" fmla="*/ 170 w 317"/>
                <a:gd name="T55" fmla="*/ 0 h 290"/>
                <a:gd name="T56" fmla="*/ 152 w 317"/>
                <a:gd name="T57" fmla="*/ 4 h 290"/>
                <a:gd name="T58" fmla="*/ 143 w 317"/>
                <a:gd name="T59" fmla="*/ 0 h 290"/>
                <a:gd name="T60" fmla="*/ 125 w 317"/>
                <a:gd name="T61" fmla="*/ 0 h 290"/>
                <a:gd name="T62" fmla="*/ 116 w 317"/>
                <a:gd name="T63" fmla="*/ 4 h 290"/>
                <a:gd name="T64" fmla="*/ 112 w 317"/>
                <a:gd name="T65" fmla="*/ 18 h 290"/>
                <a:gd name="T66" fmla="*/ 116 w 317"/>
                <a:gd name="T67" fmla="*/ 22 h 290"/>
                <a:gd name="T68" fmla="*/ 116 w 317"/>
                <a:gd name="T69" fmla="*/ 31 h 290"/>
                <a:gd name="T70" fmla="*/ 129 w 317"/>
                <a:gd name="T71" fmla="*/ 31 h 290"/>
                <a:gd name="T72" fmla="*/ 152 w 317"/>
                <a:gd name="T73" fmla="*/ 40 h 290"/>
                <a:gd name="T74" fmla="*/ 152 w 317"/>
                <a:gd name="T75" fmla="*/ 53 h 290"/>
                <a:gd name="T76" fmla="*/ 147 w 317"/>
                <a:gd name="T77" fmla="*/ 71 h 290"/>
                <a:gd name="T78" fmla="*/ 138 w 317"/>
                <a:gd name="T79" fmla="*/ 85 h 290"/>
                <a:gd name="T80" fmla="*/ 143 w 317"/>
                <a:gd name="T81" fmla="*/ 107 h 290"/>
                <a:gd name="T82" fmla="*/ 143 w 317"/>
                <a:gd name="T83" fmla="*/ 116 h 290"/>
                <a:gd name="T84" fmla="*/ 268 w 317"/>
                <a:gd name="T85" fmla="*/ 94 h 290"/>
                <a:gd name="T86" fmla="*/ 268 w 317"/>
                <a:gd name="T87" fmla="*/ 103 h 290"/>
                <a:gd name="T88" fmla="*/ 272 w 317"/>
                <a:gd name="T89" fmla="*/ 103 h 290"/>
                <a:gd name="T90" fmla="*/ 272 w 317"/>
                <a:gd name="T91" fmla="*/ 94 h 290"/>
                <a:gd name="T92" fmla="*/ 286 w 317"/>
                <a:gd name="T93" fmla="*/ 85 h 290"/>
                <a:gd name="T94" fmla="*/ 290 w 317"/>
                <a:gd name="T95" fmla="*/ 89 h 290"/>
                <a:gd name="T96" fmla="*/ 304 w 317"/>
                <a:gd name="T97" fmla="*/ 85 h 290"/>
                <a:gd name="T98" fmla="*/ 299 w 317"/>
                <a:gd name="T99" fmla="*/ 76 h 290"/>
                <a:gd name="T100" fmla="*/ 290 w 317"/>
                <a:gd name="T101" fmla="*/ 80 h 290"/>
                <a:gd name="T102" fmla="*/ 308 w 317"/>
                <a:gd name="T103" fmla="*/ 71 h 290"/>
                <a:gd name="T104" fmla="*/ 317 w 317"/>
                <a:gd name="T105" fmla="*/ 80 h 290"/>
                <a:gd name="T106" fmla="*/ 308 w 317"/>
                <a:gd name="T107" fmla="*/ 71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7" h="290">
                  <a:moveTo>
                    <a:pt x="0" y="281"/>
                  </a:moveTo>
                  <a:lnTo>
                    <a:pt x="4" y="290"/>
                  </a:lnTo>
                  <a:lnTo>
                    <a:pt x="13" y="286"/>
                  </a:lnTo>
                  <a:lnTo>
                    <a:pt x="13" y="277"/>
                  </a:lnTo>
                  <a:lnTo>
                    <a:pt x="0" y="281"/>
                  </a:lnTo>
                  <a:close/>
                  <a:moveTo>
                    <a:pt x="22" y="286"/>
                  </a:moveTo>
                  <a:lnTo>
                    <a:pt x="18" y="290"/>
                  </a:lnTo>
                  <a:lnTo>
                    <a:pt x="27" y="290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2" y="286"/>
                  </a:lnTo>
                  <a:close/>
                  <a:moveTo>
                    <a:pt x="143" y="125"/>
                  </a:moveTo>
                  <a:lnTo>
                    <a:pt x="156" y="134"/>
                  </a:lnTo>
                  <a:lnTo>
                    <a:pt x="156" y="138"/>
                  </a:lnTo>
                  <a:lnTo>
                    <a:pt x="156" y="143"/>
                  </a:lnTo>
                  <a:lnTo>
                    <a:pt x="170" y="147"/>
                  </a:lnTo>
                  <a:lnTo>
                    <a:pt x="174" y="138"/>
                  </a:lnTo>
                  <a:lnTo>
                    <a:pt x="179" y="143"/>
                  </a:lnTo>
                  <a:lnTo>
                    <a:pt x="187" y="134"/>
                  </a:lnTo>
                  <a:lnTo>
                    <a:pt x="196" y="138"/>
                  </a:lnTo>
                  <a:lnTo>
                    <a:pt x="205" y="134"/>
                  </a:lnTo>
                  <a:lnTo>
                    <a:pt x="205" y="138"/>
                  </a:lnTo>
                  <a:lnTo>
                    <a:pt x="214" y="134"/>
                  </a:lnTo>
                  <a:lnTo>
                    <a:pt x="219" y="134"/>
                  </a:lnTo>
                  <a:lnTo>
                    <a:pt x="223" y="129"/>
                  </a:lnTo>
                  <a:lnTo>
                    <a:pt x="228" y="125"/>
                  </a:lnTo>
                  <a:lnTo>
                    <a:pt x="237" y="125"/>
                  </a:lnTo>
                  <a:lnTo>
                    <a:pt x="241" y="111"/>
                  </a:lnTo>
                  <a:lnTo>
                    <a:pt x="246" y="103"/>
                  </a:lnTo>
                  <a:lnTo>
                    <a:pt x="250" y="98"/>
                  </a:lnTo>
                  <a:lnTo>
                    <a:pt x="246" y="98"/>
                  </a:lnTo>
                  <a:lnTo>
                    <a:pt x="241" y="89"/>
                  </a:lnTo>
                  <a:lnTo>
                    <a:pt x="241" y="85"/>
                  </a:lnTo>
                  <a:lnTo>
                    <a:pt x="263" y="53"/>
                  </a:lnTo>
                  <a:lnTo>
                    <a:pt x="281" y="49"/>
                  </a:lnTo>
                  <a:lnTo>
                    <a:pt x="295" y="35"/>
                  </a:lnTo>
                  <a:lnTo>
                    <a:pt x="295" y="31"/>
                  </a:lnTo>
                  <a:lnTo>
                    <a:pt x="295" y="31"/>
                  </a:lnTo>
                  <a:lnTo>
                    <a:pt x="299" y="27"/>
                  </a:lnTo>
                  <a:lnTo>
                    <a:pt x="295" y="27"/>
                  </a:lnTo>
                  <a:lnTo>
                    <a:pt x="286" y="27"/>
                  </a:lnTo>
                  <a:lnTo>
                    <a:pt x="277" y="27"/>
                  </a:lnTo>
                  <a:lnTo>
                    <a:pt x="268" y="22"/>
                  </a:lnTo>
                  <a:lnTo>
                    <a:pt x="259" y="22"/>
                  </a:lnTo>
                  <a:lnTo>
                    <a:pt x="246" y="22"/>
                  </a:lnTo>
                  <a:lnTo>
                    <a:pt x="241" y="22"/>
                  </a:lnTo>
                  <a:lnTo>
                    <a:pt x="228" y="13"/>
                  </a:lnTo>
                  <a:lnTo>
                    <a:pt x="223" y="4"/>
                  </a:lnTo>
                  <a:lnTo>
                    <a:pt x="214" y="9"/>
                  </a:lnTo>
                  <a:lnTo>
                    <a:pt x="214" y="4"/>
                  </a:lnTo>
                  <a:lnTo>
                    <a:pt x="205" y="4"/>
                  </a:lnTo>
                  <a:lnTo>
                    <a:pt x="201" y="4"/>
                  </a:lnTo>
                  <a:lnTo>
                    <a:pt x="192" y="4"/>
                  </a:lnTo>
                  <a:lnTo>
                    <a:pt x="179" y="4"/>
                  </a:lnTo>
                  <a:lnTo>
                    <a:pt x="170" y="4"/>
                  </a:lnTo>
                  <a:lnTo>
                    <a:pt x="170" y="0"/>
                  </a:lnTo>
                  <a:lnTo>
                    <a:pt x="161" y="0"/>
                  </a:lnTo>
                  <a:lnTo>
                    <a:pt x="152" y="4"/>
                  </a:lnTo>
                  <a:lnTo>
                    <a:pt x="147" y="0"/>
                  </a:lnTo>
                  <a:lnTo>
                    <a:pt x="143" y="0"/>
                  </a:lnTo>
                  <a:lnTo>
                    <a:pt x="134" y="0"/>
                  </a:lnTo>
                  <a:lnTo>
                    <a:pt x="125" y="0"/>
                  </a:lnTo>
                  <a:lnTo>
                    <a:pt x="129" y="4"/>
                  </a:lnTo>
                  <a:lnTo>
                    <a:pt x="116" y="4"/>
                  </a:lnTo>
                  <a:lnTo>
                    <a:pt x="112" y="9"/>
                  </a:lnTo>
                  <a:lnTo>
                    <a:pt x="112" y="18"/>
                  </a:lnTo>
                  <a:lnTo>
                    <a:pt x="116" y="18"/>
                  </a:lnTo>
                  <a:lnTo>
                    <a:pt x="116" y="22"/>
                  </a:lnTo>
                  <a:lnTo>
                    <a:pt x="120" y="27"/>
                  </a:lnTo>
                  <a:lnTo>
                    <a:pt x="116" y="31"/>
                  </a:lnTo>
                  <a:lnTo>
                    <a:pt x="120" y="35"/>
                  </a:lnTo>
                  <a:lnTo>
                    <a:pt x="129" y="31"/>
                  </a:lnTo>
                  <a:lnTo>
                    <a:pt x="134" y="40"/>
                  </a:lnTo>
                  <a:lnTo>
                    <a:pt x="152" y="40"/>
                  </a:lnTo>
                  <a:lnTo>
                    <a:pt x="161" y="44"/>
                  </a:lnTo>
                  <a:lnTo>
                    <a:pt x="152" y="53"/>
                  </a:lnTo>
                  <a:lnTo>
                    <a:pt x="147" y="67"/>
                  </a:lnTo>
                  <a:lnTo>
                    <a:pt x="147" y="71"/>
                  </a:lnTo>
                  <a:lnTo>
                    <a:pt x="147" y="80"/>
                  </a:lnTo>
                  <a:lnTo>
                    <a:pt x="138" y="85"/>
                  </a:lnTo>
                  <a:lnTo>
                    <a:pt x="147" y="98"/>
                  </a:lnTo>
                  <a:lnTo>
                    <a:pt x="143" y="107"/>
                  </a:lnTo>
                  <a:lnTo>
                    <a:pt x="147" y="116"/>
                  </a:lnTo>
                  <a:lnTo>
                    <a:pt x="143" y="116"/>
                  </a:lnTo>
                  <a:lnTo>
                    <a:pt x="143" y="125"/>
                  </a:lnTo>
                  <a:close/>
                  <a:moveTo>
                    <a:pt x="268" y="94"/>
                  </a:moveTo>
                  <a:lnTo>
                    <a:pt x="263" y="98"/>
                  </a:lnTo>
                  <a:lnTo>
                    <a:pt x="268" y="103"/>
                  </a:lnTo>
                  <a:lnTo>
                    <a:pt x="268" y="103"/>
                  </a:lnTo>
                  <a:lnTo>
                    <a:pt x="272" y="103"/>
                  </a:lnTo>
                  <a:lnTo>
                    <a:pt x="268" y="98"/>
                  </a:lnTo>
                  <a:lnTo>
                    <a:pt x="272" y="94"/>
                  </a:lnTo>
                  <a:lnTo>
                    <a:pt x="268" y="94"/>
                  </a:lnTo>
                  <a:close/>
                  <a:moveTo>
                    <a:pt x="286" y="85"/>
                  </a:moveTo>
                  <a:lnTo>
                    <a:pt x="286" y="85"/>
                  </a:lnTo>
                  <a:lnTo>
                    <a:pt x="290" y="89"/>
                  </a:lnTo>
                  <a:lnTo>
                    <a:pt x="299" y="89"/>
                  </a:lnTo>
                  <a:lnTo>
                    <a:pt x="304" y="85"/>
                  </a:lnTo>
                  <a:lnTo>
                    <a:pt x="304" y="80"/>
                  </a:lnTo>
                  <a:lnTo>
                    <a:pt x="299" y="76"/>
                  </a:lnTo>
                  <a:lnTo>
                    <a:pt x="299" y="76"/>
                  </a:lnTo>
                  <a:lnTo>
                    <a:pt x="290" y="80"/>
                  </a:lnTo>
                  <a:lnTo>
                    <a:pt x="286" y="85"/>
                  </a:lnTo>
                  <a:close/>
                  <a:moveTo>
                    <a:pt x="308" y="71"/>
                  </a:moveTo>
                  <a:lnTo>
                    <a:pt x="308" y="80"/>
                  </a:lnTo>
                  <a:lnTo>
                    <a:pt x="317" y="80"/>
                  </a:lnTo>
                  <a:lnTo>
                    <a:pt x="313" y="71"/>
                  </a:lnTo>
                  <a:lnTo>
                    <a:pt x="308" y="7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0203" name="Freeform 43"/>
            <p:cNvSpPr>
              <a:spLocks/>
            </p:cNvSpPr>
            <p:nvPr/>
          </p:nvSpPr>
          <p:spPr bwMode="gray">
            <a:xfrm>
              <a:off x="2956" y="1109"/>
              <a:ext cx="1182" cy="2409"/>
            </a:xfrm>
            <a:custGeom>
              <a:avLst/>
              <a:gdLst>
                <a:gd name="T0" fmla="*/ 0 w 662"/>
                <a:gd name="T1" fmla="*/ 675 h 1349"/>
                <a:gd name="T2" fmla="*/ 16 w 662"/>
                <a:gd name="T3" fmla="*/ 614 h 1349"/>
                <a:gd name="T4" fmla="*/ 60 w 662"/>
                <a:gd name="T5" fmla="*/ 590 h 1349"/>
                <a:gd name="T6" fmla="*/ 29 w 662"/>
                <a:gd name="T7" fmla="*/ 562 h 1349"/>
                <a:gd name="T8" fmla="*/ 53 w 662"/>
                <a:gd name="T9" fmla="*/ 522 h 1349"/>
                <a:gd name="T10" fmla="*/ 75 w 662"/>
                <a:gd name="T11" fmla="*/ 387 h 1349"/>
                <a:gd name="T12" fmla="*/ 68 w 662"/>
                <a:gd name="T13" fmla="*/ 273 h 1349"/>
                <a:gd name="T14" fmla="*/ 53 w 662"/>
                <a:gd name="T15" fmla="*/ 135 h 1349"/>
                <a:gd name="T16" fmla="*/ 53 w 662"/>
                <a:gd name="T17" fmla="*/ 22 h 1349"/>
                <a:gd name="T18" fmla="*/ 99 w 662"/>
                <a:gd name="T19" fmla="*/ 0 h 1349"/>
                <a:gd name="T20" fmla="*/ 143 w 662"/>
                <a:gd name="T21" fmla="*/ 45 h 1349"/>
                <a:gd name="T22" fmla="*/ 197 w 662"/>
                <a:gd name="T23" fmla="*/ 52 h 1349"/>
                <a:gd name="T24" fmla="*/ 311 w 662"/>
                <a:gd name="T25" fmla="*/ 151 h 1349"/>
                <a:gd name="T26" fmla="*/ 219 w 662"/>
                <a:gd name="T27" fmla="*/ 258 h 1349"/>
                <a:gd name="T28" fmla="*/ 121 w 662"/>
                <a:gd name="T29" fmla="*/ 227 h 1349"/>
                <a:gd name="T30" fmla="*/ 182 w 662"/>
                <a:gd name="T31" fmla="*/ 280 h 1349"/>
                <a:gd name="T32" fmla="*/ 219 w 662"/>
                <a:gd name="T33" fmla="*/ 387 h 1349"/>
                <a:gd name="T34" fmla="*/ 228 w 662"/>
                <a:gd name="T35" fmla="*/ 319 h 1349"/>
                <a:gd name="T36" fmla="*/ 296 w 662"/>
                <a:gd name="T37" fmla="*/ 319 h 1349"/>
                <a:gd name="T38" fmla="*/ 357 w 662"/>
                <a:gd name="T39" fmla="*/ 242 h 1349"/>
                <a:gd name="T40" fmla="*/ 394 w 662"/>
                <a:gd name="T41" fmla="*/ 151 h 1349"/>
                <a:gd name="T42" fmla="*/ 432 w 662"/>
                <a:gd name="T43" fmla="*/ 98 h 1349"/>
                <a:gd name="T44" fmla="*/ 440 w 662"/>
                <a:gd name="T45" fmla="*/ 181 h 1349"/>
                <a:gd name="T46" fmla="*/ 576 w 662"/>
                <a:gd name="T47" fmla="*/ 113 h 1349"/>
                <a:gd name="T48" fmla="*/ 629 w 662"/>
                <a:gd name="T49" fmla="*/ 120 h 1349"/>
                <a:gd name="T50" fmla="*/ 622 w 662"/>
                <a:gd name="T51" fmla="*/ 978 h 1349"/>
                <a:gd name="T52" fmla="*/ 585 w 662"/>
                <a:gd name="T53" fmla="*/ 978 h 1349"/>
                <a:gd name="T54" fmla="*/ 515 w 662"/>
                <a:gd name="T55" fmla="*/ 1008 h 1349"/>
                <a:gd name="T56" fmla="*/ 484 w 662"/>
                <a:gd name="T57" fmla="*/ 1047 h 1349"/>
                <a:gd name="T58" fmla="*/ 478 w 662"/>
                <a:gd name="T59" fmla="*/ 1106 h 1349"/>
                <a:gd name="T60" fmla="*/ 515 w 662"/>
                <a:gd name="T61" fmla="*/ 1146 h 1349"/>
                <a:gd name="T62" fmla="*/ 524 w 662"/>
                <a:gd name="T63" fmla="*/ 1168 h 1349"/>
                <a:gd name="T64" fmla="*/ 484 w 662"/>
                <a:gd name="T65" fmla="*/ 1259 h 1349"/>
                <a:gd name="T66" fmla="*/ 508 w 662"/>
                <a:gd name="T67" fmla="*/ 1343 h 1349"/>
                <a:gd name="T68" fmla="*/ 462 w 662"/>
                <a:gd name="T69" fmla="*/ 1319 h 1349"/>
                <a:gd name="T70" fmla="*/ 417 w 662"/>
                <a:gd name="T71" fmla="*/ 1297 h 1349"/>
                <a:gd name="T72" fmla="*/ 386 w 662"/>
                <a:gd name="T73" fmla="*/ 1297 h 1349"/>
                <a:gd name="T74" fmla="*/ 303 w 662"/>
                <a:gd name="T75" fmla="*/ 1275 h 1349"/>
                <a:gd name="T76" fmla="*/ 243 w 662"/>
                <a:gd name="T77" fmla="*/ 1198 h 1349"/>
                <a:gd name="T78" fmla="*/ 257 w 662"/>
                <a:gd name="T79" fmla="*/ 1168 h 1349"/>
                <a:gd name="T80" fmla="*/ 287 w 662"/>
                <a:gd name="T81" fmla="*/ 1137 h 1349"/>
                <a:gd name="T82" fmla="*/ 303 w 662"/>
                <a:gd name="T83" fmla="*/ 1091 h 1349"/>
                <a:gd name="T84" fmla="*/ 280 w 662"/>
                <a:gd name="T85" fmla="*/ 1047 h 1349"/>
                <a:gd name="T86" fmla="*/ 250 w 662"/>
                <a:gd name="T87" fmla="*/ 1032 h 1349"/>
                <a:gd name="T88" fmla="*/ 197 w 662"/>
                <a:gd name="T89" fmla="*/ 1023 h 1349"/>
                <a:gd name="T90" fmla="*/ 158 w 662"/>
                <a:gd name="T91" fmla="*/ 962 h 1349"/>
                <a:gd name="T92" fmla="*/ 106 w 662"/>
                <a:gd name="T93" fmla="*/ 955 h 1349"/>
                <a:gd name="T94" fmla="*/ 106 w 662"/>
                <a:gd name="T95" fmla="*/ 918 h 1349"/>
                <a:gd name="T96" fmla="*/ 90 w 662"/>
                <a:gd name="T97" fmla="*/ 894 h 1349"/>
                <a:gd name="T98" fmla="*/ 83 w 662"/>
                <a:gd name="T99" fmla="*/ 833 h 1349"/>
                <a:gd name="T100" fmla="*/ 22 w 662"/>
                <a:gd name="T101" fmla="*/ 789 h 1349"/>
                <a:gd name="T102" fmla="*/ 7 w 662"/>
                <a:gd name="T103" fmla="*/ 735 h 1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62" h="1349">
                  <a:moveTo>
                    <a:pt x="0" y="719"/>
                  </a:moveTo>
                  <a:lnTo>
                    <a:pt x="16" y="713"/>
                  </a:lnTo>
                  <a:lnTo>
                    <a:pt x="22" y="706"/>
                  </a:lnTo>
                  <a:lnTo>
                    <a:pt x="7" y="690"/>
                  </a:lnTo>
                  <a:lnTo>
                    <a:pt x="0" y="675"/>
                  </a:lnTo>
                  <a:lnTo>
                    <a:pt x="0" y="667"/>
                  </a:lnTo>
                  <a:lnTo>
                    <a:pt x="0" y="652"/>
                  </a:lnTo>
                  <a:lnTo>
                    <a:pt x="16" y="645"/>
                  </a:lnTo>
                  <a:lnTo>
                    <a:pt x="22" y="630"/>
                  </a:lnTo>
                  <a:lnTo>
                    <a:pt x="16" y="614"/>
                  </a:lnTo>
                  <a:lnTo>
                    <a:pt x="16" y="606"/>
                  </a:lnTo>
                  <a:lnTo>
                    <a:pt x="22" y="614"/>
                  </a:lnTo>
                  <a:lnTo>
                    <a:pt x="38" y="599"/>
                  </a:lnTo>
                  <a:lnTo>
                    <a:pt x="53" y="606"/>
                  </a:lnTo>
                  <a:lnTo>
                    <a:pt x="60" y="590"/>
                  </a:lnTo>
                  <a:lnTo>
                    <a:pt x="53" y="590"/>
                  </a:lnTo>
                  <a:lnTo>
                    <a:pt x="29" y="590"/>
                  </a:lnTo>
                  <a:lnTo>
                    <a:pt x="22" y="577"/>
                  </a:lnTo>
                  <a:lnTo>
                    <a:pt x="29" y="577"/>
                  </a:lnTo>
                  <a:lnTo>
                    <a:pt x="29" y="562"/>
                  </a:lnTo>
                  <a:lnTo>
                    <a:pt x="22" y="577"/>
                  </a:lnTo>
                  <a:lnTo>
                    <a:pt x="16" y="577"/>
                  </a:lnTo>
                  <a:lnTo>
                    <a:pt x="29" y="562"/>
                  </a:lnTo>
                  <a:lnTo>
                    <a:pt x="44" y="546"/>
                  </a:lnTo>
                  <a:lnTo>
                    <a:pt x="53" y="522"/>
                  </a:lnTo>
                  <a:lnTo>
                    <a:pt x="99" y="477"/>
                  </a:lnTo>
                  <a:lnTo>
                    <a:pt x="106" y="463"/>
                  </a:lnTo>
                  <a:lnTo>
                    <a:pt x="75" y="432"/>
                  </a:lnTo>
                  <a:lnTo>
                    <a:pt x="53" y="409"/>
                  </a:lnTo>
                  <a:lnTo>
                    <a:pt x="75" y="387"/>
                  </a:lnTo>
                  <a:lnTo>
                    <a:pt x="53" y="371"/>
                  </a:lnTo>
                  <a:lnTo>
                    <a:pt x="68" y="363"/>
                  </a:lnTo>
                  <a:lnTo>
                    <a:pt x="53" y="356"/>
                  </a:lnTo>
                  <a:lnTo>
                    <a:pt x="53" y="280"/>
                  </a:lnTo>
                  <a:lnTo>
                    <a:pt x="68" y="273"/>
                  </a:lnTo>
                  <a:lnTo>
                    <a:pt x="53" y="249"/>
                  </a:lnTo>
                  <a:lnTo>
                    <a:pt x="44" y="220"/>
                  </a:lnTo>
                  <a:lnTo>
                    <a:pt x="29" y="197"/>
                  </a:lnTo>
                  <a:lnTo>
                    <a:pt x="53" y="151"/>
                  </a:lnTo>
                  <a:lnTo>
                    <a:pt x="53" y="135"/>
                  </a:lnTo>
                  <a:lnTo>
                    <a:pt x="29" y="120"/>
                  </a:lnTo>
                  <a:lnTo>
                    <a:pt x="22" y="91"/>
                  </a:lnTo>
                  <a:lnTo>
                    <a:pt x="38" y="61"/>
                  </a:lnTo>
                  <a:lnTo>
                    <a:pt x="53" y="37"/>
                  </a:lnTo>
                  <a:lnTo>
                    <a:pt x="53" y="22"/>
                  </a:lnTo>
                  <a:lnTo>
                    <a:pt x="68" y="37"/>
                  </a:lnTo>
                  <a:lnTo>
                    <a:pt x="75" y="15"/>
                  </a:lnTo>
                  <a:lnTo>
                    <a:pt x="90" y="22"/>
                  </a:lnTo>
                  <a:lnTo>
                    <a:pt x="99" y="15"/>
                  </a:lnTo>
                  <a:lnTo>
                    <a:pt x="99" y="0"/>
                  </a:lnTo>
                  <a:lnTo>
                    <a:pt x="136" y="15"/>
                  </a:lnTo>
                  <a:lnTo>
                    <a:pt x="129" y="30"/>
                  </a:lnTo>
                  <a:lnTo>
                    <a:pt x="106" y="22"/>
                  </a:lnTo>
                  <a:lnTo>
                    <a:pt x="106" y="30"/>
                  </a:lnTo>
                  <a:lnTo>
                    <a:pt x="143" y="45"/>
                  </a:lnTo>
                  <a:lnTo>
                    <a:pt x="136" y="67"/>
                  </a:lnTo>
                  <a:lnTo>
                    <a:pt x="151" y="61"/>
                  </a:lnTo>
                  <a:lnTo>
                    <a:pt x="182" y="61"/>
                  </a:lnTo>
                  <a:lnTo>
                    <a:pt x="189" y="52"/>
                  </a:lnTo>
                  <a:lnTo>
                    <a:pt x="197" y="52"/>
                  </a:lnTo>
                  <a:lnTo>
                    <a:pt x="219" y="67"/>
                  </a:lnTo>
                  <a:lnTo>
                    <a:pt x="265" y="113"/>
                  </a:lnTo>
                  <a:lnTo>
                    <a:pt x="272" y="105"/>
                  </a:lnTo>
                  <a:lnTo>
                    <a:pt x="311" y="135"/>
                  </a:lnTo>
                  <a:lnTo>
                    <a:pt x="311" y="151"/>
                  </a:lnTo>
                  <a:lnTo>
                    <a:pt x="326" y="159"/>
                  </a:lnTo>
                  <a:lnTo>
                    <a:pt x="326" y="205"/>
                  </a:lnTo>
                  <a:lnTo>
                    <a:pt x="311" y="249"/>
                  </a:lnTo>
                  <a:lnTo>
                    <a:pt x="280" y="264"/>
                  </a:lnTo>
                  <a:lnTo>
                    <a:pt x="219" y="258"/>
                  </a:lnTo>
                  <a:lnTo>
                    <a:pt x="173" y="242"/>
                  </a:lnTo>
                  <a:lnTo>
                    <a:pt x="143" y="227"/>
                  </a:lnTo>
                  <a:lnTo>
                    <a:pt x="129" y="205"/>
                  </a:lnTo>
                  <a:lnTo>
                    <a:pt x="114" y="205"/>
                  </a:lnTo>
                  <a:lnTo>
                    <a:pt x="121" y="227"/>
                  </a:lnTo>
                  <a:lnTo>
                    <a:pt x="136" y="234"/>
                  </a:lnTo>
                  <a:lnTo>
                    <a:pt x="136" y="242"/>
                  </a:lnTo>
                  <a:lnTo>
                    <a:pt x="151" y="249"/>
                  </a:lnTo>
                  <a:lnTo>
                    <a:pt x="173" y="258"/>
                  </a:lnTo>
                  <a:lnTo>
                    <a:pt x="182" y="280"/>
                  </a:lnTo>
                  <a:lnTo>
                    <a:pt x="173" y="319"/>
                  </a:lnTo>
                  <a:lnTo>
                    <a:pt x="182" y="334"/>
                  </a:lnTo>
                  <a:lnTo>
                    <a:pt x="173" y="363"/>
                  </a:lnTo>
                  <a:lnTo>
                    <a:pt x="197" y="363"/>
                  </a:lnTo>
                  <a:lnTo>
                    <a:pt x="219" y="387"/>
                  </a:lnTo>
                  <a:lnTo>
                    <a:pt x="257" y="387"/>
                  </a:lnTo>
                  <a:lnTo>
                    <a:pt x="257" y="363"/>
                  </a:lnTo>
                  <a:lnTo>
                    <a:pt x="235" y="363"/>
                  </a:lnTo>
                  <a:lnTo>
                    <a:pt x="219" y="341"/>
                  </a:lnTo>
                  <a:lnTo>
                    <a:pt x="228" y="319"/>
                  </a:lnTo>
                  <a:lnTo>
                    <a:pt x="243" y="325"/>
                  </a:lnTo>
                  <a:lnTo>
                    <a:pt x="296" y="356"/>
                  </a:lnTo>
                  <a:lnTo>
                    <a:pt x="318" y="356"/>
                  </a:lnTo>
                  <a:lnTo>
                    <a:pt x="311" y="341"/>
                  </a:lnTo>
                  <a:lnTo>
                    <a:pt x="296" y="319"/>
                  </a:lnTo>
                  <a:lnTo>
                    <a:pt x="296" y="303"/>
                  </a:lnTo>
                  <a:lnTo>
                    <a:pt x="311" y="288"/>
                  </a:lnTo>
                  <a:lnTo>
                    <a:pt x="318" y="273"/>
                  </a:lnTo>
                  <a:lnTo>
                    <a:pt x="342" y="273"/>
                  </a:lnTo>
                  <a:lnTo>
                    <a:pt x="357" y="242"/>
                  </a:lnTo>
                  <a:lnTo>
                    <a:pt x="410" y="264"/>
                  </a:lnTo>
                  <a:lnTo>
                    <a:pt x="417" y="220"/>
                  </a:lnTo>
                  <a:lnTo>
                    <a:pt x="417" y="190"/>
                  </a:lnTo>
                  <a:lnTo>
                    <a:pt x="394" y="190"/>
                  </a:lnTo>
                  <a:lnTo>
                    <a:pt x="394" y="151"/>
                  </a:lnTo>
                  <a:lnTo>
                    <a:pt x="401" y="120"/>
                  </a:lnTo>
                  <a:lnTo>
                    <a:pt x="379" y="98"/>
                  </a:lnTo>
                  <a:lnTo>
                    <a:pt x="386" y="91"/>
                  </a:lnTo>
                  <a:lnTo>
                    <a:pt x="410" y="98"/>
                  </a:lnTo>
                  <a:lnTo>
                    <a:pt x="432" y="98"/>
                  </a:lnTo>
                  <a:lnTo>
                    <a:pt x="462" y="129"/>
                  </a:lnTo>
                  <a:lnTo>
                    <a:pt x="471" y="144"/>
                  </a:lnTo>
                  <a:lnTo>
                    <a:pt x="440" y="151"/>
                  </a:lnTo>
                  <a:lnTo>
                    <a:pt x="432" y="174"/>
                  </a:lnTo>
                  <a:lnTo>
                    <a:pt x="440" y="181"/>
                  </a:lnTo>
                  <a:lnTo>
                    <a:pt x="455" y="212"/>
                  </a:lnTo>
                  <a:lnTo>
                    <a:pt x="493" y="212"/>
                  </a:lnTo>
                  <a:lnTo>
                    <a:pt x="500" y="159"/>
                  </a:lnTo>
                  <a:lnTo>
                    <a:pt x="561" y="113"/>
                  </a:lnTo>
                  <a:lnTo>
                    <a:pt x="576" y="113"/>
                  </a:lnTo>
                  <a:lnTo>
                    <a:pt x="629" y="76"/>
                  </a:lnTo>
                  <a:lnTo>
                    <a:pt x="653" y="76"/>
                  </a:lnTo>
                  <a:lnTo>
                    <a:pt x="637" y="98"/>
                  </a:lnTo>
                  <a:lnTo>
                    <a:pt x="644" y="113"/>
                  </a:lnTo>
                  <a:lnTo>
                    <a:pt x="629" y="120"/>
                  </a:lnTo>
                  <a:lnTo>
                    <a:pt x="662" y="129"/>
                  </a:lnTo>
                  <a:lnTo>
                    <a:pt x="659" y="1016"/>
                  </a:lnTo>
                  <a:lnTo>
                    <a:pt x="653" y="1008"/>
                  </a:lnTo>
                  <a:lnTo>
                    <a:pt x="644" y="986"/>
                  </a:lnTo>
                  <a:lnTo>
                    <a:pt x="622" y="978"/>
                  </a:lnTo>
                  <a:lnTo>
                    <a:pt x="614" y="986"/>
                  </a:lnTo>
                  <a:lnTo>
                    <a:pt x="607" y="971"/>
                  </a:lnTo>
                  <a:lnTo>
                    <a:pt x="592" y="978"/>
                  </a:lnTo>
                  <a:lnTo>
                    <a:pt x="585" y="986"/>
                  </a:lnTo>
                  <a:lnTo>
                    <a:pt x="585" y="978"/>
                  </a:lnTo>
                  <a:lnTo>
                    <a:pt x="576" y="971"/>
                  </a:lnTo>
                  <a:lnTo>
                    <a:pt x="569" y="986"/>
                  </a:lnTo>
                  <a:lnTo>
                    <a:pt x="539" y="1008"/>
                  </a:lnTo>
                  <a:lnTo>
                    <a:pt x="524" y="1016"/>
                  </a:lnTo>
                  <a:lnTo>
                    <a:pt x="515" y="1008"/>
                  </a:lnTo>
                  <a:lnTo>
                    <a:pt x="524" y="1038"/>
                  </a:lnTo>
                  <a:lnTo>
                    <a:pt x="515" y="1047"/>
                  </a:lnTo>
                  <a:lnTo>
                    <a:pt x="493" y="1023"/>
                  </a:lnTo>
                  <a:lnTo>
                    <a:pt x="484" y="1023"/>
                  </a:lnTo>
                  <a:lnTo>
                    <a:pt x="484" y="1047"/>
                  </a:lnTo>
                  <a:lnTo>
                    <a:pt x="478" y="1047"/>
                  </a:lnTo>
                  <a:lnTo>
                    <a:pt x="471" y="1069"/>
                  </a:lnTo>
                  <a:lnTo>
                    <a:pt x="471" y="1076"/>
                  </a:lnTo>
                  <a:lnTo>
                    <a:pt x="462" y="1100"/>
                  </a:lnTo>
                  <a:lnTo>
                    <a:pt x="478" y="1106"/>
                  </a:lnTo>
                  <a:lnTo>
                    <a:pt x="478" y="1115"/>
                  </a:lnTo>
                  <a:lnTo>
                    <a:pt x="484" y="1130"/>
                  </a:lnTo>
                  <a:lnTo>
                    <a:pt x="484" y="1115"/>
                  </a:lnTo>
                  <a:lnTo>
                    <a:pt x="500" y="1122"/>
                  </a:lnTo>
                  <a:lnTo>
                    <a:pt x="515" y="1146"/>
                  </a:lnTo>
                  <a:lnTo>
                    <a:pt x="524" y="1152"/>
                  </a:lnTo>
                  <a:lnTo>
                    <a:pt x="515" y="1152"/>
                  </a:lnTo>
                  <a:lnTo>
                    <a:pt x="508" y="1161"/>
                  </a:lnTo>
                  <a:lnTo>
                    <a:pt x="524" y="1161"/>
                  </a:lnTo>
                  <a:lnTo>
                    <a:pt x="524" y="1168"/>
                  </a:lnTo>
                  <a:lnTo>
                    <a:pt x="508" y="1191"/>
                  </a:lnTo>
                  <a:lnTo>
                    <a:pt x="484" y="1191"/>
                  </a:lnTo>
                  <a:lnTo>
                    <a:pt x="471" y="1236"/>
                  </a:lnTo>
                  <a:lnTo>
                    <a:pt x="478" y="1236"/>
                  </a:lnTo>
                  <a:lnTo>
                    <a:pt x="484" y="1259"/>
                  </a:lnTo>
                  <a:lnTo>
                    <a:pt x="493" y="1251"/>
                  </a:lnTo>
                  <a:lnTo>
                    <a:pt x="484" y="1290"/>
                  </a:lnTo>
                  <a:lnTo>
                    <a:pt x="515" y="1327"/>
                  </a:lnTo>
                  <a:lnTo>
                    <a:pt x="524" y="1334"/>
                  </a:lnTo>
                  <a:lnTo>
                    <a:pt x="508" y="1343"/>
                  </a:lnTo>
                  <a:lnTo>
                    <a:pt x="500" y="1349"/>
                  </a:lnTo>
                  <a:lnTo>
                    <a:pt x="493" y="1349"/>
                  </a:lnTo>
                  <a:lnTo>
                    <a:pt x="478" y="1327"/>
                  </a:lnTo>
                  <a:lnTo>
                    <a:pt x="471" y="1327"/>
                  </a:lnTo>
                  <a:lnTo>
                    <a:pt x="462" y="1319"/>
                  </a:lnTo>
                  <a:lnTo>
                    <a:pt x="447" y="1312"/>
                  </a:lnTo>
                  <a:lnTo>
                    <a:pt x="455" y="1305"/>
                  </a:lnTo>
                  <a:lnTo>
                    <a:pt x="432" y="1305"/>
                  </a:lnTo>
                  <a:lnTo>
                    <a:pt x="432" y="1297"/>
                  </a:lnTo>
                  <a:lnTo>
                    <a:pt x="417" y="1297"/>
                  </a:lnTo>
                  <a:lnTo>
                    <a:pt x="417" y="1305"/>
                  </a:lnTo>
                  <a:lnTo>
                    <a:pt x="410" y="1297"/>
                  </a:lnTo>
                  <a:lnTo>
                    <a:pt x="401" y="1305"/>
                  </a:lnTo>
                  <a:lnTo>
                    <a:pt x="394" y="1290"/>
                  </a:lnTo>
                  <a:lnTo>
                    <a:pt x="386" y="1297"/>
                  </a:lnTo>
                  <a:lnTo>
                    <a:pt x="379" y="1281"/>
                  </a:lnTo>
                  <a:lnTo>
                    <a:pt x="348" y="1281"/>
                  </a:lnTo>
                  <a:lnTo>
                    <a:pt x="333" y="1275"/>
                  </a:lnTo>
                  <a:lnTo>
                    <a:pt x="311" y="1275"/>
                  </a:lnTo>
                  <a:lnTo>
                    <a:pt x="303" y="1275"/>
                  </a:lnTo>
                  <a:lnTo>
                    <a:pt x="296" y="1275"/>
                  </a:lnTo>
                  <a:lnTo>
                    <a:pt x="235" y="1213"/>
                  </a:lnTo>
                  <a:lnTo>
                    <a:pt x="228" y="1205"/>
                  </a:lnTo>
                  <a:lnTo>
                    <a:pt x="228" y="1198"/>
                  </a:lnTo>
                  <a:lnTo>
                    <a:pt x="243" y="1198"/>
                  </a:lnTo>
                  <a:lnTo>
                    <a:pt x="250" y="1198"/>
                  </a:lnTo>
                  <a:lnTo>
                    <a:pt x="250" y="1183"/>
                  </a:lnTo>
                  <a:lnTo>
                    <a:pt x="257" y="1176"/>
                  </a:lnTo>
                  <a:lnTo>
                    <a:pt x="265" y="1176"/>
                  </a:lnTo>
                  <a:lnTo>
                    <a:pt x="257" y="1168"/>
                  </a:lnTo>
                  <a:lnTo>
                    <a:pt x="250" y="1168"/>
                  </a:lnTo>
                  <a:lnTo>
                    <a:pt x="243" y="1161"/>
                  </a:lnTo>
                  <a:lnTo>
                    <a:pt x="257" y="1152"/>
                  </a:lnTo>
                  <a:lnTo>
                    <a:pt x="265" y="1146"/>
                  </a:lnTo>
                  <a:lnTo>
                    <a:pt x="287" y="1137"/>
                  </a:lnTo>
                  <a:lnTo>
                    <a:pt x="280" y="1130"/>
                  </a:lnTo>
                  <a:lnTo>
                    <a:pt x="265" y="1137"/>
                  </a:lnTo>
                  <a:lnTo>
                    <a:pt x="280" y="1115"/>
                  </a:lnTo>
                  <a:lnTo>
                    <a:pt x="296" y="1106"/>
                  </a:lnTo>
                  <a:lnTo>
                    <a:pt x="303" y="1091"/>
                  </a:lnTo>
                  <a:lnTo>
                    <a:pt x="296" y="1084"/>
                  </a:lnTo>
                  <a:lnTo>
                    <a:pt x="303" y="1076"/>
                  </a:lnTo>
                  <a:lnTo>
                    <a:pt x="296" y="1069"/>
                  </a:lnTo>
                  <a:lnTo>
                    <a:pt x="303" y="1062"/>
                  </a:lnTo>
                  <a:lnTo>
                    <a:pt x="280" y="1047"/>
                  </a:lnTo>
                  <a:lnTo>
                    <a:pt x="272" y="1038"/>
                  </a:lnTo>
                  <a:lnTo>
                    <a:pt x="265" y="1047"/>
                  </a:lnTo>
                  <a:lnTo>
                    <a:pt x="265" y="1038"/>
                  </a:lnTo>
                  <a:lnTo>
                    <a:pt x="250" y="1038"/>
                  </a:lnTo>
                  <a:lnTo>
                    <a:pt x="250" y="1032"/>
                  </a:lnTo>
                  <a:lnTo>
                    <a:pt x="243" y="1023"/>
                  </a:lnTo>
                  <a:lnTo>
                    <a:pt x="228" y="1023"/>
                  </a:lnTo>
                  <a:lnTo>
                    <a:pt x="219" y="1032"/>
                  </a:lnTo>
                  <a:lnTo>
                    <a:pt x="213" y="1023"/>
                  </a:lnTo>
                  <a:lnTo>
                    <a:pt x="197" y="1023"/>
                  </a:lnTo>
                  <a:lnTo>
                    <a:pt x="189" y="1001"/>
                  </a:lnTo>
                  <a:lnTo>
                    <a:pt x="189" y="986"/>
                  </a:lnTo>
                  <a:lnTo>
                    <a:pt x="158" y="978"/>
                  </a:lnTo>
                  <a:lnTo>
                    <a:pt x="167" y="962"/>
                  </a:lnTo>
                  <a:lnTo>
                    <a:pt x="158" y="962"/>
                  </a:lnTo>
                  <a:lnTo>
                    <a:pt x="151" y="948"/>
                  </a:lnTo>
                  <a:lnTo>
                    <a:pt x="136" y="948"/>
                  </a:lnTo>
                  <a:lnTo>
                    <a:pt x="121" y="955"/>
                  </a:lnTo>
                  <a:lnTo>
                    <a:pt x="114" y="948"/>
                  </a:lnTo>
                  <a:lnTo>
                    <a:pt x="106" y="955"/>
                  </a:lnTo>
                  <a:lnTo>
                    <a:pt x="99" y="955"/>
                  </a:lnTo>
                  <a:lnTo>
                    <a:pt x="99" y="940"/>
                  </a:lnTo>
                  <a:lnTo>
                    <a:pt x="90" y="918"/>
                  </a:lnTo>
                  <a:lnTo>
                    <a:pt x="99" y="910"/>
                  </a:lnTo>
                  <a:lnTo>
                    <a:pt x="106" y="918"/>
                  </a:lnTo>
                  <a:lnTo>
                    <a:pt x="114" y="910"/>
                  </a:lnTo>
                  <a:lnTo>
                    <a:pt x="121" y="903"/>
                  </a:lnTo>
                  <a:lnTo>
                    <a:pt x="114" y="903"/>
                  </a:lnTo>
                  <a:lnTo>
                    <a:pt x="106" y="888"/>
                  </a:lnTo>
                  <a:lnTo>
                    <a:pt x="90" y="894"/>
                  </a:lnTo>
                  <a:lnTo>
                    <a:pt x="90" y="872"/>
                  </a:lnTo>
                  <a:lnTo>
                    <a:pt x="83" y="864"/>
                  </a:lnTo>
                  <a:lnTo>
                    <a:pt x="83" y="857"/>
                  </a:lnTo>
                  <a:lnTo>
                    <a:pt x="83" y="842"/>
                  </a:lnTo>
                  <a:lnTo>
                    <a:pt x="83" y="833"/>
                  </a:lnTo>
                  <a:lnTo>
                    <a:pt x="75" y="811"/>
                  </a:lnTo>
                  <a:lnTo>
                    <a:pt x="60" y="796"/>
                  </a:lnTo>
                  <a:lnTo>
                    <a:pt x="44" y="804"/>
                  </a:lnTo>
                  <a:lnTo>
                    <a:pt x="38" y="789"/>
                  </a:lnTo>
                  <a:lnTo>
                    <a:pt x="22" y="789"/>
                  </a:lnTo>
                  <a:lnTo>
                    <a:pt x="22" y="780"/>
                  </a:lnTo>
                  <a:lnTo>
                    <a:pt x="16" y="780"/>
                  </a:lnTo>
                  <a:lnTo>
                    <a:pt x="7" y="780"/>
                  </a:lnTo>
                  <a:lnTo>
                    <a:pt x="7" y="765"/>
                  </a:lnTo>
                  <a:lnTo>
                    <a:pt x="7" y="735"/>
                  </a:lnTo>
                  <a:lnTo>
                    <a:pt x="16" y="728"/>
                  </a:lnTo>
                  <a:lnTo>
                    <a:pt x="7" y="719"/>
                  </a:lnTo>
                  <a:lnTo>
                    <a:pt x="0" y="719"/>
                  </a:lnTo>
                </a:path>
              </a:pathLst>
            </a:custGeom>
            <a:solidFill>
              <a:schemeClr val="accent2"/>
            </a:solidFill>
            <a:ln w="3175" cap="rnd">
              <a:solidFill>
                <a:srgbClr val="67676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780204" name="Freeform 44"/>
          <p:cNvSpPr>
            <a:spLocks/>
          </p:cNvSpPr>
          <p:nvPr/>
        </p:nvSpPr>
        <p:spPr bwMode="gray">
          <a:xfrm>
            <a:off x="12798425" y="1757364"/>
            <a:ext cx="169863" cy="96837"/>
          </a:xfrm>
          <a:custGeom>
            <a:avLst/>
            <a:gdLst>
              <a:gd name="T0" fmla="*/ 0 w 107"/>
              <a:gd name="T1" fmla="*/ 37 h 61"/>
              <a:gd name="T2" fmla="*/ 8 w 107"/>
              <a:gd name="T3" fmla="*/ 61 h 61"/>
              <a:gd name="T4" fmla="*/ 24 w 107"/>
              <a:gd name="T5" fmla="*/ 52 h 61"/>
              <a:gd name="T6" fmla="*/ 31 w 107"/>
              <a:gd name="T7" fmla="*/ 52 h 61"/>
              <a:gd name="T8" fmla="*/ 46 w 107"/>
              <a:gd name="T9" fmla="*/ 46 h 61"/>
              <a:gd name="T10" fmla="*/ 53 w 107"/>
              <a:gd name="T11" fmla="*/ 52 h 61"/>
              <a:gd name="T12" fmla="*/ 76 w 107"/>
              <a:gd name="T13" fmla="*/ 52 h 61"/>
              <a:gd name="T14" fmla="*/ 107 w 107"/>
              <a:gd name="T15" fmla="*/ 30 h 61"/>
              <a:gd name="T16" fmla="*/ 92 w 107"/>
              <a:gd name="T17" fmla="*/ 6 h 61"/>
              <a:gd name="T18" fmla="*/ 53 w 107"/>
              <a:gd name="T19" fmla="*/ 0 h 61"/>
              <a:gd name="T20" fmla="*/ 37 w 107"/>
              <a:gd name="T21" fmla="*/ 0 h 61"/>
              <a:gd name="T22" fmla="*/ 0 w 107"/>
              <a:gd name="T23" fmla="*/ 37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7" h="61">
                <a:moveTo>
                  <a:pt x="0" y="37"/>
                </a:moveTo>
                <a:lnTo>
                  <a:pt x="8" y="61"/>
                </a:lnTo>
                <a:lnTo>
                  <a:pt x="24" y="52"/>
                </a:lnTo>
                <a:lnTo>
                  <a:pt x="31" y="52"/>
                </a:lnTo>
                <a:lnTo>
                  <a:pt x="46" y="46"/>
                </a:lnTo>
                <a:lnTo>
                  <a:pt x="53" y="52"/>
                </a:lnTo>
                <a:lnTo>
                  <a:pt x="76" y="52"/>
                </a:lnTo>
                <a:lnTo>
                  <a:pt x="107" y="30"/>
                </a:lnTo>
                <a:lnTo>
                  <a:pt x="92" y="6"/>
                </a:lnTo>
                <a:lnTo>
                  <a:pt x="53" y="0"/>
                </a:lnTo>
                <a:lnTo>
                  <a:pt x="37" y="0"/>
                </a:lnTo>
                <a:lnTo>
                  <a:pt x="0" y="37"/>
                </a:lnTo>
              </a:path>
            </a:pathLst>
          </a:custGeom>
          <a:noFill/>
          <a:ln w="3175" cap="rnd">
            <a:solidFill>
              <a:srgbClr val="67676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0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539823"/>
      </p:ext>
    </p:extLst>
  </p:cSld>
  <p:clrMapOvr>
    <a:masterClrMapping/>
  </p:clrMapOvr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81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urope With Russia</a:t>
            </a:r>
          </a:p>
        </p:txBody>
      </p:sp>
      <p:grpSp>
        <p:nvGrpSpPr>
          <p:cNvPr id="2778115" name="Group 3"/>
          <p:cNvGrpSpPr>
            <a:grpSpLocks/>
          </p:cNvGrpSpPr>
          <p:nvPr/>
        </p:nvGrpSpPr>
        <p:grpSpPr bwMode="auto">
          <a:xfrm>
            <a:off x="1919289" y="1500188"/>
            <a:ext cx="8288337" cy="3890962"/>
            <a:chOff x="261" y="913"/>
            <a:chExt cx="5221" cy="2451"/>
          </a:xfrm>
        </p:grpSpPr>
        <p:sp>
          <p:nvSpPr>
            <p:cNvPr id="2778116" name="Freeform 4"/>
            <p:cNvSpPr>
              <a:spLocks noEditPoints="1"/>
            </p:cNvSpPr>
            <p:nvPr/>
          </p:nvSpPr>
          <p:spPr bwMode="gray">
            <a:xfrm>
              <a:off x="1323" y="913"/>
              <a:ext cx="4159" cy="2056"/>
            </a:xfrm>
            <a:custGeom>
              <a:avLst/>
              <a:gdLst>
                <a:gd name="T0" fmla="*/ 23 w 2448"/>
                <a:gd name="T1" fmla="*/ 907 h 1211"/>
                <a:gd name="T2" fmla="*/ 152 w 2448"/>
                <a:gd name="T3" fmla="*/ 764 h 1211"/>
                <a:gd name="T4" fmla="*/ 157 w 2448"/>
                <a:gd name="T5" fmla="*/ 630 h 1211"/>
                <a:gd name="T6" fmla="*/ 170 w 2448"/>
                <a:gd name="T7" fmla="*/ 429 h 1211"/>
                <a:gd name="T8" fmla="*/ 300 w 2448"/>
                <a:gd name="T9" fmla="*/ 505 h 1211"/>
                <a:gd name="T10" fmla="*/ 224 w 2448"/>
                <a:gd name="T11" fmla="*/ 613 h 1211"/>
                <a:gd name="T12" fmla="*/ 318 w 2448"/>
                <a:gd name="T13" fmla="*/ 577 h 1211"/>
                <a:gd name="T14" fmla="*/ 385 w 2448"/>
                <a:gd name="T15" fmla="*/ 541 h 1211"/>
                <a:gd name="T16" fmla="*/ 577 w 2448"/>
                <a:gd name="T17" fmla="*/ 474 h 1211"/>
                <a:gd name="T18" fmla="*/ 697 w 2448"/>
                <a:gd name="T19" fmla="*/ 358 h 1211"/>
                <a:gd name="T20" fmla="*/ 755 w 2448"/>
                <a:gd name="T21" fmla="*/ 568 h 1211"/>
                <a:gd name="T22" fmla="*/ 796 w 2448"/>
                <a:gd name="T23" fmla="*/ 318 h 1211"/>
                <a:gd name="T24" fmla="*/ 867 w 2448"/>
                <a:gd name="T25" fmla="*/ 318 h 1211"/>
                <a:gd name="T26" fmla="*/ 965 w 2448"/>
                <a:gd name="T27" fmla="*/ 170 h 1211"/>
                <a:gd name="T28" fmla="*/ 1229 w 2448"/>
                <a:gd name="T29" fmla="*/ 41 h 1211"/>
                <a:gd name="T30" fmla="*/ 1314 w 2448"/>
                <a:gd name="T31" fmla="*/ 242 h 1211"/>
                <a:gd name="T32" fmla="*/ 1573 w 2448"/>
                <a:gd name="T33" fmla="*/ 349 h 1211"/>
                <a:gd name="T34" fmla="*/ 1823 w 2448"/>
                <a:gd name="T35" fmla="*/ 309 h 1211"/>
                <a:gd name="T36" fmla="*/ 2073 w 2448"/>
                <a:gd name="T37" fmla="*/ 438 h 1211"/>
                <a:gd name="T38" fmla="*/ 2377 w 2448"/>
                <a:gd name="T39" fmla="*/ 537 h 1211"/>
                <a:gd name="T40" fmla="*/ 2310 w 2448"/>
                <a:gd name="T41" fmla="*/ 595 h 1211"/>
                <a:gd name="T42" fmla="*/ 2095 w 2448"/>
                <a:gd name="T43" fmla="*/ 782 h 1211"/>
                <a:gd name="T44" fmla="*/ 2011 w 2448"/>
                <a:gd name="T45" fmla="*/ 957 h 1211"/>
                <a:gd name="T46" fmla="*/ 2055 w 2448"/>
                <a:gd name="T47" fmla="*/ 724 h 1211"/>
                <a:gd name="T48" fmla="*/ 1854 w 2448"/>
                <a:gd name="T49" fmla="*/ 782 h 1211"/>
                <a:gd name="T50" fmla="*/ 1716 w 2448"/>
                <a:gd name="T51" fmla="*/ 1091 h 1211"/>
                <a:gd name="T52" fmla="*/ 1649 w 2448"/>
                <a:gd name="T53" fmla="*/ 1068 h 1211"/>
                <a:gd name="T54" fmla="*/ 1448 w 2448"/>
                <a:gd name="T55" fmla="*/ 979 h 1211"/>
                <a:gd name="T56" fmla="*/ 1140 w 2448"/>
                <a:gd name="T57" fmla="*/ 979 h 1211"/>
                <a:gd name="T58" fmla="*/ 934 w 2448"/>
                <a:gd name="T59" fmla="*/ 1028 h 1211"/>
                <a:gd name="T60" fmla="*/ 800 w 2448"/>
                <a:gd name="T61" fmla="*/ 934 h 1211"/>
                <a:gd name="T62" fmla="*/ 697 w 2448"/>
                <a:gd name="T63" fmla="*/ 912 h 1211"/>
                <a:gd name="T64" fmla="*/ 590 w 2448"/>
                <a:gd name="T65" fmla="*/ 961 h 1211"/>
                <a:gd name="T66" fmla="*/ 532 w 2448"/>
                <a:gd name="T67" fmla="*/ 1001 h 1211"/>
                <a:gd name="T68" fmla="*/ 434 w 2448"/>
                <a:gd name="T69" fmla="*/ 1010 h 1211"/>
                <a:gd name="T70" fmla="*/ 420 w 2448"/>
                <a:gd name="T71" fmla="*/ 1091 h 1211"/>
                <a:gd name="T72" fmla="*/ 411 w 2448"/>
                <a:gd name="T73" fmla="*/ 1211 h 1211"/>
                <a:gd name="T74" fmla="*/ 322 w 2448"/>
                <a:gd name="T75" fmla="*/ 1171 h 1211"/>
                <a:gd name="T76" fmla="*/ 273 w 2448"/>
                <a:gd name="T77" fmla="*/ 1091 h 1211"/>
                <a:gd name="T78" fmla="*/ 260 w 2448"/>
                <a:gd name="T79" fmla="*/ 1019 h 1211"/>
                <a:gd name="T80" fmla="*/ 170 w 2448"/>
                <a:gd name="T81" fmla="*/ 957 h 1211"/>
                <a:gd name="T82" fmla="*/ 139 w 2448"/>
                <a:gd name="T83" fmla="*/ 881 h 1211"/>
                <a:gd name="T84" fmla="*/ 188 w 2448"/>
                <a:gd name="T85" fmla="*/ 764 h 1211"/>
                <a:gd name="T86" fmla="*/ 429 w 2448"/>
                <a:gd name="T87" fmla="*/ 443 h 1211"/>
                <a:gd name="T88" fmla="*/ 711 w 2448"/>
                <a:gd name="T89" fmla="*/ 67 h 1211"/>
                <a:gd name="T90" fmla="*/ 528 w 2448"/>
                <a:gd name="T91" fmla="*/ 188 h 1211"/>
                <a:gd name="T92" fmla="*/ 537 w 2448"/>
                <a:gd name="T93" fmla="*/ 376 h 1211"/>
                <a:gd name="T94" fmla="*/ 483 w 2448"/>
                <a:gd name="T95" fmla="*/ 353 h 1211"/>
                <a:gd name="T96" fmla="*/ 550 w 2448"/>
                <a:gd name="T97" fmla="*/ 385 h 1211"/>
                <a:gd name="T98" fmla="*/ 1296 w 2448"/>
                <a:gd name="T99" fmla="*/ 890 h 1211"/>
                <a:gd name="T100" fmla="*/ 1693 w 2448"/>
                <a:gd name="T101" fmla="*/ 121 h 1211"/>
                <a:gd name="T102" fmla="*/ 1760 w 2448"/>
                <a:gd name="T103" fmla="*/ 130 h 1211"/>
                <a:gd name="T104" fmla="*/ 1734 w 2448"/>
                <a:gd name="T105" fmla="*/ 242 h 1211"/>
                <a:gd name="T106" fmla="*/ 1756 w 2448"/>
                <a:gd name="T107" fmla="*/ 939 h 1211"/>
                <a:gd name="T108" fmla="*/ 1792 w 2448"/>
                <a:gd name="T109" fmla="*/ 1055 h 1211"/>
                <a:gd name="T110" fmla="*/ 1823 w 2448"/>
                <a:gd name="T111" fmla="*/ 1144 h 1211"/>
                <a:gd name="T112" fmla="*/ 1832 w 2448"/>
                <a:gd name="T113" fmla="*/ 188 h 1211"/>
                <a:gd name="T114" fmla="*/ 1903 w 2448"/>
                <a:gd name="T115" fmla="*/ 1086 h 1211"/>
                <a:gd name="T116" fmla="*/ 1953 w 2448"/>
                <a:gd name="T117" fmla="*/ 1015 h 1211"/>
                <a:gd name="T118" fmla="*/ 2091 w 2448"/>
                <a:gd name="T119" fmla="*/ 903 h 1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48" h="1211">
                  <a:moveTo>
                    <a:pt x="23" y="894"/>
                  </a:moveTo>
                  <a:lnTo>
                    <a:pt x="27" y="894"/>
                  </a:lnTo>
                  <a:lnTo>
                    <a:pt x="27" y="899"/>
                  </a:lnTo>
                  <a:lnTo>
                    <a:pt x="41" y="903"/>
                  </a:lnTo>
                  <a:lnTo>
                    <a:pt x="50" y="903"/>
                  </a:lnTo>
                  <a:lnTo>
                    <a:pt x="50" y="907"/>
                  </a:lnTo>
                  <a:lnTo>
                    <a:pt x="50" y="921"/>
                  </a:lnTo>
                  <a:lnTo>
                    <a:pt x="27" y="921"/>
                  </a:lnTo>
                  <a:lnTo>
                    <a:pt x="9" y="916"/>
                  </a:lnTo>
                  <a:lnTo>
                    <a:pt x="0" y="916"/>
                  </a:lnTo>
                  <a:lnTo>
                    <a:pt x="9" y="912"/>
                  </a:lnTo>
                  <a:lnTo>
                    <a:pt x="5" y="912"/>
                  </a:lnTo>
                  <a:lnTo>
                    <a:pt x="5" y="907"/>
                  </a:lnTo>
                  <a:lnTo>
                    <a:pt x="14" y="903"/>
                  </a:lnTo>
                  <a:lnTo>
                    <a:pt x="18" y="894"/>
                  </a:lnTo>
                  <a:lnTo>
                    <a:pt x="14" y="907"/>
                  </a:lnTo>
                  <a:lnTo>
                    <a:pt x="23" y="907"/>
                  </a:lnTo>
                  <a:lnTo>
                    <a:pt x="27" y="903"/>
                  </a:lnTo>
                  <a:lnTo>
                    <a:pt x="23" y="894"/>
                  </a:lnTo>
                  <a:close/>
                  <a:moveTo>
                    <a:pt x="117" y="840"/>
                  </a:moveTo>
                  <a:lnTo>
                    <a:pt x="126" y="836"/>
                  </a:lnTo>
                  <a:lnTo>
                    <a:pt x="130" y="832"/>
                  </a:lnTo>
                  <a:lnTo>
                    <a:pt x="121" y="823"/>
                  </a:lnTo>
                  <a:lnTo>
                    <a:pt x="117" y="814"/>
                  </a:lnTo>
                  <a:lnTo>
                    <a:pt x="117" y="809"/>
                  </a:lnTo>
                  <a:lnTo>
                    <a:pt x="117" y="800"/>
                  </a:lnTo>
                  <a:lnTo>
                    <a:pt x="126" y="796"/>
                  </a:lnTo>
                  <a:lnTo>
                    <a:pt x="130" y="787"/>
                  </a:lnTo>
                  <a:lnTo>
                    <a:pt x="126" y="778"/>
                  </a:lnTo>
                  <a:lnTo>
                    <a:pt x="126" y="773"/>
                  </a:lnTo>
                  <a:lnTo>
                    <a:pt x="130" y="778"/>
                  </a:lnTo>
                  <a:lnTo>
                    <a:pt x="139" y="769"/>
                  </a:lnTo>
                  <a:lnTo>
                    <a:pt x="148" y="773"/>
                  </a:lnTo>
                  <a:lnTo>
                    <a:pt x="152" y="764"/>
                  </a:lnTo>
                  <a:lnTo>
                    <a:pt x="148" y="764"/>
                  </a:lnTo>
                  <a:lnTo>
                    <a:pt x="134" y="764"/>
                  </a:lnTo>
                  <a:lnTo>
                    <a:pt x="130" y="756"/>
                  </a:lnTo>
                  <a:lnTo>
                    <a:pt x="134" y="756"/>
                  </a:lnTo>
                  <a:lnTo>
                    <a:pt x="134" y="747"/>
                  </a:lnTo>
                  <a:lnTo>
                    <a:pt x="130" y="756"/>
                  </a:lnTo>
                  <a:lnTo>
                    <a:pt x="126" y="756"/>
                  </a:lnTo>
                  <a:lnTo>
                    <a:pt x="134" y="747"/>
                  </a:lnTo>
                  <a:lnTo>
                    <a:pt x="143" y="738"/>
                  </a:lnTo>
                  <a:lnTo>
                    <a:pt x="148" y="724"/>
                  </a:lnTo>
                  <a:lnTo>
                    <a:pt x="175" y="697"/>
                  </a:lnTo>
                  <a:lnTo>
                    <a:pt x="179" y="689"/>
                  </a:lnTo>
                  <a:lnTo>
                    <a:pt x="161" y="671"/>
                  </a:lnTo>
                  <a:lnTo>
                    <a:pt x="148" y="657"/>
                  </a:lnTo>
                  <a:lnTo>
                    <a:pt x="161" y="644"/>
                  </a:lnTo>
                  <a:lnTo>
                    <a:pt x="148" y="635"/>
                  </a:lnTo>
                  <a:lnTo>
                    <a:pt x="157" y="630"/>
                  </a:lnTo>
                  <a:lnTo>
                    <a:pt x="148" y="626"/>
                  </a:lnTo>
                  <a:lnTo>
                    <a:pt x="148" y="581"/>
                  </a:lnTo>
                  <a:lnTo>
                    <a:pt x="157" y="577"/>
                  </a:lnTo>
                  <a:lnTo>
                    <a:pt x="148" y="563"/>
                  </a:lnTo>
                  <a:lnTo>
                    <a:pt x="143" y="546"/>
                  </a:lnTo>
                  <a:lnTo>
                    <a:pt x="134" y="532"/>
                  </a:lnTo>
                  <a:lnTo>
                    <a:pt x="148" y="505"/>
                  </a:lnTo>
                  <a:lnTo>
                    <a:pt x="148" y="496"/>
                  </a:lnTo>
                  <a:lnTo>
                    <a:pt x="134" y="487"/>
                  </a:lnTo>
                  <a:lnTo>
                    <a:pt x="130" y="470"/>
                  </a:lnTo>
                  <a:lnTo>
                    <a:pt x="139" y="452"/>
                  </a:lnTo>
                  <a:lnTo>
                    <a:pt x="148" y="438"/>
                  </a:lnTo>
                  <a:lnTo>
                    <a:pt x="148" y="429"/>
                  </a:lnTo>
                  <a:lnTo>
                    <a:pt x="148" y="429"/>
                  </a:lnTo>
                  <a:lnTo>
                    <a:pt x="157" y="438"/>
                  </a:lnTo>
                  <a:lnTo>
                    <a:pt x="161" y="425"/>
                  </a:lnTo>
                  <a:lnTo>
                    <a:pt x="170" y="429"/>
                  </a:lnTo>
                  <a:lnTo>
                    <a:pt x="175" y="425"/>
                  </a:lnTo>
                  <a:lnTo>
                    <a:pt x="175" y="416"/>
                  </a:lnTo>
                  <a:lnTo>
                    <a:pt x="197" y="425"/>
                  </a:lnTo>
                  <a:lnTo>
                    <a:pt x="193" y="434"/>
                  </a:lnTo>
                  <a:lnTo>
                    <a:pt x="179" y="429"/>
                  </a:lnTo>
                  <a:lnTo>
                    <a:pt x="179" y="434"/>
                  </a:lnTo>
                  <a:lnTo>
                    <a:pt x="201" y="443"/>
                  </a:lnTo>
                  <a:lnTo>
                    <a:pt x="197" y="456"/>
                  </a:lnTo>
                  <a:lnTo>
                    <a:pt x="206" y="452"/>
                  </a:lnTo>
                  <a:lnTo>
                    <a:pt x="224" y="452"/>
                  </a:lnTo>
                  <a:lnTo>
                    <a:pt x="228" y="447"/>
                  </a:lnTo>
                  <a:lnTo>
                    <a:pt x="233" y="447"/>
                  </a:lnTo>
                  <a:lnTo>
                    <a:pt x="246" y="456"/>
                  </a:lnTo>
                  <a:lnTo>
                    <a:pt x="273" y="483"/>
                  </a:lnTo>
                  <a:lnTo>
                    <a:pt x="277" y="478"/>
                  </a:lnTo>
                  <a:lnTo>
                    <a:pt x="300" y="496"/>
                  </a:lnTo>
                  <a:lnTo>
                    <a:pt x="300" y="505"/>
                  </a:lnTo>
                  <a:lnTo>
                    <a:pt x="309" y="510"/>
                  </a:lnTo>
                  <a:lnTo>
                    <a:pt x="309" y="537"/>
                  </a:lnTo>
                  <a:lnTo>
                    <a:pt x="300" y="563"/>
                  </a:lnTo>
                  <a:lnTo>
                    <a:pt x="282" y="572"/>
                  </a:lnTo>
                  <a:lnTo>
                    <a:pt x="246" y="568"/>
                  </a:lnTo>
                  <a:lnTo>
                    <a:pt x="219" y="559"/>
                  </a:lnTo>
                  <a:lnTo>
                    <a:pt x="201" y="550"/>
                  </a:lnTo>
                  <a:lnTo>
                    <a:pt x="193" y="537"/>
                  </a:lnTo>
                  <a:lnTo>
                    <a:pt x="184" y="537"/>
                  </a:lnTo>
                  <a:lnTo>
                    <a:pt x="188" y="550"/>
                  </a:lnTo>
                  <a:lnTo>
                    <a:pt x="197" y="554"/>
                  </a:lnTo>
                  <a:lnTo>
                    <a:pt x="197" y="559"/>
                  </a:lnTo>
                  <a:lnTo>
                    <a:pt x="206" y="563"/>
                  </a:lnTo>
                  <a:lnTo>
                    <a:pt x="219" y="568"/>
                  </a:lnTo>
                  <a:lnTo>
                    <a:pt x="224" y="581"/>
                  </a:lnTo>
                  <a:lnTo>
                    <a:pt x="219" y="604"/>
                  </a:lnTo>
                  <a:lnTo>
                    <a:pt x="224" y="613"/>
                  </a:lnTo>
                  <a:lnTo>
                    <a:pt x="219" y="630"/>
                  </a:lnTo>
                  <a:lnTo>
                    <a:pt x="233" y="630"/>
                  </a:lnTo>
                  <a:lnTo>
                    <a:pt x="246" y="644"/>
                  </a:lnTo>
                  <a:lnTo>
                    <a:pt x="268" y="644"/>
                  </a:lnTo>
                  <a:lnTo>
                    <a:pt x="268" y="630"/>
                  </a:lnTo>
                  <a:lnTo>
                    <a:pt x="255" y="630"/>
                  </a:lnTo>
                  <a:lnTo>
                    <a:pt x="246" y="617"/>
                  </a:lnTo>
                  <a:lnTo>
                    <a:pt x="251" y="604"/>
                  </a:lnTo>
                  <a:lnTo>
                    <a:pt x="260" y="608"/>
                  </a:lnTo>
                  <a:lnTo>
                    <a:pt x="291" y="626"/>
                  </a:lnTo>
                  <a:lnTo>
                    <a:pt x="304" y="626"/>
                  </a:lnTo>
                  <a:lnTo>
                    <a:pt x="300" y="617"/>
                  </a:lnTo>
                  <a:lnTo>
                    <a:pt x="291" y="604"/>
                  </a:lnTo>
                  <a:lnTo>
                    <a:pt x="291" y="595"/>
                  </a:lnTo>
                  <a:lnTo>
                    <a:pt x="300" y="586"/>
                  </a:lnTo>
                  <a:lnTo>
                    <a:pt x="304" y="577"/>
                  </a:lnTo>
                  <a:lnTo>
                    <a:pt x="318" y="577"/>
                  </a:lnTo>
                  <a:lnTo>
                    <a:pt x="327" y="559"/>
                  </a:lnTo>
                  <a:lnTo>
                    <a:pt x="358" y="572"/>
                  </a:lnTo>
                  <a:lnTo>
                    <a:pt x="362" y="546"/>
                  </a:lnTo>
                  <a:lnTo>
                    <a:pt x="362" y="528"/>
                  </a:lnTo>
                  <a:lnTo>
                    <a:pt x="349" y="528"/>
                  </a:lnTo>
                  <a:lnTo>
                    <a:pt x="349" y="505"/>
                  </a:lnTo>
                  <a:lnTo>
                    <a:pt x="353" y="487"/>
                  </a:lnTo>
                  <a:lnTo>
                    <a:pt x="340" y="474"/>
                  </a:lnTo>
                  <a:lnTo>
                    <a:pt x="344" y="470"/>
                  </a:lnTo>
                  <a:lnTo>
                    <a:pt x="358" y="474"/>
                  </a:lnTo>
                  <a:lnTo>
                    <a:pt x="371" y="474"/>
                  </a:lnTo>
                  <a:lnTo>
                    <a:pt x="389" y="492"/>
                  </a:lnTo>
                  <a:lnTo>
                    <a:pt x="394" y="501"/>
                  </a:lnTo>
                  <a:lnTo>
                    <a:pt x="376" y="505"/>
                  </a:lnTo>
                  <a:lnTo>
                    <a:pt x="371" y="519"/>
                  </a:lnTo>
                  <a:lnTo>
                    <a:pt x="376" y="523"/>
                  </a:lnTo>
                  <a:lnTo>
                    <a:pt x="385" y="541"/>
                  </a:lnTo>
                  <a:lnTo>
                    <a:pt x="407" y="541"/>
                  </a:lnTo>
                  <a:lnTo>
                    <a:pt x="411" y="510"/>
                  </a:lnTo>
                  <a:lnTo>
                    <a:pt x="447" y="483"/>
                  </a:lnTo>
                  <a:lnTo>
                    <a:pt x="456" y="483"/>
                  </a:lnTo>
                  <a:lnTo>
                    <a:pt x="487" y="461"/>
                  </a:lnTo>
                  <a:lnTo>
                    <a:pt x="501" y="461"/>
                  </a:lnTo>
                  <a:lnTo>
                    <a:pt x="492" y="474"/>
                  </a:lnTo>
                  <a:lnTo>
                    <a:pt x="496" y="483"/>
                  </a:lnTo>
                  <a:lnTo>
                    <a:pt x="487" y="487"/>
                  </a:lnTo>
                  <a:lnTo>
                    <a:pt x="501" y="492"/>
                  </a:lnTo>
                  <a:lnTo>
                    <a:pt x="523" y="474"/>
                  </a:lnTo>
                  <a:lnTo>
                    <a:pt x="541" y="474"/>
                  </a:lnTo>
                  <a:lnTo>
                    <a:pt x="559" y="461"/>
                  </a:lnTo>
                  <a:lnTo>
                    <a:pt x="568" y="461"/>
                  </a:lnTo>
                  <a:lnTo>
                    <a:pt x="568" y="483"/>
                  </a:lnTo>
                  <a:lnTo>
                    <a:pt x="581" y="483"/>
                  </a:lnTo>
                  <a:lnTo>
                    <a:pt x="577" y="474"/>
                  </a:lnTo>
                  <a:lnTo>
                    <a:pt x="595" y="465"/>
                  </a:lnTo>
                  <a:lnTo>
                    <a:pt x="586" y="438"/>
                  </a:lnTo>
                  <a:lnTo>
                    <a:pt x="595" y="429"/>
                  </a:lnTo>
                  <a:lnTo>
                    <a:pt x="630" y="434"/>
                  </a:lnTo>
                  <a:lnTo>
                    <a:pt x="662" y="456"/>
                  </a:lnTo>
                  <a:lnTo>
                    <a:pt x="693" y="478"/>
                  </a:lnTo>
                  <a:lnTo>
                    <a:pt x="702" y="496"/>
                  </a:lnTo>
                  <a:lnTo>
                    <a:pt x="711" y="470"/>
                  </a:lnTo>
                  <a:lnTo>
                    <a:pt x="702" y="470"/>
                  </a:lnTo>
                  <a:lnTo>
                    <a:pt x="693" y="443"/>
                  </a:lnTo>
                  <a:lnTo>
                    <a:pt x="679" y="443"/>
                  </a:lnTo>
                  <a:lnTo>
                    <a:pt x="679" y="420"/>
                  </a:lnTo>
                  <a:lnTo>
                    <a:pt x="684" y="411"/>
                  </a:lnTo>
                  <a:lnTo>
                    <a:pt x="684" y="389"/>
                  </a:lnTo>
                  <a:lnTo>
                    <a:pt x="675" y="394"/>
                  </a:lnTo>
                  <a:lnTo>
                    <a:pt x="684" y="362"/>
                  </a:lnTo>
                  <a:lnTo>
                    <a:pt x="697" y="358"/>
                  </a:lnTo>
                  <a:lnTo>
                    <a:pt x="706" y="331"/>
                  </a:lnTo>
                  <a:lnTo>
                    <a:pt x="711" y="295"/>
                  </a:lnTo>
                  <a:lnTo>
                    <a:pt x="720" y="282"/>
                  </a:lnTo>
                  <a:lnTo>
                    <a:pt x="751" y="282"/>
                  </a:lnTo>
                  <a:lnTo>
                    <a:pt x="760" y="291"/>
                  </a:lnTo>
                  <a:lnTo>
                    <a:pt x="755" y="340"/>
                  </a:lnTo>
                  <a:lnTo>
                    <a:pt x="746" y="340"/>
                  </a:lnTo>
                  <a:lnTo>
                    <a:pt x="769" y="376"/>
                  </a:lnTo>
                  <a:lnTo>
                    <a:pt x="760" y="456"/>
                  </a:lnTo>
                  <a:lnTo>
                    <a:pt x="773" y="478"/>
                  </a:lnTo>
                  <a:lnTo>
                    <a:pt x="764" y="492"/>
                  </a:lnTo>
                  <a:lnTo>
                    <a:pt x="769" y="510"/>
                  </a:lnTo>
                  <a:lnTo>
                    <a:pt x="755" y="537"/>
                  </a:lnTo>
                  <a:lnTo>
                    <a:pt x="746" y="546"/>
                  </a:lnTo>
                  <a:lnTo>
                    <a:pt x="738" y="554"/>
                  </a:lnTo>
                  <a:lnTo>
                    <a:pt x="742" y="563"/>
                  </a:lnTo>
                  <a:lnTo>
                    <a:pt x="755" y="568"/>
                  </a:lnTo>
                  <a:lnTo>
                    <a:pt x="760" y="554"/>
                  </a:lnTo>
                  <a:lnTo>
                    <a:pt x="778" y="541"/>
                  </a:lnTo>
                  <a:lnTo>
                    <a:pt x="782" y="514"/>
                  </a:lnTo>
                  <a:lnTo>
                    <a:pt x="791" y="510"/>
                  </a:lnTo>
                  <a:lnTo>
                    <a:pt x="791" y="478"/>
                  </a:lnTo>
                  <a:lnTo>
                    <a:pt x="818" y="465"/>
                  </a:lnTo>
                  <a:lnTo>
                    <a:pt x="827" y="505"/>
                  </a:lnTo>
                  <a:lnTo>
                    <a:pt x="840" y="487"/>
                  </a:lnTo>
                  <a:lnTo>
                    <a:pt x="836" y="465"/>
                  </a:lnTo>
                  <a:lnTo>
                    <a:pt x="809" y="456"/>
                  </a:lnTo>
                  <a:lnTo>
                    <a:pt x="778" y="461"/>
                  </a:lnTo>
                  <a:lnTo>
                    <a:pt x="773" y="416"/>
                  </a:lnTo>
                  <a:lnTo>
                    <a:pt x="787" y="398"/>
                  </a:lnTo>
                  <a:lnTo>
                    <a:pt x="778" y="362"/>
                  </a:lnTo>
                  <a:lnTo>
                    <a:pt x="769" y="358"/>
                  </a:lnTo>
                  <a:lnTo>
                    <a:pt x="778" y="335"/>
                  </a:lnTo>
                  <a:lnTo>
                    <a:pt x="796" y="318"/>
                  </a:lnTo>
                  <a:lnTo>
                    <a:pt x="796" y="286"/>
                  </a:lnTo>
                  <a:lnTo>
                    <a:pt x="800" y="282"/>
                  </a:lnTo>
                  <a:lnTo>
                    <a:pt x="809" y="309"/>
                  </a:lnTo>
                  <a:lnTo>
                    <a:pt x="805" y="358"/>
                  </a:lnTo>
                  <a:lnTo>
                    <a:pt x="836" y="367"/>
                  </a:lnTo>
                  <a:lnTo>
                    <a:pt x="840" y="380"/>
                  </a:lnTo>
                  <a:lnTo>
                    <a:pt x="849" y="376"/>
                  </a:lnTo>
                  <a:lnTo>
                    <a:pt x="836" y="358"/>
                  </a:lnTo>
                  <a:lnTo>
                    <a:pt x="813" y="344"/>
                  </a:lnTo>
                  <a:lnTo>
                    <a:pt x="818" y="327"/>
                  </a:lnTo>
                  <a:lnTo>
                    <a:pt x="836" y="335"/>
                  </a:lnTo>
                  <a:lnTo>
                    <a:pt x="845" y="322"/>
                  </a:lnTo>
                  <a:lnTo>
                    <a:pt x="831" y="322"/>
                  </a:lnTo>
                  <a:lnTo>
                    <a:pt x="831" y="313"/>
                  </a:lnTo>
                  <a:lnTo>
                    <a:pt x="845" y="304"/>
                  </a:lnTo>
                  <a:lnTo>
                    <a:pt x="863" y="309"/>
                  </a:lnTo>
                  <a:lnTo>
                    <a:pt x="867" y="318"/>
                  </a:lnTo>
                  <a:lnTo>
                    <a:pt x="880" y="318"/>
                  </a:lnTo>
                  <a:lnTo>
                    <a:pt x="894" y="340"/>
                  </a:lnTo>
                  <a:lnTo>
                    <a:pt x="912" y="335"/>
                  </a:lnTo>
                  <a:lnTo>
                    <a:pt x="912" y="353"/>
                  </a:lnTo>
                  <a:lnTo>
                    <a:pt x="903" y="362"/>
                  </a:lnTo>
                  <a:lnTo>
                    <a:pt x="898" y="389"/>
                  </a:lnTo>
                  <a:lnTo>
                    <a:pt x="921" y="389"/>
                  </a:lnTo>
                  <a:lnTo>
                    <a:pt x="916" y="367"/>
                  </a:lnTo>
                  <a:lnTo>
                    <a:pt x="925" y="335"/>
                  </a:lnTo>
                  <a:lnTo>
                    <a:pt x="912" y="327"/>
                  </a:lnTo>
                  <a:lnTo>
                    <a:pt x="880" y="291"/>
                  </a:lnTo>
                  <a:lnTo>
                    <a:pt x="880" y="242"/>
                  </a:lnTo>
                  <a:lnTo>
                    <a:pt x="965" y="233"/>
                  </a:lnTo>
                  <a:lnTo>
                    <a:pt x="961" y="215"/>
                  </a:lnTo>
                  <a:lnTo>
                    <a:pt x="952" y="215"/>
                  </a:lnTo>
                  <a:lnTo>
                    <a:pt x="947" y="192"/>
                  </a:lnTo>
                  <a:lnTo>
                    <a:pt x="965" y="170"/>
                  </a:lnTo>
                  <a:lnTo>
                    <a:pt x="983" y="175"/>
                  </a:lnTo>
                  <a:lnTo>
                    <a:pt x="1001" y="157"/>
                  </a:lnTo>
                  <a:lnTo>
                    <a:pt x="1055" y="130"/>
                  </a:lnTo>
                  <a:lnTo>
                    <a:pt x="1050" y="117"/>
                  </a:lnTo>
                  <a:lnTo>
                    <a:pt x="1090" y="85"/>
                  </a:lnTo>
                  <a:lnTo>
                    <a:pt x="1113" y="90"/>
                  </a:lnTo>
                  <a:lnTo>
                    <a:pt x="1090" y="117"/>
                  </a:lnTo>
                  <a:lnTo>
                    <a:pt x="1108" y="117"/>
                  </a:lnTo>
                  <a:lnTo>
                    <a:pt x="1135" y="94"/>
                  </a:lnTo>
                  <a:lnTo>
                    <a:pt x="1144" y="94"/>
                  </a:lnTo>
                  <a:lnTo>
                    <a:pt x="1135" y="81"/>
                  </a:lnTo>
                  <a:lnTo>
                    <a:pt x="1166" y="76"/>
                  </a:lnTo>
                  <a:lnTo>
                    <a:pt x="1175" y="41"/>
                  </a:lnTo>
                  <a:lnTo>
                    <a:pt x="1198" y="14"/>
                  </a:lnTo>
                  <a:lnTo>
                    <a:pt x="1224" y="0"/>
                  </a:lnTo>
                  <a:lnTo>
                    <a:pt x="1247" y="18"/>
                  </a:lnTo>
                  <a:lnTo>
                    <a:pt x="1229" y="41"/>
                  </a:lnTo>
                  <a:lnTo>
                    <a:pt x="1256" y="54"/>
                  </a:lnTo>
                  <a:lnTo>
                    <a:pt x="1242" y="81"/>
                  </a:lnTo>
                  <a:lnTo>
                    <a:pt x="1260" y="81"/>
                  </a:lnTo>
                  <a:lnTo>
                    <a:pt x="1274" y="63"/>
                  </a:lnTo>
                  <a:lnTo>
                    <a:pt x="1323" y="58"/>
                  </a:lnTo>
                  <a:lnTo>
                    <a:pt x="1345" y="76"/>
                  </a:lnTo>
                  <a:lnTo>
                    <a:pt x="1349" y="94"/>
                  </a:lnTo>
                  <a:lnTo>
                    <a:pt x="1345" y="166"/>
                  </a:lnTo>
                  <a:lnTo>
                    <a:pt x="1332" y="184"/>
                  </a:lnTo>
                  <a:lnTo>
                    <a:pt x="1287" y="224"/>
                  </a:lnTo>
                  <a:lnTo>
                    <a:pt x="1269" y="255"/>
                  </a:lnTo>
                  <a:lnTo>
                    <a:pt x="1251" y="268"/>
                  </a:lnTo>
                  <a:lnTo>
                    <a:pt x="1251" y="273"/>
                  </a:lnTo>
                  <a:lnTo>
                    <a:pt x="1287" y="260"/>
                  </a:lnTo>
                  <a:lnTo>
                    <a:pt x="1300" y="233"/>
                  </a:lnTo>
                  <a:lnTo>
                    <a:pt x="1314" y="228"/>
                  </a:lnTo>
                  <a:lnTo>
                    <a:pt x="1314" y="242"/>
                  </a:lnTo>
                  <a:lnTo>
                    <a:pt x="1336" y="246"/>
                  </a:lnTo>
                  <a:lnTo>
                    <a:pt x="1341" y="233"/>
                  </a:lnTo>
                  <a:lnTo>
                    <a:pt x="1349" y="255"/>
                  </a:lnTo>
                  <a:lnTo>
                    <a:pt x="1372" y="242"/>
                  </a:lnTo>
                  <a:lnTo>
                    <a:pt x="1421" y="251"/>
                  </a:lnTo>
                  <a:lnTo>
                    <a:pt x="1416" y="273"/>
                  </a:lnTo>
                  <a:lnTo>
                    <a:pt x="1466" y="282"/>
                  </a:lnTo>
                  <a:lnTo>
                    <a:pt x="1479" y="286"/>
                  </a:lnTo>
                  <a:lnTo>
                    <a:pt x="1488" y="268"/>
                  </a:lnTo>
                  <a:lnTo>
                    <a:pt x="1475" y="255"/>
                  </a:lnTo>
                  <a:lnTo>
                    <a:pt x="1497" y="237"/>
                  </a:lnTo>
                  <a:lnTo>
                    <a:pt x="1528" y="255"/>
                  </a:lnTo>
                  <a:lnTo>
                    <a:pt x="1573" y="277"/>
                  </a:lnTo>
                  <a:lnTo>
                    <a:pt x="1564" y="335"/>
                  </a:lnTo>
                  <a:lnTo>
                    <a:pt x="1573" y="335"/>
                  </a:lnTo>
                  <a:lnTo>
                    <a:pt x="1577" y="344"/>
                  </a:lnTo>
                  <a:lnTo>
                    <a:pt x="1573" y="349"/>
                  </a:lnTo>
                  <a:lnTo>
                    <a:pt x="1582" y="371"/>
                  </a:lnTo>
                  <a:lnTo>
                    <a:pt x="1595" y="380"/>
                  </a:lnTo>
                  <a:lnTo>
                    <a:pt x="1600" y="394"/>
                  </a:lnTo>
                  <a:lnTo>
                    <a:pt x="1613" y="367"/>
                  </a:lnTo>
                  <a:lnTo>
                    <a:pt x="1617" y="331"/>
                  </a:lnTo>
                  <a:lnTo>
                    <a:pt x="1626" y="331"/>
                  </a:lnTo>
                  <a:lnTo>
                    <a:pt x="1635" y="358"/>
                  </a:lnTo>
                  <a:lnTo>
                    <a:pt x="1653" y="353"/>
                  </a:lnTo>
                  <a:lnTo>
                    <a:pt x="1662" y="344"/>
                  </a:lnTo>
                  <a:lnTo>
                    <a:pt x="1725" y="353"/>
                  </a:lnTo>
                  <a:lnTo>
                    <a:pt x="1720" y="331"/>
                  </a:lnTo>
                  <a:lnTo>
                    <a:pt x="1725" y="318"/>
                  </a:lnTo>
                  <a:lnTo>
                    <a:pt x="1711" y="318"/>
                  </a:lnTo>
                  <a:lnTo>
                    <a:pt x="1716" y="304"/>
                  </a:lnTo>
                  <a:lnTo>
                    <a:pt x="1734" y="304"/>
                  </a:lnTo>
                  <a:lnTo>
                    <a:pt x="1734" y="286"/>
                  </a:lnTo>
                  <a:lnTo>
                    <a:pt x="1823" y="309"/>
                  </a:lnTo>
                  <a:lnTo>
                    <a:pt x="1787" y="304"/>
                  </a:lnTo>
                  <a:lnTo>
                    <a:pt x="1783" y="322"/>
                  </a:lnTo>
                  <a:lnTo>
                    <a:pt x="1823" y="313"/>
                  </a:lnTo>
                  <a:lnTo>
                    <a:pt x="1796" y="344"/>
                  </a:lnTo>
                  <a:lnTo>
                    <a:pt x="1814" y="335"/>
                  </a:lnTo>
                  <a:lnTo>
                    <a:pt x="1832" y="313"/>
                  </a:lnTo>
                  <a:lnTo>
                    <a:pt x="1859" y="313"/>
                  </a:lnTo>
                  <a:lnTo>
                    <a:pt x="1868" y="331"/>
                  </a:lnTo>
                  <a:lnTo>
                    <a:pt x="1854" y="340"/>
                  </a:lnTo>
                  <a:lnTo>
                    <a:pt x="1868" y="349"/>
                  </a:lnTo>
                  <a:lnTo>
                    <a:pt x="1903" y="380"/>
                  </a:lnTo>
                  <a:lnTo>
                    <a:pt x="1975" y="376"/>
                  </a:lnTo>
                  <a:lnTo>
                    <a:pt x="1997" y="380"/>
                  </a:lnTo>
                  <a:lnTo>
                    <a:pt x="2011" y="411"/>
                  </a:lnTo>
                  <a:lnTo>
                    <a:pt x="2011" y="438"/>
                  </a:lnTo>
                  <a:lnTo>
                    <a:pt x="2037" y="443"/>
                  </a:lnTo>
                  <a:lnTo>
                    <a:pt x="2073" y="438"/>
                  </a:lnTo>
                  <a:lnTo>
                    <a:pt x="2078" y="447"/>
                  </a:lnTo>
                  <a:lnTo>
                    <a:pt x="2091" y="443"/>
                  </a:lnTo>
                  <a:lnTo>
                    <a:pt x="2104" y="447"/>
                  </a:lnTo>
                  <a:lnTo>
                    <a:pt x="2122" y="434"/>
                  </a:lnTo>
                  <a:lnTo>
                    <a:pt x="2122" y="420"/>
                  </a:lnTo>
                  <a:lnTo>
                    <a:pt x="2140" y="429"/>
                  </a:lnTo>
                  <a:lnTo>
                    <a:pt x="2127" y="443"/>
                  </a:lnTo>
                  <a:lnTo>
                    <a:pt x="2140" y="478"/>
                  </a:lnTo>
                  <a:lnTo>
                    <a:pt x="2167" y="470"/>
                  </a:lnTo>
                  <a:lnTo>
                    <a:pt x="2167" y="443"/>
                  </a:lnTo>
                  <a:lnTo>
                    <a:pt x="2158" y="438"/>
                  </a:lnTo>
                  <a:lnTo>
                    <a:pt x="2158" y="420"/>
                  </a:lnTo>
                  <a:lnTo>
                    <a:pt x="2203" y="429"/>
                  </a:lnTo>
                  <a:lnTo>
                    <a:pt x="2243" y="434"/>
                  </a:lnTo>
                  <a:lnTo>
                    <a:pt x="2283" y="452"/>
                  </a:lnTo>
                  <a:lnTo>
                    <a:pt x="2368" y="519"/>
                  </a:lnTo>
                  <a:lnTo>
                    <a:pt x="2377" y="537"/>
                  </a:lnTo>
                  <a:lnTo>
                    <a:pt x="2372" y="554"/>
                  </a:lnTo>
                  <a:lnTo>
                    <a:pt x="2386" y="559"/>
                  </a:lnTo>
                  <a:lnTo>
                    <a:pt x="2381" y="537"/>
                  </a:lnTo>
                  <a:lnTo>
                    <a:pt x="2422" y="541"/>
                  </a:lnTo>
                  <a:lnTo>
                    <a:pt x="2448" y="577"/>
                  </a:lnTo>
                  <a:lnTo>
                    <a:pt x="2435" y="595"/>
                  </a:lnTo>
                  <a:lnTo>
                    <a:pt x="2417" y="595"/>
                  </a:lnTo>
                  <a:lnTo>
                    <a:pt x="2417" y="617"/>
                  </a:lnTo>
                  <a:lnTo>
                    <a:pt x="2404" y="639"/>
                  </a:lnTo>
                  <a:lnTo>
                    <a:pt x="2377" y="626"/>
                  </a:lnTo>
                  <a:lnTo>
                    <a:pt x="2363" y="626"/>
                  </a:lnTo>
                  <a:lnTo>
                    <a:pt x="2359" y="604"/>
                  </a:lnTo>
                  <a:lnTo>
                    <a:pt x="2346" y="599"/>
                  </a:lnTo>
                  <a:lnTo>
                    <a:pt x="2319" y="599"/>
                  </a:lnTo>
                  <a:lnTo>
                    <a:pt x="2319" y="577"/>
                  </a:lnTo>
                  <a:lnTo>
                    <a:pt x="2305" y="581"/>
                  </a:lnTo>
                  <a:lnTo>
                    <a:pt x="2310" y="595"/>
                  </a:lnTo>
                  <a:lnTo>
                    <a:pt x="2305" y="608"/>
                  </a:lnTo>
                  <a:lnTo>
                    <a:pt x="2279" y="635"/>
                  </a:lnTo>
                  <a:lnTo>
                    <a:pt x="2256" y="621"/>
                  </a:lnTo>
                  <a:lnTo>
                    <a:pt x="2256" y="626"/>
                  </a:lnTo>
                  <a:lnTo>
                    <a:pt x="2274" y="644"/>
                  </a:lnTo>
                  <a:lnTo>
                    <a:pt x="2279" y="671"/>
                  </a:lnTo>
                  <a:lnTo>
                    <a:pt x="2292" y="684"/>
                  </a:lnTo>
                  <a:lnTo>
                    <a:pt x="2283" y="702"/>
                  </a:lnTo>
                  <a:lnTo>
                    <a:pt x="2261" y="693"/>
                  </a:lnTo>
                  <a:lnTo>
                    <a:pt x="2238" y="702"/>
                  </a:lnTo>
                  <a:lnTo>
                    <a:pt x="2207" y="724"/>
                  </a:lnTo>
                  <a:lnTo>
                    <a:pt x="2180" y="742"/>
                  </a:lnTo>
                  <a:lnTo>
                    <a:pt x="2162" y="782"/>
                  </a:lnTo>
                  <a:lnTo>
                    <a:pt x="2145" y="760"/>
                  </a:lnTo>
                  <a:lnTo>
                    <a:pt x="2127" y="760"/>
                  </a:lnTo>
                  <a:lnTo>
                    <a:pt x="2095" y="782"/>
                  </a:lnTo>
                  <a:lnTo>
                    <a:pt x="2095" y="782"/>
                  </a:lnTo>
                  <a:lnTo>
                    <a:pt x="2095" y="760"/>
                  </a:lnTo>
                  <a:lnTo>
                    <a:pt x="2082" y="787"/>
                  </a:lnTo>
                  <a:lnTo>
                    <a:pt x="2064" y="778"/>
                  </a:lnTo>
                  <a:lnTo>
                    <a:pt x="2037" y="832"/>
                  </a:lnTo>
                  <a:lnTo>
                    <a:pt x="2055" y="836"/>
                  </a:lnTo>
                  <a:lnTo>
                    <a:pt x="2046" y="863"/>
                  </a:lnTo>
                  <a:lnTo>
                    <a:pt x="2055" y="876"/>
                  </a:lnTo>
                  <a:lnTo>
                    <a:pt x="2046" y="885"/>
                  </a:lnTo>
                  <a:lnTo>
                    <a:pt x="2033" y="881"/>
                  </a:lnTo>
                  <a:lnTo>
                    <a:pt x="2028" y="907"/>
                  </a:lnTo>
                  <a:lnTo>
                    <a:pt x="2037" y="912"/>
                  </a:lnTo>
                  <a:lnTo>
                    <a:pt x="2033" y="925"/>
                  </a:lnTo>
                  <a:lnTo>
                    <a:pt x="2024" y="916"/>
                  </a:lnTo>
                  <a:lnTo>
                    <a:pt x="2011" y="930"/>
                  </a:lnTo>
                  <a:lnTo>
                    <a:pt x="2006" y="948"/>
                  </a:lnTo>
                  <a:lnTo>
                    <a:pt x="2015" y="952"/>
                  </a:lnTo>
                  <a:lnTo>
                    <a:pt x="2011" y="957"/>
                  </a:lnTo>
                  <a:lnTo>
                    <a:pt x="2006" y="952"/>
                  </a:lnTo>
                  <a:lnTo>
                    <a:pt x="1988" y="961"/>
                  </a:lnTo>
                  <a:lnTo>
                    <a:pt x="1988" y="975"/>
                  </a:lnTo>
                  <a:lnTo>
                    <a:pt x="1961" y="1015"/>
                  </a:lnTo>
                  <a:lnTo>
                    <a:pt x="1953" y="961"/>
                  </a:lnTo>
                  <a:lnTo>
                    <a:pt x="1944" y="903"/>
                  </a:lnTo>
                  <a:lnTo>
                    <a:pt x="1944" y="881"/>
                  </a:lnTo>
                  <a:lnTo>
                    <a:pt x="1953" y="854"/>
                  </a:lnTo>
                  <a:lnTo>
                    <a:pt x="1966" y="845"/>
                  </a:lnTo>
                  <a:lnTo>
                    <a:pt x="1961" y="836"/>
                  </a:lnTo>
                  <a:lnTo>
                    <a:pt x="1984" y="827"/>
                  </a:lnTo>
                  <a:lnTo>
                    <a:pt x="2060" y="747"/>
                  </a:lnTo>
                  <a:lnTo>
                    <a:pt x="2069" y="706"/>
                  </a:lnTo>
                  <a:lnTo>
                    <a:pt x="2082" y="693"/>
                  </a:lnTo>
                  <a:lnTo>
                    <a:pt x="2073" y="689"/>
                  </a:lnTo>
                  <a:lnTo>
                    <a:pt x="2055" y="697"/>
                  </a:lnTo>
                  <a:lnTo>
                    <a:pt x="2055" y="724"/>
                  </a:lnTo>
                  <a:lnTo>
                    <a:pt x="2042" y="724"/>
                  </a:lnTo>
                  <a:lnTo>
                    <a:pt x="2011" y="760"/>
                  </a:lnTo>
                  <a:lnTo>
                    <a:pt x="2006" y="742"/>
                  </a:lnTo>
                  <a:lnTo>
                    <a:pt x="2020" y="715"/>
                  </a:lnTo>
                  <a:lnTo>
                    <a:pt x="2006" y="724"/>
                  </a:lnTo>
                  <a:lnTo>
                    <a:pt x="1997" y="715"/>
                  </a:lnTo>
                  <a:lnTo>
                    <a:pt x="1961" y="729"/>
                  </a:lnTo>
                  <a:lnTo>
                    <a:pt x="1961" y="738"/>
                  </a:lnTo>
                  <a:lnTo>
                    <a:pt x="1935" y="764"/>
                  </a:lnTo>
                  <a:lnTo>
                    <a:pt x="1926" y="791"/>
                  </a:lnTo>
                  <a:lnTo>
                    <a:pt x="1939" y="791"/>
                  </a:lnTo>
                  <a:lnTo>
                    <a:pt x="1944" y="800"/>
                  </a:lnTo>
                  <a:lnTo>
                    <a:pt x="1886" y="809"/>
                  </a:lnTo>
                  <a:lnTo>
                    <a:pt x="1881" y="800"/>
                  </a:lnTo>
                  <a:lnTo>
                    <a:pt x="1899" y="796"/>
                  </a:lnTo>
                  <a:lnTo>
                    <a:pt x="1886" y="787"/>
                  </a:lnTo>
                  <a:lnTo>
                    <a:pt x="1854" y="782"/>
                  </a:lnTo>
                  <a:lnTo>
                    <a:pt x="1850" y="796"/>
                  </a:lnTo>
                  <a:lnTo>
                    <a:pt x="1760" y="796"/>
                  </a:lnTo>
                  <a:lnTo>
                    <a:pt x="1747" y="814"/>
                  </a:lnTo>
                  <a:lnTo>
                    <a:pt x="1734" y="814"/>
                  </a:lnTo>
                  <a:lnTo>
                    <a:pt x="1662" y="912"/>
                  </a:lnTo>
                  <a:lnTo>
                    <a:pt x="1671" y="916"/>
                  </a:lnTo>
                  <a:lnTo>
                    <a:pt x="1680" y="907"/>
                  </a:lnTo>
                  <a:lnTo>
                    <a:pt x="1698" y="907"/>
                  </a:lnTo>
                  <a:lnTo>
                    <a:pt x="1689" y="930"/>
                  </a:lnTo>
                  <a:lnTo>
                    <a:pt x="1689" y="939"/>
                  </a:lnTo>
                  <a:lnTo>
                    <a:pt x="1707" y="921"/>
                  </a:lnTo>
                  <a:lnTo>
                    <a:pt x="1720" y="925"/>
                  </a:lnTo>
                  <a:lnTo>
                    <a:pt x="1743" y="948"/>
                  </a:lnTo>
                  <a:lnTo>
                    <a:pt x="1743" y="983"/>
                  </a:lnTo>
                  <a:lnTo>
                    <a:pt x="1734" y="1001"/>
                  </a:lnTo>
                  <a:lnTo>
                    <a:pt x="1729" y="1064"/>
                  </a:lnTo>
                  <a:lnTo>
                    <a:pt x="1716" y="1091"/>
                  </a:lnTo>
                  <a:lnTo>
                    <a:pt x="1711" y="1091"/>
                  </a:lnTo>
                  <a:lnTo>
                    <a:pt x="1662" y="1158"/>
                  </a:lnTo>
                  <a:lnTo>
                    <a:pt x="1644" y="1176"/>
                  </a:lnTo>
                  <a:lnTo>
                    <a:pt x="1626" y="1180"/>
                  </a:lnTo>
                  <a:lnTo>
                    <a:pt x="1613" y="1180"/>
                  </a:lnTo>
                  <a:lnTo>
                    <a:pt x="1613" y="1171"/>
                  </a:lnTo>
                  <a:lnTo>
                    <a:pt x="1604" y="1180"/>
                  </a:lnTo>
                  <a:lnTo>
                    <a:pt x="1600" y="1180"/>
                  </a:lnTo>
                  <a:lnTo>
                    <a:pt x="1591" y="1185"/>
                  </a:lnTo>
                  <a:lnTo>
                    <a:pt x="1586" y="1176"/>
                  </a:lnTo>
                  <a:lnTo>
                    <a:pt x="1595" y="1167"/>
                  </a:lnTo>
                  <a:lnTo>
                    <a:pt x="1600" y="1162"/>
                  </a:lnTo>
                  <a:lnTo>
                    <a:pt x="1595" y="1140"/>
                  </a:lnTo>
                  <a:lnTo>
                    <a:pt x="1604" y="1131"/>
                  </a:lnTo>
                  <a:lnTo>
                    <a:pt x="1622" y="1131"/>
                  </a:lnTo>
                  <a:lnTo>
                    <a:pt x="1653" y="1082"/>
                  </a:lnTo>
                  <a:lnTo>
                    <a:pt x="1649" y="1068"/>
                  </a:lnTo>
                  <a:lnTo>
                    <a:pt x="1640" y="1064"/>
                  </a:lnTo>
                  <a:lnTo>
                    <a:pt x="1617" y="1082"/>
                  </a:lnTo>
                  <a:lnTo>
                    <a:pt x="1595" y="1073"/>
                  </a:lnTo>
                  <a:lnTo>
                    <a:pt x="1591" y="1055"/>
                  </a:lnTo>
                  <a:lnTo>
                    <a:pt x="1573" y="1042"/>
                  </a:lnTo>
                  <a:lnTo>
                    <a:pt x="1564" y="1042"/>
                  </a:lnTo>
                  <a:lnTo>
                    <a:pt x="1559" y="1037"/>
                  </a:lnTo>
                  <a:lnTo>
                    <a:pt x="1546" y="1037"/>
                  </a:lnTo>
                  <a:lnTo>
                    <a:pt x="1542" y="1015"/>
                  </a:lnTo>
                  <a:lnTo>
                    <a:pt x="1519" y="957"/>
                  </a:lnTo>
                  <a:lnTo>
                    <a:pt x="1492" y="943"/>
                  </a:lnTo>
                  <a:lnTo>
                    <a:pt x="1479" y="939"/>
                  </a:lnTo>
                  <a:lnTo>
                    <a:pt x="1452" y="943"/>
                  </a:lnTo>
                  <a:lnTo>
                    <a:pt x="1439" y="961"/>
                  </a:lnTo>
                  <a:lnTo>
                    <a:pt x="1439" y="966"/>
                  </a:lnTo>
                  <a:lnTo>
                    <a:pt x="1448" y="966"/>
                  </a:lnTo>
                  <a:lnTo>
                    <a:pt x="1448" y="979"/>
                  </a:lnTo>
                  <a:lnTo>
                    <a:pt x="1421" y="1015"/>
                  </a:lnTo>
                  <a:lnTo>
                    <a:pt x="1430" y="1024"/>
                  </a:lnTo>
                  <a:lnTo>
                    <a:pt x="1416" y="1028"/>
                  </a:lnTo>
                  <a:lnTo>
                    <a:pt x="1403" y="1042"/>
                  </a:lnTo>
                  <a:lnTo>
                    <a:pt x="1390" y="1033"/>
                  </a:lnTo>
                  <a:lnTo>
                    <a:pt x="1385" y="1028"/>
                  </a:lnTo>
                  <a:lnTo>
                    <a:pt x="1376" y="1028"/>
                  </a:lnTo>
                  <a:lnTo>
                    <a:pt x="1358" y="1019"/>
                  </a:lnTo>
                  <a:lnTo>
                    <a:pt x="1349" y="1024"/>
                  </a:lnTo>
                  <a:lnTo>
                    <a:pt x="1336" y="1037"/>
                  </a:lnTo>
                  <a:lnTo>
                    <a:pt x="1305" y="1046"/>
                  </a:lnTo>
                  <a:lnTo>
                    <a:pt x="1274" y="1042"/>
                  </a:lnTo>
                  <a:lnTo>
                    <a:pt x="1233" y="1019"/>
                  </a:lnTo>
                  <a:lnTo>
                    <a:pt x="1211" y="1024"/>
                  </a:lnTo>
                  <a:lnTo>
                    <a:pt x="1189" y="1019"/>
                  </a:lnTo>
                  <a:lnTo>
                    <a:pt x="1184" y="992"/>
                  </a:lnTo>
                  <a:lnTo>
                    <a:pt x="1140" y="979"/>
                  </a:lnTo>
                  <a:lnTo>
                    <a:pt x="1126" y="1001"/>
                  </a:lnTo>
                  <a:lnTo>
                    <a:pt x="1131" y="1010"/>
                  </a:lnTo>
                  <a:lnTo>
                    <a:pt x="1126" y="1033"/>
                  </a:lnTo>
                  <a:lnTo>
                    <a:pt x="1086" y="1033"/>
                  </a:lnTo>
                  <a:lnTo>
                    <a:pt x="1068" y="1015"/>
                  </a:lnTo>
                  <a:lnTo>
                    <a:pt x="1055" y="1015"/>
                  </a:lnTo>
                  <a:lnTo>
                    <a:pt x="1050" y="1010"/>
                  </a:lnTo>
                  <a:lnTo>
                    <a:pt x="1023" y="1019"/>
                  </a:lnTo>
                  <a:lnTo>
                    <a:pt x="997" y="1037"/>
                  </a:lnTo>
                  <a:lnTo>
                    <a:pt x="988" y="1037"/>
                  </a:lnTo>
                  <a:lnTo>
                    <a:pt x="983" y="1046"/>
                  </a:lnTo>
                  <a:lnTo>
                    <a:pt x="974" y="1046"/>
                  </a:lnTo>
                  <a:lnTo>
                    <a:pt x="974" y="1042"/>
                  </a:lnTo>
                  <a:lnTo>
                    <a:pt x="952" y="1037"/>
                  </a:lnTo>
                  <a:lnTo>
                    <a:pt x="943" y="1037"/>
                  </a:lnTo>
                  <a:lnTo>
                    <a:pt x="939" y="1024"/>
                  </a:lnTo>
                  <a:lnTo>
                    <a:pt x="934" y="1028"/>
                  </a:lnTo>
                  <a:lnTo>
                    <a:pt x="921" y="1010"/>
                  </a:lnTo>
                  <a:lnTo>
                    <a:pt x="912" y="1006"/>
                  </a:lnTo>
                  <a:lnTo>
                    <a:pt x="907" y="1006"/>
                  </a:lnTo>
                  <a:lnTo>
                    <a:pt x="903" y="1010"/>
                  </a:lnTo>
                  <a:lnTo>
                    <a:pt x="898" y="1015"/>
                  </a:lnTo>
                  <a:lnTo>
                    <a:pt x="889" y="1010"/>
                  </a:lnTo>
                  <a:lnTo>
                    <a:pt x="889" y="1001"/>
                  </a:lnTo>
                  <a:lnTo>
                    <a:pt x="880" y="1001"/>
                  </a:lnTo>
                  <a:lnTo>
                    <a:pt x="876" y="1006"/>
                  </a:lnTo>
                  <a:lnTo>
                    <a:pt x="872" y="1010"/>
                  </a:lnTo>
                  <a:lnTo>
                    <a:pt x="840" y="957"/>
                  </a:lnTo>
                  <a:lnTo>
                    <a:pt x="822" y="934"/>
                  </a:lnTo>
                  <a:lnTo>
                    <a:pt x="827" y="925"/>
                  </a:lnTo>
                  <a:lnTo>
                    <a:pt x="822" y="921"/>
                  </a:lnTo>
                  <a:lnTo>
                    <a:pt x="813" y="925"/>
                  </a:lnTo>
                  <a:lnTo>
                    <a:pt x="805" y="930"/>
                  </a:lnTo>
                  <a:lnTo>
                    <a:pt x="800" y="934"/>
                  </a:lnTo>
                  <a:lnTo>
                    <a:pt x="791" y="943"/>
                  </a:lnTo>
                  <a:lnTo>
                    <a:pt x="782" y="939"/>
                  </a:lnTo>
                  <a:lnTo>
                    <a:pt x="773" y="943"/>
                  </a:lnTo>
                  <a:lnTo>
                    <a:pt x="773" y="939"/>
                  </a:lnTo>
                  <a:lnTo>
                    <a:pt x="778" y="934"/>
                  </a:lnTo>
                  <a:lnTo>
                    <a:pt x="764" y="930"/>
                  </a:lnTo>
                  <a:lnTo>
                    <a:pt x="760" y="934"/>
                  </a:lnTo>
                  <a:lnTo>
                    <a:pt x="760" y="925"/>
                  </a:lnTo>
                  <a:lnTo>
                    <a:pt x="746" y="930"/>
                  </a:lnTo>
                  <a:lnTo>
                    <a:pt x="742" y="925"/>
                  </a:lnTo>
                  <a:lnTo>
                    <a:pt x="742" y="916"/>
                  </a:lnTo>
                  <a:lnTo>
                    <a:pt x="738" y="903"/>
                  </a:lnTo>
                  <a:lnTo>
                    <a:pt x="729" y="903"/>
                  </a:lnTo>
                  <a:lnTo>
                    <a:pt x="711" y="899"/>
                  </a:lnTo>
                  <a:lnTo>
                    <a:pt x="706" y="903"/>
                  </a:lnTo>
                  <a:lnTo>
                    <a:pt x="702" y="894"/>
                  </a:lnTo>
                  <a:lnTo>
                    <a:pt x="697" y="912"/>
                  </a:lnTo>
                  <a:lnTo>
                    <a:pt x="693" y="907"/>
                  </a:lnTo>
                  <a:lnTo>
                    <a:pt x="688" y="912"/>
                  </a:lnTo>
                  <a:lnTo>
                    <a:pt x="666" y="916"/>
                  </a:lnTo>
                  <a:lnTo>
                    <a:pt x="657" y="916"/>
                  </a:lnTo>
                  <a:lnTo>
                    <a:pt x="653" y="921"/>
                  </a:lnTo>
                  <a:lnTo>
                    <a:pt x="653" y="916"/>
                  </a:lnTo>
                  <a:lnTo>
                    <a:pt x="635" y="925"/>
                  </a:lnTo>
                  <a:lnTo>
                    <a:pt x="626" y="930"/>
                  </a:lnTo>
                  <a:lnTo>
                    <a:pt x="604" y="930"/>
                  </a:lnTo>
                  <a:lnTo>
                    <a:pt x="599" y="934"/>
                  </a:lnTo>
                  <a:lnTo>
                    <a:pt x="595" y="943"/>
                  </a:lnTo>
                  <a:lnTo>
                    <a:pt x="608" y="943"/>
                  </a:lnTo>
                  <a:lnTo>
                    <a:pt x="599" y="948"/>
                  </a:lnTo>
                  <a:lnTo>
                    <a:pt x="608" y="948"/>
                  </a:lnTo>
                  <a:lnTo>
                    <a:pt x="612" y="957"/>
                  </a:lnTo>
                  <a:lnTo>
                    <a:pt x="599" y="957"/>
                  </a:lnTo>
                  <a:lnTo>
                    <a:pt x="590" y="961"/>
                  </a:lnTo>
                  <a:lnTo>
                    <a:pt x="595" y="970"/>
                  </a:lnTo>
                  <a:lnTo>
                    <a:pt x="581" y="979"/>
                  </a:lnTo>
                  <a:lnTo>
                    <a:pt x="590" y="988"/>
                  </a:lnTo>
                  <a:lnTo>
                    <a:pt x="595" y="997"/>
                  </a:lnTo>
                  <a:lnTo>
                    <a:pt x="604" y="997"/>
                  </a:lnTo>
                  <a:lnTo>
                    <a:pt x="604" y="1006"/>
                  </a:lnTo>
                  <a:lnTo>
                    <a:pt x="604" y="1010"/>
                  </a:lnTo>
                  <a:lnTo>
                    <a:pt x="590" y="1015"/>
                  </a:lnTo>
                  <a:lnTo>
                    <a:pt x="581" y="1006"/>
                  </a:lnTo>
                  <a:lnTo>
                    <a:pt x="572" y="1019"/>
                  </a:lnTo>
                  <a:lnTo>
                    <a:pt x="572" y="1010"/>
                  </a:lnTo>
                  <a:lnTo>
                    <a:pt x="568" y="1006"/>
                  </a:lnTo>
                  <a:lnTo>
                    <a:pt x="563" y="1001"/>
                  </a:lnTo>
                  <a:lnTo>
                    <a:pt x="554" y="1001"/>
                  </a:lnTo>
                  <a:lnTo>
                    <a:pt x="545" y="1006"/>
                  </a:lnTo>
                  <a:lnTo>
                    <a:pt x="541" y="1001"/>
                  </a:lnTo>
                  <a:lnTo>
                    <a:pt x="532" y="1001"/>
                  </a:lnTo>
                  <a:lnTo>
                    <a:pt x="528" y="1010"/>
                  </a:lnTo>
                  <a:lnTo>
                    <a:pt x="523" y="1015"/>
                  </a:lnTo>
                  <a:lnTo>
                    <a:pt x="514" y="1010"/>
                  </a:lnTo>
                  <a:lnTo>
                    <a:pt x="510" y="1010"/>
                  </a:lnTo>
                  <a:lnTo>
                    <a:pt x="510" y="1015"/>
                  </a:lnTo>
                  <a:lnTo>
                    <a:pt x="505" y="1015"/>
                  </a:lnTo>
                  <a:lnTo>
                    <a:pt x="501" y="1010"/>
                  </a:lnTo>
                  <a:lnTo>
                    <a:pt x="496" y="997"/>
                  </a:lnTo>
                  <a:lnTo>
                    <a:pt x="483" y="992"/>
                  </a:lnTo>
                  <a:lnTo>
                    <a:pt x="478" y="997"/>
                  </a:lnTo>
                  <a:lnTo>
                    <a:pt x="474" y="988"/>
                  </a:lnTo>
                  <a:lnTo>
                    <a:pt x="465" y="992"/>
                  </a:lnTo>
                  <a:lnTo>
                    <a:pt x="461" y="997"/>
                  </a:lnTo>
                  <a:lnTo>
                    <a:pt x="461" y="992"/>
                  </a:lnTo>
                  <a:lnTo>
                    <a:pt x="456" y="988"/>
                  </a:lnTo>
                  <a:lnTo>
                    <a:pt x="452" y="997"/>
                  </a:lnTo>
                  <a:lnTo>
                    <a:pt x="434" y="1010"/>
                  </a:lnTo>
                  <a:lnTo>
                    <a:pt x="425" y="1015"/>
                  </a:lnTo>
                  <a:lnTo>
                    <a:pt x="420" y="1010"/>
                  </a:lnTo>
                  <a:lnTo>
                    <a:pt x="425" y="1028"/>
                  </a:lnTo>
                  <a:lnTo>
                    <a:pt x="420" y="1033"/>
                  </a:lnTo>
                  <a:lnTo>
                    <a:pt x="407" y="1019"/>
                  </a:lnTo>
                  <a:lnTo>
                    <a:pt x="402" y="1019"/>
                  </a:lnTo>
                  <a:lnTo>
                    <a:pt x="402" y="1033"/>
                  </a:lnTo>
                  <a:lnTo>
                    <a:pt x="398" y="1033"/>
                  </a:lnTo>
                  <a:lnTo>
                    <a:pt x="394" y="1046"/>
                  </a:lnTo>
                  <a:lnTo>
                    <a:pt x="394" y="1050"/>
                  </a:lnTo>
                  <a:lnTo>
                    <a:pt x="389" y="1064"/>
                  </a:lnTo>
                  <a:lnTo>
                    <a:pt x="398" y="1068"/>
                  </a:lnTo>
                  <a:lnTo>
                    <a:pt x="398" y="1073"/>
                  </a:lnTo>
                  <a:lnTo>
                    <a:pt x="402" y="1082"/>
                  </a:lnTo>
                  <a:lnTo>
                    <a:pt x="402" y="1073"/>
                  </a:lnTo>
                  <a:lnTo>
                    <a:pt x="411" y="1077"/>
                  </a:lnTo>
                  <a:lnTo>
                    <a:pt x="420" y="1091"/>
                  </a:lnTo>
                  <a:lnTo>
                    <a:pt x="425" y="1095"/>
                  </a:lnTo>
                  <a:lnTo>
                    <a:pt x="420" y="1095"/>
                  </a:lnTo>
                  <a:lnTo>
                    <a:pt x="416" y="1100"/>
                  </a:lnTo>
                  <a:lnTo>
                    <a:pt x="425" y="1100"/>
                  </a:lnTo>
                  <a:lnTo>
                    <a:pt x="425" y="1104"/>
                  </a:lnTo>
                  <a:lnTo>
                    <a:pt x="416" y="1118"/>
                  </a:lnTo>
                  <a:lnTo>
                    <a:pt x="402" y="1118"/>
                  </a:lnTo>
                  <a:lnTo>
                    <a:pt x="394" y="1144"/>
                  </a:lnTo>
                  <a:lnTo>
                    <a:pt x="398" y="1144"/>
                  </a:lnTo>
                  <a:lnTo>
                    <a:pt x="402" y="1158"/>
                  </a:lnTo>
                  <a:lnTo>
                    <a:pt x="407" y="1153"/>
                  </a:lnTo>
                  <a:lnTo>
                    <a:pt x="402" y="1176"/>
                  </a:lnTo>
                  <a:lnTo>
                    <a:pt x="420" y="1198"/>
                  </a:lnTo>
                  <a:lnTo>
                    <a:pt x="425" y="1202"/>
                  </a:lnTo>
                  <a:lnTo>
                    <a:pt x="416" y="1207"/>
                  </a:lnTo>
                  <a:lnTo>
                    <a:pt x="416" y="1207"/>
                  </a:lnTo>
                  <a:lnTo>
                    <a:pt x="411" y="1211"/>
                  </a:lnTo>
                  <a:lnTo>
                    <a:pt x="407" y="1211"/>
                  </a:lnTo>
                  <a:lnTo>
                    <a:pt x="398" y="1198"/>
                  </a:lnTo>
                  <a:lnTo>
                    <a:pt x="394" y="1198"/>
                  </a:lnTo>
                  <a:lnTo>
                    <a:pt x="389" y="1193"/>
                  </a:lnTo>
                  <a:lnTo>
                    <a:pt x="389" y="1193"/>
                  </a:lnTo>
                  <a:lnTo>
                    <a:pt x="380" y="1189"/>
                  </a:lnTo>
                  <a:lnTo>
                    <a:pt x="385" y="1185"/>
                  </a:lnTo>
                  <a:lnTo>
                    <a:pt x="371" y="1185"/>
                  </a:lnTo>
                  <a:lnTo>
                    <a:pt x="371" y="1180"/>
                  </a:lnTo>
                  <a:lnTo>
                    <a:pt x="362" y="1180"/>
                  </a:lnTo>
                  <a:lnTo>
                    <a:pt x="362" y="1185"/>
                  </a:lnTo>
                  <a:lnTo>
                    <a:pt x="358" y="1180"/>
                  </a:lnTo>
                  <a:lnTo>
                    <a:pt x="353" y="1185"/>
                  </a:lnTo>
                  <a:lnTo>
                    <a:pt x="349" y="1176"/>
                  </a:lnTo>
                  <a:lnTo>
                    <a:pt x="344" y="1180"/>
                  </a:lnTo>
                  <a:lnTo>
                    <a:pt x="340" y="1171"/>
                  </a:lnTo>
                  <a:lnTo>
                    <a:pt x="322" y="1171"/>
                  </a:lnTo>
                  <a:lnTo>
                    <a:pt x="313" y="1167"/>
                  </a:lnTo>
                  <a:lnTo>
                    <a:pt x="300" y="1167"/>
                  </a:lnTo>
                  <a:lnTo>
                    <a:pt x="295" y="1167"/>
                  </a:lnTo>
                  <a:lnTo>
                    <a:pt x="291" y="1167"/>
                  </a:lnTo>
                  <a:lnTo>
                    <a:pt x="255" y="1131"/>
                  </a:lnTo>
                  <a:lnTo>
                    <a:pt x="251" y="1126"/>
                  </a:lnTo>
                  <a:lnTo>
                    <a:pt x="251" y="1122"/>
                  </a:lnTo>
                  <a:lnTo>
                    <a:pt x="260" y="1122"/>
                  </a:lnTo>
                  <a:lnTo>
                    <a:pt x="264" y="1122"/>
                  </a:lnTo>
                  <a:lnTo>
                    <a:pt x="264" y="1113"/>
                  </a:lnTo>
                  <a:lnTo>
                    <a:pt x="268" y="1109"/>
                  </a:lnTo>
                  <a:lnTo>
                    <a:pt x="273" y="1109"/>
                  </a:lnTo>
                  <a:lnTo>
                    <a:pt x="268" y="1104"/>
                  </a:lnTo>
                  <a:lnTo>
                    <a:pt x="264" y="1104"/>
                  </a:lnTo>
                  <a:lnTo>
                    <a:pt x="260" y="1100"/>
                  </a:lnTo>
                  <a:lnTo>
                    <a:pt x="268" y="1095"/>
                  </a:lnTo>
                  <a:lnTo>
                    <a:pt x="273" y="1091"/>
                  </a:lnTo>
                  <a:lnTo>
                    <a:pt x="286" y="1086"/>
                  </a:lnTo>
                  <a:lnTo>
                    <a:pt x="282" y="1082"/>
                  </a:lnTo>
                  <a:lnTo>
                    <a:pt x="273" y="1086"/>
                  </a:lnTo>
                  <a:lnTo>
                    <a:pt x="282" y="1073"/>
                  </a:lnTo>
                  <a:lnTo>
                    <a:pt x="291" y="1068"/>
                  </a:lnTo>
                  <a:lnTo>
                    <a:pt x="295" y="1059"/>
                  </a:lnTo>
                  <a:lnTo>
                    <a:pt x="291" y="1055"/>
                  </a:lnTo>
                  <a:lnTo>
                    <a:pt x="295" y="1050"/>
                  </a:lnTo>
                  <a:lnTo>
                    <a:pt x="291" y="1046"/>
                  </a:lnTo>
                  <a:lnTo>
                    <a:pt x="295" y="1042"/>
                  </a:lnTo>
                  <a:lnTo>
                    <a:pt x="282" y="1033"/>
                  </a:lnTo>
                  <a:lnTo>
                    <a:pt x="277" y="1028"/>
                  </a:lnTo>
                  <a:lnTo>
                    <a:pt x="273" y="1033"/>
                  </a:lnTo>
                  <a:lnTo>
                    <a:pt x="273" y="1028"/>
                  </a:lnTo>
                  <a:lnTo>
                    <a:pt x="264" y="1028"/>
                  </a:lnTo>
                  <a:lnTo>
                    <a:pt x="264" y="1024"/>
                  </a:lnTo>
                  <a:lnTo>
                    <a:pt x="260" y="1019"/>
                  </a:lnTo>
                  <a:lnTo>
                    <a:pt x="251" y="1019"/>
                  </a:lnTo>
                  <a:lnTo>
                    <a:pt x="246" y="1024"/>
                  </a:lnTo>
                  <a:lnTo>
                    <a:pt x="242" y="1019"/>
                  </a:lnTo>
                  <a:lnTo>
                    <a:pt x="233" y="1019"/>
                  </a:lnTo>
                  <a:lnTo>
                    <a:pt x="228" y="1006"/>
                  </a:lnTo>
                  <a:lnTo>
                    <a:pt x="228" y="997"/>
                  </a:lnTo>
                  <a:lnTo>
                    <a:pt x="210" y="992"/>
                  </a:lnTo>
                  <a:lnTo>
                    <a:pt x="215" y="983"/>
                  </a:lnTo>
                  <a:lnTo>
                    <a:pt x="210" y="983"/>
                  </a:lnTo>
                  <a:lnTo>
                    <a:pt x="206" y="975"/>
                  </a:lnTo>
                  <a:lnTo>
                    <a:pt x="197" y="975"/>
                  </a:lnTo>
                  <a:lnTo>
                    <a:pt x="188" y="979"/>
                  </a:lnTo>
                  <a:lnTo>
                    <a:pt x="184" y="975"/>
                  </a:lnTo>
                  <a:lnTo>
                    <a:pt x="179" y="979"/>
                  </a:lnTo>
                  <a:lnTo>
                    <a:pt x="175" y="979"/>
                  </a:lnTo>
                  <a:lnTo>
                    <a:pt x="175" y="970"/>
                  </a:lnTo>
                  <a:lnTo>
                    <a:pt x="170" y="957"/>
                  </a:lnTo>
                  <a:lnTo>
                    <a:pt x="175" y="952"/>
                  </a:lnTo>
                  <a:lnTo>
                    <a:pt x="179" y="957"/>
                  </a:lnTo>
                  <a:lnTo>
                    <a:pt x="179" y="957"/>
                  </a:lnTo>
                  <a:lnTo>
                    <a:pt x="184" y="952"/>
                  </a:lnTo>
                  <a:lnTo>
                    <a:pt x="188" y="948"/>
                  </a:lnTo>
                  <a:lnTo>
                    <a:pt x="184" y="948"/>
                  </a:lnTo>
                  <a:lnTo>
                    <a:pt x="179" y="939"/>
                  </a:lnTo>
                  <a:lnTo>
                    <a:pt x="170" y="943"/>
                  </a:lnTo>
                  <a:lnTo>
                    <a:pt x="170" y="930"/>
                  </a:lnTo>
                  <a:lnTo>
                    <a:pt x="166" y="925"/>
                  </a:lnTo>
                  <a:lnTo>
                    <a:pt x="166" y="921"/>
                  </a:lnTo>
                  <a:lnTo>
                    <a:pt x="166" y="912"/>
                  </a:lnTo>
                  <a:lnTo>
                    <a:pt x="166" y="907"/>
                  </a:lnTo>
                  <a:lnTo>
                    <a:pt x="161" y="894"/>
                  </a:lnTo>
                  <a:lnTo>
                    <a:pt x="152" y="885"/>
                  </a:lnTo>
                  <a:lnTo>
                    <a:pt x="143" y="890"/>
                  </a:lnTo>
                  <a:lnTo>
                    <a:pt x="139" y="881"/>
                  </a:lnTo>
                  <a:lnTo>
                    <a:pt x="130" y="881"/>
                  </a:lnTo>
                  <a:lnTo>
                    <a:pt x="130" y="876"/>
                  </a:lnTo>
                  <a:lnTo>
                    <a:pt x="126" y="876"/>
                  </a:lnTo>
                  <a:lnTo>
                    <a:pt x="121" y="876"/>
                  </a:lnTo>
                  <a:lnTo>
                    <a:pt x="121" y="867"/>
                  </a:lnTo>
                  <a:lnTo>
                    <a:pt x="121" y="849"/>
                  </a:lnTo>
                  <a:lnTo>
                    <a:pt x="126" y="845"/>
                  </a:lnTo>
                  <a:lnTo>
                    <a:pt x="121" y="840"/>
                  </a:lnTo>
                  <a:lnTo>
                    <a:pt x="117" y="840"/>
                  </a:lnTo>
                  <a:close/>
                  <a:moveTo>
                    <a:pt x="157" y="724"/>
                  </a:moveTo>
                  <a:lnTo>
                    <a:pt x="166" y="715"/>
                  </a:lnTo>
                  <a:lnTo>
                    <a:pt x="175" y="724"/>
                  </a:lnTo>
                  <a:lnTo>
                    <a:pt x="184" y="724"/>
                  </a:lnTo>
                  <a:lnTo>
                    <a:pt x="188" y="733"/>
                  </a:lnTo>
                  <a:lnTo>
                    <a:pt x="197" y="747"/>
                  </a:lnTo>
                  <a:lnTo>
                    <a:pt x="188" y="751"/>
                  </a:lnTo>
                  <a:lnTo>
                    <a:pt x="188" y="764"/>
                  </a:lnTo>
                  <a:lnTo>
                    <a:pt x="184" y="760"/>
                  </a:lnTo>
                  <a:lnTo>
                    <a:pt x="175" y="760"/>
                  </a:lnTo>
                  <a:lnTo>
                    <a:pt x="175" y="769"/>
                  </a:lnTo>
                  <a:lnTo>
                    <a:pt x="170" y="769"/>
                  </a:lnTo>
                  <a:lnTo>
                    <a:pt x="157" y="738"/>
                  </a:lnTo>
                  <a:lnTo>
                    <a:pt x="152" y="742"/>
                  </a:lnTo>
                  <a:lnTo>
                    <a:pt x="148" y="733"/>
                  </a:lnTo>
                  <a:lnTo>
                    <a:pt x="157" y="733"/>
                  </a:lnTo>
                  <a:lnTo>
                    <a:pt x="157" y="724"/>
                  </a:lnTo>
                  <a:close/>
                  <a:moveTo>
                    <a:pt x="429" y="443"/>
                  </a:moveTo>
                  <a:lnTo>
                    <a:pt x="420" y="447"/>
                  </a:lnTo>
                  <a:lnTo>
                    <a:pt x="416" y="452"/>
                  </a:lnTo>
                  <a:lnTo>
                    <a:pt x="416" y="465"/>
                  </a:lnTo>
                  <a:lnTo>
                    <a:pt x="429" y="470"/>
                  </a:lnTo>
                  <a:lnTo>
                    <a:pt x="434" y="465"/>
                  </a:lnTo>
                  <a:lnTo>
                    <a:pt x="438" y="452"/>
                  </a:lnTo>
                  <a:lnTo>
                    <a:pt x="429" y="443"/>
                  </a:lnTo>
                  <a:close/>
                  <a:moveTo>
                    <a:pt x="532" y="268"/>
                  </a:moveTo>
                  <a:lnTo>
                    <a:pt x="541" y="255"/>
                  </a:lnTo>
                  <a:lnTo>
                    <a:pt x="537" y="251"/>
                  </a:lnTo>
                  <a:lnTo>
                    <a:pt x="545" y="246"/>
                  </a:lnTo>
                  <a:lnTo>
                    <a:pt x="541" y="242"/>
                  </a:lnTo>
                  <a:lnTo>
                    <a:pt x="550" y="237"/>
                  </a:lnTo>
                  <a:lnTo>
                    <a:pt x="563" y="215"/>
                  </a:lnTo>
                  <a:lnTo>
                    <a:pt x="559" y="201"/>
                  </a:lnTo>
                  <a:lnTo>
                    <a:pt x="568" y="197"/>
                  </a:lnTo>
                  <a:lnTo>
                    <a:pt x="568" y="188"/>
                  </a:lnTo>
                  <a:lnTo>
                    <a:pt x="577" y="192"/>
                  </a:lnTo>
                  <a:lnTo>
                    <a:pt x="590" y="184"/>
                  </a:lnTo>
                  <a:lnTo>
                    <a:pt x="590" y="175"/>
                  </a:lnTo>
                  <a:lnTo>
                    <a:pt x="630" y="143"/>
                  </a:lnTo>
                  <a:lnTo>
                    <a:pt x="635" y="148"/>
                  </a:lnTo>
                  <a:lnTo>
                    <a:pt x="702" y="99"/>
                  </a:lnTo>
                  <a:lnTo>
                    <a:pt x="711" y="67"/>
                  </a:lnTo>
                  <a:lnTo>
                    <a:pt x="702" y="54"/>
                  </a:lnTo>
                  <a:lnTo>
                    <a:pt x="688" y="49"/>
                  </a:lnTo>
                  <a:lnTo>
                    <a:pt x="671" y="63"/>
                  </a:lnTo>
                  <a:lnTo>
                    <a:pt x="644" y="85"/>
                  </a:lnTo>
                  <a:lnTo>
                    <a:pt x="612" y="94"/>
                  </a:lnTo>
                  <a:lnTo>
                    <a:pt x="595" y="94"/>
                  </a:lnTo>
                  <a:lnTo>
                    <a:pt x="595" y="108"/>
                  </a:lnTo>
                  <a:lnTo>
                    <a:pt x="586" y="103"/>
                  </a:lnTo>
                  <a:lnTo>
                    <a:pt x="563" y="125"/>
                  </a:lnTo>
                  <a:lnTo>
                    <a:pt x="554" y="143"/>
                  </a:lnTo>
                  <a:lnTo>
                    <a:pt x="528" y="166"/>
                  </a:lnTo>
                  <a:lnTo>
                    <a:pt x="519" y="161"/>
                  </a:lnTo>
                  <a:lnTo>
                    <a:pt x="519" y="179"/>
                  </a:lnTo>
                  <a:lnTo>
                    <a:pt x="523" y="175"/>
                  </a:lnTo>
                  <a:lnTo>
                    <a:pt x="528" y="179"/>
                  </a:lnTo>
                  <a:lnTo>
                    <a:pt x="519" y="188"/>
                  </a:lnTo>
                  <a:lnTo>
                    <a:pt x="528" y="188"/>
                  </a:lnTo>
                  <a:lnTo>
                    <a:pt x="514" y="192"/>
                  </a:lnTo>
                  <a:lnTo>
                    <a:pt x="523" y="201"/>
                  </a:lnTo>
                  <a:lnTo>
                    <a:pt x="514" y="201"/>
                  </a:lnTo>
                  <a:lnTo>
                    <a:pt x="519" y="215"/>
                  </a:lnTo>
                  <a:lnTo>
                    <a:pt x="510" y="215"/>
                  </a:lnTo>
                  <a:lnTo>
                    <a:pt x="505" y="219"/>
                  </a:lnTo>
                  <a:lnTo>
                    <a:pt x="505" y="224"/>
                  </a:lnTo>
                  <a:lnTo>
                    <a:pt x="487" y="237"/>
                  </a:lnTo>
                  <a:lnTo>
                    <a:pt x="496" y="246"/>
                  </a:lnTo>
                  <a:lnTo>
                    <a:pt x="514" y="242"/>
                  </a:lnTo>
                  <a:lnTo>
                    <a:pt x="496" y="260"/>
                  </a:lnTo>
                  <a:lnTo>
                    <a:pt x="501" y="260"/>
                  </a:lnTo>
                  <a:lnTo>
                    <a:pt x="514" y="255"/>
                  </a:lnTo>
                  <a:lnTo>
                    <a:pt x="528" y="264"/>
                  </a:lnTo>
                  <a:lnTo>
                    <a:pt x="532" y="268"/>
                  </a:lnTo>
                  <a:close/>
                  <a:moveTo>
                    <a:pt x="550" y="385"/>
                  </a:moveTo>
                  <a:lnTo>
                    <a:pt x="537" y="376"/>
                  </a:lnTo>
                  <a:lnTo>
                    <a:pt x="519" y="349"/>
                  </a:lnTo>
                  <a:lnTo>
                    <a:pt x="519" y="327"/>
                  </a:lnTo>
                  <a:lnTo>
                    <a:pt x="523" y="300"/>
                  </a:lnTo>
                  <a:lnTo>
                    <a:pt x="528" y="268"/>
                  </a:lnTo>
                  <a:lnTo>
                    <a:pt x="510" y="260"/>
                  </a:lnTo>
                  <a:lnTo>
                    <a:pt x="501" y="264"/>
                  </a:lnTo>
                  <a:lnTo>
                    <a:pt x="487" y="268"/>
                  </a:lnTo>
                  <a:lnTo>
                    <a:pt x="483" y="282"/>
                  </a:lnTo>
                  <a:lnTo>
                    <a:pt x="478" y="282"/>
                  </a:lnTo>
                  <a:lnTo>
                    <a:pt x="470" y="291"/>
                  </a:lnTo>
                  <a:lnTo>
                    <a:pt x="474" y="295"/>
                  </a:lnTo>
                  <a:lnTo>
                    <a:pt x="470" y="322"/>
                  </a:lnTo>
                  <a:lnTo>
                    <a:pt x="461" y="322"/>
                  </a:lnTo>
                  <a:lnTo>
                    <a:pt x="456" y="335"/>
                  </a:lnTo>
                  <a:lnTo>
                    <a:pt x="461" y="344"/>
                  </a:lnTo>
                  <a:lnTo>
                    <a:pt x="465" y="349"/>
                  </a:lnTo>
                  <a:lnTo>
                    <a:pt x="483" y="353"/>
                  </a:lnTo>
                  <a:lnTo>
                    <a:pt x="487" y="358"/>
                  </a:lnTo>
                  <a:lnTo>
                    <a:pt x="474" y="358"/>
                  </a:lnTo>
                  <a:lnTo>
                    <a:pt x="474" y="362"/>
                  </a:lnTo>
                  <a:lnTo>
                    <a:pt x="478" y="362"/>
                  </a:lnTo>
                  <a:lnTo>
                    <a:pt x="483" y="380"/>
                  </a:lnTo>
                  <a:lnTo>
                    <a:pt x="483" y="367"/>
                  </a:lnTo>
                  <a:lnTo>
                    <a:pt x="492" y="367"/>
                  </a:lnTo>
                  <a:lnTo>
                    <a:pt x="501" y="371"/>
                  </a:lnTo>
                  <a:lnTo>
                    <a:pt x="492" y="376"/>
                  </a:lnTo>
                  <a:lnTo>
                    <a:pt x="487" y="389"/>
                  </a:lnTo>
                  <a:lnTo>
                    <a:pt x="501" y="398"/>
                  </a:lnTo>
                  <a:lnTo>
                    <a:pt x="514" y="403"/>
                  </a:lnTo>
                  <a:lnTo>
                    <a:pt x="519" y="394"/>
                  </a:lnTo>
                  <a:lnTo>
                    <a:pt x="532" y="398"/>
                  </a:lnTo>
                  <a:lnTo>
                    <a:pt x="528" y="385"/>
                  </a:lnTo>
                  <a:lnTo>
                    <a:pt x="541" y="394"/>
                  </a:lnTo>
                  <a:lnTo>
                    <a:pt x="550" y="385"/>
                  </a:lnTo>
                  <a:close/>
                  <a:moveTo>
                    <a:pt x="729" y="255"/>
                  </a:moveTo>
                  <a:lnTo>
                    <a:pt x="729" y="277"/>
                  </a:lnTo>
                  <a:lnTo>
                    <a:pt x="733" y="277"/>
                  </a:lnTo>
                  <a:lnTo>
                    <a:pt x="751" y="268"/>
                  </a:lnTo>
                  <a:lnTo>
                    <a:pt x="751" y="260"/>
                  </a:lnTo>
                  <a:lnTo>
                    <a:pt x="738" y="251"/>
                  </a:lnTo>
                  <a:lnTo>
                    <a:pt x="729" y="255"/>
                  </a:lnTo>
                  <a:close/>
                  <a:moveTo>
                    <a:pt x="1224" y="979"/>
                  </a:moveTo>
                  <a:lnTo>
                    <a:pt x="1229" y="979"/>
                  </a:lnTo>
                  <a:lnTo>
                    <a:pt x="1256" y="957"/>
                  </a:lnTo>
                  <a:lnTo>
                    <a:pt x="1265" y="948"/>
                  </a:lnTo>
                  <a:lnTo>
                    <a:pt x="1260" y="943"/>
                  </a:lnTo>
                  <a:lnTo>
                    <a:pt x="1278" y="921"/>
                  </a:lnTo>
                  <a:lnTo>
                    <a:pt x="1282" y="912"/>
                  </a:lnTo>
                  <a:lnTo>
                    <a:pt x="1282" y="894"/>
                  </a:lnTo>
                  <a:lnTo>
                    <a:pt x="1291" y="885"/>
                  </a:lnTo>
                  <a:lnTo>
                    <a:pt x="1296" y="890"/>
                  </a:lnTo>
                  <a:lnTo>
                    <a:pt x="1287" y="925"/>
                  </a:lnTo>
                  <a:lnTo>
                    <a:pt x="1291" y="930"/>
                  </a:lnTo>
                  <a:lnTo>
                    <a:pt x="1287" y="939"/>
                  </a:lnTo>
                  <a:lnTo>
                    <a:pt x="1282" y="934"/>
                  </a:lnTo>
                  <a:lnTo>
                    <a:pt x="1278" y="939"/>
                  </a:lnTo>
                  <a:lnTo>
                    <a:pt x="1278" y="943"/>
                  </a:lnTo>
                  <a:lnTo>
                    <a:pt x="1265" y="961"/>
                  </a:lnTo>
                  <a:lnTo>
                    <a:pt x="1256" y="970"/>
                  </a:lnTo>
                  <a:lnTo>
                    <a:pt x="1251" y="979"/>
                  </a:lnTo>
                  <a:lnTo>
                    <a:pt x="1247" y="975"/>
                  </a:lnTo>
                  <a:lnTo>
                    <a:pt x="1238" y="988"/>
                  </a:lnTo>
                  <a:lnTo>
                    <a:pt x="1224" y="992"/>
                  </a:lnTo>
                  <a:lnTo>
                    <a:pt x="1207" y="988"/>
                  </a:lnTo>
                  <a:lnTo>
                    <a:pt x="1220" y="983"/>
                  </a:lnTo>
                  <a:lnTo>
                    <a:pt x="1224" y="979"/>
                  </a:lnTo>
                  <a:close/>
                  <a:moveTo>
                    <a:pt x="1716" y="108"/>
                  </a:moveTo>
                  <a:lnTo>
                    <a:pt x="1693" y="121"/>
                  </a:lnTo>
                  <a:lnTo>
                    <a:pt x="1680" y="139"/>
                  </a:lnTo>
                  <a:lnTo>
                    <a:pt x="1676" y="166"/>
                  </a:lnTo>
                  <a:lnTo>
                    <a:pt x="1680" y="179"/>
                  </a:lnTo>
                  <a:lnTo>
                    <a:pt x="1698" y="192"/>
                  </a:lnTo>
                  <a:lnTo>
                    <a:pt x="1716" y="201"/>
                  </a:lnTo>
                  <a:lnTo>
                    <a:pt x="1725" y="188"/>
                  </a:lnTo>
                  <a:lnTo>
                    <a:pt x="1729" y="197"/>
                  </a:lnTo>
                  <a:lnTo>
                    <a:pt x="1738" y="192"/>
                  </a:lnTo>
                  <a:lnTo>
                    <a:pt x="1747" y="184"/>
                  </a:lnTo>
                  <a:lnTo>
                    <a:pt x="1751" y="188"/>
                  </a:lnTo>
                  <a:lnTo>
                    <a:pt x="1760" y="184"/>
                  </a:lnTo>
                  <a:lnTo>
                    <a:pt x="1765" y="188"/>
                  </a:lnTo>
                  <a:lnTo>
                    <a:pt x="1769" y="184"/>
                  </a:lnTo>
                  <a:lnTo>
                    <a:pt x="1760" y="179"/>
                  </a:lnTo>
                  <a:lnTo>
                    <a:pt x="1756" y="166"/>
                  </a:lnTo>
                  <a:lnTo>
                    <a:pt x="1756" y="148"/>
                  </a:lnTo>
                  <a:lnTo>
                    <a:pt x="1760" y="130"/>
                  </a:lnTo>
                  <a:lnTo>
                    <a:pt x="1765" y="139"/>
                  </a:lnTo>
                  <a:lnTo>
                    <a:pt x="1760" y="152"/>
                  </a:lnTo>
                  <a:lnTo>
                    <a:pt x="1765" y="175"/>
                  </a:lnTo>
                  <a:lnTo>
                    <a:pt x="1774" y="179"/>
                  </a:lnTo>
                  <a:lnTo>
                    <a:pt x="1783" y="175"/>
                  </a:lnTo>
                  <a:lnTo>
                    <a:pt x="1792" y="161"/>
                  </a:lnTo>
                  <a:lnTo>
                    <a:pt x="1787" y="148"/>
                  </a:lnTo>
                  <a:lnTo>
                    <a:pt x="1796" y="139"/>
                  </a:lnTo>
                  <a:lnTo>
                    <a:pt x="1765" y="121"/>
                  </a:lnTo>
                  <a:lnTo>
                    <a:pt x="1747" y="103"/>
                  </a:lnTo>
                  <a:lnTo>
                    <a:pt x="1738" y="121"/>
                  </a:lnTo>
                  <a:lnTo>
                    <a:pt x="1734" y="134"/>
                  </a:lnTo>
                  <a:lnTo>
                    <a:pt x="1729" y="134"/>
                  </a:lnTo>
                  <a:lnTo>
                    <a:pt x="1716" y="108"/>
                  </a:lnTo>
                  <a:close/>
                  <a:moveTo>
                    <a:pt x="1729" y="219"/>
                  </a:moveTo>
                  <a:lnTo>
                    <a:pt x="1729" y="237"/>
                  </a:lnTo>
                  <a:lnTo>
                    <a:pt x="1734" y="242"/>
                  </a:lnTo>
                  <a:lnTo>
                    <a:pt x="1738" y="233"/>
                  </a:lnTo>
                  <a:lnTo>
                    <a:pt x="1738" y="224"/>
                  </a:lnTo>
                  <a:lnTo>
                    <a:pt x="1729" y="219"/>
                  </a:lnTo>
                  <a:close/>
                  <a:moveTo>
                    <a:pt x="1738" y="242"/>
                  </a:moveTo>
                  <a:lnTo>
                    <a:pt x="1734" y="255"/>
                  </a:lnTo>
                  <a:lnTo>
                    <a:pt x="1720" y="260"/>
                  </a:lnTo>
                  <a:lnTo>
                    <a:pt x="1720" y="264"/>
                  </a:lnTo>
                  <a:lnTo>
                    <a:pt x="1734" y="264"/>
                  </a:lnTo>
                  <a:lnTo>
                    <a:pt x="1774" y="268"/>
                  </a:lnTo>
                  <a:lnTo>
                    <a:pt x="1774" y="251"/>
                  </a:lnTo>
                  <a:lnTo>
                    <a:pt x="1760" y="246"/>
                  </a:lnTo>
                  <a:lnTo>
                    <a:pt x="1760" y="242"/>
                  </a:lnTo>
                  <a:lnTo>
                    <a:pt x="1751" y="237"/>
                  </a:lnTo>
                  <a:lnTo>
                    <a:pt x="1738" y="242"/>
                  </a:lnTo>
                  <a:close/>
                  <a:moveTo>
                    <a:pt x="1765" y="921"/>
                  </a:moveTo>
                  <a:lnTo>
                    <a:pt x="1756" y="921"/>
                  </a:lnTo>
                  <a:lnTo>
                    <a:pt x="1756" y="939"/>
                  </a:lnTo>
                  <a:lnTo>
                    <a:pt x="1747" y="948"/>
                  </a:lnTo>
                  <a:lnTo>
                    <a:pt x="1747" y="988"/>
                  </a:lnTo>
                  <a:lnTo>
                    <a:pt x="1751" y="1006"/>
                  </a:lnTo>
                  <a:lnTo>
                    <a:pt x="1747" y="1055"/>
                  </a:lnTo>
                  <a:lnTo>
                    <a:pt x="1756" y="1068"/>
                  </a:lnTo>
                  <a:lnTo>
                    <a:pt x="1747" y="1082"/>
                  </a:lnTo>
                  <a:lnTo>
                    <a:pt x="1751" y="1091"/>
                  </a:lnTo>
                  <a:lnTo>
                    <a:pt x="1747" y="1104"/>
                  </a:lnTo>
                  <a:lnTo>
                    <a:pt x="1751" y="1118"/>
                  </a:lnTo>
                  <a:lnTo>
                    <a:pt x="1760" y="1100"/>
                  </a:lnTo>
                  <a:lnTo>
                    <a:pt x="1769" y="1104"/>
                  </a:lnTo>
                  <a:lnTo>
                    <a:pt x="1774" y="1113"/>
                  </a:lnTo>
                  <a:lnTo>
                    <a:pt x="1774" y="1095"/>
                  </a:lnTo>
                  <a:lnTo>
                    <a:pt x="1760" y="1077"/>
                  </a:lnTo>
                  <a:lnTo>
                    <a:pt x="1769" y="1046"/>
                  </a:lnTo>
                  <a:lnTo>
                    <a:pt x="1783" y="1046"/>
                  </a:lnTo>
                  <a:lnTo>
                    <a:pt x="1792" y="1055"/>
                  </a:lnTo>
                  <a:lnTo>
                    <a:pt x="1792" y="1055"/>
                  </a:lnTo>
                  <a:lnTo>
                    <a:pt x="1787" y="1046"/>
                  </a:lnTo>
                  <a:lnTo>
                    <a:pt x="1778" y="1019"/>
                  </a:lnTo>
                  <a:lnTo>
                    <a:pt x="1769" y="952"/>
                  </a:lnTo>
                  <a:lnTo>
                    <a:pt x="1765" y="921"/>
                  </a:lnTo>
                  <a:close/>
                  <a:moveTo>
                    <a:pt x="1805" y="1158"/>
                  </a:moveTo>
                  <a:lnTo>
                    <a:pt x="1805" y="1162"/>
                  </a:lnTo>
                  <a:lnTo>
                    <a:pt x="1819" y="1144"/>
                  </a:lnTo>
                  <a:lnTo>
                    <a:pt x="1814" y="1144"/>
                  </a:lnTo>
                  <a:lnTo>
                    <a:pt x="1805" y="1158"/>
                  </a:lnTo>
                  <a:close/>
                  <a:moveTo>
                    <a:pt x="1850" y="1118"/>
                  </a:moveTo>
                  <a:lnTo>
                    <a:pt x="1841" y="1126"/>
                  </a:lnTo>
                  <a:lnTo>
                    <a:pt x="1836" y="1122"/>
                  </a:lnTo>
                  <a:lnTo>
                    <a:pt x="1827" y="1131"/>
                  </a:lnTo>
                  <a:lnTo>
                    <a:pt x="1823" y="1140"/>
                  </a:lnTo>
                  <a:lnTo>
                    <a:pt x="1819" y="1144"/>
                  </a:lnTo>
                  <a:lnTo>
                    <a:pt x="1823" y="1144"/>
                  </a:lnTo>
                  <a:lnTo>
                    <a:pt x="1836" y="1135"/>
                  </a:lnTo>
                  <a:lnTo>
                    <a:pt x="1850" y="1126"/>
                  </a:lnTo>
                  <a:lnTo>
                    <a:pt x="1850" y="1118"/>
                  </a:lnTo>
                  <a:close/>
                  <a:moveTo>
                    <a:pt x="1854" y="161"/>
                  </a:moveTo>
                  <a:lnTo>
                    <a:pt x="1850" y="166"/>
                  </a:lnTo>
                  <a:lnTo>
                    <a:pt x="1845" y="166"/>
                  </a:lnTo>
                  <a:lnTo>
                    <a:pt x="1850" y="152"/>
                  </a:lnTo>
                  <a:lnTo>
                    <a:pt x="1832" y="152"/>
                  </a:lnTo>
                  <a:lnTo>
                    <a:pt x="1827" y="157"/>
                  </a:lnTo>
                  <a:lnTo>
                    <a:pt x="1819" y="157"/>
                  </a:lnTo>
                  <a:lnTo>
                    <a:pt x="1823" y="143"/>
                  </a:lnTo>
                  <a:lnTo>
                    <a:pt x="1814" y="143"/>
                  </a:lnTo>
                  <a:lnTo>
                    <a:pt x="1814" y="157"/>
                  </a:lnTo>
                  <a:lnTo>
                    <a:pt x="1810" y="161"/>
                  </a:lnTo>
                  <a:lnTo>
                    <a:pt x="1810" y="170"/>
                  </a:lnTo>
                  <a:lnTo>
                    <a:pt x="1823" y="184"/>
                  </a:lnTo>
                  <a:lnTo>
                    <a:pt x="1832" y="188"/>
                  </a:lnTo>
                  <a:lnTo>
                    <a:pt x="1841" y="197"/>
                  </a:lnTo>
                  <a:lnTo>
                    <a:pt x="1863" y="197"/>
                  </a:lnTo>
                  <a:lnTo>
                    <a:pt x="1868" y="192"/>
                  </a:lnTo>
                  <a:lnTo>
                    <a:pt x="1877" y="188"/>
                  </a:lnTo>
                  <a:lnTo>
                    <a:pt x="1872" y="184"/>
                  </a:lnTo>
                  <a:lnTo>
                    <a:pt x="1877" y="175"/>
                  </a:lnTo>
                  <a:lnTo>
                    <a:pt x="1872" y="175"/>
                  </a:lnTo>
                  <a:lnTo>
                    <a:pt x="1868" y="175"/>
                  </a:lnTo>
                  <a:lnTo>
                    <a:pt x="1868" y="170"/>
                  </a:lnTo>
                  <a:lnTo>
                    <a:pt x="1854" y="161"/>
                  </a:lnTo>
                  <a:close/>
                  <a:moveTo>
                    <a:pt x="1877" y="1109"/>
                  </a:moveTo>
                  <a:lnTo>
                    <a:pt x="1872" y="1109"/>
                  </a:lnTo>
                  <a:lnTo>
                    <a:pt x="1859" y="1122"/>
                  </a:lnTo>
                  <a:lnTo>
                    <a:pt x="1863" y="1126"/>
                  </a:lnTo>
                  <a:lnTo>
                    <a:pt x="1877" y="1109"/>
                  </a:lnTo>
                  <a:close/>
                  <a:moveTo>
                    <a:pt x="1899" y="1086"/>
                  </a:moveTo>
                  <a:lnTo>
                    <a:pt x="1903" y="1086"/>
                  </a:lnTo>
                  <a:lnTo>
                    <a:pt x="1899" y="1082"/>
                  </a:lnTo>
                  <a:lnTo>
                    <a:pt x="1890" y="1091"/>
                  </a:lnTo>
                  <a:lnTo>
                    <a:pt x="1890" y="1100"/>
                  </a:lnTo>
                  <a:lnTo>
                    <a:pt x="1899" y="1091"/>
                  </a:lnTo>
                  <a:lnTo>
                    <a:pt x="1899" y="1086"/>
                  </a:lnTo>
                  <a:close/>
                  <a:moveTo>
                    <a:pt x="1935" y="1037"/>
                  </a:moveTo>
                  <a:lnTo>
                    <a:pt x="1930" y="1042"/>
                  </a:lnTo>
                  <a:lnTo>
                    <a:pt x="1935" y="1046"/>
                  </a:lnTo>
                  <a:lnTo>
                    <a:pt x="1939" y="1037"/>
                  </a:lnTo>
                  <a:lnTo>
                    <a:pt x="1935" y="1037"/>
                  </a:lnTo>
                  <a:close/>
                  <a:moveTo>
                    <a:pt x="1957" y="1015"/>
                  </a:moveTo>
                  <a:lnTo>
                    <a:pt x="1957" y="1019"/>
                  </a:lnTo>
                  <a:lnTo>
                    <a:pt x="1961" y="1015"/>
                  </a:lnTo>
                  <a:lnTo>
                    <a:pt x="1957" y="1010"/>
                  </a:lnTo>
                  <a:lnTo>
                    <a:pt x="1953" y="1015"/>
                  </a:lnTo>
                  <a:lnTo>
                    <a:pt x="1957" y="1015"/>
                  </a:lnTo>
                  <a:lnTo>
                    <a:pt x="1953" y="1015"/>
                  </a:lnTo>
                  <a:lnTo>
                    <a:pt x="1948" y="1024"/>
                  </a:lnTo>
                  <a:lnTo>
                    <a:pt x="1944" y="1024"/>
                  </a:lnTo>
                  <a:lnTo>
                    <a:pt x="1944" y="1033"/>
                  </a:lnTo>
                  <a:lnTo>
                    <a:pt x="1948" y="1028"/>
                  </a:lnTo>
                  <a:lnTo>
                    <a:pt x="1957" y="1019"/>
                  </a:lnTo>
                  <a:lnTo>
                    <a:pt x="1957" y="1015"/>
                  </a:lnTo>
                  <a:close/>
                  <a:moveTo>
                    <a:pt x="2064" y="800"/>
                  </a:moveTo>
                  <a:lnTo>
                    <a:pt x="2060" y="809"/>
                  </a:lnTo>
                  <a:lnTo>
                    <a:pt x="2055" y="818"/>
                  </a:lnTo>
                  <a:lnTo>
                    <a:pt x="2060" y="823"/>
                  </a:lnTo>
                  <a:lnTo>
                    <a:pt x="2078" y="805"/>
                  </a:lnTo>
                  <a:lnTo>
                    <a:pt x="2073" y="796"/>
                  </a:lnTo>
                  <a:lnTo>
                    <a:pt x="2069" y="796"/>
                  </a:lnTo>
                  <a:lnTo>
                    <a:pt x="2069" y="800"/>
                  </a:lnTo>
                  <a:lnTo>
                    <a:pt x="2064" y="800"/>
                  </a:lnTo>
                  <a:close/>
                  <a:moveTo>
                    <a:pt x="2100" y="903"/>
                  </a:moveTo>
                  <a:lnTo>
                    <a:pt x="2091" y="903"/>
                  </a:lnTo>
                  <a:lnTo>
                    <a:pt x="2095" y="907"/>
                  </a:lnTo>
                  <a:lnTo>
                    <a:pt x="2104" y="921"/>
                  </a:lnTo>
                  <a:lnTo>
                    <a:pt x="2104" y="912"/>
                  </a:lnTo>
                  <a:lnTo>
                    <a:pt x="2100" y="903"/>
                  </a:lnTo>
                  <a:close/>
                  <a:moveTo>
                    <a:pt x="2274" y="371"/>
                  </a:moveTo>
                  <a:lnTo>
                    <a:pt x="2279" y="385"/>
                  </a:lnTo>
                  <a:lnTo>
                    <a:pt x="2288" y="380"/>
                  </a:lnTo>
                  <a:lnTo>
                    <a:pt x="2292" y="380"/>
                  </a:lnTo>
                  <a:lnTo>
                    <a:pt x="2301" y="376"/>
                  </a:lnTo>
                  <a:lnTo>
                    <a:pt x="2305" y="380"/>
                  </a:lnTo>
                  <a:lnTo>
                    <a:pt x="2319" y="380"/>
                  </a:lnTo>
                  <a:lnTo>
                    <a:pt x="2337" y="367"/>
                  </a:lnTo>
                  <a:lnTo>
                    <a:pt x="2328" y="353"/>
                  </a:lnTo>
                  <a:lnTo>
                    <a:pt x="2305" y="349"/>
                  </a:lnTo>
                  <a:lnTo>
                    <a:pt x="2296" y="349"/>
                  </a:lnTo>
                  <a:lnTo>
                    <a:pt x="2274" y="37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17" name="Freeform 5"/>
            <p:cNvSpPr>
              <a:spLocks/>
            </p:cNvSpPr>
            <p:nvPr/>
          </p:nvSpPr>
          <p:spPr bwMode="gray">
            <a:xfrm>
              <a:off x="1323" y="2909"/>
              <a:ext cx="46" cy="107"/>
            </a:xfrm>
            <a:custGeom>
              <a:avLst/>
              <a:gdLst>
                <a:gd name="T0" fmla="*/ 0 w 27"/>
                <a:gd name="T1" fmla="*/ 13 h 63"/>
                <a:gd name="T2" fmla="*/ 5 w 27"/>
                <a:gd name="T3" fmla="*/ 13 h 63"/>
                <a:gd name="T4" fmla="*/ 0 w 27"/>
                <a:gd name="T5" fmla="*/ 18 h 63"/>
                <a:gd name="T6" fmla="*/ 0 w 27"/>
                <a:gd name="T7" fmla="*/ 36 h 63"/>
                <a:gd name="T8" fmla="*/ 0 w 27"/>
                <a:gd name="T9" fmla="*/ 40 h 63"/>
                <a:gd name="T10" fmla="*/ 0 w 27"/>
                <a:gd name="T11" fmla="*/ 45 h 63"/>
                <a:gd name="T12" fmla="*/ 5 w 27"/>
                <a:gd name="T13" fmla="*/ 54 h 63"/>
                <a:gd name="T14" fmla="*/ 5 w 27"/>
                <a:gd name="T15" fmla="*/ 58 h 63"/>
                <a:gd name="T16" fmla="*/ 9 w 27"/>
                <a:gd name="T17" fmla="*/ 63 h 63"/>
                <a:gd name="T18" fmla="*/ 14 w 27"/>
                <a:gd name="T19" fmla="*/ 63 h 63"/>
                <a:gd name="T20" fmla="*/ 14 w 27"/>
                <a:gd name="T21" fmla="*/ 54 h 63"/>
                <a:gd name="T22" fmla="*/ 27 w 27"/>
                <a:gd name="T23" fmla="*/ 40 h 63"/>
                <a:gd name="T24" fmla="*/ 18 w 27"/>
                <a:gd name="T25" fmla="*/ 36 h 63"/>
                <a:gd name="T26" fmla="*/ 18 w 27"/>
                <a:gd name="T27" fmla="*/ 13 h 63"/>
                <a:gd name="T28" fmla="*/ 14 w 27"/>
                <a:gd name="T29" fmla="*/ 13 h 63"/>
                <a:gd name="T30" fmla="*/ 14 w 27"/>
                <a:gd name="T31" fmla="*/ 5 h 63"/>
                <a:gd name="T32" fmla="*/ 5 w 27"/>
                <a:gd name="T33" fmla="*/ 0 h 63"/>
                <a:gd name="T34" fmla="*/ 0 w 27"/>
                <a:gd name="T35" fmla="*/ 1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63">
                  <a:moveTo>
                    <a:pt x="0" y="13"/>
                  </a:moveTo>
                  <a:lnTo>
                    <a:pt x="5" y="13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5"/>
                  </a:lnTo>
                  <a:lnTo>
                    <a:pt x="5" y="54"/>
                  </a:lnTo>
                  <a:lnTo>
                    <a:pt x="5" y="58"/>
                  </a:lnTo>
                  <a:lnTo>
                    <a:pt x="9" y="63"/>
                  </a:lnTo>
                  <a:lnTo>
                    <a:pt x="14" y="63"/>
                  </a:lnTo>
                  <a:lnTo>
                    <a:pt x="14" y="54"/>
                  </a:lnTo>
                  <a:lnTo>
                    <a:pt x="27" y="40"/>
                  </a:lnTo>
                  <a:lnTo>
                    <a:pt x="18" y="36"/>
                  </a:lnTo>
                  <a:lnTo>
                    <a:pt x="18" y="13"/>
                  </a:lnTo>
                  <a:lnTo>
                    <a:pt x="14" y="13"/>
                  </a:lnTo>
                  <a:lnTo>
                    <a:pt x="14" y="5"/>
                  </a:lnTo>
                  <a:lnTo>
                    <a:pt x="5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18" name="Freeform 6"/>
            <p:cNvSpPr>
              <a:spLocks/>
            </p:cNvSpPr>
            <p:nvPr/>
          </p:nvSpPr>
          <p:spPr bwMode="gray">
            <a:xfrm>
              <a:off x="1089" y="2682"/>
              <a:ext cx="181" cy="98"/>
            </a:xfrm>
            <a:custGeom>
              <a:avLst/>
              <a:gdLst>
                <a:gd name="T0" fmla="*/ 0 w 107"/>
                <a:gd name="T1" fmla="*/ 31 h 58"/>
                <a:gd name="T2" fmla="*/ 0 w 107"/>
                <a:gd name="T3" fmla="*/ 45 h 58"/>
                <a:gd name="T4" fmla="*/ 0 w 107"/>
                <a:gd name="T5" fmla="*/ 49 h 58"/>
                <a:gd name="T6" fmla="*/ 9 w 107"/>
                <a:gd name="T7" fmla="*/ 45 h 58"/>
                <a:gd name="T8" fmla="*/ 9 w 107"/>
                <a:gd name="T9" fmla="*/ 49 h 58"/>
                <a:gd name="T10" fmla="*/ 18 w 107"/>
                <a:gd name="T11" fmla="*/ 49 h 58"/>
                <a:gd name="T12" fmla="*/ 22 w 107"/>
                <a:gd name="T13" fmla="*/ 45 h 58"/>
                <a:gd name="T14" fmla="*/ 36 w 107"/>
                <a:gd name="T15" fmla="*/ 45 h 58"/>
                <a:gd name="T16" fmla="*/ 40 w 107"/>
                <a:gd name="T17" fmla="*/ 54 h 58"/>
                <a:gd name="T18" fmla="*/ 54 w 107"/>
                <a:gd name="T19" fmla="*/ 58 h 58"/>
                <a:gd name="T20" fmla="*/ 67 w 107"/>
                <a:gd name="T21" fmla="*/ 58 h 58"/>
                <a:gd name="T22" fmla="*/ 76 w 107"/>
                <a:gd name="T23" fmla="*/ 54 h 58"/>
                <a:gd name="T24" fmla="*/ 89 w 107"/>
                <a:gd name="T25" fmla="*/ 49 h 58"/>
                <a:gd name="T26" fmla="*/ 94 w 107"/>
                <a:gd name="T27" fmla="*/ 45 h 58"/>
                <a:gd name="T28" fmla="*/ 94 w 107"/>
                <a:gd name="T29" fmla="*/ 40 h 58"/>
                <a:gd name="T30" fmla="*/ 94 w 107"/>
                <a:gd name="T31" fmla="*/ 36 h 58"/>
                <a:gd name="T32" fmla="*/ 94 w 107"/>
                <a:gd name="T33" fmla="*/ 31 h 58"/>
                <a:gd name="T34" fmla="*/ 103 w 107"/>
                <a:gd name="T35" fmla="*/ 31 h 58"/>
                <a:gd name="T36" fmla="*/ 107 w 107"/>
                <a:gd name="T37" fmla="*/ 22 h 58"/>
                <a:gd name="T38" fmla="*/ 107 w 107"/>
                <a:gd name="T39" fmla="*/ 18 h 58"/>
                <a:gd name="T40" fmla="*/ 107 w 107"/>
                <a:gd name="T41" fmla="*/ 13 h 58"/>
                <a:gd name="T42" fmla="*/ 103 w 107"/>
                <a:gd name="T43" fmla="*/ 13 h 58"/>
                <a:gd name="T44" fmla="*/ 98 w 107"/>
                <a:gd name="T45" fmla="*/ 13 h 58"/>
                <a:gd name="T46" fmla="*/ 98 w 107"/>
                <a:gd name="T47" fmla="*/ 4 h 58"/>
                <a:gd name="T48" fmla="*/ 76 w 107"/>
                <a:gd name="T49" fmla="*/ 0 h 58"/>
                <a:gd name="T50" fmla="*/ 67 w 107"/>
                <a:gd name="T51" fmla="*/ 9 h 58"/>
                <a:gd name="T52" fmla="*/ 58 w 107"/>
                <a:gd name="T53" fmla="*/ 9 h 58"/>
                <a:gd name="T54" fmla="*/ 54 w 107"/>
                <a:gd name="T55" fmla="*/ 13 h 58"/>
                <a:gd name="T56" fmla="*/ 45 w 107"/>
                <a:gd name="T57" fmla="*/ 18 h 58"/>
                <a:gd name="T58" fmla="*/ 40 w 107"/>
                <a:gd name="T59" fmla="*/ 22 h 58"/>
                <a:gd name="T60" fmla="*/ 49 w 107"/>
                <a:gd name="T61" fmla="*/ 27 h 58"/>
                <a:gd name="T62" fmla="*/ 45 w 107"/>
                <a:gd name="T63" fmla="*/ 36 h 58"/>
                <a:gd name="T64" fmla="*/ 40 w 107"/>
                <a:gd name="T65" fmla="*/ 31 h 58"/>
                <a:gd name="T66" fmla="*/ 22 w 107"/>
                <a:gd name="T67" fmla="*/ 36 h 58"/>
                <a:gd name="T68" fmla="*/ 0 w 107"/>
                <a:gd name="T69" fmla="*/ 3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" h="58">
                  <a:moveTo>
                    <a:pt x="0" y="31"/>
                  </a:moveTo>
                  <a:lnTo>
                    <a:pt x="0" y="45"/>
                  </a:lnTo>
                  <a:lnTo>
                    <a:pt x="0" y="49"/>
                  </a:lnTo>
                  <a:lnTo>
                    <a:pt x="9" y="45"/>
                  </a:lnTo>
                  <a:lnTo>
                    <a:pt x="9" y="49"/>
                  </a:lnTo>
                  <a:lnTo>
                    <a:pt x="18" y="49"/>
                  </a:lnTo>
                  <a:lnTo>
                    <a:pt x="22" y="45"/>
                  </a:lnTo>
                  <a:lnTo>
                    <a:pt x="36" y="45"/>
                  </a:lnTo>
                  <a:lnTo>
                    <a:pt x="40" y="54"/>
                  </a:lnTo>
                  <a:lnTo>
                    <a:pt x="54" y="58"/>
                  </a:lnTo>
                  <a:lnTo>
                    <a:pt x="67" y="58"/>
                  </a:lnTo>
                  <a:lnTo>
                    <a:pt x="76" y="54"/>
                  </a:lnTo>
                  <a:lnTo>
                    <a:pt x="89" y="49"/>
                  </a:lnTo>
                  <a:lnTo>
                    <a:pt x="94" y="45"/>
                  </a:lnTo>
                  <a:lnTo>
                    <a:pt x="94" y="40"/>
                  </a:lnTo>
                  <a:lnTo>
                    <a:pt x="94" y="36"/>
                  </a:lnTo>
                  <a:lnTo>
                    <a:pt x="94" y="31"/>
                  </a:lnTo>
                  <a:lnTo>
                    <a:pt x="103" y="31"/>
                  </a:lnTo>
                  <a:lnTo>
                    <a:pt x="107" y="22"/>
                  </a:lnTo>
                  <a:lnTo>
                    <a:pt x="107" y="18"/>
                  </a:lnTo>
                  <a:lnTo>
                    <a:pt x="107" y="13"/>
                  </a:lnTo>
                  <a:lnTo>
                    <a:pt x="103" y="13"/>
                  </a:lnTo>
                  <a:lnTo>
                    <a:pt x="98" y="13"/>
                  </a:lnTo>
                  <a:lnTo>
                    <a:pt x="98" y="4"/>
                  </a:lnTo>
                  <a:lnTo>
                    <a:pt x="76" y="0"/>
                  </a:lnTo>
                  <a:lnTo>
                    <a:pt x="67" y="9"/>
                  </a:lnTo>
                  <a:lnTo>
                    <a:pt x="58" y="9"/>
                  </a:lnTo>
                  <a:lnTo>
                    <a:pt x="54" y="13"/>
                  </a:lnTo>
                  <a:lnTo>
                    <a:pt x="45" y="18"/>
                  </a:lnTo>
                  <a:lnTo>
                    <a:pt x="40" y="22"/>
                  </a:lnTo>
                  <a:lnTo>
                    <a:pt x="49" y="27"/>
                  </a:lnTo>
                  <a:lnTo>
                    <a:pt x="45" y="36"/>
                  </a:lnTo>
                  <a:lnTo>
                    <a:pt x="40" y="31"/>
                  </a:lnTo>
                  <a:lnTo>
                    <a:pt x="22" y="36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19" name="Freeform 7"/>
            <p:cNvSpPr>
              <a:spLocks/>
            </p:cNvSpPr>
            <p:nvPr/>
          </p:nvSpPr>
          <p:spPr bwMode="gray">
            <a:xfrm>
              <a:off x="913" y="2582"/>
              <a:ext cx="99" cy="84"/>
            </a:xfrm>
            <a:custGeom>
              <a:avLst/>
              <a:gdLst>
                <a:gd name="T0" fmla="*/ 0 w 58"/>
                <a:gd name="T1" fmla="*/ 9 h 49"/>
                <a:gd name="T2" fmla="*/ 9 w 58"/>
                <a:gd name="T3" fmla="*/ 22 h 49"/>
                <a:gd name="T4" fmla="*/ 14 w 58"/>
                <a:gd name="T5" fmla="*/ 22 h 49"/>
                <a:gd name="T6" fmla="*/ 18 w 58"/>
                <a:gd name="T7" fmla="*/ 27 h 49"/>
                <a:gd name="T8" fmla="*/ 23 w 58"/>
                <a:gd name="T9" fmla="*/ 27 h 49"/>
                <a:gd name="T10" fmla="*/ 23 w 58"/>
                <a:gd name="T11" fmla="*/ 36 h 49"/>
                <a:gd name="T12" fmla="*/ 27 w 58"/>
                <a:gd name="T13" fmla="*/ 36 h 49"/>
                <a:gd name="T14" fmla="*/ 36 w 58"/>
                <a:gd name="T15" fmla="*/ 31 h 49"/>
                <a:gd name="T16" fmla="*/ 32 w 58"/>
                <a:gd name="T17" fmla="*/ 40 h 49"/>
                <a:gd name="T18" fmla="*/ 40 w 58"/>
                <a:gd name="T19" fmla="*/ 45 h 49"/>
                <a:gd name="T20" fmla="*/ 45 w 58"/>
                <a:gd name="T21" fmla="*/ 49 h 49"/>
                <a:gd name="T22" fmla="*/ 49 w 58"/>
                <a:gd name="T23" fmla="*/ 49 h 49"/>
                <a:gd name="T24" fmla="*/ 49 w 58"/>
                <a:gd name="T25" fmla="*/ 45 h 49"/>
                <a:gd name="T26" fmla="*/ 49 w 58"/>
                <a:gd name="T27" fmla="*/ 36 h 49"/>
                <a:gd name="T28" fmla="*/ 54 w 58"/>
                <a:gd name="T29" fmla="*/ 36 h 49"/>
                <a:gd name="T30" fmla="*/ 58 w 58"/>
                <a:gd name="T31" fmla="*/ 27 h 49"/>
                <a:gd name="T32" fmla="*/ 54 w 58"/>
                <a:gd name="T33" fmla="*/ 18 h 49"/>
                <a:gd name="T34" fmla="*/ 49 w 58"/>
                <a:gd name="T35" fmla="*/ 18 h 49"/>
                <a:gd name="T36" fmla="*/ 49 w 58"/>
                <a:gd name="T37" fmla="*/ 13 h 49"/>
                <a:gd name="T38" fmla="*/ 45 w 58"/>
                <a:gd name="T39" fmla="*/ 9 h 49"/>
                <a:gd name="T40" fmla="*/ 36 w 58"/>
                <a:gd name="T41" fmla="*/ 9 h 49"/>
                <a:gd name="T42" fmla="*/ 27 w 58"/>
                <a:gd name="T43" fmla="*/ 0 h 49"/>
                <a:gd name="T44" fmla="*/ 23 w 58"/>
                <a:gd name="T45" fmla="*/ 9 h 49"/>
                <a:gd name="T46" fmla="*/ 18 w 58"/>
                <a:gd name="T47" fmla="*/ 9 h 49"/>
                <a:gd name="T48" fmla="*/ 9 w 58"/>
                <a:gd name="T49" fmla="*/ 9 h 49"/>
                <a:gd name="T50" fmla="*/ 9 w 58"/>
                <a:gd name="T51" fmla="*/ 4 h 49"/>
                <a:gd name="T52" fmla="*/ 5 w 58"/>
                <a:gd name="T53" fmla="*/ 4 h 49"/>
                <a:gd name="T54" fmla="*/ 0 w 58"/>
                <a:gd name="T55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8" h="49">
                  <a:moveTo>
                    <a:pt x="0" y="9"/>
                  </a:moveTo>
                  <a:lnTo>
                    <a:pt x="9" y="22"/>
                  </a:lnTo>
                  <a:lnTo>
                    <a:pt x="14" y="22"/>
                  </a:lnTo>
                  <a:lnTo>
                    <a:pt x="18" y="27"/>
                  </a:lnTo>
                  <a:lnTo>
                    <a:pt x="23" y="27"/>
                  </a:lnTo>
                  <a:lnTo>
                    <a:pt x="23" y="36"/>
                  </a:lnTo>
                  <a:lnTo>
                    <a:pt x="27" y="36"/>
                  </a:lnTo>
                  <a:lnTo>
                    <a:pt x="36" y="31"/>
                  </a:lnTo>
                  <a:lnTo>
                    <a:pt x="32" y="40"/>
                  </a:lnTo>
                  <a:lnTo>
                    <a:pt x="40" y="45"/>
                  </a:lnTo>
                  <a:lnTo>
                    <a:pt x="45" y="49"/>
                  </a:lnTo>
                  <a:lnTo>
                    <a:pt x="49" y="49"/>
                  </a:lnTo>
                  <a:lnTo>
                    <a:pt x="49" y="45"/>
                  </a:lnTo>
                  <a:lnTo>
                    <a:pt x="49" y="36"/>
                  </a:lnTo>
                  <a:lnTo>
                    <a:pt x="54" y="36"/>
                  </a:lnTo>
                  <a:lnTo>
                    <a:pt x="58" y="27"/>
                  </a:lnTo>
                  <a:lnTo>
                    <a:pt x="54" y="18"/>
                  </a:lnTo>
                  <a:lnTo>
                    <a:pt x="49" y="18"/>
                  </a:lnTo>
                  <a:lnTo>
                    <a:pt x="49" y="13"/>
                  </a:lnTo>
                  <a:lnTo>
                    <a:pt x="45" y="9"/>
                  </a:lnTo>
                  <a:lnTo>
                    <a:pt x="36" y="9"/>
                  </a:lnTo>
                  <a:lnTo>
                    <a:pt x="27" y="0"/>
                  </a:lnTo>
                  <a:lnTo>
                    <a:pt x="23" y="9"/>
                  </a:lnTo>
                  <a:lnTo>
                    <a:pt x="18" y="9"/>
                  </a:lnTo>
                  <a:lnTo>
                    <a:pt x="9" y="9"/>
                  </a:lnTo>
                  <a:lnTo>
                    <a:pt x="9" y="4"/>
                  </a:lnTo>
                  <a:lnTo>
                    <a:pt x="5" y="4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20" name="Freeform 8"/>
            <p:cNvSpPr>
              <a:spLocks/>
            </p:cNvSpPr>
            <p:nvPr/>
          </p:nvSpPr>
          <p:spPr bwMode="gray">
            <a:xfrm>
              <a:off x="1225" y="2818"/>
              <a:ext cx="98" cy="84"/>
            </a:xfrm>
            <a:custGeom>
              <a:avLst/>
              <a:gdLst>
                <a:gd name="T0" fmla="*/ 32 w 58"/>
                <a:gd name="T1" fmla="*/ 45 h 50"/>
                <a:gd name="T2" fmla="*/ 32 w 58"/>
                <a:gd name="T3" fmla="*/ 45 h 50"/>
                <a:gd name="T4" fmla="*/ 36 w 58"/>
                <a:gd name="T5" fmla="*/ 45 h 50"/>
                <a:gd name="T6" fmla="*/ 45 w 58"/>
                <a:gd name="T7" fmla="*/ 50 h 50"/>
                <a:gd name="T8" fmla="*/ 45 w 58"/>
                <a:gd name="T9" fmla="*/ 50 h 50"/>
                <a:gd name="T10" fmla="*/ 45 w 58"/>
                <a:gd name="T11" fmla="*/ 50 h 50"/>
                <a:gd name="T12" fmla="*/ 45 w 58"/>
                <a:gd name="T13" fmla="*/ 45 h 50"/>
                <a:gd name="T14" fmla="*/ 45 w 58"/>
                <a:gd name="T15" fmla="*/ 45 h 50"/>
                <a:gd name="T16" fmla="*/ 45 w 58"/>
                <a:gd name="T17" fmla="*/ 41 h 50"/>
                <a:gd name="T18" fmla="*/ 50 w 58"/>
                <a:gd name="T19" fmla="*/ 36 h 50"/>
                <a:gd name="T20" fmla="*/ 50 w 58"/>
                <a:gd name="T21" fmla="*/ 36 h 50"/>
                <a:gd name="T22" fmla="*/ 50 w 58"/>
                <a:gd name="T23" fmla="*/ 36 h 50"/>
                <a:gd name="T24" fmla="*/ 50 w 58"/>
                <a:gd name="T25" fmla="*/ 32 h 50"/>
                <a:gd name="T26" fmla="*/ 54 w 58"/>
                <a:gd name="T27" fmla="*/ 32 h 50"/>
                <a:gd name="T28" fmla="*/ 58 w 58"/>
                <a:gd name="T29" fmla="*/ 27 h 50"/>
                <a:gd name="T30" fmla="*/ 54 w 58"/>
                <a:gd name="T31" fmla="*/ 23 h 50"/>
                <a:gd name="T32" fmla="*/ 58 w 58"/>
                <a:gd name="T33" fmla="*/ 23 h 50"/>
                <a:gd name="T34" fmla="*/ 58 w 58"/>
                <a:gd name="T35" fmla="*/ 23 h 50"/>
                <a:gd name="T36" fmla="*/ 50 w 58"/>
                <a:gd name="T37" fmla="*/ 18 h 50"/>
                <a:gd name="T38" fmla="*/ 50 w 58"/>
                <a:gd name="T39" fmla="*/ 14 h 50"/>
                <a:gd name="T40" fmla="*/ 54 w 58"/>
                <a:gd name="T41" fmla="*/ 9 h 50"/>
                <a:gd name="T42" fmla="*/ 54 w 58"/>
                <a:gd name="T43" fmla="*/ 5 h 50"/>
                <a:gd name="T44" fmla="*/ 50 w 58"/>
                <a:gd name="T45" fmla="*/ 5 h 50"/>
                <a:gd name="T46" fmla="*/ 45 w 58"/>
                <a:gd name="T47" fmla="*/ 5 h 50"/>
                <a:gd name="T48" fmla="*/ 45 w 58"/>
                <a:gd name="T49" fmla="*/ 5 h 50"/>
                <a:gd name="T50" fmla="*/ 41 w 58"/>
                <a:gd name="T51" fmla="*/ 0 h 50"/>
                <a:gd name="T52" fmla="*/ 36 w 58"/>
                <a:gd name="T53" fmla="*/ 0 h 50"/>
                <a:gd name="T54" fmla="*/ 32 w 58"/>
                <a:gd name="T55" fmla="*/ 5 h 50"/>
                <a:gd name="T56" fmla="*/ 23 w 58"/>
                <a:gd name="T57" fmla="*/ 0 h 50"/>
                <a:gd name="T58" fmla="*/ 18 w 58"/>
                <a:gd name="T59" fmla="*/ 0 h 50"/>
                <a:gd name="T60" fmla="*/ 18 w 58"/>
                <a:gd name="T61" fmla="*/ 0 h 50"/>
                <a:gd name="T62" fmla="*/ 14 w 58"/>
                <a:gd name="T63" fmla="*/ 0 h 50"/>
                <a:gd name="T64" fmla="*/ 9 w 58"/>
                <a:gd name="T65" fmla="*/ 5 h 50"/>
                <a:gd name="T66" fmla="*/ 5 w 58"/>
                <a:gd name="T67" fmla="*/ 0 h 50"/>
                <a:gd name="T68" fmla="*/ 5 w 58"/>
                <a:gd name="T69" fmla="*/ 0 h 50"/>
                <a:gd name="T70" fmla="*/ 0 w 58"/>
                <a:gd name="T71" fmla="*/ 9 h 50"/>
                <a:gd name="T72" fmla="*/ 5 w 58"/>
                <a:gd name="T73" fmla="*/ 9 h 50"/>
                <a:gd name="T74" fmla="*/ 9 w 58"/>
                <a:gd name="T75" fmla="*/ 18 h 50"/>
                <a:gd name="T76" fmla="*/ 9 w 58"/>
                <a:gd name="T77" fmla="*/ 23 h 50"/>
                <a:gd name="T78" fmla="*/ 23 w 58"/>
                <a:gd name="T79" fmla="*/ 36 h 50"/>
                <a:gd name="T80" fmla="*/ 27 w 58"/>
                <a:gd name="T81" fmla="*/ 36 h 50"/>
                <a:gd name="T82" fmla="*/ 27 w 58"/>
                <a:gd name="T83" fmla="*/ 36 h 50"/>
                <a:gd name="T84" fmla="*/ 32 w 58"/>
                <a:gd name="T85" fmla="*/ 45 h 50"/>
                <a:gd name="T86" fmla="*/ 32 w 58"/>
                <a:gd name="T87" fmla="*/ 4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" h="50">
                  <a:moveTo>
                    <a:pt x="32" y="45"/>
                  </a:moveTo>
                  <a:lnTo>
                    <a:pt x="32" y="45"/>
                  </a:lnTo>
                  <a:lnTo>
                    <a:pt x="36" y="45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1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2"/>
                  </a:lnTo>
                  <a:lnTo>
                    <a:pt x="54" y="32"/>
                  </a:lnTo>
                  <a:lnTo>
                    <a:pt x="58" y="27"/>
                  </a:lnTo>
                  <a:lnTo>
                    <a:pt x="54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0" y="18"/>
                  </a:lnTo>
                  <a:lnTo>
                    <a:pt x="50" y="14"/>
                  </a:lnTo>
                  <a:lnTo>
                    <a:pt x="54" y="9"/>
                  </a:lnTo>
                  <a:lnTo>
                    <a:pt x="54" y="5"/>
                  </a:lnTo>
                  <a:lnTo>
                    <a:pt x="50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1" y="0"/>
                  </a:lnTo>
                  <a:lnTo>
                    <a:pt x="36" y="0"/>
                  </a:lnTo>
                  <a:lnTo>
                    <a:pt x="32" y="5"/>
                  </a:lnTo>
                  <a:lnTo>
                    <a:pt x="23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9"/>
                  </a:lnTo>
                  <a:lnTo>
                    <a:pt x="5" y="9"/>
                  </a:lnTo>
                  <a:lnTo>
                    <a:pt x="9" y="18"/>
                  </a:lnTo>
                  <a:lnTo>
                    <a:pt x="9" y="23"/>
                  </a:lnTo>
                  <a:lnTo>
                    <a:pt x="23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32" y="45"/>
                  </a:lnTo>
                  <a:lnTo>
                    <a:pt x="32" y="4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21" name="Freeform 9"/>
            <p:cNvSpPr>
              <a:spLocks/>
            </p:cNvSpPr>
            <p:nvPr/>
          </p:nvSpPr>
          <p:spPr bwMode="gray">
            <a:xfrm>
              <a:off x="1392" y="2848"/>
              <a:ext cx="152" cy="107"/>
            </a:xfrm>
            <a:custGeom>
              <a:avLst/>
              <a:gdLst>
                <a:gd name="T0" fmla="*/ 4 w 89"/>
                <a:gd name="T1" fmla="*/ 0 h 63"/>
                <a:gd name="T2" fmla="*/ 0 w 89"/>
                <a:gd name="T3" fmla="*/ 18 h 63"/>
                <a:gd name="T4" fmla="*/ 13 w 89"/>
                <a:gd name="T5" fmla="*/ 27 h 63"/>
                <a:gd name="T6" fmla="*/ 13 w 89"/>
                <a:gd name="T7" fmla="*/ 32 h 63"/>
                <a:gd name="T8" fmla="*/ 4 w 89"/>
                <a:gd name="T9" fmla="*/ 36 h 63"/>
                <a:gd name="T10" fmla="*/ 4 w 89"/>
                <a:gd name="T11" fmla="*/ 45 h 63"/>
                <a:gd name="T12" fmla="*/ 13 w 89"/>
                <a:gd name="T13" fmla="*/ 49 h 63"/>
                <a:gd name="T14" fmla="*/ 13 w 89"/>
                <a:gd name="T15" fmla="*/ 63 h 63"/>
                <a:gd name="T16" fmla="*/ 22 w 89"/>
                <a:gd name="T17" fmla="*/ 63 h 63"/>
                <a:gd name="T18" fmla="*/ 31 w 89"/>
                <a:gd name="T19" fmla="*/ 58 h 63"/>
                <a:gd name="T20" fmla="*/ 40 w 89"/>
                <a:gd name="T21" fmla="*/ 63 h 63"/>
                <a:gd name="T22" fmla="*/ 53 w 89"/>
                <a:gd name="T23" fmla="*/ 63 h 63"/>
                <a:gd name="T24" fmla="*/ 53 w 89"/>
                <a:gd name="T25" fmla="*/ 54 h 63"/>
                <a:gd name="T26" fmla="*/ 71 w 89"/>
                <a:gd name="T27" fmla="*/ 45 h 63"/>
                <a:gd name="T28" fmla="*/ 76 w 89"/>
                <a:gd name="T29" fmla="*/ 49 h 63"/>
                <a:gd name="T30" fmla="*/ 85 w 89"/>
                <a:gd name="T31" fmla="*/ 49 h 63"/>
                <a:gd name="T32" fmla="*/ 80 w 89"/>
                <a:gd name="T33" fmla="*/ 36 h 63"/>
                <a:gd name="T34" fmla="*/ 76 w 89"/>
                <a:gd name="T35" fmla="*/ 36 h 63"/>
                <a:gd name="T36" fmla="*/ 80 w 89"/>
                <a:gd name="T37" fmla="*/ 32 h 63"/>
                <a:gd name="T38" fmla="*/ 80 w 89"/>
                <a:gd name="T39" fmla="*/ 18 h 63"/>
                <a:gd name="T40" fmla="*/ 89 w 89"/>
                <a:gd name="T41" fmla="*/ 18 h 63"/>
                <a:gd name="T42" fmla="*/ 89 w 89"/>
                <a:gd name="T43" fmla="*/ 14 h 63"/>
                <a:gd name="T44" fmla="*/ 71 w 89"/>
                <a:gd name="T45" fmla="*/ 5 h 63"/>
                <a:gd name="T46" fmla="*/ 58 w 89"/>
                <a:gd name="T47" fmla="*/ 9 h 63"/>
                <a:gd name="T48" fmla="*/ 49 w 89"/>
                <a:gd name="T49" fmla="*/ 18 h 63"/>
                <a:gd name="T50" fmla="*/ 35 w 89"/>
                <a:gd name="T51" fmla="*/ 18 h 63"/>
                <a:gd name="T52" fmla="*/ 22 w 89"/>
                <a:gd name="T53" fmla="*/ 14 h 63"/>
                <a:gd name="T54" fmla="*/ 9 w 89"/>
                <a:gd name="T55" fmla="*/ 9 h 63"/>
                <a:gd name="T56" fmla="*/ 9 w 89"/>
                <a:gd name="T57" fmla="*/ 0 h 63"/>
                <a:gd name="T58" fmla="*/ 4 w 89"/>
                <a:gd name="T5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9" h="63">
                  <a:moveTo>
                    <a:pt x="4" y="0"/>
                  </a:moveTo>
                  <a:lnTo>
                    <a:pt x="0" y="18"/>
                  </a:lnTo>
                  <a:lnTo>
                    <a:pt x="13" y="27"/>
                  </a:lnTo>
                  <a:lnTo>
                    <a:pt x="13" y="32"/>
                  </a:lnTo>
                  <a:lnTo>
                    <a:pt x="4" y="36"/>
                  </a:lnTo>
                  <a:lnTo>
                    <a:pt x="4" y="45"/>
                  </a:lnTo>
                  <a:lnTo>
                    <a:pt x="13" y="49"/>
                  </a:lnTo>
                  <a:lnTo>
                    <a:pt x="13" y="63"/>
                  </a:lnTo>
                  <a:lnTo>
                    <a:pt x="22" y="63"/>
                  </a:lnTo>
                  <a:lnTo>
                    <a:pt x="31" y="58"/>
                  </a:lnTo>
                  <a:lnTo>
                    <a:pt x="40" y="63"/>
                  </a:lnTo>
                  <a:lnTo>
                    <a:pt x="53" y="63"/>
                  </a:lnTo>
                  <a:lnTo>
                    <a:pt x="53" y="54"/>
                  </a:lnTo>
                  <a:lnTo>
                    <a:pt x="71" y="45"/>
                  </a:lnTo>
                  <a:lnTo>
                    <a:pt x="76" y="49"/>
                  </a:lnTo>
                  <a:lnTo>
                    <a:pt x="85" y="49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80" y="18"/>
                  </a:lnTo>
                  <a:lnTo>
                    <a:pt x="89" y="18"/>
                  </a:lnTo>
                  <a:lnTo>
                    <a:pt x="89" y="14"/>
                  </a:lnTo>
                  <a:lnTo>
                    <a:pt x="71" y="5"/>
                  </a:lnTo>
                  <a:lnTo>
                    <a:pt x="58" y="9"/>
                  </a:lnTo>
                  <a:lnTo>
                    <a:pt x="49" y="18"/>
                  </a:lnTo>
                  <a:lnTo>
                    <a:pt x="35" y="18"/>
                  </a:lnTo>
                  <a:lnTo>
                    <a:pt x="22" y="14"/>
                  </a:lnTo>
                  <a:lnTo>
                    <a:pt x="9" y="9"/>
                  </a:lnTo>
                  <a:lnTo>
                    <a:pt x="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22" name="Freeform 10"/>
            <p:cNvSpPr>
              <a:spLocks/>
            </p:cNvSpPr>
            <p:nvPr/>
          </p:nvSpPr>
          <p:spPr bwMode="gray">
            <a:xfrm>
              <a:off x="1414" y="2393"/>
              <a:ext cx="228" cy="205"/>
            </a:xfrm>
            <a:custGeom>
              <a:avLst/>
              <a:gdLst>
                <a:gd name="T0" fmla="*/ 13 w 134"/>
                <a:gd name="T1" fmla="*/ 116 h 121"/>
                <a:gd name="T2" fmla="*/ 22 w 134"/>
                <a:gd name="T3" fmla="*/ 103 h 121"/>
                <a:gd name="T4" fmla="*/ 45 w 134"/>
                <a:gd name="T5" fmla="*/ 112 h 121"/>
                <a:gd name="T6" fmla="*/ 63 w 134"/>
                <a:gd name="T7" fmla="*/ 112 h 121"/>
                <a:gd name="T8" fmla="*/ 67 w 134"/>
                <a:gd name="T9" fmla="*/ 116 h 121"/>
                <a:gd name="T10" fmla="*/ 76 w 134"/>
                <a:gd name="T11" fmla="*/ 112 h 121"/>
                <a:gd name="T12" fmla="*/ 85 w 134"/>
                <a:gd name="T13" fmla="*/ 112 h 121"/>
                <a:gd name="T14" fmla="*/ 98 w 134"/>
                <a:gd name="T15" fmla="*/ 116 h 121"/>
                <a:gd name="T16" fmla="*/ 107 w 134"/>
                <a:gd name="T17" fmla="*/ 116 h 121"/>
                <a:gd name="T18" fmla="*/ 112 w 134"/>
                <a:gd name="T19" fmla="*/ 99 h 121"/>
                <a:gd name="T20" fmla="*/ 121 w 134"/>
                <a:gd name="T21" fmla="*/ 94 h 121"/>
                <a:gd name="T22" fmla="*/ 121 w 134"/>
                <a:gd name="T23" fmla="*/ 76 h 121"/>
                <a:gd name="T24" fmla="*/ 125 w 134"/>
                <a:gd name="T25" fmla="*/ 81 h 121"/>
                <a:gd name="T26" fmla="*/ 134 w 134"/>
                <a:gd name="T27" fmla="*/ 72 h 121"/>
                <a:gd name="T28" fmla="*/ 125 w 134"/>
                <a:gd name="T29" fmla="*/ 63 h 121"/>
                <a:gd name="T30" fmla="*/ 116 w 134"/>
                <a:gd name="T31" fmla="*/ 54 h 121"/>
                <a:gd name="T32" fmla="*/ 112 w 134"/>
                <a:gd name="T33" fmla="*/ 45 h 121"/>
                <a:gd name="T34" fmla="*/ 112 w 134"/>
                <a:gd name="T35" fmla="*/ 31 h 121"/>
                <a:gd name="T36" fmla="*/ 98 w 134"/>
                <a:gd name="T37" fmla="*/ 9 h 121"/>
                <a:gd name="T38" fmla="*/ 85 w 134"/>
                <a:gd name="T39" fmla="*/ 5 h 121"/>
                <a:gd name="T40" fmla="*/ 76 w 134"/>
                <a:gd name="T41" fmla="*/ 0 h 121"/>
                <a:gd name="T42" fmla="*/ 67 w 134"/>
                <a:gd name="T43" fmla="*/ 0 h 121"/>
                <a:gd name="T44" fmla="*/ 63 w 134"/>
                <a:gd name="T45" fmla="*/ 9 h 121"/>
                <a:gd name="T46" fmla="*/ 45 w 134"/>
                <a:gd name="T47" fmla="*/ 18 h 121"/>
                <a:gd name="T48" fmla="*/ 45 w 134"/>
                <a:gd name="T49" fmla="*/ 23 h 121"/>
                <a:gd name="T50" fmla="*/ 45 w 134"/>
                <a:gd name="T51" fmla="*/ 27 h 121"/>
                <a:gd name="T52" fmla="*/ 40 w 134"/>
                <a:gd name="T53" fmla="*/ 31 h 121"/>
                <a:gd name="T54" fmla="*/ 31 w 134"/>
                <a:gd name="T55" fmla="*/ 45 h 121"/>
                <a:gd name="T56" fmla="*/ 27 w 134"/>
                <a:gd name="T57" fmla="*/ 49 h 121"/>
                <a:gd name="T58" fmla="*/ 13 w 134"/>
                <a:gd name="T59" fmla="*/ 49 h 121"/>
                <a:gd name="T60" fmla="*/ 9 w 134"/>
                <a:gd name="T61" fmla="*/ 72 h 121"/>
                <a:gd name="T62" fmla="*/ 13 w 134"/>
                <a:gd name="T63" fmla="*/ 90 h 121"/>
                <a:gd name="T64" fmla="*/ 5 w 134"/>
                <a:gd name="T65" fmla="*/ 10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4" h="121">
                  <a:moveTo>
                    <a:pt x="5" y="112"/>
                  </a:moveTo>
                  <a:lnTo>
                    <a:pt x="13" y="116"/>
                  </a:lnTo>
                  <a:lnTo>
                    <a:pt x="18" y="107"/>
                  </a:lnTo>
                  <a:lnTo>
                    <a:pt x="22" y="103"/>
                  </a:lnTo>
                  <a:lnTo>
                    <a:pt x="36" y="107"/>
                  </a:lnTo>
                  <a:lnTo>
                    <a:pt x="45" y="112"/>
                  </a:lnTo>
                  <a:lnTo>
                    <a:pt x="58" y="107"/>
                  </a:lnTo>
                  <a:lnTo>
                    <a:pt x="63" y="112"/>
                  </a:lnTo>
                  <a:lnTo>
                    <a:pt x="67" y="121"/>
                  </a:lnTo>
                  <a:lnTo>
                    <a:pt x="67" y="116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5" y="112"/>
                  </a:lnTo>
                  <a:lnTo>
                    <a:pt x="89" y="121"/>
                  </a:lnTo>
                  <a:lnTo>
                    <a:pt x="98" y="116"/>
                  </a:lnTo>
                  <a:lnTo>
                    <a:pt x="107" y="121"/>
                  </a:lnTo>
                  <a:lnTo>
                    <a:pt x="107" y="116"/>
                  </a:lnTo>
                  <a:lnTo>
                    <a:pt x="107" y="112"/>
                  </a:lnTo>
                  <a:lnTo>
                    <a:pt x="112" y="99"/>
                  </a:lnTo>
                  <a:lnTo>
                    <a:pt x="121" y="103"/>
                  </a:lnTo>
                  <a:lnTo>
                    <a:pt x="121" y="94"/>
                  </a:lnTo>
                  <a:lnTo>
                    <a:pt x="116" y="81"/>
                  </a:lnTo>
                  <a:lnTo>
                    <a:pt x="121" y="76"/>
                  </a:lnTo>
                  <a:lnTo>
                    <a:pt x="125" y="81"/>
                  </a:lnTo>
                  <a:lnTo>
                    <a:pt x="125" y="81"/>
                  </a:lnTo>
                  <a:lnTo>
                    <a:pt x="130" y="76"/>
                  </a:lnTo>
                  <a:lnTo>
                    <a:pt x="134" y="72"/>
                  </a:lnTo>
                  <a:lnTo>
                    <a:pt x="130" y="72"/>
                  </a:lnTo>
                  <a:lnTo>
                    <a:pt x="125" y="63"/>
                  </a:lnTo>
                  <a:lnTo>
                    <a:pt x="116" y="67"/>
                  </a:lnTo>
                  <a:lnTo>
                    <a:pt x="116" y="54"/>
                  </a:lnTo>
                  <a:lnTo>
                    <a:pt x="112" y="49"/>
                  </a:lnTo>
                  <a:lnTo>
                    <a:pt x="112" y="45"/>
                  </a:lnTo>
                  <a:lnTo>
                    <a:pt x="112" y="36"/>
                  </a:lnTo>
                  <a:lnTo>
                    <a:pt x="112" y="31"/>
                  </a:lnTo>
                  <a:lnTo>
                    <a:pt x="107" y="18"/>
                  </a:lnTo>
                  <a:lnTo>
                    <a:pt x="98" y="9"/>
                  </a:lnTo>
                  <a:lnTo>
                    <a:pt x="89" y="14"/>
                  </a:lnTo>
                  <a:lnTo>
                    <a:pt x="85" y="5"/>
                  </a:lnTo>
                  <a:lnTo>
                    <a:pt x="76" y="5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3" y="9"/>
                  </a:lnTo>
                  <a:lnTo>
                    <a:pt x="58" y="14"/>
                  </a:lnTo>
                  <a:lnTo>
                    <a:pt x="45" y="18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9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0" y="31"/>
                  </a:lnTo>
                  <a:lnTo>
                    <a:pt x="36" y="40"/>
                  </a:lnTo>
                  <a:lnTo>
                    <a:pt x="31" y="45"/>
                  </a:lnTo>
                  <a:lnTo>
                    <a:pt x="31" y="54"/>
                  </a:lnTo>
                  <a:lnTo>
                    <a:pt x="27" y="49"/>
                  </a:lnTo>
                  <a:lnTo>
                    <a:pt x="22" y="54"/>
                  </a:lnTo>
                  <a:lnTo>
                    <a:pt x="13" y="49"/>
                  </a:lnTo>
                  <a:lnTo>
                    <a:pt x="5" y="58"/>
                  </a:lnTo>
                  <a:lnTo>
                    <a:pt x="9" y="72"/>
                  </a:lnTo>
                  <a:lnTo>
                    <a:pt x="13" y="81"/>
                  </a:lnTo>
                  <a:lnTo>
                    <a:pt x="13" y="90"/>
                  </a:lnTo>
                  <a:lnTo>
                    <a:pt x="0" y="94"/>
                  </a:lnTo>
                  <a:lnTo>
                    <a:pt x="5" y="103"/>
                  </a:lnTo>
                  <a:lnTo>
                    <a:pt x="5" y="11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23" name="Freeform 11"/>
            <p:cNvSpPr>
              <a:spLocks noEditPoints="1"/>
            </p:cNvSpPr>
            <p:nvPr/>
          </p:nvSpPr>
          <p:spPr bwMode="gray">
            <a:xfrm>
              <a:off x="1171" y="2773"/>
              <a:ext cx="145" cy="136"/>
            </a:xfrm>
            <a:custGeom>
              <a:avLst/>
              <a:gdLst>
                <a:gd name="T0" fmla="*/ 0 w 85"/>
                <a:gd name="T1" fmla="*/ 22 h 80"/>
                <a:gd name="T2" fmla="*/ 9 w 85"/>
                <a:gd name="T3" fmla="*/ 35 h 80"/>
                <a:gd name="T4" fmla="*/ 22 w 85"/>
                <a:gd name="T5" fmla="*/ 31 h 80"/>
                <a:gd name="T6" fmla="*/ 27 w 85"/>
                <a:gd name="T7" fmla="*/ 44 h 80"/>
                <a:gd name="T8" fmla="*/ 22 w 85"/>
                <a:gd name="T9" fmla="*/ 53 h 80"/>
                <a:gd name="T10" fmla="*/ 36 w 85"/>
                <a:gd name="T11" fmla="*/ 62 h 80"/>
                <a:gd name="T12" fmla="*/ 45 w 85"/>
                <a:gd name="T13" fmla="*/ 67 h 80"/>
                <a:gd name="T14" fmla="*/ 45 w 85"/>
                <a:gd name="T15" fmla="*/ 62 h 80"/>
                <a:gd name="T16" fmla="*/ 54 w 85"/>
                <a:gd name="T17" fmla="*/ 67 h 80"/>
                <a:gd name="T18" fmla="*/ 63 w 85"/>
                <a:gd name="T19" fmla="*/ 71 h 80"/>
                <a:gd name="T20" fmla="*/ 58 w 85"/>
                <a:gd name="T21" fmla="*/ 62 h 80"/>
                <a:gd name="T22" fmla="*/ 54 w 85"/>
                <a:gd name="T23" fmla="*/ 62 h 80"/>
                <a:gd name="T24" fmla="*/ 40 w 85"/>
                <a:gd name="T25" fmla="*/ 44 h 80"/>
                <a:gd name="T26" fmla="*/ 31 w 85"/>
                <a:gd name="T27" fmla="*/ 35 h 80"/>
                <a:gd name="T28" fmla="*/ 36 w 85"/>
                <a:gd name="T29" fmla="*/ 26 h 80"/>
                <a:gd name="T30" fmla="*/ 45 w 85"/>
                <a:gd name="T31" fmla="*/ 26 h 80"/>
                <a:gd name="T32" fmla="*/ 49 w 85"/>
                <a:gd name="T33" fmla="*/ 26 h 80"/>
                <a:gd name="T34" fmla="*/ 63 w 85"/>
                <a:gd name="T35" fmla="*/ 31 h 80"/>
                <a:gd name="T36" fmla="*/ 72 w 85"/>
                <a:gd name="T37" fmla="*/ 26 h 80"/>
                <a:gd name="T38" fmla="*/ 76 w 85"/>
                <a:gd name="T39" fmla="*/ 31 h 80"/>
                <a:gd name="T40" fmla="*/ 81 w 85"/>
                <a:gd name="T41" fmla="*/ 26 h 80"/>
                <a:gd name="T42" fmla="*/ 85 w 85"/>
                <a:gd name="T43" fmla="*/ 22 h 80"/>
                <a:gd name="T44" fmla="*/ 81 w 85"/>
                <a:gd name="T45" fmla="*/ 22 h 80"/>
                <a:gd name="T46" fmla="*/ 81 w 85"/>
                <a:gd name="T47" fmla="*/ 18 h 80"/>
                <a:gd name="T48" fmla="*/ 76 w 85"/>
                <a:gd name="T49" fmla="*/ 13 h 80"/>
                <a:gd name="T50" fmla="*/ 49 w 85"/>
                <a:gd name="T51" fmla="*/ 13 h 80"/>
                <a:gd name="T52" fmla="*/ 45 w 85"/>
                <a:gd name="T53" fmla="*/ 4 h 80"/>
                <a:gd name="T54" fmla="*/ 40 w 85"/>
                <a:gd name="T55" fmla="*/ 0 h 80"/>
                <a:gd name="T56" fmla="*/ 40 w 85"/>
                <a:gd name="T57" fmla="*/ 4 h 80"/>
                <a:gd name="T58" fmla="*/ 36 w 85"/>
                <a:gd name="T59" fmla="*/ 9 h 80"/>
                <a:gd name="T60" fmla="*/ 31 w 85"/>
                <a:gd name="T61" fmla="*/ 9 h 80"/>
                <a:gd name="T62" fmla="*/ 31 w 85"/>
                <a:gd name="T63" fmla="*/ 13 h 80"/>
                <a:gd name="T64" fmla="*/ 27 w 85"/>
                <a:gd name="T65" fmla="*/ 22 h 80"/>
                <a:gd name="T66" fmla="*/ 22 w 85"/>
                <a:gd name="T67" fmla="*/ 22 h 80"/>
                <a:gd name="T68" fmla="*/ 14 w 85"/>
                <a:gd name="T69" fmla="*/ 22 h 80"/>
                <a:gd name="T70" fmla="*/ 5 w 85"/>
                <a:gd name="T71" fmla="*/ 22 h 80"/>
                <a:gd name="T72" fmla="*/ 63 w 85"/>
                <a:gd name="T73" fmla="*/ 71 h 80"/>
                <a:gd name="T74" fmla="*/ 72 w 85"/>
                <a:gd name="T75" fmla="*/ 80 h 80"/>
                <a:gd name="T76" fmla="*/ 76 w 85"/>
                <a:gd name="T77" fmla="*/ 76 h 80"/>
                <a:gd name="T78" fmla="*/ 63 w 85"/>
                <a:gd name="T79" fmla="*/ 7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5" h="80">
                  <a:moveTo>
                    <a:pt x="5" y="22"/>
                  </a:moveTo>
                  <a:lnTo>
                    <a:pt x="0" y="22"/>
                  </a:lnTo>
                  <a:lnTo>
                    <a:pt x="5" y="35"/>
                  </a:lnTo>
                  <a:lnTo>
                    <a:pt x="9" y="35"/>
                  </a:lnTo>
                  <a:lnTo>
                    <a:pt x="14" y="26"/>
                  </a:lnTo>
                  <a:lnTo>
                    <a:pt x="22" y="31"/>
                  </a:lnTo>
                  <a:lnTo>
                    <a:pt x="18" y="35"/>
                  </a:lnTo>
                  <a:lnTo>
                    <a:pt x="27" y="44"/>
                  </a:lnTo>
                  <a:lnTo>
                    <a:pt x="22" y="44"/>
                  </a:lnTo>
                  <a:lnTo>
                    <a:pt x="22" y="53"/>
                  </a:lnTo>
                  <a:lnTo>
                    <a:pt x="31" y="49"/>
                  </a:lnTo>
                  <a:lnTo>
                    <a:pt x="36" y="62"/>
                  </a:lnTo>
                  <a:lnTo>
                    <a:pt x="45" y="62"/>
                  </a:lnTo>
                  <a:lnTo>
                    <a:pt x="45" y="67"/>
                  </a:lnTo>
                  <a:lnTo>
                    <a:pt x="54" y="67"/>
                  </a:lnTo>
                  <a:lnTo>
                    <a:pt x="45" y="62"/>
                  </a:lnTo>
                  <a:lnTo>
                    <a:pt x="49" y="62"/>
                  </a:lnTo>
                  <a:lnTo>
                    <a:pt x="54" y="67"/>
                  </a:lnTo>
                  <a:lnTo>
                    <a:pt x="54" y="71"/>
                  </a:lnTo>
                  <a:lnTo>
                    <a:pt x="63" y="71"/>
                  </a:lnTo>
                  <a:lnTo>
                    <a:pt x="63" y="71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4" y="62"/>
                  </a:lnTo>
                  <a:lnTo>
                    <a:pt x="40" y="49"/>
                  </a:lnTo>
                  <a:lnTo>
                    <a:pt x="40" y="44"/>
                  </a:lnTo>
                  <a:lnTo>
                    <a:pt x="36" y="35"/>
                  </a:lnTo>
                  <a:lnTo>
                    <a:pt x="31" y="35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40" y="31"/>
                  </a:lnTo>
                  <a:lnTo>
                    <a:pt x="45" y="26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4" y="26"/>
                  </a:lnTo>
                  <a:lnTo>
                    <a:pt x="63" y="31"/>
                  </a:lnTo>
                  <a:lnTo>
                    <a:pt x="67" y="26"/>
                  </a:lnTo>
                  <a:lnTo>
                    <a:pt x="72" y="26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81" y="31"/>
                  </a:lnTo>
                  <a:lnTo>
                    <a:pt x="81" y="26"/>
                  </a:lnTo>
                  <a:lnTo>
                    <a:pt x="85" y="26"/>
                  </a:lnTo>
                  <a:lnTo>
                    <a:pt x="85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3"/>
                  </a:lnTo>
                  <a:lnTo>
                    <a:pt x="76" y="13"/>
                  </a:lnTo>
                  <a:lnTo>
                    <a:pt x="67" y="18"/>
                  </a:lnTo>
                  <a:lnTo>
                    <a:pt x="49" y="13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27" y="18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2" y="22"/>
                  </a:lnTo>
                  <a:lnTo>
                    <a:pt x="18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5" y="22"/>
                  </a:lnTo>
                  <a:lnTo>
                    <a:pt x="5" y="22"/>
                  </a:lnTo>
                  <a:close/>
                  <a:moveTo>
                    <a:pt x="63" y="71"/>
                  </a:moveTo>
                  <a:lnTo>
                    <a:pt x="72" y="80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76" y="76"/>
                  </a:lnTo>
                  <a:lnTo>
                    <a:pt x="67" y="71"/>
                  </a:lnTo>
                  <a:lnTo>
                    <a:pt x="63" y="7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24" name="Freeform 12"/>
            <p:cNvSpPr>
              <a:spLocks/>
            </p:cNvSpPr>
            <p:nvPr/>
          </p:nvSpPr>
          <p:spPr bwMode="gray">
            <a:xfrm>
              <a:off x="1635" y="3130"/>
              <a:ext cx="60" cy="30"/>
            </a:xfrm>
            <a:custGeom>
              <a:avLst/>
              <a:gdLst>
                <a:gd name="T0" fmla="*/ 9 w 35"/>
                <a:gd name="T1" fmla="*/ 9 h 18"/>
                <a:gd name="T2" fmla="*/ 9 w 35"/>
                <a:gd name="T3" fmla="*/ 9 h 18"/>
                <a:gd name="T4" fmla="*/ 0 w 35"/>
                <a:gd name="T5" fmla="*/ 13 h 18"/>
                <a:gd name="T6" fmla="*/ 4 w 35"/>
                <a:gd name="T7" fmla="*/ 18 h 18"/>
                <a:gd name="T8" fmla="*/ 13 w 35"/>
                <a:gd name="T9" fmla="*/ 18 h 18"/>
                <a:gd name="T10" fmla="*/ 22 w 35"/>
                <a:gd name="T11" fmla="*/ 13 h 18"/>
                <a:gd name="T12" fmla="*/ 22 w 35"/>
                <a:gd name="T13" fmla="*/ 9 h 18"/>
                <a:gd name="T14" fmla="*/ 35 w 35"/>
                <a:gd name="T15" fmla="*/ 0 h 18"/>
                <a:gd name="T16" fmla="*/ 31 w 35"/>
                <a:gd name="T17" fmla="*/ 0 h 18"/>
                <a:gd name="T18" fmla="*/ 26 w 35"/>
                <a:gd name="T19" fmla="*/ 0 h 18"/>
                <a:gd name="T20" fmla="*/ 17 w 35"/>
                <a:gd name="T21" fmla="*/ 9 h 18"/>
                <a:gd name="T22" fmla="*/ 9 w 35"/>
                <a:gd name="T2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18">
                  <a:moveTo>
                    <a:pt x="9" y="9"/>
                  </a:moveTo>
                  <a:lnTo>
                    <a:pt x="9" y="9"/>
                  </a:lnTo>
                  <a:lnTo>
                    <a:pt x="0" y="13"/>
                  </a:lnTo>
                  <a:lnTo>
                    <a:pt x="4" y="18"/>
                  </a:lnTo>
                  <a:lnTo>
                    <a:pt x="13" y="18"/>
                  </a:lnTo>
                  <a:lnTo>
                    <a:pt x="22" y="13"/>
                  </a:lnTo>
                  <a:lnTo>
                    <a:pt x="22" y="9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17" y="9"/>
                  </a:lnTo>
                  <a:lnTo>
                    <a:pt x="9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25" name="Freeform 13"/>
            <p:cNvSpPr>
              <a:spLocks/>
            </p:cNvSpPr>
            <p:nvPr/>
          </p:nvSpPr>
          <p:spPr bwMode="gray">
            <a:xfrm>
              <a:off x="1141" y="2613"/>
              <a:ext cx="160" cy="91"/>
            </a:xfrm>
            <a:custGeom>
              <a:avLst/>
              <a:gdLst>
                <a:gd name="T0" fmla="*/ 40 w 94"/>
                <a:gd name="T1" fmla="*/ 0 h 53"/>
                <a:gd name="T2" fmla="*/ 36 w 94"/>
                <a:gd name="T3" fmla="*/ 0 h 53"/>
                <a:gd name="T4" fmla="*/ 32 w 94"/>
                <a:gd name="T5" fmla="*/ 9 h 53"/>
                <a:gd name="T6" fmla="*/ 18 w 94"/>
                <a:gd name="T7" fmla="*/ 9 h 53"/>
                <a:gd name="T8" fmla="*/ 9 w 94"/>
                <a:gd name="T9" fmla="*/ 18 h 53"/>
                <a:gd name="T10" fmla="*/ 5 w 94"/>
                <a:gd name="T11" fmla="*/ 18 h 53"/>
                <a:gd name="T12" fmla="*/ 0 w 94"/>
                <a:gd name="T13" fmla="*/ 18 h 53"/>
                <a:gd name="T14" fmla="*/ 5 w 94"/>
                <a:gd name="T15" fmla="*/ 27 h 53"/>
                <a:gd name="T16" fmla="*/ 9 w 94"/>
                <a:gd name="T17" fmla="*/ 36 h 53"/>
                <a:gd name="T18" fmla="*/ 18 w 94"/>
                <a:gd name="T19" fmla="*/ 36 h 53"/>
                <a:gd name="T20" fmla="*/ 27 w 94"/>
                <a:gd name="T21" fmla="*/ 44 h 53"/>
                <a:gd name="T22" fmla="*/ 27 w 94"/>
                <a:gd name="T23" fmla="*/ 49 h 53"/>
                <a:gd name="T24" fmla="*/ 36 w 94"/>
                <a:gd name="T25" fmla="*/ 49 h 53"/>
                <a:gd name="T26" fmla="*/ 45 w 94"/>
                <a:gd name="T27" fmla="*/ 40 h 53"/>
                <a:gd name="T28" fmla="*/ 67 w 94"/>
                <a:gd name="T29" fmla="*/ 44 h 53"/>
                <a:gd name="T30" fmla="*/ 67 w 94"/>
                <a:gd name="T31" fmla="*/ 53 h 53"/>
                <a:gd name="T32" fmla="*/ 72 w 94"/>
                <a:gd name="T33" fmla="*/ 49 h 53"/>
                <a:gd name="T34" fmla="*/ 81 w 94"/>
                <a:gd name="T35" fmla="*/ 49 h 53"/>
                <a:gd name="T36" fmla="*/ 85 w 94"/>
                <a:gd name="T37" fmla="*/ 44 h 53"/>
                <a:gd name="T38" fmla="*/ 90 w 94"/>
                <a:gd name="T39" fmla="*/ 36 h 53"/>
                <a:gd name="T40" fmla="*/ 94 w 94"/>
                <a:gd name="T41" fmla="*/ 31 h 53"/>
                <a:gd name="T42" fmla="*/ 94 w 94"/>
                <a:gd name="T43" fmla="*/ 22 h 53"/>
                <a:gd name="T44" fmla="*/ 85 w 94"/>
                <a:gd name="T45" fmla="*/ 22 h 53"/>
                <a:gd name="T46" fmla="*/ 81 w 94"/>
                <a:gd name="T47" fmla="*/ 13 h 53"/>
                <a:gd name="T48" fmla="*/ 72 w 94"/>
                <a:gd name="T49" fmla="*/ 9 h 53"/>
                <a:gd name="T50" fmla="*/ 67 w 94"/>
                <a:gd name="T51" fmla="*/ 18 h 53"/>
                <a:gd name="T52" fmla="*/ 58 w 94"/>
                <a:gd name="T53" fmla="*/ 13 h 53"/>
                <a:gd name="T54" fmla="*/ 63 w 94"/>
                <a:gd name="T55" fmla="*/ 9 h 53"/>
                <a:gd name="T56" fmla="*/ 54 w 94"/>
                <a:gd name="T57" fmla="*/ 9 h 53"/>
                <a:gd name="T58" fmla="*/ 49 w 94"/>
                <a:gd name="T59" fmla="*/ 0 h 53"/>
                <a:gd name="T60" fmla="*/ 45 w 94"/>
                <a:gd name="T61" fmla="*/ 4 h 53"/>
                <a:gd name="T62" fmla="*/ 40 w 94"/>
                <a:gd name="T63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4" h="53">
                  <a:moveTo>
                    <a:pt x="40" y="0"/>
                  </a:moveTo>
                  <a:lnTo>
                    <a:pt x="36" y="0"/>
                  </a:lnTo>
                  <a:lnTo>
                    <a:pt x="32" y="9"/>
                  </a:lnTo>
                  <a:lnTo>
                    <a:pt x="18" y="9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0" y="18"/>
                  </a:lnTo>
                  <a:lnTo>
                    <a:pt x="5" y="27"/>
                  </a:lnTo>
                  <a:lnTo>
                    <a:pt x="9" y="36"/>
                  </a:lnTo>
                  <a:lnTo>
                    <a:pt x="18" y="36"/>
                  </a:lnTo>
                  <a:lnTo>
                    <a:pt x="27" y="44"/>
                  </a:lnTo>
                  <a:lnTo>
                    <a:pt x="27" y="49"/>
                  </a:lnTo>
                  <a:lnTo>
                    <a:pt x="36" y="49"/>
                  </a:lnTo>
                  <a:lnTo>
                    <a:pt x="45" y="40"/>
                  </a:lnTo>
                  <a:lnTo>
                    <a:pt x="67" y="44"/>
                  </a:lnTo>
                  <a:lnTo>
                    <a:pt x="67" y="53"/>
                  </a:lnTo>
                  <a:lnTo>
                    <a:pt x="72" y="49"/>
                  </a:lnTo>
                  <a:lnTo>
                    <a:pt x="81" y="49"/>
                  </a:lnTo>
                  <a:lnTo>
                    <a:pt x="85" y="44"/>
                  </a:lnTo>
                  <a:lnTo>
                    <a:pt x="90" y="36"/>
                  </a:lnTo>
                  <a:lnTo>
                    <a:pt x="94" y="31"/>
                  </a:lnTo>
                  <a:lnTo>
                    <a:pt x="94" y="22"/>
                  </a:lnTo>
                  <a:lnTo>
                    <a:pt x="85" y="22"/>
                  </a:lnTo>
                  <a:lnTo>
                    <a:pt x="81" y="13"/>
                  </a:lnTo>
                  <a:lnTo>
                    <a:pt x="72" y="9"/>
                  </a:lnTo>
                  <a:lnTo>
                    <a:pt x="67" y="18"/>
                  </a:lnTo>
                  <a:lnTo>
                    <a:pt x="58" y="13"/>
                  </a:lnTo>
                  <a:lnTo>
                    <a:pt x="63" y="9"/>
                  </a:lnTo>
                  <a:lnTo>
                    <a:pt x="54" y="9"/>
                  </a:lnTo>
                  <a:lnTo>
                    <a:pt x="49" y="0"/>
                  </a:lnTo>
                  <a:lnTo>
                    <a:pt x="45" y="4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26" name="Freeform 14"/>
            <p:cNvSpPr>
              <a:spLocks noEditPoints="1"/>
            </p:cNvSpPr>
            <p:nvPr/>
          </p:nvSpPr>
          <p:spPr bwMode="gray">
            <a:xfrm>
              <a:off x="686" y="2082"/>
              <a:ext cx="532" cy="379"/>
            </a:xfrm>
            <a:custGeom>
              <a:avLst/>
              <a:gdLst>
                <a:gd name="T0" fmla="*/ 0 w 313"/>
                <a:gd name="T1" fmla="*/ 9 h 223"/>
                <a:gd name="T2" fmla="*/ 5 w 313"/>
                <a:gd name="T3" fmla="*/ 18 h 223"/>
                <a:gd name="T4" fmla="*/ 5 w 313"/>
                <a:gd name="T5" fmla="*/ 27 h 223"/>
                <a:gd name="T6" fmla="*/ 9 w 313"/>
                <a:gd name="T7" fmla="*/ 31 h 223"/>
                <a:gd name="T8" fmla="*/ 9 w 313"/>
                <a:gd name="T9" fmla="*/ 18 h 223"/>
                <a:gd name="T10" fmla="*/ 5 w 313"/>
                <a:gd name="T11" fmla="*/ 13 h 223"/>
                <a:gd name="T12" fmla="*/ 14 w 313"/>
                <a:gd name="T13" fmla="*/ 0 h 223"/>
                <a:gd name="T14" fmla="*/ 0 w 313"/>
                <a:gd name="T15" fmla="*/ 4 h 223"/>
                <a:gd name="T16" fmla="*/ 241 w 313"/>
                <a:gd name="T17" fmla="*/ 214 h 223"/>
                <a:gd name="T18" fmla="*/ 237 w 313"/>
                <a:gd name="T19" fmla="*/ 206 h 223"/>
                <a:gd name="T20" fmla="*/ 237 w 313"/>
                <a:gd name="T21" fmla="*/ 192 h 223"/>
                <a:gd name="T22" fmla="*/ 241 w 313"/>
                <a:gd name="T23" fmla="*/ 188 h 223"/>
                <a:gd name="T24" fmla="*/ 246 w 313"/>
                <a:gd name="T25" fmla="*/ 183 h 223"/>
                <a:gd name="T26" fmla="*/ 250 w 313"/>
                <a:gd name="T27" fmla="*/ 170 h 223"/>
                <a:gd name="T28" fmla="*/ 246 w 313"/>
                <a:gd name="T29" fmla="*/ 165 h 223"/>
                <a:gd name="T30" fmla="*/ 241 w 313"/>
                <a:gd name="T31" fmla="*/ 156 h 223"/>
                <a:gd name="T32" fmla="*/ 246 w 313"/>
                <a:gd name="T33" fmla="*/ 156 h 223"/>
                <a:gd name="T34" fmla="*/ 246 w 313"/>
                <a:gd name="T35" fmla="*/ 143 h 223"/>
                <a:gd name="T36" fmla="*/ 246 w 313"/>
                <a:gd name="T37" fmla="*/ 134 h 223"/>
                <a:gd name="T38" fmla="*/ 237 w 313"/>
                <a:gd name="T39" fmla="*/ 152 h 223"/>
                <a:gd name="T40" fmla="*/ 219 w 313"/>
                <a:gd name="T41" fmla="*/ 161 h 223"/>
                <a:gd name="T42" fmla="*/ 224 w 313"/>
                <a:gd name="T43" fmla="*/ 165 h 223"/>
                <a:gd name="T44" fmla="*/ 219 w 313"/>
                <a:gd name="T45" fmla="*/ 170 h 223"/>
                <a:gd name="T46" fmla="*/ 224 w 313"/>
                <a:gd name="T47" fmla="*/ 174 h 223"/>
                <a:gd name="T48" fmla="*/ 219 w 313"/>
                <a:gd name="T49" fmla="*/ 183 h 223"/>
                <a:gd name="T50" fmla="*/ 224 w 313"/>
                <a:gd name="T51" fmla="*/ 188 h 223"/>
                <a:gd name="T52" fmla="*/ 219 w 313"/>
                <a:gd name="T53" fmla="*/ 201 h 223"/>
                <a:gd name="T54" fmla="*/ 224 w 313"/>
                <a:gd name="T55" fmla="*/ 206 h 223"/>
                <a:gd name="T56" fmla="*/ 224 w 313"/>
                <a:gd name="T57" fmla="*/ 219 h 223"/>
                <a:gd name="T58" fmla="*/ 241 w 313"/>
                <a:gd name="T59" fmla="*/ 206 h 223"/>
                <a:gd name="T60" fmla="*/ 246 w 313"/>
                <a:gd name="T61" fmla="*/ 210 h 223"/>
                <a:gd name="T62" fmla="*/ 246 w 313"/>
                <a:gd name="T63" fmla="*/ 219 h 223"/>
                <a:gd name="T64" fmla="*/ 246 w 313"/>
                <a:gd name="T65" fmla="*/ 210 h 223"/>
                <a:gd name="T66" fmla="*/ 246 w 313"/>
                <a:gd name="T67" fmla="*/ 201 h 223"/>
                <a:gd name="T68" fmla="*/ 250 w 313"/>
                <a:gd name="T69" fmla="*/ 214 h 223"/>
                <a:gd name="T70" fmla="*/ 259 w 313"/>
                <a:gd name="T71" fmla="*/ 223 h 223"/>
                <a:gd name="T72" fmla="*/ 264 w 313"/>
                <a:gd name="T73" fmla="*/ 219 h 223"/>
                <a:gd name="T74" fmla="*/ 264 w 313"/>
                <a:gd name="T75" fmla="*/ 214 h 223"/>
                <a:gd name="T76" fmla="*/ 250 w 313"/>
                <a:gd name="T77" fmla="*/ 214 h 223"/>
                <a:gd name="T78" fmla="*/ 264 w 313"/>
                <a:gd name="T79" fmla="*/ 192 h 223"/>
                <a:gd name="T80" fmla="*/ 255 w 313"/>
                <a:gd name="T81" fmla="*/ 192 h 223"/>
                <a:gd name="T82" fmla="*/ 255 w 313"/>
                <a:gd name="T83" fmla="*/ 206 h 223"/>
                <a:gd name="T84" fmla="*/ 264 w 313"/>
                <a:gd name="T85" fmla="*/ 210 h 223"/>
                <a:gd name="T86" fmla="*/ 273 w 313"/>
                <a:gd name="T87" fmla="*/ 210 h 223"/>
                <a:gd name="T88" fmla="*/ 273 w 313"/>
                <a:gd name="T89" fmla="*/ 201 h 223"/>
                <a:gd name="T90" fmla="*/ 273 w 313"/>
                <a:gd name="T91" fmla="*/ 197 h 223"/>
                <a:gd name="T92" fmla="*/ 273 w 313"/>
                <a:gd name="T93" fmla="*/ 183 h 223"/>
                <a:gd name="T94" fmla="*/ 264 w 313"/>
                <a:gd name="T95" fmla="*/ 183 h 223"/>
                <a:gd name="T96" fmla="*/ 304 w 313"/>
                <a:gd name="T97" fmla="*/ 210 h 223"/>
                <a:gd name="T98" fmla="*/ 313 w 313"/>
                <a:gd name="T99" fmla="*/ 20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13" h="223">
                  <a:moveTo>
                    <a:pt x="0" y="4"/>
                  </a:moveTo>
                  <a:lnTo>
                    <a:pt x="0" y="9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9" y="22"/>
                  </a:lnTo>
                  <a:lnTo>
                    <a:pt x="5" y="27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5" y="27"/>
                  </a:lnTo>
                  <a:lnTo>
                    <a:pt x="9" y="18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4"/>
                  </a:lnTo>
                  <a:lnTo>
                    <a:pt x="14" y="0"/>
                  </a:lnTo>
                  <a:lnTo>
                    <a:pt x="9" y="0"/>
                  </a:lnTo>
                  <a:lnTo>
                    <a:pt x="0" y="4"/>
                  </a:lnTo>
                  <a:close/>
                  <a:moveTo>
                    <a:pt x="224" y="219"/>
                  </a:moveTo>
                  <a:lnTo>
                    <a:pt x="241" y="214"/>
                  </a:lnTo>
                  <a:lnTo>
                    <a:pt x="237" y="210"/>
                  </a:lnTo>
                  <a:lnTo>
                    <a:pt x="237" y="206"/>
                  </a:lnTo>
                  <a:lnTo>
                    <a:pt x="241" y="197"/>
                  </a:lnTo>
                  <a:lnTo>
                    <a:pt x="237" y="192"/>
                  </a:lnTo>
                  <a:lnTo>
                    <a:pt x="241" y="192"/>
                  </a:lnTo>
                  <a:lnTo>
                    <a:pt x="241" y="188"/>
                  </a:lnTo>
                  <a:lnTo>
                    <a:pt x="241" y="179"/>
                  </a:lnTo>
                  <a:lnTo>
                    <a:pt x="246" y="183"/>
                  </a:lnTo>
                  <a:lnTo>
                    <a:pt x="250" y="174"/>
                  </a:lnTo>
                  <a:lnTo>
                    <a:pt x="250" y="170"/>
                  </a:lnTo>
                  <a:lnTo>
                    <a:pt x="246" y="170"/>
                  </a:lnTo>
                  <a:lnTo>
                    <a:pt x="246" y="165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1" y="152"/>
                  </a:lnTo>
                  <a:lnTo>
                    <a:pt x="246" y="156"/>
                  </a:lnTo>
                  <a:lnTo>
                    <a:pt x="250" y="147"/>
                  </a:lnTo>
                  <a:lnTo>
                    <a:pt x="246" y="143"/>
                  </a:lnTo>
                  <a:lnTo>
                    <a:pt x="246" y="139"/>
                  </a:lnTo>
                  <a:lnTo>
                    <a:pt x="246" y="134"/>
                  </a:lnTo>
                  <a:lnTo>
                    <a:pt x="241" y="134"/>
                  </a:lnTo>
                  <a:lnTo>
                    <a:pt x="237" y="152"/>
                  </a:lnTo>
                  <a:lnTo>
                    <a:pt x="224" y="156"/>
                  </a:lnTo>
                  <a:lnTo>
                    <a:pt x="219" y="161"/>
                  </a:lnTo>
                  <a:lnTo>
                    <a:pt x="219" y="165"/>
                  </a:lnTo>
                  <a:lnTo>
                    <a:pt x="224" y="165"/>
                  </a:lnTo>
                  <a:lnTo>
                    <a:pt x="224" y="170"/>
                  </a:lnTo>
                  <a:lnTo>
                    <a:pt x="219" y="170"/>
                  </a:lnTo>
                  <a:lnTo>
                    <a:pt x="219" y="174"/>
                  </a:lnTo>
                  <a:lnTo>
                    <a:pt x="224" y="174"/>
                  </a:lnTo>
                  <a:lnTo>
                    <a:pt x="219" y="179"/>
                  </a:lnTo>
                  <a:lnTo>
                    <a:pt x="219" y="183"/>
                  </a:lnTo>
                  <a:lnTo>
                    <a:pt x="219" y="183"/>
                  </a:lnTo>
                  <a:lnTo>
                    <a:pt x="224" y="188"/>
                  </a:lnTo>
                  <a:lnTo>
                    <a:pt x="219" y="192"/>
                  </a:lnTo>
                  <a:lnTo>
                    <a:pt x="219" y="201"/>
                  </a:lnTo>
                  <a:lnTo>
                    <a:pt x="224" y="197"/>
                  </a:lnTo>
                  <a:lnTo>
                    <a:pt x="224" y="206"/>
                  </a:lnTo>
                  <a:lnTo>
                    <a:pt x="224" y="214"/>
                  </a:lnTo>
                  <a:lnTo>
                    <a:pt x="224" y="219"/>
                  </a:lnTo>
                  <a:close/>
                  <a:moveTo>
                    <a:pt x="241" y="197"/>
                  </a:moveTo>
                  <a:lnTo>
                    <a:pt x="241" y="206"/>
                  </a:lnTo>
                  <a:lnTo>
                    <a:pt x="241" y="210"/>
                  </a:lnTo>
                  <a:lnTo>
                    <a:pt x="246" y="210"/>
                  </a:lnTo>
                  <a:lnTo>
                    <a:pt x="246" y="219"/>
                  </a:lnTo>
                  <a:lnTo>
                    <a:pt x="246" y="219"/>
                  </a:lnTo>
                  <a:lnTo>
                    <a:pt x="250" y="210"/>
                  </a:lnTo>
                  <a:lnTo>
                    <a:pt x="246" y="210"/>
                  </a:lnTo>
                  <a:lnTo>
                    <a:pt x="246" y="206"/>
                  </a:lnTo>
                  <a:lnTo>
                    <a:pt x="246" y="201"/>
                  </a:lnTo>
                  <a:lnTo>
                    <a:pt x="241" y="197"/>
                  </a:lnTo>
                  <a:close/>
                  <a:moveTo>
                    <a:pt x="250" y="214"/>
                  </a:moveTo>
                  <a:lnTo>
                    <a:pt x="250" y="219"/>
                  </a:lnTo>
                  <a:lnTo>
                    <a:pt x="259" y="223"/>
                  </a:lnTo>
                  <a:lnTo>
                    <a:pt x="264" y="219"/>
                  </a:lnTo>
                  <a:lnTo>
                    <a:pt x="264" y="219"/>
                  </a:lnTo>
                  <a:lnTo>
                    <a:pt x="268" y="219"/>
                  </a:lnTo>
                  <a:lnTo>
                    <a:pt x="264" y="214"/>
                  </a:lnTo>
                  <a:lnTo>
                    <a:pt x="259" y="214"/>
                  </a:lnTo>
                  <a:lnTo>
                    <a:pt x="250" y="214"/>
                  </a:lnTo>
                  <a:close/>
                  <a:moveTo>
                    <a:pt x="264" y="183"/>
                  </a:moveTo>
                  <a:lnTo>
                    <a:pt x="264" y="192"/>
                  </a:lnTo>
                  <a:lnTo>
                    <a:pt x="259" y="183"/>
                  </a:lnTo>
                  <a:lnTo>
                    <a:pt x="255" y="192"/>
                  </a:lnTo>
                  <a:lnTo>
                    <a:pt x="250" y="192"/>
                  </a:lnTo>
                  <a:lnTo>
                    <a:pt x="255" y="206"/>
                  </a:lnTo>
                  <a:lnTo>
                    <a:pt x="259" y="206"/>
                  </a:lnTo>
                  <a:lnTo>
                    <a:pt x="264" y="210"/>
                  </a:lnTo>
                  <a:lnTo>
                    <a:pt x="273" y="214"/>
                  </a:lnTo>
                  <a:lnTo>
                    <a:pt x="273" y="210"/>
                  </a:lnTo>
                  <a:lnTo>
                    <a:pt x="268" y="206"/>
                  </a:lnTo>
                  <a:lnTo>
                    <a:pt x="273" y="201"/>
                  </a:lnTo>
                  <a:lnTo>
                    <a:pt x="268" y="197"/>
                  </a:lnTo>
                  <a:lnTo>
                    <a:pt x="273" y="197"/>
                  </a:lnTo>
                  <a:lnTo>
                    <a:pt x="273" y="192"/>
                  </a:lnTo>
                  <a:lnTo>
                    <a:pt x="273" y="183"/>
                  </a:lnTo>
                  <a:lnTo>
                    <a:pt x="268" y="179"/>
                  </a:lnTo>
                  <a:lnTo>
                    <a:pt x="264" y="183"/>
                  </a:lnTo>
                  <a:close/>
                  <a:moveTo>
                    <a:pt x="308" y="206"/>
                  </a:moveTo>
                  <a:lnTo>
                    <a:pt x="304" y="210"/>
                  </a:lnTo>
                  <a:lnTo>
                    <a:pt x="313" y="210"/>
                  </a:lnTo>
                  <a:lnTo>
                    <a:pt x="313" y="206"/>
                  </a:lnTo>
                  <a:lnTo>
                    <a:pt x="308" y="206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27" name="Freeform 15"/>
            <p:cNvSpPr>
              <a:spLocks noEditPoints="1"/>
            </p:cNvSpPr>
            <p:nvPr/>
          </p:nvSpPr>
          <p:spPr bwMode="gray">
            <a:xfrm>
              <a:off x="1377" y="2227"/>
              <a:ext cx="167" cy="104"/>
            </a:xfrm>
            <a:custGeom>
              <a:avLst/>
              <a:gdLst>
                <a:gd name="T0" fmla="*/ 4 w 98"/>
                <a:gd name="T1" fmla="*/ 31 h 62"/>
                <a:gd name="T2" fmla="*/ 0 w 98"/>
                <a:gd name="T3" fmla="*/ 36 h 62"/>
                <a:gd name="T4" fmla="*/ 4 w 98"/>
                <a:gd name="T5" fmla="*/ 40 h 62"/>
                <a:gd name="T6" fmla="*/ 0 w 98"/>
                <a:gd name="T7" fmla="*/ 45 h 62"/>
                <a:gd name="T8" fmla="*/ 4 w 98"/>
                <a:gd name="T9" fmla="*/ 49 h 62"/>
                <a:gd name="T10" fmla="*/ 9 w 98"/>
                <a:gd name="T11" fmla="*/ 40 h 62"/>
                <a:gd name="T12" fmla="*/ 13 w 98"/>
                <a:gd name="T13" fmla="*/ 40 h 62"/>
                <a:gd name="T14" fmla="*/ 22 w 98"/>
                <a:gd name="T15" fmla="*/ 31 h 62"/>
                <a:gd name="T16" fmla="*/ 22 w 98"/>
                <a:gd name="T17" fmla="*/ 27 h 62"/>
                <a:gd name="T18" fmla="*/ 18 w 98"/>
                <a:gd name="T19" fmla="*/ 27 h 62"/>
                <a:gd name="T20" fmla="*/ 13 w 98"/>
                <a:gd name="T21" fmla="*/ 27 h 62"/>
                <a:gd name="T22" fmla="*/ 22 w 98"/>
                <a:gd name="T23" fmla="*/ 22 h 62"/>
                <a:gd name="T24" fmla="*/ 13 w 98"/>
                <a:gd name="T25" fmla="*/ 18 h 62"/>
                <a:gd name="T26" fmla="*/ 9 w 98"/>
                <a:gd name="T27" fmla="*/ 22 h 62"/>
                <a:gd name="T28" fmla="*/ 13 w 98"/>
                <a:gd name="T29" fmla="*/ 27 h 62"/>
                <a:gd name="T30" fmla="*/ 13 w 98"/>
                <a:gd name="T31" fmla="*/ 27 h 62"/>
                <a:gd name="T32" fmla="*/ 4 w 98"/>
                <a:gd name="T33" fmla="*/ 31 h 62"/>
                <a:gd name="T34" fmla="*/ 40 w 98"/>
                <a:gd name="T35" fmla="*/ 54 h 62"/>
                <a:gd name="T36" fmla="*/ 53 w 98"/>
                <a:gd name="T37" fmla="*/ 49 h 62"/>
                <a:gd name="T38" fmla="*/ 62 w 98"/>
                <a:gd name="T39" fmla="*/ 54 h 62"/>
                <a:gd name="T40" fmla="*/ 71 w 98"/>
                <a:gd name="T41" fmla="*/ 58 h 62"/>
                <a:gd name="T42" fmla="*/ 76 w 98"/>
                <a:gd name="T43" fmla="*/ 58 h 62"/>
                <a:gd name="T44" fmla="*/ 85 w 98"/>
                <a:gd name="T45" fmla="*/ 62 h 62"/>
                <a:gd name="T46" fmla="*/ 94 w 98"/>
                <a:gd name="T47" fmla="*/ 58 h 62"/>
                <a:gd name="T48" fmla="*/ 98 w 98"/>
                <a:gd name="T49" fmla="*/ 54 h 62"/>
                <a:gd name="T50" fmla="*/ 89 w 98"/>
                <a:gd name="T51" fmla="*/ 45 h 62"/>
                <a:gd name="T52" fmla="*/ 85 w 98"/>
                <a:gd name="T53" fmla="*/ 36 h 62"/>
                <a:gd name="T54" fmla="*/ 85 w 98"/>
                <a:gd name="T55" fmla="*/ 31 h 62"/>
                <a:gd name="T56" fmla="*/ 85 w 98"/>
                <a:gd name="T57" fmla="*/ 22 h 62"/>
                <a:gd name="T58" fmla="*/ 94 w 98"/>
                <a:gd name="T59" fmla="*/ 18 h 62"/>
                <a:gd name="T60" fmla="*/ 98 w 98"/>
                <a:gd name="T61" fmla="*/ 9 h 62"/>
                <a:gd name="T62" fmla="*/ 94 w 98"/>
                <a:gd name="T63" fmla="*/ 0 h 62"/>
                <a:gd name="T64" fmla="*/ 89 w 98"/>
                <a:gd name="T65" fmla="*/ 4 h 62"/>
                <a:gd name="T66" fmla="*/ 71 w 98"/>
                <a:gd name="T67" fmla="*/ 0 h 62"/>
                <a:gd name="T68" fmla="*/ 40 w 98"/>
                <a:gd name="T69" fmla="*/ 9 h 62"/>
                <a:gd name="T70" fmla="*/ 27 w 98"/>
                <a:gd name="T71" fmla="*/ 18 h 62"/>
                <a:gd name="T72" fmla="*/ 27 w 98"/>
                <a:gd name="T73" fmla="*/ 31 h 62"/>
                <a:gd name="T74" fmla="*/ 35 w 98"/>
                <a:gd name="T75" fmla="*/ 40 h 62"/>
                <a:gd name="T76" fmla="*/ 40 w 98"/>
                <a:gd name="T77" fmla="*/ 36 h 62"/>
                <a:gd name="T78" fmla="*/ 40 w 98"/>
                <a:gd name="T79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8" h="62">
                  <a:moveTo>
                    <a:pt x="4" y="31"/>
                  </a:moveTo>
                  <a:lnTo>
                    <a:pt x="0" y="36"/>
                  </a:lnTo>
                  <a:lnTo>
                    <a:pt x="4" y="40"/>
                  </a:lnTo>
                  <a:lnTo>
                    <a:pt x="0" y="45"/>
                  </a:lnTo>
                  <a:lnTo>
                    <a:pt x="4" y="49"/>
                  </a:lnTo>
                  <a:lnTo>
                    <a:pt x="9" y="40"/>
                  </a:lnTo>
                  <a:lnTo>
                    <a:pt x="13" y="40"/>
                  </a:lnTo>
                  <a:lnTo>
                    <a:pt x="22" y="31"/>
                  </a:lnTo>
                  <a:lnTo>
                    <a:pt x="22" y="27"/>
                  </a:lnTo>
                  <a:lnTo>
                    <a:pt x="18" y="27"/>
                  </a:lnTo>
                  <a:lnTo>
                    <a:pt x="13" y="27"/>
                  </a:lnTo>
                  <a:lnTo>
                    <a:pt x="22" y="22"/>
                  </a:lnTo>
                  <a:lnTo>
                    <a:pt x="13" y="18"/>
                  </a:lnTo>
                  <a:lnTo>
                    <a:pt x="9" y="22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4" y="31"/>
                  </a:lnTo>
                  <a:close/>
                  <a:moveTo>
                    <a:pt x="40" y="54"/>
                  </a:moveTo>
                  <a:lnTo>
                    <a:pt x="53" y="49"/>
                  </a:lnTo>
                  <a:lnTo>
                    <a:pt x="62" y="54"/>
                  </a:lnTo>
                  <a:lnTo>
                    <a:pt x="71" y="58"/>
                  </a:lnTo>
                  <a:lnTo>
                    <a:pt x="76" y="58"/>
                  </a:lnTo>
                  <a:lnTo>
                    <a:pt x="85" y="62"/>
                  </a:lnTo>
                  <a:lnTo>
                    <a:pt x="94" y="58"/>
                  </a:lnTo>
                  <a:lnTo>
                    <a:pt x="98" y="54"/>
                  </a:lnTo>
                  <a:lnTo>
                    <a:pt x="89" y="45"/>
                  </a:lnTo>
                  <a:lnTo>
                    <a:pt x="85" y="36"/>
                  </a:lnTo>
                  <a:lnTo>
                    <a:pt x="85" y="31"/>
                  </a:lnTo>
                  <a:lnTo>
                    <a:pt x="85" y="22"/>
                  </a:lnTo>
                  <a:lnTo>
                    <a:pt x="94" y="18"/>
                  </a:lnTo>
                  <a:lnTo>
                    <a:pt x="98" y="9"/>
                  </a:lnTo>
                  <a:lnTo>
                    <a:pt x="94" y="0"/>
                  </a:lnTo>
                  <a:lnTo>
                    <a:pt x="89" y="4"/>
                  </a:lnTo>
                  <a:lnTo>
                    <a:pt x="71" y="0"/>
                  </a:lnTo>
                  <a:lnTo>
                    <a:pt x="40" y="9"/>
                  </a:lnTo>
                  <a:lnTo>
                    <a:pt x="27" y="18"/>
                  </a:lnTo>
                  <a:lnTo>
                    <a:pt x="27" y="31"/>
                  </a:lnTo>
                  <a:lnTo>
                    <a:pt x="35" y="40"/>
                  </a:lnTo>
                  <a:lnTo>
                    <a:pt x="40" y="36"/>
                  </a:lnTo>
                  <a:lnTo>
                    <a:pt x="40" y="5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28" name="Freeform 16"/>
            <p:cNvSpPr>
              <a:spLocks/>
            </p:cNvSpPr>
            <p:nvPr/>
          </p:nvSpPr>
          <p:spPr bwMode="gray">
            <a:xfrm>
              <a:off x="1346" y="1611"/>
              <a:ext cx="281" cy="616"/>
            </a:xfrm>
            <a:custGeom>
              <a:avLst/>
              <a:gdLst>
                <a:gd name="T0" fmla="*/ 18 w 165"/>
                <a:gd name="T1" fmla="*/ 54 h 362"/>
                <a:gd name="T2" fmla="*/ 45 w 165"/>
                <a:gd name="T3" fmla="*/ 76 h 362"/>
                <a:gd name="T4" fmla="*/ 53 w 165"/>
                <a:gd name="T5" fmla="*/ 121 h 362"/>
                <a:gd name="T6" fmla="*/ 49 w 165"/>
                <a:gd name="T7" fmla="*/ 152 h 362"/>
                <a:gd name="T8" fmla="*/ 58 w 165"/>
                <a:gd name="T9" fmla="*/ 165 h 362"/>
                <a:gd name="T10" fmla="*/ 67 w 165"/>
                <a:gd name="T11" fmla="*/ 192 h 362"/>
                <a:gd name="T12" fmla="*/ 45 w 165"/>
                <a:gd name="T13" fmla="*/ 219 h 362"/>
                <a:gd name="T14" fmla="*/ 22 w 165"/>
                <a:gd name="T15" fmla="*/ 250 h 362"/>
                <a:gd name="T16" fmla="*/ 9 w 165"/>
                <a:gd name="T17" fmla="*/ 264 h 362"/>
                <a:gd name="T18" fmla="*/ 13 w 165"/>
                <a:gd name="T19" fmla="*/ 277 h 362"/>
                <a:gd name="T20" fmla="*/ 13 w 165"/>
                <a:gd name="T21" fmla="*/ 313 h 362"/>
                <a:gd name="T22" fmla="*/ 27 w 165"/>
                <a:gd name="T23" fmla="*/ 335 h 362"/>
                <a:gd name="T24" fmla="*/ 36 w 165"/>
                <a:gd name="T25" fmla="*/ 340 h 362"/>
                <a:gd name="T26" fmla="*/ 36 w 165"/>
                <a:gd name="T27" fmla="*/ 348 h 362"/>
                <a:gd name="T28" fmla="*/ 40 w 165"/>
                <a:gd name="T29" fmla="*/ 353 h 362"/>
                <a:gd name="T30" fmla="*/ 40 w 165"/>
                <a:gd name="T31" fmla="*/ 362 h 362"/>
                <a:gd name="T32" fmla="*/ 58 w 165"/>
                <a:gd name="T33" fmla="*/ 348 h 362"/>
                <a:gd name="T34" fmla="*/ 62 w 165"/>
                <a:gd name="T35" fmla="*/ 353 h 362"/>
                <a:gd name="T36" fmla="*/ 76 w 165"/>
                <a:gd name="T37" fmla="*/ 348 h 362"/>
                <a:gd name="T38" fmla="*/ 85 w 165"/>
                <a:gd name="T39" fmla="*/ 344 h 362"/>
                <a:gd name="T40" fmla="*/ 98 w 165"/>
                <a:gd name="T41" fmla="*/ 340 h 362"/>
                <a:gd name="T42" fmla="*/ 112 w 165"/>
                <a:gd name="T43" fmla="*/ 340 h 362"/>
                <a:gd name="T44" fmla="*/ 129 w 165"/>
                <a:gd name="T45" fmla="*/ 322 h 362"/>
                <a:gd name="T46" fmla="*/ 161 w 165"/>
                <a:gd name="T47" fmla="*/ 281 h 362"/>
                <a:gd name="T48" fmla="*/ 147 w 165"/>
                <a:gd name="T49" fmla="*/ 255 h 362"/>
                <a:gd name="T50" fmla="*/ 147 w 165"/>
                <a:gd name="T51" fmla="*/ 228 h 362"/>
                <a:gd name="T52" fmla="*/ 143 w 165"/>
                <a:gd name="T53" fmla="*/ 214 h 362"/>
                <a:gd name="T54" fmla="*/ 134 w 165"/>
                <a:gd name="T55" fmla="*/ 165 h 362"/>
                <a:gd name="T56" fmla="*/ 134 w 165"/>
                <a:gd name="T57" fmla="*/ 147 h 362"/>
                <a:gd name="T58" fmla="*/ 120 w 165"/>
                <a:gd name="T59" fmla="*/ 116 h 362"/>
                <a:gd name="T60" fmla="*/ 134 w 165"/>
                <a:gd name="T61" fmla="*/ 80 h 362"/>
                <a:gd name="T62" fmla="*/ 116 w 165"/>
                <a:gd name="T63" fmla="*/ 54 h 362"/>
                <a:gd name="T64" fmla="*/ 112 w 165"/>
                <a:gd name="T65" fmla="*/ 40 h 362"/>
                <a:gd name="T66" fmla="*/ 116 w 165"/>
                <a:gd name="T67" fmla="*/ 31 h 362"/>
                <a:gd name="T68" fmla="*/ 120 w 165"/>
                <a:gd name="T69" fmla="*/ 9 h 362"/>
                <a:gd name="T70" fmla="*/ 107 w 165"/>
                <a:gd name="T71" fmla="*/ 0 h 362"/>
                <a:gd name="T72" fmla="*/ 76 w 165"/>
                <a:gd name="T73" fmla="*/ 22 h 362"/>
                <a:gd name="T74" fmla="*/ 62 w 165"/>
                <a:gd name="T75" fmla="*/ 58 h 362"/>
                <a:gd name="T76" fmla="*/ 31 w 165"/>
                <a:gd name="T77" fmla="*/ 54 h 362"/>
                <a:gd name="T78" fmla="*/ 9 w 165"/>
                <a:gd name="T79" fmla="*/ 31 h 362"/>
                <a:gd name="T80" fmla="*/ 0 w 165"/>
                <a:gd name="T81" fmla="*/ 36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5" h="362">
                  <a:moveTo>
                    <a:pt x="4" y="40"/>
                  </a:moveTo>
                  <a:lnTo>
                    <a:pt x="18" y="54"/>
                  </a:lnTo>
                  <a:lnTo>
                    <a:pt x="40" y="62"/>
                  </a:lnTo>
                  <a:lnTo>
                    <a:pt x="45" y="76"/>
                  </a:lnTo>
                  <a:lnTo>
                    <a:pt x="49" y="98"/>
                  </a:lnTo>
                  <a:lnTo>
                    <a:pt x="53" y="121"/>
                  </a:lnTo>
                  <a:lnTo>
                    <a:pt x="49" y="138"/>
                  </a:lnTo>
                  <a:lnTo>
                    <a:pt x="49" y="152"/>
                  </a:lnTo>
                  <a:lnTo>
                    <a:pt x="53" y="165"/>
                  </a:lnTo>
                  <a:lnTo>
                    <a:pt x="58" y="165"/>
                  </a:lnTo>
                  <a:lnTo>
                    <a:pt x="71" y="183"/>
                  </a:lnTo>
                  <a:lnTo>
                    <a:pt x="67" y="192"/>
                  </a:lnTo>
                  <a:lnTo>
                    <a:pt x="71" y="197"/>
                  </a:lnTo>
                  <a:lnTo>
                    <a:pt x="45" y="219"/>
                  </a:lnTo>
                  <a:lnTo>
                    <a:pt x="31" y="237"/>
                  </a:lnTo>
                  <a:lnTo>
                    <a:pt x="22" y="250"/>
                  </a:lnTo>
                  <a:lnTo>
                    <a:pt x="13" y="250"/>
                  </a:lnTo>
                  <a:lnTo>
                    <a:pt x="9" y="264"/>
                  </a:lnTo>
                  <a:lnTo>
                    <a:pt x="9" y="277"/>
                  </a:lnTo>
                  <a:lnTo>
                    <a:pt x="13" y="277"/>
                  </a:lnTo>
                  <a:lnTo>
                    <a:pt x="18" y="299"/>
                  </a:lnTo>
                  <a:lnTo>
                    <a:pt x="13" y="313"/>
                  </a:lnTo>
                  <a:lnTo>
                    <a:pt x="18" y="331"/>
                  </a:lnTo>
                  <a:lnTo>
                    <a:pt x="27" y="335"/>
                  </a:lnTo>
                  <a:lnTo>
                    <a:pt x="31" y="344"/>
                  </a:lnTo>
                  <a:lnTo>
                    <a:pt x="36" y="340"/>
                  </a:lnTo>
                  <a:lnTo>
                    <a:pt x="36" y="344"/>
                  </a:lnTo>
                  <a:lnTo>
                    <a:pt x="36" y="348"/>
                  </a:lnTo>
                  <a:lnTo>
                    <a:pt x="36" y="353"/>
                  </a:lnTo>
                  <a:lnTo>
                    <a:pt x="40" y="353"/>
                  </a:lnTo>
                  <a:lnTo>
                    <a:pt x="36" y="362"/>
                  </a:lnTo>
                  <a:lnTo>
                    <a:pt x="40" y="362"/>
                  </a:lnTo>
                  <a:lnTo>
                    <a:pt x="45" y="353"/>
                  </a:lnTo>
                  <a:lnTo>
                    <a:pt x="58" y="348"/>
                  </a:lnTo>
                  <a:lnTo>
                    <a:pt x="58" y="353"/>
                  </a:lnTo>
                  <a:lnTo>
                    <a:pt x="62" y="353"/>
                  </a:lnTo>
                  <a:lnTo>
                    <a:pt x="67" y="344"/>
                  </a:lnTo>
                  <a:lnTo>
                    <a:pt x="76" y="348"/>
                  </a:lnTo>
                  <a:lnTo>
                    <a:pt x="80" y="344"/>
                  </a:lnTo>
                  <a:lnTo>
                    <a:pt x="85" y="344"/>
                  </a:lnTo>
                  <a:lnTo>
                    <a:pt x="94" y="344"/>
                  </a:lnTo>
                  <a:lnTo>
                    <a:pt x="98" y="340"/>
                  </a:lnTo>
                  <a:lnTo>
                    <a:pt x="107" y="344"/>
                  </a:lnTo>
                  <a:lnTo>
                    <a:pt x="112" y="340"/>
                  </a:lnTo>
                  <a:lnTo>
                    <a:pt x="120" y="331"/>
                  </a:lnTo>
                  <a:lnTo>
                    <a:pt x="129" y="322"/>
                  </a:lnTo>
                  <a:lnTo>
                    <a:pt x="134" y="308"/>
                  </a:lnTo>
                  <a:lnTo>
                    <a:pt x="161" y="281"/>
                  </a:lnTo>
                  <a:lnTo>
                    <a:pt x="165" y="273"/>
                  </a:lnTo>
                  <a:lnTo>
                    <a:pt x="147" y="255"/>
                  </a:lnTo>
                  <a:lnTo>
                    <a:pt x="134" y="241"/>
                  </a:lnTo>
                  <a:lnTo>
                    <a:pt x="147" y="228"/>
                  </a:lnTo>
                  <a:lnTo>
                    <a:pt x="134" y="219"/>
                  </a:lnTo>
                  <a:lnTo>
                    <a:pt x="143" y="214"/>
                  </a:lnTo>
                  <a:lnTo>
                    <a:pt x="134" y="210"/>
                  </a:lnTo>
                  <a:lnTo>
                    <a:pt x="134" y="165"/>
                  </a:lnTo>
                  <a:lnTo>
                    <a:pt x="143" y="161"/>
                  </a:lnTo>
                  <a:lnTo>
                    <a:pt x="134" y="147"/>
                  </a:lnTo>
                  <a:lnTo>
                    <a:pt x="129" y="130"/>
                  </a:lnTo>
                  <a:lnTo>
                    <a:pt x="120" y="116"/>
                  </a:lnTo>
                  <a:lnTo>
                    <a:pt x="134" y="89"/>
                  </a:lnTo>
                  <a:lnTo>
                    <a:pt x="134" y="80"/>
                  </a:lnTo>
                  <a:lnTo>
                    <a:pt x="120" y="71"/>
                  </a:lnTo>
                  <a:lnTo>
                    <a:pt x="116" y="54"/>
                  </a:lnTo>
                  <a:lnTo>
                    <a:pt x="125" y="36"/>
                  </a:lnTo>
                  <a:lnTo>
                    <a:pt x="112" y="40"/>
                  </a:lnTo>
                  <a:lnTo>
                    <a:pt x="112" y="36"/>
                  </a:lnTo>
                  <a:lnTo>
                    <a:pt x="116" y="31"/>
                  </a:lnTo>
                  <a:lnTo>
                    <a:pt x="120" y="13"/>
                  </a:lnTo>
                  <a:lnTo>
                    <a:pt x="120" y="9"/>
                  </a:lnTo>
                  <a:lnTo>
                    <a:pt x="112" y="9"/>
                  </a:lnTo>
                  <a:lnTo>
                    <a:pt x="107" y="0"/>
                  </a:lnTo>
                  <a:lnTo>
                    <a:pt x="89" y="4"/>
                  </a:lnTo>
                  <a:lnTo>
                    <a:pt x="76" y="22"/>
                  </a:lnTo>
                  <a:lnTo>
                    <a:pt x="76" y="45"/>
                  </a:lnTo>
                  <a:lnTo>
                    <a:pt x="62" y="58"/>
                  </a:lnTo>
                  <a:lnTo>
                    <a:pt x="53" y="54"/>
                  </a:lnTo>
                  <a:lnTo>
                    <a:pt x="31" y="54"/>
                  </a:lnTo>
                  <a:lnTo>
                    <a:pt x="18" y="31"/>
                  </a:lnTo>
                  <a:lnTo>
                    <a:pt x="9" y="31"/>
                  </a:lnTo>
                  <a:lnTo>
                    <a:pt x="9" y="36"/>
                  </a:lnTo>
                  <a:lnTo>
                    <a:pt x="0" y="36"/>
                  </a:lnTo>
                  <a:lnTo>
                    <a:pt x="4" y="4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29" name="Freeform 17"/>
            <p:cNvSpPr>
              <a:spLocks noEditPoints="1"/>
            </p:cNvSpPr>
            <p:nvPr/>
          </p:nvSpPr>
          <p:spPr bwMode="gray">
            <a:xfrm>
              <a:off x="741" y="2598"/>
              <a:ext cx="348" cy="348"/>
            </a:xfrm>
            <a:custGeom>
              <a:avLst/>
              <a:gdLst>
                <a:gd name="T0" fmla="*/ 49 w 205"/>
                <a:gd name="T1" fmla="*/ 174 h 205"/>
                <a:gd name="T2" fmla="*/ 67 w 205"/>
                <a:gd name="T3" fmla="*/ 183 h 205"/>
                <a:gd name="T4" fmla="*/ 89 w 205"/>
                <a:gd name="T5" fmla="*/ 183 h 205"/>
                <a:gd name="T6" fmla="*/ 107 w 205"/>
                <a:gd name="T7" fmla="*/ 188 h 205"/>
                <a:gd name="T8" fmla="*/ 116 w 205"/>
                <a:gd name="T9" fmla="*/ 174 h 205"/>
                <a:gd name="T10" fmla="*/ 129 w 205"/>
                <a:gd name="T11" fmla="*/ 174 h 205"/>
                <a:gd name="T12" fmla="*/ 142 w 205"/>
                <a:gd name="T13" fmla="*/ 170 h 205"/>
                <a:gd name="T14" fmla="*/ 165 w 205"/>
                <a:gd name="T15" fmla="*/ 170 h 205"/>
                <a:gd name="T16" fmla="*/ 178 w 205"/>
                <a:gd name="T17" fmla="*/ 161 h 205"/>
                <a:gd name="T18" fmla="*/ 165 w 205"/>
                <a:gd name="T19" fmla="*/ 156 h 205"/>
                <a:gd name="T20" fmla="*/ 160 w 205"/>
                <a:gd name="T21" fmla="*/ 129 h 205"/>
                <a:gd name="T22" fmla="*/ 169 w 205"/>
                <a:gd name="T23" fmla="*/ 116 h 205"/>
                <a:gd name="T24" fmla="*/ 160 w 205"/>
                <a:gd name="T25" fmla="*/ 103 h 205"/>
                <a:gd name="T26" fmla="*/ 156 w 205"/>
                <a:gd name="T27" fmla="*/ 103 h 205"/>
                <a:gd name="T28" fmla="*/ 165 w 205"/>
                <a:gd name="T29" fmla="*/ 85 h 205"/>
                <a:gd name="T30" fmla="*/ 178 w 205"/>
                <a:gd name="T31" fmla="*/ 80 h 205"/>
                <a:gd name="T32" fmla="*/ 183 w 205"/>
                <a:gd name="T33" fmla="*/ 53 h 205"/>
                <a:gd name="T34" fmla="*/ 174 w 205"/>
                <a:gd name="T35" fmla="*/ 45 h 205"/>
                <a:gd name="T36" fmla="*/ 160 w 205"/>
                <a:gd name="T37" fmla="*/ 40 h 205"/>
                <a:gd name="T38" fmla="*/ 151 w 205"/>
                <a:gd name="T39" fmla="*/ 40 h 205"/>
                <a:gd name="T40" fmla="*/ 142 w 205"/>
                <a:gd name="T41" fmla="*/ 36 h 205"/>
                <a:gd name="T42" fmla="*/ 138 w 205"/>
                <a:gd name="T43" fmla="*/ 22 h 205"/>
                <a:gd name="T44" fmla="*/ 125 w 205"/>
                <a:gd name="T45" fmla="*/ 27 h 205"/>
                <a:gd name="T46" fmla="*/ 120 w 205"/>
                <a:gd name="T47" fmla="*/ 18 h 205"/>
                <a:gd name="T48" fmla="*/ 111 w 205"/>
                <a:gd name="T49" fmla="*/ 13 h 205"/>
                <a:gd name="T50" fmla="*/ 93 w 205"/>
                <a:gd name="T51" fmla="*/ 4 h 205"/>
                <a:gd name="T52" fmla="*/ 93 w 205"/>
                <a:gd name="T53" fmla="*/ 22 h 205"/>
                <a:gd name="T54" fmla="*/ 93 w 205"/>
                <a:gd name="T55" fmla="*/ 27 h 205"/>
                <a:gd name="T56" fmla="*/ 80 w 205"/>
                <a:gd name="T57" fmla="*/ 31 h 205"/>
                <a:gd name="T58" fmla="*/ 67 w 205"/>
                <a:gd name="T59" fmla="*/ 36 h 205"/>
                <a:gd name="T60" fmla="*/ 67 w 205"/>
                <a:gd name="T61" fmla="*/ 40 h 205"/>
                <a:gd name="T62" fmla="*/ 49 w 205"/>
                <a:gd name="T63" fmla="*/ 45 h 205"/>
                <a:gd name="T64" fmla="*/ 40 w 205"/>
                <a:gd name="T65" fmla="*/ 36 h 205"/>
                <a:gd name="T66" fmla="*/ 44 w 205"/>
                <a:gd name="T67" fmla="*/ 45 h 205"/>
                <a:gd name="T68" fmla="*/ 49 w 205"/>
                <a:gd name="T69" fmla="*/ 58 h 205"/>
                <a:gd name="T70" fmla="*/ 35 w 205"/>
                <a:gd name="T71" fmla="*/ 58 h 205"/>
                <a:gd name="T72" fmla="*/ 22 w 205"/>
                <a:gd name="T73" fmla="*/ 53 h 205"/>
                <a:gd name="T74" fmla="*/ 17 w 205"/>
                <a:gd name="T75" fmla="*/ 58 h 205"/>
                <a:gd name="T76" fmla="*/ 8 w 205"/>
                <a:gd name="T77" fmla="*/ 58 h 205"/>
                <a:gd name="T78" fmla="*/ 0 w 205"/>
                <a:gd name="T79" fmla="*/ 62 h 205"/>
                <a:gd name="T80" fmla="*/ 4 w 205"/>
                <a:gd name="T81" fmla="*/ 62 h 205"/>
                <a:gd name="T82" fmla="*/ 0 w 205"/>
                <a:gd name="T83" fmla="*/ 67 h 205"/>
                <a:gd name="T84" fmla="*/ 4 w 205"/>
                <a:gd name="T85" fmla="*/ 76 h 205"/>
                <a:gd name="T86" fmla="*/ 22 w 205"/>
                <a:gd name="T87" fmla="*/ 80 h 205"/>
                <a:gd name="T88" fmla="*/ 26 w 205"/>
                <a:gd name="T89" fmla="*/ 80 h 205"/>
                <a:gd name="T90" fmla="*/ 35 w 205"/>
                <a:gd name="T91" fmla="*/ 89 h 205"/>
                <a:gd name="T92" fmla="*/ 40 w 205"/>
                <a:gd name="T93" fmla="*/ 98 h 205"/>
                <a:gd name="T94" fmla="*/ 53 w 205"/>
                <a:gd name="T95" fmla="*/ 112 h 205"/>
                <a:gd name="T96" fmla="*/ 49 w 205"/>
                <a:gd name="T97" fmla="*/ 116 h 205"/>
                <a:gd name="T98" fmla="*/ 58 w 205"/>
                <a:gd name="T99" fmla="*/ 129 h 205"/>
                <a:gd name="T100" fmla="*/ 49 w 205"/>
                <a:gd name="T101" fmla="*/ 129 h 205"/>
                <a:gd name="T102" fmla="*/ 53 w 205"/>
                <a:gd name="T103" fmla="*/ 138 h 205"/>
                <a:gd name="T104" fmla="*/ 49 w 205"/>
                <a:gd name="T105" fmla="*/ 147 h 205"/>
                <a:gd name="T106" fmla="*/ 44 w 205"/>
                <a:gd name="T107" fmla="*/ 165 h 205"/>
                <a:gd name="T108" fmla="*/ 192 w 205"/>
                <a:gd name="T109" fmla="*/ 192 h 205"/>
                <a:gd name="T110" fmla="*/ 192 w 205"/>
                <a:gd name="T111" fmla="*/ 205 h 205"/>
                <a:gd name="T112" fmla="*/ 205 w 205"/>
                <a:gd name="T113" fmla="*/ 188 h 205"/>
                <a:gd name="T114" fmla="*/ 196 w 205"/>
                <a:gd name="T115" fmla="*/ 174 h 205"/>
                <a:gd name="T116" fmla="*/ 192 w 205"/>
                <a:gd name="T117" fmla="*/ 183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5" h="205">
                  <a:moveTo>
                    <a:pt x="44" y="165"/>
                  </a:moveTo>
                  <a:lnTo>
                    <a:pt x="49" y="174"/>
                  </a:lnTo>
                  <a:lnTo>
                    <a:pt x="62" y="183"/>
                  </a:lnTo>
                  <a:lnTo>
                    <a:pt x="67" y="183"/>
                  </a:lnTo>
                  <a:lnTo>
                    <a:pt x="80" y="183"/>
                  </a:lnTo>
                  <a:lnTo>
                    <a:pt x="89" y="183"/>
                  </a:lnTo>
                  <a:lnTo>
                    <a:pt x="98" y="188"/>
                  </a:lnTo>
                  <a:lnTo>
                    <a:pt x="107" y="188"/>
                  </a:lnTo>
                  <a:lnTo>
                    <a:pt x="116" y="188"/>
                  </a:lnTo>
                  <a:lnTo>
                    <a:pt x="116" y="174"/>
                  </a:lnTo>
                  <a:lnTo>
                    <a:pt x="120" y="170"/>
                  </a:lnTo>
                  <a:lnTo>
                    <a:pt x="129" y="174"/>
                  </a:lnTo>
                  <a:lnTo>
                    <a:pt x="134" y="170"/>
                  </a:lnTo>
                  <a:lnTo>
                    <a:pt x="142" y="170"/>
                  </a:lnTo>
                  <a:lnTo>
                    <a:pt x="151" y="174"/>
                  </a:lnTo>
                  <a:lnTo>
                    <a:pt x="165" y="170"/>
                  </a:lnTo>
                  <a:lnTo>
                    <a:pt x="169" y="165"/>
                  </a:lnTo>
                  <a:lnTo>
                    <a:pt x="178" y="161"/>
                  </a:lnTo>
                  <a:lnTo>
                    <a:pt x="174" y="156"/>
                  </a:lnTo>
                  <a:lnTo>
                    <a:pt x="165" y="156"/>
                  </a:lnTo>
                  <a:lnTo>
                    <a:pt x="156" y="143"/>
                  </a:lnTo>
                  <a:lnTo>
                    <a:pt x="160" y="129"/>
                  </a:lnTo>
                  <a:lnTo>
                    <a:pt x="165" y="129"/>
                  </a:lnTo>
                  <a:lnTo>
                    <a:pt x="169" y="116"/>
                  </a:lnTo>
                  <a:lnTo>
                    <a:pt x="165" y="107"/>
                  </a:lnTo>
                  <a:lnTo>
                    <a:pt x="160" y="103"/>
                  </a:lnTo>
                  <a:lnTo>
                    <a:pt x="156" y="112"/>
                  </a:lnTo>
                  <a:lnTo>
                    <a:pt x="156" y="103"/>
                  </a:lnTo>
                  <a:lnTo>
                    <a:pt x="165" y="89"/>
                  </a:lnTo>
                  <a:lnTo>
                    <a:pt x="165" y="85"/>
                  </a:lnTo>
                  <a:lnTo>
                    <a:pt x="174" y="85"/>
                  </a:lnTo>
                  <a:lnTo>
                    <a:pt x="178" y="80"/>
                  </a:lnTo>
                  <a:lnTo>
                    <a:pt x="178" y="67"/>
                  </a:lnTo>
                  <a:lnTo>
                    <a:pt x="183" y="53"/>
                  </a:lnTo>
                  <a:lnTo>
                    <a:pt x="178" y="45"/>
                  </a:lnTo>
                  <a:lnTo>
                    <a:pt x="174" y="45"/>
                  </a:lnTo>
                  <a:lnTo>
                    <a:pt x="160" y="49"/>
                  </a:lnTo>
                  <a:lnTo>
                    <a:pt x="160" y="40"/>
                  </a:lnTo>
                  <a:lnTo>
                    <a:pt x="156" y="40"/>
                  </a:lnTo>
                  <a:lnTo>
                    <a:pt x="151" y="40"/>
                  </a:lnTo>
                  <a:lnTo>
                    <a:pt x="147" y="40"/>
                  </a:lnTo>
                  <a:lnTo>
                    <a:pt x="142" y="36"/>
                  </a:lnTo>
                  <a:lnTo>
                    <a:pt x="134" y="31"/>
                  </a:lnTo>
                  <a:lnTo>
                    <a:pt x="138" y="22"/>
                  </a:lnTo>
                  <a:lnTo>
                    <a:pt x="129" y="27"/>
                  </a:lnTo>
                  <a:lnTo>
                    <a:pt x="125" y="27"/>
                  </a:lnTo>
                  <a:lnTo>
                    <a:pt x="125" y="18"/>
                  </a:lnTo>
                  <a:lnTo>
                    <a:pt x="120" y="18"/>
                  </a:lnTo>
                  <a:lnTo>
                    <a:pt x="116" y="13"/>
                  </a:lnTo>
                  <a:lnTo>
                    <a:pt x="111" y="13"/>
                  </a:lnTo>
                  <a:lnTo>
                    <a:pt x="102" y="0"/>
                  </a:lnTo>
                  <a:lnTo>
                    <a:pt x="93" y="4"/>
                  </a:lnTo>
                  <a:lnTo>
                    <a:pt x="93" y="13"/>
                  </a:lnTo>
                  <a:lnTo>
                    <a:pt x="93" y="22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84" y="27"/>
                  </a:lnTo>
                  <a:lnTo>
                    <a:pt x="80" y="31"/>
                  </a:lnTo>
                  <a:lnTo>
                    <a:pt x="75" y="31"/>
                  </a:lnTo>
                  <a:lnTo>
                    <a:pt x="67" y="36"/>
                  </a:lnTo>
                  <a:lnTo>
                    <a:pt x="71" y="40"/>
                  </a:lnTo>
                  <a:lnTo>
                    <a:pt x="67" y="40"/>
                  </a:lnTo>
                  <a:lnTo>
                    <a:pt x="53" y="40"/>
                  </a:lnTo>
                  <a:lnTo>
                    <a:pt x="49" y="45"/>
                  </a:lnTo>
                  <a:lnTo>
                    <a:pt x="49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4" y="45"/>
                  </a:lnTo>
                  <a:lnTo>
                    <a:pt x="44" y="53"/>
                  </a:lnTo>
                  <a:lnTo>
                    <a:pt x="49" y="58"/>
                  </a:lnTo>
                  <a:lnTo>
                    <a:pt x="40" y="58"/>
                  </a:lnTo>
                  <a:lnTo>
                    <a:pt x="35" y="58"/>
                  </a:lnTo>
                  <a:lnTo>
                    <a:pt x="31" y="62"/>
                  </a:lnTo>
                  <a:lnTo>
                    <a:pt x="22" y="53"/>
                  </a:lnTo>
                  <a:lnTo>
                    <a:pt x="17" y="53"/>
                  </a:lnTo>
                  <a:lnTo>
                    <a:pt x="17" y="58"/>
                  </a:lnTo>
                  <a:lnTo>
                    <a:pt x="13" y="58"/>
                  </a:lnTo>
                  <a:lnTo>
                    <a:pt x="8" y="58"/>
                  </a:lnTo>
                  <a:lnTo>
                    <a:pt x="4" y="58"/>
                  </a:lnTo>
                  <a:lnTo>
                    <a:pt x="0" y="62"/>
                  </a:lnTo>
                  <a:lnTo>
                    <a:pt x="0" y="67"/>
                  </a:lnTo>
                  <a:lnTo>
                    <a:pt x="4" y="62"/>
                  </a:lnTo>
                  <a:lnTo>
                    <a:pt x="8" y="67"/>
                  </a:lnTo>
                  <a:lnTo>
                    <a:pt x="0" y="67"/>
                  </a:lnTo>
                  <a:lnTo>
                    <a:pt x="0" y="71"/>
                  </a:lnTo>
                  <a:lnTo>
                    <a:pt x="4" y="76"/>
                  </a:lnTo>
                  <a:lnTo>
                    <a:pt x="8" y="71"/>
                  </a:lnTo>
                  <a:lnTo>
                    <a:pt x="22" y="80"/>
                  </a:lnTo>
                  <a:lnTo>
                    <a:pt x="22" y="85"/>
                  </a:lnTo>
                  <a:lnTo>
                    <a:pt x="26" y="80"/>
                  </a:lnTo>
                  <a:lnTo>
                    <a:pt x="35" y="85"/>
                  </a:lnTo>
                  <a:lnTo>
                    <a:pt x="35" y="89"/>
                  </a:lnTo>
                  <a:lnTo>
                    <a:pt x="40" y="89"/>
                  </a:lnTo>
                  <a:lnTo>
                    <a:pt x="40" y="98"/>
                  </a:lnTo>
                  <a:lnTo>
                    <a:pt x="44" y="107"/>
                  </a:lnTo>
                  <a:lnTo>
                    <a:pt x="53" y="112"/>
                  </a:lnTo>
                  <a:lnTo>
                    <a:pt x="49" y="116"/>
                  </a:lnTo>
                  <a:lnTo>
                    <a:pt x="49" y="116"/>
                  </a:lnTo>
                  <a:lnTo>
                    <a:pt x="49" y="121"/>
                  </a:lnTo>
                  <a:lnTo>
                    <a:pt x="58" y="129"/>
                  </a:lnTo>
                  <a:lnTo>
                    <a:pt x="58" y="129"/>
                  </a:lnTo>
                  <a:lnTo>
                    <a:pt x="49" y="129"/>
                  </a:lnTo>
                  <a:lnTo>
                    <a:pt x="49" y="143"/>
                  </a:lnTo>
                  <a:lnTo>
                    <a:pt x="53" y="138"/>
                  </a:lnTo>
                  <a:lnTo>
                    <a:pt x="53" y="143"/>
                  </a:lnTo>
                  <a:lnTo>
                    <a:pt x="49" y="147"/>
                  </a:lnTo>
                  <a:lnTo>
                    <a:pt x="44" y="165"/>
                  </a:lnTo>
                  <a:lnTo>
                    <a:pt x="44" y="165"/>
                  </a:lnTo>
                  <a:close/>
                  <a:moveTo>
                    <a:pt x="192" y="183"/>
                  </a:moveTo>
                  <a:lnTo>
                    <a:pt x="192" y="192"/>
                  </a:lnTo>
                  <a:lnTo>
                    <a:pt x="187" y="196"/>
                  </a:lnTo>
                  <a:lnTo>
                    <a:pt x="192" y="205"/>
                  </a:lnTo>
                  <a:lnTo>
                    <a:pt x="201" y="205"/>
                  </a:lnTo>
                  <a:lnTo>
                    <a:pt x="205" y="188"/>
                  </a:lnTo>
                  <a:lnTo>
                    <a:pt x="201" y="174"/>
                  </a:lnTo>
                  <a:lnTo>
                    <a:pt x="196" y="174"/>
                  </a:lnTo>
                  <a:lnTo>
                    <a:pt x="196" y="183"/>
                  </a:lnTo>
                  <a:lnTo>
                    <a:pt x="192" y="18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30" name="Freeform 18"/>
            <p:cNvSpPr>
              <a:spLocks noEditPoints="1"/>
            </p:cNvSpPr>
            <p:nvPr/>
          </p:nvSpPr>
          <p:spPr bwMode="gray">
            <a:xfrm>
              <a:off x="997" y="2445"/>
              <a:ext cx="212" cy="298"/>
            </a:xfrm>
            <a:custGeom>
              <a:avLst/>
              <a:gdLst>
                <a:gd name="T0" fmla="*/ 9 w 125"/>
                <a:gd name="T1" fmla="*/ 108 h 175"/>
                <a:gd name="T2" fmla="*/ 0 w 125"/>
                <a:gd name="T3" fmla="*/ 94 h 175"/>
                <a:gd name="T4" fmla="*/ 0 w 125"/>
                <a:gd name="T5" fmla="*/ 81 h 175"/>
                <a:gd name="T6" fmla="*/ 9 w 125"/>
                <a:gd name="T7" fmla="*/ 72 h 175"/>
                <a:gd name="T8" fmla="*/ 14 w 125"/>
                <a:gd name="T9" fmla="*/ 54 h 175"/>
                <a:gd name="T10" fmla="*/ 18 w 125"/>
                <a:gd name="T11" fmla="*/ 45 h 175"/>
                <a:gd name="T12" fmla="*/ 14 w 125"/>
                <a:gd name="T13" fmla="*/ 36 h 175"/>
                <a:gd name="T14" fmla="*/ 18 w 125"/>
                <a:gd name="T15" fmla="*/ 36 h 175"/>
                <a:gd name="T16" fmla="*/ 27 w 125"/>
                <a:gd name="T17" fmla="*/ 32 h 175"/>
                <a:gd name="T18" fmla="*/ 32 w 125"/>
                <a:gd name="T19" fmla="*/ 36 h 175"/>
                <a:gd name="T20" fmla="*/ 36 w 125"/>
                <a:gd name="T21" fmla="*/ 32 h 175"/>
                <a:gd name="T22" fmla="*/ 41 w 125"/>
                <a:gd name="T23" fmla="*/ 27 h 175"/>
                <a:gd name="T24" fmla="*/ 50 w 125"/>
                <a:gd name="T25" fmla="*/ 27 h 175"/>
                <a:gd name="T26" fmla="*/ 45 w 125"/>
                <a:gd name="T27" fmla="*/ 18 h 175"/>
                <a:gd name="T28" fmla="*/ 45 w 125"/>
                <a:gd name="T29" fmla="*/ 14 h 175"/>
                <a:gd name="T30" fmla="*/ 58 w 125"/>
                <a:gd name="T31" fmla="*/ 0 h 175"/>
                <a:gd name="T32" fmla="*/ 58 w 125"/>
                <a:gd name="T33" fmla="*/ 14 h 175"/>
                <a:gd name="T34" fmla="*/ 67 w 125"/>
                <a:gd name="T35" fmla="*/ 14 h 175"/>
                <a:gd name="T36" fmla="*/ 72 w 125"/>
                <a:gd name="T37" fmla="*/ 9 h 175"/>
                <a:gd name="T38" fmla="*/ 67 w 125"/>
                <a:gd name="T39" fmla="*/ 18 h 175"/>
                <a:gd name="T40" fmla="*/ 63 w 125"/>
                <a:gd name="T41" fmla="*/ 23 h 175"/>
                <a:gd name="T42" fmla="*/ 72 w 125"/>
                <a:gd name="T43" fmla="*/ 27 h 175"/>
                <a:gd name="T44" fmla="*/ 76 w 125"/>
                <a:gd name="T45" fmla="*/ 23 h 175"/>
                <a:gd name="T46" fmla="*/ 90 w 125"/>
                <a:gd name="T47" fmla="*/ 14 h 175"/>
                <a:gd name="T48" fmla="*/ 94 w 125"/>
                <a:gd name="T49" fmla="*/ 18 h 175"/>
                <a:gd name="T50" fmla="*/ 108 w 125"/>
                <a:gd name="T51" fmla="*/ 23 h 175"/>
                <a:gd name="T52" fmla="*/ 112 w 125"/>
                <a:gd name="T53" fmla="*/ 27 h 175"/>
                <a:gd name="T54" fmla="*/ 112 w 125"/>
                <a:gd name="T55" fmla="*/ 50 h 175"/>
                <a:gd name="T56" fmla="*/ 121 w 125"/>
                <a:gd name="T57" fmla="*/ 72 h 175"/>
                <a:gd name="T58" fmla="*/ 125 w 125"/>
                <a:gd name="T59" fmla="*/ 90 h 175"/>
                <a:gd name="T60" fmla="*/ 121 w 125"/>
                <a:gd name="T61" fmla="*/ 99 h 175"/>
                <a:gd name="T62" fmla="*/ 103 w 125"/>
                <a:gd name="T63" fmla="*/ 108 h 175"/>
                <a:gd name="T64" fmla="*/ 90 w 125"/>
                <a:gd name="T65" fmla="*/ 117 h 175"/>
                <a:gd name="T66" fmla="*/ 90 w 125"/>
                <a:gd name="T67" fmla="*/ 126 h 175"/>
                <a:gd name="T68" fmla="*/ 103 w 125"/>
                <a:gd name="T69" fmla="*/ 135 h 175"/>
                <a:gd name="T70" fmla="*/ 112 w 125"/>
                <a:gd name="T71" fmla="*/ 148 h 175"/>
                <a:gd name="T72" fmla="*/ 99 w 125"/>
                <a:gd name="T73" fmla="*/ 157 h 175"/>
                <a:gd name="T74" fmla="*/ 103 w 125"/>
                <a:gd name="T75" fmla="*/ 166 h 175"/>
                <a:gd name="T76" fmla="*/ 94 w 125"/>
                <a:gd name="T77" fmla="*/ 170 h 175"/>
                <a:gd name="T78" fmla="*/ 54 w 125"/>
                <a:gd name="T79" fmla="*/ 170 h 175"/>
                <a:gd name="T80" fmla="*/ 36 w 125"/>
                <a:gd name="T81" fmla="*/ 170 h 175"/>
                <a:gd name="T82" fmla="*/ 27 w 125"/>
                <a:gd name="T83" fmla="*/ 170 h 175"/>
                <a:gd name="T84" fmla="*/ 32 w 125"/>
                <a:gd name="T85" fmla="*/ 143 h 175"/>
                <a:gd name="T86" fmla="*/ 23 w 125"/>
                <a:gd name="T87" fmla="*/ 135 h 175"/>
                <a:gd name="T88" fmla="*/ 9 w 125"/>
                <a:gd name="T89" fmla="*/ 130 h 175"/>
                <a:gd name="T90" fmla="*/ 5 w 125"/>
                <a:gd name="T91" fmla="*/ 121 h 175"/>
                <a:gd name="T92" fmla="*/ 103 w 125"/>
                <a:gd name="T93" fmla="*/ 9 h 175"/>
                <a:gd name="T94" fmla="*/ 108 w 125"/>
                <a:gd name="T95" fmla="*/ 18 h 175"/>
                <a:gd name="T96" fmla="*/ 103 w 125"/>
                <a:gd name="T97" fmla="*/ 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5" h="175">
                  <a:moveTo>
                    <a:pt x="5" y="117"/>
                  </a:moveTo>
                  <a:lnTo>
                    <a:pt x="9" y="108"/>
                  </a:lnTo>
                  <a:lnTo>
                    <a:pt x="5" y="99"/>
                  </a:lnTo>
                  <a:lnTo>
                    <a:pt x="0" y="94"/>
                  </a:lnTo>
                  <a:lnTo>
                    <a:pt x="5" y="85"/>
                  </a:lnTo>
                  <a:lnTo>
                    <a:pt x="0" y="81"/>
                  </a:lnTo>
                  <a:lnTo>
                    <a:pt x="0" y="76"/>
                  </a:lnTo>
                  <a:lnTo>
                    <a:pt x="9" y="72"/>
                  </a:lnTo>
                  <a:lnTo>
                    <a:pt x="14" y="72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8" y="45"/>
                  </a:lnTo>
                  <a:lnTo>
                    <a:pt x="14" y="45"/>
                  </a:lnTo>
                  <a:lnTo>
                    <a:pt x="14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2"/>
                  </a:lnTo>
                  <a:lnTo>
                    <a:pt x="27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1" y="27"/>
                  </a:lnTo>
                  <a:lnTo>
                    <a:pt x="45" y="27"/>
                  </a:lnTo>
                  <a:lnTo>
                    <a:pt x="50" y="27"/>
                  </a:lnTo>
                  <a:lnTo>
                    <a:pt x="45" y="23"/>
                  </a:lnTo>
                  <a:lnTo>
                    <a:pt x="45" y="18"/>
                  </a:lnTo>
                  <a:lnTo>
                    <a:pt x="41" y="14"/>
                  </a:lnTo>
                  <a:lnTo>
                    <a:pt x="45" y="14"/>
                  </a:lnTo>
                  <a:lnTo>
                    <a:pt x="41" y="5"/>
                  </a:lnTo>
                  <a:lnTo>
                    <a:pt x="58" y="0"/>
                  </a:lnTo>
                  <a:lnTo>
                    <a:pt x="58" y="9"/>
                  </a:lnTo>
                  <a:lnTo>
                    <a:pt x="58" y="14"/>
                  </a:lnTo>
                  <a:lnTo>
                    <a:pt x="63" y="18"/>
                  </a:lnTo>
                  <a:lnTo>
                    <a:pt x="67" y="14"/>
                  </a:lnTo>
                  <a:lnTo>
                    <a:pt x="67" y="9"/>
                  </a:lnTo>
                  <a:lnTo>
                    <a:pt x="72" y="9"/>
                  </a:lnTo>
                  <a:lnTo>
                    <a:pt x="72" y="14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72" y="27"/>
                  </a:lnTo>
                  <a:lnTo>
                    <a:pt x="76" y="27"/>
                  </a:lnTo>
                  <a:lnTo>
                    <a:pt x="76" y="23"/>
                  </a:lnTo>
                  <a:lnTo>
                    <a:pt x="85" y="23"/>
                  </a:lnTo>
                  <a:lnTo>
                    <a:pt x="90" y="14"/>
                  </a:lnTo>
                  <a:lnTo>
                    <a:pt x="94" y="14"/>
                  </a:lnTo>
                  <a:lnTo>
                    <a:pt x="94" y="18"/>
                  </a:lnTo>
                  <a:lnTo>
                    <a:pt x="99" y="18"/>
                  </a:lnTo>
                  <a:lnTo>
                    <a:pt x="108" y="23"/>
                  </a:lnTo>
                  <a:lnTo>
                    <a:pt x="108" y="27"/>
                  </a:lnTo>
                  <a:lnTo>
                    <a:pt x="112" y="27"/>
                  </a:lnTo>
                  <a:lnTo>
                    <a:pt x="112" y="36"/>
                  </a:lnTo>
                  <a:lnTo>
                    <a:pt x="112" y="50"/>
                  </a:lnTo>
                  <a:lnTo>
                    <a:pt x="121" y="59"/>
                  </a:lnTo>
                  <a:lnTo>
                    <a:pt x="121" y="72"/>
                  </a:lnTo>
                  <a:lnTo>
                    <a:pt x="121" y="85"/>
                  </a:lnTo>
                  <a:lnTo>
                    <a:pt x="125" y="90"/>
                  </a:lnTo>
                  <a:lnTo>
                    <a:pt x="125" y="99"/>
                  </a:lnTo>
                  <a:lnTo>
                    <a:pt x="121" y="99"/>
                  </a:lnTo>
                  <a:lnTo>
                    <a:pt x="117" y="108"/>
                  </a:lnTo>
                  <a:lnTo>
                    <a:pt x="103" y="108"/>
                  </a:lnTo>
                  <a:lnTo>
                    <a:pt x="94" y="117"/>
                  </a:lnTo>
                  <a:lnTo>
                    <a:pt x="90" y="117"/>
                  </a:lnTo>
                  <a:lnTo>
                    <a:pt x="85" y="117"/>
                  </a:lnTo>
                  <a:lnTo>
                    <a:pt x="90" y="126"/>
                  </a:lnTo>
                  <a:lnTo>
                    <a:pt x="94" y="135"/>
                  </a:lnTo>
                  <a:lnTo>
                    <a:pt x="103" y="135"/>
                  </a:lnTo>
                  <a:lnTo>
                    <a:pt x="112" y="143"/>
                  </a:lnTo>
                  <a:lnTo>
                    <a:pt x="112" y="148"/>
                  </a:lnTo>
                  <a:lnTo>
                    <a:pt x="108" y="152"/>
                  </a:lnTo>
                  <a:lnTo>
                    <a:pt x="99" y="157"/>
                  </a:lnTo>
                  <a:lnTo>
                    <a:pt x="94" y="161"/>
                  </a:lnTo>
                  <a:lnTo>
                    <a:pt x="103" y="166"/>
                  </a:lnTo>
                  <a:lnTo>
                    <a:pt x="99" y="175"/>
                  </a:lnTo>
                  <a:lnTo>
                    <a:pt x="94" y="170"/>
                  </a:lnTo>
                  <a:lnTo>
                    <a:pt x="76" y="175"/>
                  </a:lnTo>
                  <a:lnTo>
                    <a:pt x="54" y="170"/>
                  </a:lnTo>
                  <a:lnTo>
                    <a:pt x="45" y="170"/>
                  </a:lnTo>
                  <a:lnTo>
                    <a:pt x="36" y="170"/>
                  </a:lnTo>
                  <a:lnTo>
                    <a:pt x="27" y="175"/>
                  </a:lnTo>
                  <a:lnTo>
                    <a:pt x="27" y="170"/>
                  </a:lnTo>
                  <a:lnTo>
                    <a:pt x="27" y="157"/>
                  </a:lnTo>
                  <a:lnTo>
                    <a:pt x="32" y="143"/>
                  </a:lnTo>
                  <a:lnTo>
                    <a:pt x="27" y="135"/>
                  </a:lnTo>
                  <a:lnTo>
                    <a:pt x="23" y="135"/>
                  </a:lnTo>
                  <a:lnTo>
                    <a:pt x="9" y="139"/>
                  </a:lnTo>
                  <a:lnTo>
                    <a:pt x="9" y="130"/>
                  </a:lnTo>
                  <a:lnTo>
                    <a:pt x="9" y="126"/>
                  </a:lnTo>
                  <a:lnTo>
                    <a:pt x="5" y="121"/>
                  </a:lnTo>
                  <a:lnTo>
                    <a:pt x="5" y="117"/>
                  </a:lnTo>
                  <a:close/>
                  <a:moveTo>
                    <a:pt x="103" y="9"/>
                  </a:moveTo>
                  <a:lnTo>
                    <a:pt x="99" y="18"/>
                  </a:lnTo>
                  <a:lnTo>
                    <a:pt x="108" y="18"/>
                  </a:lnTo>
                  <a:lnTo>
                    <a:pt x="108" y="14"/>
                  </a:lnTo>
                  <a:lnTo>
                    <a:pt x="103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31" name="Freeform 19"/>
            <p:cNvSpPr>
              <a:spLocks noEditPoints="1"/>
            </p:cNvSpPr>
            <p:nvPr/>
          </p:nvSpPr>
          <p:spPr bwMode="gray">
            <a:xfrm>
              <a:off x="1338" y="2946"/>
              <a:ext cx="199" cy="214"/>
            </a:xfrm>
            <a:custGeom>
              <a:avLst/>
              <a:gdLst>
                <a:gd name="T0" fmla="*/ 9 w 117"/>
                <a:gd name="T1" fmla="*/ 45 h 126"/>
                <a:gd name="T2" fmla="*/ 14 w 117"/>
                <a:gd name="T3" fmla="*/ 63 h 126"/>
                <a:gd name="T4" fmla="*/ 41 w 117"/>
                <a:gd name="T5" fmla="*/ 63 h 126"/>
                <a:gd name="T6" fmla="*/ 41 w 117"/>
                <a:gd name="T7" fmla="*/ 72 h 126"/>
                <a:gd name="T8" fmla="*/ 14 w 117"/>
                <a:gd name="T9" fmla="*/ 67 h 126"/>
                <a:gd name="T10" fmla="*/ 23 w 117"/>
                <a:gd name="T11" fmla="*/ 94 h 126"/>
                <a:gd name="T12" fmla="*/ 36 w 117"/>
                <a:gd name="T13" fmla="*/ 94 h 126"/>
                <a:gd name="T14" fmla="*/ 41 w 117"/>
                <a:gd name="T15" fmla="*/ 99 h 126"/>
                <a:gd name="T16" fmla="*/ 41 w 117"/>
                <a:gd name="T17" fmla="*/ 81 h 126"/>
                <a:gd name="T18" fmla="*/ 50 w 117"/>
                <a:gd name="T19" fmla="*/ 81 h 126"/>
                <a:gd name="T20" fmla="*/ 54 w 117"/>
                <a:gd name="T21" fmla="*/ 76 h 126"/>
                <a:gd name="T22" fmla="*/ 45 w 117"/>
                <a:gd name="T23" fmla="*/ 59 h 126"/>
                <a:gd name="T24" fmla="*/ 36 w 117"/>
                <a:gd name="T25" fmla="*/ 50 h 126"/>
                <a:gd name="T26" fmla="*/ 36 w 117"/>
                <a:gd name="T27" fmla="*/ 27 h 126"/>
                <a:gd name="T28" fmla="*/ 45 w 117"/>
                <a:gd name="T29" fmla="*/ 32 h 126"/>
                <a:gd name="T30" fmla="*/ 58 w 117"/>
                <a:gd name="T31" fmla="*/ 27 h 126"/>
                <a:gd name="T32" fmla="*/ 72 w 117"/>
                <a:gd name="T33" fmla="*/ 9 h 126"/>
                <a:gd name="T34" fmla="*/ 72 w 117"/>
                <a:gd name="T35" fmla="*/ 5 h 126"/>
                <a:gd name="T36" fmla="*/ 45 w 117"/>
                <a:gd name="T37" fmla="*/ 5 h 126"/>
                <a:gd name="T38" fmla="*/ 27 w 117"/>
                <a:gd name="T39" fmla="*/ 14 h 126"/>
                <a:gd name="T40" fmla="*/ 5 w 117"/>
                <a:gd name="T41" fmla="*/ 41 h 126"/>
                <a:gd name="T42" fmla="*/ 54 w 117"/>
                <a:gd name="T43" fmla="*/ 59 h 126"/>
                <a:gd name="T44" fmla="*/ 67 w 117"/>
                <a:gd name="T45" fmla="*/ 72 h 126"/>
                <a:gd name="T46" fmla="*/ 58 w 117"/>
                <a:gd name="T47" fmla="*/ 54 h 126"/>
                <a:gd name="T48" fmla="*/ 41 w 117"/>
                <a:gd name="T49" fmla="*/ 50 h 126"/>
                <a:gd name="T50" fmla="*/ 50 w 117"/>
                <a:gd name="T51" fmla="*/ 112 h 126"/>
                <a:gd name="T52" fmla="*/ 63 w 117"/>
                <a:gd name="T53" fmla="*/ 126 h 126"/>
                <a:gd name="T54" fmla="*/ 81 w 117"/>
                <a:gd name="T55" fmla="*/ 117 h 126"/>
                <a:gd name="T56" fmla="*/ 63 w 117"/>
                <a:gd name="T57" fmla="*/ 112 h 126"/>
                <a:gd name="T58" fmla="*/ 58 w 117"/>
                <a:gd name="T59" fmla="*/ 90 h 126"/>
                <a:gd name="T60" fmla="*/ 58 w 117"/>
                <a:gd name="T61" fmla="*/ 90 h 126"/>
                <a:gd name="T62" fmla="*/ 72 w 117"/>
                <a:gd name="T63" fmla="*/ 85 h 126"/>
                <a:gd name="T64" fmla="*/ 76 w 117"/>
                <a:gd name="T65" fmla="*/ 81 h 126"/>
                <a:gd name="T66" fmla="*/ 81 w 117"/>
                <a:gd name="T67" fmla="*/ 90 h 126"/>
                <a:gd name="T68" fmla="*/ 81 w 117"/>
                <a:gd name="T69" fmla="*/ 90 h 126"/>
                <a:gd name="T70" fmla="*/ 85 w 117"/>
                <a:gd name="T71" fmla="*/ 45 h 126"/>
                <a:gd name="T72" fmla="*/ 90 w 117"/>
                <a:gd name="T73" fmla="*/ 45 h 126"/>
                <a:gd name="T74" fmla="*/ 81 w 117"/>
                <a:gd name="T75" fmla="*/ 76 h 126"/>
                <a:gd name="T76" fmla="*/ 81 w 117"/>
                <a:gd name="T77" fmla="*/ 76 h 126"/>
                <a:gd name="T78" fmla="*/ 85 w 117"/>
                <a:gd name="T79" fmla="*/ 63 h 126"/>
                <a:gd name="T80" fmla="*/ 112 w 117"/>
                <a:gd name="T81" fmla="*/ 99 h 126"/>
                <a:gd name="T82" fmla="*/ 112 w 117"/>
                <a:gd name="T83" fmla="*/ 108 h 126"/>
                <a:gd name="T84" fmla="*/ 112 w 117"/>
                <a:gd name="T85" fmla="*/ 9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7" h="126">
                  <a:moveTo>
                    <a:pt x="0" y="41"/>
                  </a:moveTo>
                  <a:lnTo>
                    <a:pt x="5" y="45"/>
                  </a:lnTo>
                  <a:lnTo>
                    <a:pt x="9" y="45"/>
                  </a:lnTo>
                  <a:lnTo>
                    <a:pt x="14" y="50"/>
                  </a:lnTo>
                  <a:lnTo>
                    <a:pt x="9" y="50"/>
                  </a:lnTo>
                  <a:lnTo>
                    <a:pt x="14" y="63"/>
                  </a:lnTo>
                  <a:lnTo>
                    <a:pt x="18" y="59"/>
                  </a:lnTo>
                  <a:lnTo>
                    <a:pt x="36" y="59"/>
                  </a:lnTo>
                  <a:lnTo>
                    <a:pt x="41" y="63"/>
                  </a:lnTo>
                  <a:lnTo>
                    <a:pt x="41" y="67"/>
                  </a:lnTo>
                  <a:lnTo>
                    <a:pt x="45" y="72"/>
                  </a:lnTo>
                  <a:lnTo>
                    <a:pt x="41" y="72"/>
                  </a:lnTo>
                  <a:lnTo>
                    <a:pt x="27" y="63"/>
                  </a:lnTo>
                  <a:lnTo>
                    <a:pt x="23" y="63"/>
                  </a:lnTo>
                  <a:lnTo>
                    <a:pt x="14" y="67"/>
                  </a:lnTo>
                  <a:lnTo>
                    <a:pt x="18" y="76"/>
                  </a:lnTo>
                  <a:lnTo>
                    <a:pt x="23" y="85"/>
                  </a:lnTo>
                  <a:lnTo>
                    <a:pt x="23" y="94"/>
                  </a:lnTo>
                  <a:lnTo>
                    <a:pt x="27" y="85"/>
                  </a:lnTo>
                  <a:lnTo>
                    <a:pt x="32" y="99"/>
                  </a:lnTo>
                  <a:lnTo>
                    <a:pt x="36" y="94"/>
                  </a:lnTo>
                  <a:lnTo>
                    <a:pt x="36" y="90"/>
                  </a:lnTo>
                  <a:lnTo>
                    <a:pt x="41" y="94"/>
                  </a:lnTo>
                  <a:lnTo>
                    <a:pt x="41" y="99"/>
                  </a:lnTo>
                  <a:lnTo>
                    <a:pt x="45" y="94"/>
                  </a:lnTo>
                  <a:lnTo>
                    <a:pt x="45" y="90"/>
                  </a:lnTo>
                  <a:lnTo>
                    <a:pt x="41" y="81"/>
                  </a:lnTo>
                  <a:lnTo>
                    <a:pt x="41" y="76"/>
                  </a:lnTo>
                  <a:lnTo>
                    <a:pt x="45" y="81"/>
                  </a:lnTo>
                  <a:lnTo>
                    <a:pt x="50" y="81"/>
                  </a:lnTo>
                  <a:lnTo>
                    <a:pt x="45" y="76"/>
                  </a:lnTo>
                  <a:lnTo>
                    <a:pt x="50" y="72"/>
                  </a:lnTo>
                  <a:lnTo>
                    <a:pt x="54" y="76"/>
                  </a:lnTo>
                  <a:lnTo>
                    <a:pt x="58" y="72"/>
                  </a:lnTo>
                  <a:lnTo>
                    <a:pt x="54" y="63"/>
                  </a:lnTo>
                  <a:lnTo>
                    <a:pt x="45" y="59"/>
                  </a:lnTo>
                  <a:lnTo>
                    <a:pt x="41" y="54"/>
                  </a:lnTo>
                  <a:lnTo>
                    <a:pt x="32" y="50"/>
                  </a:lnTo>
                  <a:lnTo>
                    <a:pt x="36" y="50"/>
                  </a:lnTo>
                  <a:lnTo>
                    <a:pt x="41" y="45"/>
                  </a:lnTo>
                  <a:lnTo>
                    <a:pt x="45" y="45"/>
                  </a:lnTo>
                  <a:lnTo>
                    <a:pt x="36" y="27"/>
                  </a:lnTo>
                  <a:lnTo>
                    <a:pt x="36" y="18"/>
                  </a:lnTo>
                  <a:lnTo>
                    <a:pt x="41" y="27"/>
                  </a:lnTo>
                  <a:lnTo>
                    <a:pt x="45" y="32"/>
                  </a:lnTo>
                  <a:lnTo>
                    <a:pt x="54" y="32"/>
                  </a:lnTo>
                  <a:lnTo>
                    <a:pt x="54" y="23"/>
                  </a:lnTo>
                  <a:lnTo>
                    <a:pt x="58" y="27"/>
                  </a:lnTo>
                  <a:lnTo>
                    <a:pt x="50" y="18"/>
                  </a:lnTo>
                  <a:lnTo>
                    <a:pt x="58" y="9"/>
                  </a:lnTo>
                  <a:lnTo>
                    <a:pt x="72" y="9"/>
                  </a:lnTo>
                  <a:lnTo>
                    <a:pt x="85" y="9"/>
                  </a:lnTo>
                  <a:lnTo>
                    <a:pt x="85" y="5"/>
                  </a:lnTo>
                  <a:lnTo>
                    <a:pt x="72" y="5"/>
                  </a:lnTo>
                  <a:lnTo>
                    <a:pt x="63" y="0"/>
                  </a:lnTo>
                  <a:lnTo>
                    <a:pt x="54" y="5"/>
                  </a:lnTo>
                  <a:lnTo>
                    <a:pt x="45" y="5"/>
                  </a:lnTo>
                  <a:lnTo>
                    <a:pt x="36" y="9"/>
                  </a:lnTo>
                  <a:lnTo>
                    <a:pt x="32" y="9"/>
                  </a:lnTo>
                  <a:lnTo>
                    <a:pt x="27" y="14"/>
                  </a:lnTo>
                  <a:lnTo>
                    <a:pt x="18" y="18"/>
                  </a:lnTo>
                  <a:lnTo>
                    <a:pt x="5" y="32"/>
                  </a:lnTo>
                  <a:lnTo>
                    <a:pt x="5" y="41"/>
                  </a:lnTo>
                  <a:lnTo>
                    <a:pt x="0" y="41"/>
                  </a:lnTo>
                  <a:close/>
                  <a:moveTo>
                    <a:pt x="41" y="50"/>
                  </a:moveTo>
                  <a:lnTo>
                    <a:pt x="54" y="59"/>
                  </a:lnTo>
                  <a:lnTo>
                    <a:pt x="58" y="67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58" y="63"/>
                  </a:lnTo>
                  <a:lnTo>
                    <a:pt x="58" y="59"/>
                  </a:lnTo>
                  <a:lnTo>
                    <a:pt x="58" y="54"/>
                  </a:lnTo>
                  <a:lnTo>
                    <a:pt x="50" y="54"/>
                  </a:lnTo>
                  <a:lnTo>
                    <a:pt x="45" y="50"/>
                  </a:lnTo>
                  <a:lnTo>
                    <a:pt x="41" y="50"/>
                  </a:lnTo>
                  <a:close/>
                  <a:moveTo>
                    <a:pt x="58" y="108"/>
                  </a:moveTo>
                  <a:lnTo>
                    <a:pt x="54" y="108"/>
                  </a:lnTo>
                  <a:lnTo>
                    <a:pt x="50" y="112"/>
                  </a:lnTo>
                  <a:lnTo>
                    <a:pt x="50" y="117"/>
                  </a:lnTo>
                  <a:lnTo>
                    <a:pt x="63" y="117"/>
                  </a:lnTo>
                  <a:lnTo>
                    <a:pt x="63" y="126"/>
                  </a:lnTo>
                  <a:lnTo>
                    <a:pt x="90" y="121"/>
                  </a:lnTo>
                  <a:lnTo>
                    <a:pt x="90" y="112"/>
                  </a:lnTo>
                  <a:lnTo>
                    <a:pt x="81" y="117"/>
                  </a:lnTo>
                  <a:lnTo>
                    <a:pt x="81" y="112"/>
                  </a:lnTo>
                  <a:lnTo>
                    <a:pt x="67" y="112"/>
                  </a:lnTo>
                  <a:lnTo>
                    <a:pt x="63" y="112"/>
                  </a:lnTo>
                  <a:lnTo>
                    <a:pt x="58" y="108"/>
                  </a:lnTo>
                  <a:close/>
                  <a:moveTo>
                    <a:pt x="58" y="90"/>
                  </a:moveTo>
                  <a:lnTo>
                    <a:pt x="58" y="90"/>
                  </a:lnTo>
                  <a:lnTo>
                    <a:pt x="58" y="94"/>
                  </a:lnTo>
                  <a:lnTo>
                    <a:pt x="63" y="90"/>
                  </a:lnTo>
                  <a:lnTo>
                    <a:pt x="58" y="90"/>
                  </a:lnTo>
                  <a:close/>
                  <a:moveTo>
                    <a:pt x="72" y="81"/>
                  </a:moveTo>
                  <a:lnTo>
                    <a:pt x="72" y="85"/>
                  </a:lnTo>
                  <a:lnTo>
                    <a:pt x="72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6" y="81"/>
                  </a:lnTo>
                  <a:lnTo>
                    <a:pt x="72" y="85"/>
                  </a:lnTo>
                  <a:lnTo>
                    <a:pt x="72" y="81"/>
                  </a:lnTo>
                  <a:close/>
                  <a:moveTo>
                    <a:pt x="81" y="90"/>
                  </a:moveTo>
                  <a:lnTo>
                    <a:pt x="81" y="90"/>
                  </a:lnTo>
                  <a:lnTo>
                    <a:pt x="85" y="85"/>
                  </a:lnTo>
                  <a:lnTo>
                    <a:pt x="81" y="90"/>
                  </a:lnTo>
                  <a:close/>
                  <a:moveTo>
                    <a:pt x="81" y="41"/>
                  </a:moveTo>
                  <a:lnTo>
                    <a:pt x="81" y="41"/>
                  </a:lnTo>
                  <a:lnTo>
                    <a:pt x="85" y="45"/>
                  </a:lnTo>
                  <a:lnTo>
                    <a:pt x="90" y="45"/>
                  </a:lnTo>
                  <a:lnTo>
                    <a:pt x="90" y="50"/>
                  </a:lnTo>
                  <a:lnTo>
                    <a:pt x="90" y="45"/>
                  </a:lnTo>
                  <a:lnTo>
                    <a:pt x="90" y="41"/>
                  </a:lnTo>
                  <a:lnTo>
                    <a:pt x="81" y="41"/>
                  </a:lnTo>
                  <a:close/>
                  <a:moveTo>
                    <a:pt x="81" y="76"/>
                  </a:moveTo>
                  <a:lnTo>
                    <a:pt x="85" y="76"/>
                  </a:lnTo>
                  <a:lnTo>
                    <a:pt x="90" y="76"/>
                  </a:lnTo>
                  <a:lnTo>
                    <a:pt x="81" y="76"/>
                  </a:lnTo>
                  <a:close/>
                  <a:moveTo>
                    <a:pt x="85" y="54"/>
                  </a:moveTo>
                  <a:lnTo>
                    <a:pt x="81" y="59"/>
                  </a:lnTo>
                  <a:lnTo>
                    <a:pt x="85" y="63"/>
                  </a:lnTo>
                  <a:lnTo>
                    <a:pt x="85" y="59"/>
                  </a:lnTo>
                  <a:lnTo>
                    <a:pt x="85" y="54"/>
                  </a:lnTo>
                  <a:close/>
                  <a:moveTo>
                    <a:pt x="112" y="99"/>
                  </a:moveTo>
                  <a:lnTo>
                    <a:pt x="108" y="103"/>
                  </a:lnTo>
                  <a:lnTo>
                    <a:pt x="108" y="112"/>
                  </a:lnTo>
                  <a:lnTo>
                    <a:pt x="112" y="108"/>
                  </a:lnTo>
                  <a:lnTo>
                    <a:pt x="117" y="108"/>
                  </a:lnTo>
                  <a:lnTo>
                    <a:pt x="117" y="99"/>
                  </a:lnTo>
                  <a:lnTo>
                    <a:pt x="112" y="9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32" name="Freeform 20"/>
            <p:cNvSpPr>
              <a:spLocks/>
            </p:cNvSpPr>
            <p:nvPr/>
          </p:nvSpPr>
          <p:spPr bwMode="gray">
            <a:xfrm>
              <a:off x="1239" y="2696"/>
              <a:ext cx="169" cy="107"/>
            </a:xfrm>
            <a:custGeom>
              <a:avLst/>
              <a:gdLst>
                <a:gd name="T0" fmla="*/ 0 w 99"/>
                <a:gd name="T1" fmla="*/ 40 h 63"/>
                <a:gd name="T2" fmla="*/ 5 w 99"/>
                <a:gd name="T3" fmla="*/ 36 h 63"/>
                <a:gd name="T4" fmla="*/ 5 w 99"/>
                <a:gd name="T5" fmla="*/ 31 h 63"/>
                <a:gd name="T6" fmla="*/ 5 w 99"/>
                <a:gd name="T7" fmla="*/ 27 h 63"/>
                <a:gd name="T8" fmla="*/ 5 w 99"/>
                <a:gd name="T9" fmla="*/ 22 h 63"/>
                <a:gd name="T10" fmla="*/ 14 w 99"/>
                <a:gd name="T11" fmla="*/ 22 h 63"/>
                <a:gd name="T12" fmla="*/ 18 w 99"/>
                <a:gd name="T13" fmla="*/ 13 h 63"/>
                <a:gd name="T14" fmla="*/ 18 w 99"/>
                <a:gd name="T15" fmla="*/ 9 h 63"/>
                <a:gd name="T16" fmla="*/ 23 w 99"/>
                <a:gd name="T17" fmla="*/ 13 h 63"/>
                <a:gd name="T18" fmla="*/ 41 w 99"/>
                <a:gd name="T19" fmla="*/ 13 h 63"/>
                <a:gd name="T20" fmla="*/ 45 w 99"/>
                <a:gd name="T21" fmla="*/ 9 h 63"/>
                <a:gd name="T22" fmla="*/ 54 w 99"/>
                <a:gd name="T23" fmla="*/ 9 h 63"/>
                <a:gd name="T24" fmla="*/ 63 w 99"/>
                <a:gd name="T25" fmla="*/ 0 h 63"/>
                <a:gd name="T26" fmla="*/ 72 w 99"/>
                <a:gd name="T27" fmla="*/ 4 h 63"/>
                <a:gd name="T28" fmla="*/ 76 w 99"/>
                <a:gd name="T29" fmla="*/ 0 h 63"/>
                <a:gd name="T30" fmla="*/ 81 w 99"/>
                <a:gd name="T31" fmla="*/ 4 h 63"/>
                <a:gd name="T32" fmla="*/ 90 w 99"/>
                <a:gd name="T33" fmla="*/ 4 h 63"/>
                <a:gd name="T34" fmla="*/ 99 w 99"/>
                <a:gd name="T35" fmla="*/ 18 h 63"/>
                <a:gd name="T36" fmla="*/ 99 w 99"/>
                <a:gd name="T37" fmla="*/ 22 h 63"/>
                <a:gd name="T38" fmla="*/ 85 w 99"/>
                <a:gd name="T39" fmla="*/ 27 h 63"/>
                <a:gd name="T40" fmla="*/ 76 w 99"/>
                <a:gd name="T41" fmla="*/ 45 h 63"/>
                <a:gd name="T42" fmla="*/ 76 w 99"/>
                <a:gd name="T43" fmla="*/ 49 h 63"/>
                <a:gd name="T44" fmla="*/ 67 w 99"/>
                <a:gd name="T45" fmla="*/ 54 h 63"/>
                <a:gd name="T46" fmla="*/ 63 w 99"/>
                <a:gd name="T47" fmla="*/ 54 h 63"/>
                <a:gd name="T48" fmla="*/ 49 w 99"/>
                <a:gd name="T49" fmla="*/ 54 h 63"/>
                <a:gd name="T50" fmla="*/ 36 w 99"/>
                <a:gd name="T51" fmla="*/ 58 h 63"/>
                <a:gd name="T52" fmla="*/ 27 w 99"/>
                <a:gd name="T53" fmla="*/ 63 h 63"/>
                <a:gd name="T54" fmla="*/ 9 w 99"/>
                <a:gd name="T55" fmla="*/ 58 h 63"/>
                <a:gd name="T56" fmla="*/ 5 w 99"/>
                <a:gd name="T57" fmla="*/ 49 h 63"/>
                <a:gd name="T58" fmla="*/ 5 w 99"/>
                <a:gd name="T59" fmla="*/ 49 h 63"/>
                <a:gd name="T60" fmla="*/ 0 w 99"/>
                <a:gd name="T61" fmla="*/ 4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9" h="63">
                  <a:moveTo>
                    <a:pt x="0" y="40"/>
                  </a:moveTo>
                  <a:lnTo>
                    <a:pt x="5" y="36"/>
                  </a:lnTo>
                  <a:lnTo>
                    <a:pt x="5" y="31"/>
                  </a:lnTo>
                  <a:lnTo>
                    <a:pt x="5" y="27"/>
                  </a:lnTo>
                  <a:lnTo>
                    <a:pt x="5" y="22"/>
                  </a:lnTo>
                  <a:lnTo>
                    <a:pt x="14" y="22"/>
                  </a:lnTo>
                  <a:lnTo>
                    <a:pt x="18" y="13"/>
                  </a:lnTo>
                  <a:lnTo>
                    <a:pt x="18" y="9"/>
                  </a:lnTo>
                  <a:lnTo>
                    <a:pt x="23" y="13"/>
                  </a:lnTo>
                  <a:lnTo>
                    <a:pt x="41" y="13"/>
                  </a:lnTo>
                  <a:lnTo>
                    <a:pt x="45" y="9"/>
                  </a:lnTo>
                  <a:lnTo>
                    <a:pt x="54" y="9"/>
                  </a:lnTo>
                  <a:lnTo>
                    <a:pt x="63" y="0"/>
                  </a:lnTo>
                  <a:lnTo>
                    <a:pt x="72" y="4"/>
                  </a:lnTo>
                  <a:lnTo>
                    <a:pt x="76" y="0"/>
                  </a:lnTo>
                  <a:lnTo>
                    <a:pt x="81" y="4"/>
                  </a:lnTo>
                  <a:lnTo>
                    <a:pt x="90" y="4"/>
                  </a:lnTo>
                  <a:lnTo>
                    <a:pt x="99" y="18"/>
                  </a:lnTo>
                  <a:lnTo>
                    <a:pt x="99" y="22"/>
                  </a:lnTo>
                  <a:lnTo>
                    <a:pt x="85" y="27"/>
                  </a:lnTo>
                  <a:lnTo>
                    <a:pt x="76" y="45"/>
                  </a:lnTo>
                  <a:lnTo>
                    <a:pt x="76" y="49"/>
                  </a:lnTo>
                  <a:lnTo>
                    <a:pt x="67" y="54"/>
                  </a:lnTo>
                  <a:lnTo>
                    <a:pt x="63" y="54"/>
                  </a:lnTo>
                  <a:lnTo>
                    <a:pt x="49" y="54"/>
                  </a:lnTo>
                  <a:lnTo>
                    <a:pt x="36" y="58"/>
                  </a:lnTo>
                  <a:lnTo>
                    <a:pt x="27" y="63"/>
                  </a:lnTo>
                  <a:lnTo>
                    <a:pt x="9" y="58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33" name="Freeform 21"/>
            <p:cNvSpPr>
              <a:spLocks/>
            </p:cNvSpPr>
            <p:nvPr/>
          </p:nvSpPr>
          <p:spPr bwMode="gray">
            <a:xfrm>
              <a:off x="261" y="1854"/>
              <a:ext cx="265" cy="175"/>
            </a:xfrm>
            <a:custGeom>
              <a:avLst/>
              <a:gdLst>
                <a:gd name="T0" fmla="*/ 45 w 156"/>
                <a:gd name="T1" fmla="*/ 85 h 103"/>
                <a:gd name="T2" fmla="*/ 81 w 156"/>
                <a:gd name="T3" fmla="*/ 103 h 103"/>
                <a:gd name="T4" fmla="*/ 98 w 156"/>
                <a:gd name="T5" fmla="*/ 89 h 103"/>
                <a:gd name="T6" fmla="*/ 121 w 156"/>
                <a:gd name="T7" fmla="*/ 76 h 103"/>
                <a:gd name="T8" fmla="*/ 134 w 156"/>
                <a:gd name="T9" fmla="*/ 71 h 103"/>
                <a:gd name="T10" fmla="*/ 148 w 156"/>
                <a:gd name="T11" fmla="*/ 62 h 103"/>
                <a:gd name="T12" fmla="*/ 152 w 156"/>
                <a:gd name="T13" fmla="*/ 54 h 103"/>
                <a:gd name="T14" fmla="*/ 152 w 156"/>
                <a:gd name="T15" fmla="*/ 45 h 103"/>
                <a:gd name="T16" fmla="*/ 148 w 156"/>
                <a:gd name="T17" fmla="*/ 31 h 103"/>
                <a:gd name="T18" fmla="*/ 143 w 156"/>
                <a:gd name="T19" fmla="*/ 27 h 103"/>
                <a:gd name="T20" fmla="*/ 143 w 156"/>
                <a:gd name="T21" fmla="*/ 18 h 103"/>
                <a:gd name="T22" fmla="*/ 134 w 156"/>
                <a:gd name="T23" fmla="*/ 13 h 103"/>
                <a:gd name="T24" fmla="*/ 139 w 156"/>
                <a:gd name="T25" fmla="*/ 0 h 103"/>
                <a:gd name="T26" fmla="*/ 125 w 156"/>
                <a:gd name="T27" fmla="*/ 9 h 103"/>
                <a:gd name="T28" fmla="*/ 107 w 156"/>
                <a:gd name="T29" fmla="*/ 0 h 103"/>
                <a:gd name="T30" fmla="*/ 107 w 156"/>
                <a:gd name="T31" fmla="*/ 13 h 103"/>
                <a:gd name="T32" fmla="*/ 98 w 156"/>
                <a:gd name="T33" fmla="*/ 18 h 103"/>
                <a:gd name="T34" fmla="*/ 85 w 156"/>
                <a:gd name="T35" fmla="*/ 13 h 103"/>
                <a:gd name="T36" fmla="*/ 76 w 156"/>
                <a:gd name="T37" fmla="*/ 13 h 103"/>
                <a:gd name="T38" fmla="*/ 72 w 156"/>
                <a:gd name="T39" fmla="*/ 27 h 103"/>
                <a:gd name="T40" fmla="*/ 58 w 156"/>
                <a:gd name="T41" fmla="*/ 13 h 103"/>
                <a:gd name="T42" fmla="*/ 54 w 156"/>
                <a:gd name="T43" fmla="*/ 31 h 103"/>
                <a:gd name="T44" fmla="*/ 40 w 156"/>
                <a:gd name="T45" fmla="*/ 27 h 103"/>
                <a:gd name="T46" fmla="*/ 45 w 156"/>
                <a:gd name="T47" fmla="*/ 13 h 103"/>
                <a:gd name="T48" fmla="*/ 18 w 156"/>
                <a:gd name="T49" fmla="*/ 0 h 103"/>
                <a:gd name="T50" fmla="*/ 22 w 156"/>
                <a:gd name="T51" fmla="*/ 9 h 103"/>
                <a:gd name="T52" fmla="*/ 22 w 156"/>
                <a:gd name="T53" fmla="*/ 13 h 103"/>
                <a:gd name="T54" fmla="*/ 9 w 156"/>
                <a:gd name="T55" fmla="*/ 13 h 103"/>
                <a:gd name="T56" fmla="*/ 14 w 156"/>
                <a:gd name="T57" fmla="*/ 27 h 103"/>
                <a:gd name="T58" fmla="*/ 9 w 156"/>
                <a:gd name="T59" fmla="*/ 31 h 103"/>
                <a:gd name="T60" fmla="*/ 0 w 156"/>
                <a:gd name="T61" fmla="*/ 36 h 103"/>
                <a:gd name="T62" fmla="*/ 27 w 156"/>
                <a:gd name="T63" fmla="*/ 36 h 103"/>
                <a:gd name="T64" fmla="*/ 31 w 156"/>
                <a:gd name="T65" fmla="*/ 45 h 103"/>
                <a:gd name="T66" fmla="*/ 27 w 156"/>
                <a:gd name="T67" fmla="*/ 49 h 103"/>
                <a:gd name="T68" fmla="*/ 9 w 156"/>
                <a:gd name="T69" fmla="*/ 67 h 103"/>
                <a:gd name="T70" fmla="*/ 31 w 156"/>
                <a:gd name="T71" fmla="*/ 62 h 103"/>
                <a:gd name="T72" fmla="*/ 36 w 156"/>
                <a:gd name="T73" fmla="*/ 62 h 103"/>
                <a:gd name="T74" fmla="*/ 22 w 156"/>
                <a:gd name="T75" fmla="*/ 8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6" h="103">
                  <a:moveTo>
                    <a:pt x="27" y="89"/>
                  </a:moveTo>
                  <a:lnTo>
                    <a:pt x="45" y="85"/>
                  </a:lnTo>
                  <a:lnTo>
                    <a:pt x="63" y="98"/>
                  </a:lnTo>
                  <a:lnTo>
                    <a:pt x="81" y="103"/>
                  </a:lnTo>
                  <a:lnTo>
                    <a:pt x="94" y="98"/>
                  </a:lnTo>
                  <a:lnTo>
                    <a:pt x="98" y="89"/>
                  </a:lnTo>
                  <a:lnTo>
                    <a:pt x="112" y="89"/>
                  </a:lnTo>
                  <a:lnTo>
                    <a:pt x="121" y="76"/>
                  </a:lnTo>
                  <a:lnTo>
                    <a:pt x="130" y="71"/>
                  </a:lnTo>
                  <a:lnTo>
                    <a:pt x="134" y="71"/>
                  </a:lnTo>
                  <a:lnTo>
                    <a:pt x="143" y="67"/>
                  </a:lnTo>
                  <a:lnTo>
                    <a:pt x="148" y="62"/>
                  </a:lnTo>
                  <a:lnTo>
                    <a:pt x="148" y="62"/>
                  </a:lnTo>
                  <a:lnTo>
                    <a:pt x="152" y="54"/>
                  </a:lnTo>
                  <a:lnTo>
                    <a:pt x="156" y="49"/>
                  </a:lnTo>
                  <a:lnTo>
                    <a:pt x="152" y="45"/>
                  </a:lnTo>
                  <a:lnTo>
                    <a:pt x="152" y="36"/>
                  </a:lnTo>
                  <a:lnTo>
                    <a:pt x="148" y="31"/>
                  </a:lnTo>
                  <a:lnTo>
                    <a:pt x="143" y="36"/>
                  </a:lnTo>
                  <a:lnTo>
                    <a:pt x="143" y="27"/>
                  </a:lnTo>
                  <a:lnTo>
                    <a:pt x="139" y="27"/>
                  </a:lnTo>
                  <a:lnTo>
                    <a:pt x="143" y="18"/>
                  </a:lnTo>
                  <a:lnTo>
                    <a:pt x="139" y="22"/>
                  </a:lnTo>
                  <a:lnTo>
                    <a:pt x="134" y="13"/>
                  </a:lnTo>
                  <a:lnTo>
                    <a:pt x="143" y="4"/>
                  </a:lnTo>
                  <a:lnTo>
                    <a:pt x="139" y="0"/>
                  </a:lnTo>
                  <a:lnTo>
                    <a:pt x="130" y="13"/>
                  </a:lnTo>
                  <a:lnTo>
                    <a:pt x="125" y="9"/>
                  </a:lnTo>
                  <a:lnTo>
                    <a:pt x="116" y="0"/>
                  </a:lnTo>
                  <a:lnTo>
                    <a:pt x="107" y="0"/>
                  </a:lnTo>
                  <a:lnTo>
                    <a:pt x="112" y="9"/>
                  </a:lnTo>
                  <a:lnTo>
                    <a:pt x="107" y="13"/>
                  </a:lnTo>
                  <a:lnTo>
                    <a:pt x="103" y="13"/>
                  </a:lnTo>
                  <a:lnTo>
                    <a:pt x="98" y="18"/>
                  </a:lnTo>
                  <a:lnTo>
                    <a:pt x="89" y="9"/>
                  </a:lnTo>
                  <a:lnTo>
                    <a:pt x="85" y="13"/>
                  </a:lnTo>
                  <a:lnTo>
                    <a:pt x="89" y="27"/>
                  </a:lnTo>
                  <a:lnTo>
                    <a:pt x="76" y="13"/>
                  </a:lnTo>
                  <a:lnTo>
                    <a:pt x="72" y="13"/>
                  </a:lnTo>
                  <a:lnTo>
                    <a:pt x="72" y="27"/>
                  </a:lnTo>
                  <a:lnTo>
                    <a:pt x="63" y="13"/>
                  </a:lnTo>
                  <a:lnTo>
                    <a:pt x="58" y="13"/>
                  </a:lnTo>
                  <a:lnTo>
                    <a:pt x="58" y="31"/>
                  </a:lnTo>
                  <a:lnTo>
                    <a:pt x="54" y="31"/>
                  </a:lnTo>
                  <a:lnTo>
                    <a:pt x="45" y="40"/>
                  </a:lnTo>
                  <a:lnTo>
                    <a:pt x="40" y="27"/>
                  </a:lnTo>
                  <a:lnTo>
                    <a:pt x="45" y="22"/>
                  </a:lnTo>
                  <a:lnTo>
                    <a:pt x="45" y="13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22" y="9"/>
                  </a:lnTo>
                  <a:lnTo>
                    <a:pt x="27" y="18"/>
                  </a:lnTo>
                  <a:lnTo>
                    <a:pt x="22" y="13"/>
                  </a:lnTo>
                  <a:lnTo>
                    <a:pt x="14" y="9"/>
                  </a:lnTo>
                  <a:lnTo>
                    <a:pt x="9" y="13"/>
                  </a:lnTo>
                  <a:lnTo>
                    <a:pt x="14" y="18"/>
                  </a:lnTo>
                  <a:lnTo>
                    <a:pt x="14" y="27"/>
                  </a:lnTo>
                  <a:lnTo>
                    <a:pt x="9" y="27"/>
                  </a:lnTo>
                  <a:lnTo>
                    <a:pt x="9" y="31"/>
                  </a:lnTo>
                  <a:lnTo>
                    <a:pt x="5" y="31"/>
                  </a:lnTo>
                  <a:lnTo>
                    <a:pt x="0" y="36"/>
                  </a:lnTo>
                  <a:lnTo>
                    <a:pt x="14" y="40"/>
                  </a:lnTo>
                  <a:lnTo>
                    <a:pt x="27" y="36"/>
                  </a:lnTo>
                  <a:lnTo>
                    <a:pt x="36" y="36"/>
                  </a:lnTo>
                  <a:lnTo>
                    <a:pt x="31" y="45"/>
                  </a:lnTo>
                  <a:lnTo>
                    <a:pt x="31" y="49"/>
                  </a:lnTo>
                  <a:lnTo>
                    <a:pt x="27" y="49"/>
                  </a:lnTo>
                  <a:lnTo>
                    <a:pt x="5" y="58"/>
                  </a:lnTo>
                  <a:lnTo>
                    <a:pt x="9" y="67"/>
                  </a:lnTo>
                  <a:lnTo>
                    <a:pt x="14" y="62"/>
                  </a:lnTo>
                  <a:lnTo>
                    <a:pt x="31" y="62"/>
                  </a:lnTo>
                  <a:lnTo>
                    <a:pt x="31" y="67"/>
                  </a:lnTo>
                  <a:lnTo>
                    <a:pt x="36" y="62"/>
                  </a:lnTo>
                  <a:lnTo>
                    <a:pt x="31" y="80"/>
                  </a:lnTo>
                  <a:lnTo>
                    <a:pt x="22" y="80"/>
                  </a:lnTo>
                  <a:lnTo>
                    <a:pt x="27" y="8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34" name="Freeform 22"/>
            <p:cNvSpPr>
              <a:spLocks/>
            </p:cNvSpPr>
            <p:nvPr/>
          </p:nvSpPr>
          <p:spPr bwMode="gray">
            <a:xfrm>
              <a:off x="602" y="2423"/>
              <a:ext cx="100" cy="167"/>
            </a:xfrm>
            <a:custGeom>
              <a:avLst/>
              <a:gdLst>
                <a:gd name="T0" fmla="*/ 45 w 58"/>
                <a:gd name="T1" fmla="*/ 5 h 98"/>
                <a:gd name="T2" fmla="*/ 45 w 58"/>
                <a:gd name="T3" fmla="*/ 0 h 98"/>
                <a:gd name="T4" fmla="*/ 40 w 58"/>
                <a:gd name="T5" fmla="*/ 0 h 98"/>
                <a:gd name="T6" fmla="*/ 40 w 58"/>
                <a:gd name="T7" fmla="*/ 0 h 98"/>
                <a:gd name="T8" fmla="*/ 36 w 58"/>
                <a:gd name="T9" fmla="*/ 9 h 98"/>
                <a:gd name="T10" fmla="*/ 36 w 58"/>
                <a:gd name="T11" fmla="*/ 0 h 98"/>
                <a:gd name="T12" fmla="*/ 27 w 58"/>
                <a:gd name="T13" fmla="*/ 5 h 98"/>
                <a:gd name="T14" fmla="*/ 27 w 58"/>
                <a:gd name="T15" fmla="*/ 13 h 98"/>
                <a:gd name="T16" fmla="*/ 22 w 58"/>
                <a:gd name="T17" fmla="*/ 18 h 98"/>
                <a:gd name="T18" fmla="*/ 27 w 58"/>
                <a:gd name="T19" fmla="*/ 22 h 98"/>
                <a:gd name="T20" fmla="*/ 27 w 58"/>
                <a:gd name="T21" fmla="*/ 22 h 98"/>
                <a:gd name="T22" fmla="*/ 22 w 58"/>
                <a:gd name="T23" fmla="*/ 27 h 98"/>
                <a:gd name="T24" fmla="*/ 22 w 58"/>
                <a:gd name="T25" fmla="*/ 27 h 98"/>
                <a:gd name="T26" fmla="*/ 18 w 58"/>
                <a:gd name="T27" fmla="*/ 27 h 98"/>
                <a:gd name="T28" fmla="*/ 5 w 58"/>
                <a:gd name="T29" fmla="*/ 27 h 98"/>
                <a:gd name="T30" fmla="*/ 0 w 58"/>
                <a:gd name="T31" fmla="*/ 36 h 98"/>
                <a:gd name="T32" fmla="*/ 9 w 58"/>
                <a:gd name="T33" fmla="*/ 36 h 98"/>
                <a:gd name="T34" fmla="*/ 5 w 58"/>
                <a:gd name="T35" fmla="*/ 45 h 98"/>
                <a:gd name="T36" fmla="*/ 0 w 58"/>
                <a:gd name="T37" fmla="*/ 45 h 98"/>
                <a:gd name="T38" fmla="*/ 0 w 58"/>
                <a:gd name="T39" fmla="*/ 54 h 98"/>
                <a:gd name="T40" fmla="*/ 9 w 58"/>
                <a:gd name="T41" fmla="*/ 58 h 98"/>
                <a:gd name="T42" fmla="*/ 14 w 58"/>
                <a:gd name="T43" fmla="*/ 54 h 98"/>
                <a:gd name="T44" fmla="*/ 18 w 58"/>
                <a:gd name="T45" fmla="*/ 54 h 98"/>
                <a:gd name="T46" fmla="*/ 14 w 58"/>
                <a:gd name="T47" fmla="*/ 63 h 98"/>
                <a:gd name="T48" fmla="*/ 14 w 58"/>
                <a:gd name="T49" fmla="*/ 63 h 98"/>
                <a:gd name="T50" fmla="*/ 9 w 58"/>
                <a:gd name="T51" fmla="*/ 72 h 98"/>
                <a:gd name="T52" fmla="*/ 18 w 58"/>
                <a:gd name="T53" fmla="*/ 67 h 98"/>
                <a:gd name="T54" fmla="*/ 18 w 58"/>
                <a:gd name="T55" fmla="*/ 72 h 98"/>
                <a:gd name="T56" fmla="*/ 9 w 58"/>
                <a:gd name="T57" fmla="*/ 76 h 98"/>
                <a:gd name="T58" fmla="*/ 9 w 58"/>
                <a:gd name="T59" fmla="*/ 81 h 98"/>
                <a:gd name="T60" fmla="*/ 0 w 58"/>
                <a:gd name="T61" fmla="*/ 81 h 98"/>
                <a:gd name="T62" fmla="*/ 0 w 58"/>
                <a:gd name="T63" fmla="*/ 89 h 98"/>
                <a:gd name="T64" fmla="*/ 9 w 58"/>
                <a:gd name="T65" fmla="*/ 89 h 98"/>
                <a:gd name="T66" fmla="*/ 0 w 58"/>
                <a:gd name="T67" fmla="*/ 94 h 98"/>
                <a:gd name="T68" fmla="*/ 9 w 58"/>
                <a:gd name="T69" fmla="*/ 98 h 98"/>
                <a:gd name="T70" fmla="*/ 27 w 58"/>
                <a:gd name="T71" fmla="*/ 89 h 98"/>
                <a:gd name="T72" fmla="*/ 40 w 58"/>
                <a:gd name="T73" fmla="*/ 85 h 98"/>
                <a:gd name="T74" fmla="*/ 49 w 58"/>
                <a:gd name="T75" fmla="*/ 85 h 98"/>
                <a:gd name="T76" fmla="*/ 54 w 58"/>
                <a:gd name="T77" fmla="*/ 81 h 98"/>
                <a:gd name="T78" fmla="*/ 58 w 58"/>
                <a:gd name="T79" fmla="*/ 72 h 98"/>
                <a:gd name="T80" fmla="*/ 58 w 58"/>
                <a:gd name="T81" fmla="*/ 54 h 98"/>
                <a:gd name="T82" fmla="*/ 58 w 58"/>
                <a:gd name="T83" fmla="*/ 49 h 98"/>
                <a:gd name="T84" fmla="*/ 58 w 58"/>
                <a:gd name="T85" fmla="*/ 49 h 98"/>
                <a:gd name="T86" fmla="*/ 54 w 58"/>
                <a:gd name="T87" fmla="*/ 31 h 98"/>
                <a:gd name="T88" fmla="*/ 49 w 58"/>
                <a:gd name="T89" fmla="*/ 31 h 98"/>
                <a:gd name="T90" fmla="*/ 40 w 58"/>
                <a:gd name="T91" fmla="*/ 27 h 98"/>
                <a:gd name="T92" fmla="*/ 40 w 58"/>
                <a:gd name="T93" fmla="*/ 36 h 98"/>
                <a:gd name="T94" fmla="*/ 27 w 58"/>
                <a:gd name="T95" fmla="*/ 31 h 98"/>
                <a:gd name="T96" fmla="*/ 27 w 58"/>
                <a:gd name="T97" fmla="*/ 27 h 98"/>
                <a:gd name="T98" fmla="*/ 31 w 58"/>
                <a:gd name="T99" fmla="*/ 18 h 98"/>
                <a:gd name="T100" fmla="*/ 36 w 58"/>
                <a:gd name="T101" fmla="*/ 18 h 98"/>
                <a:gd name="T102" fmla="*/ 40 w 58"/>
                <a:gd name="T103" fmla="*/ 13 h 98"/>
                <a:gd name="T104" fmla="*/ 45 w 58"/>
                <a:gd name="T105" fmla="*/ 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" h="98">
                  <a:moveTo>
                    <a:pt x="45" y="5"/>
                  </a:moveTo>
                  <a:lnTo>
                    <a:pt x="45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9"/>
                  </a:lnTo>
                  <a:lnTo>
                    <a:pt x="36" y="0"/>
                  </a:lnTo>
                  <a:lnTo>
                    <a:pt x="27" y="5"/>
                  </a:lnTo>
                  <a:lnTo>
                    <a:pt x="27" y="13"/>
                  </a:lnTo>
                  <a:lnTo>
                    <a:pt x="22" y="18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18" y="27"/>
                  </a:lnTo>
                  <a:lnTo>
                    <a:pt x="5" y="27"/>
                  </a:lnTo>
                  <a:lnTo>
                    <a:pt x="0" y="36"/>
                  </a:lnTo>
                  <a:lnTo>
                    <a:pt x="9" y="36"/>
                  </a:lnTo>
                  <a:lnTo>
                    <a:pt x="5" y="45"/>
                  </a:lnTo>
                  <a:lnTo>
                    <a:pt x="0" y="45"/>
                  </a:lnTo>
                  <a:lnTo>
                    <a:pt x="0" y="54"/>
                  </a:lnTo>
                  <a:lnTo>
                    <a:pt x="9" y="58"/>
                  </a:lnTo>
                  <a:lnTo>
                    <a:pt x="14" y="54"/>
                  </a:lnTo>
                  <a:lnTo>
                    <a:pt x="18" y="54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9" y="72"/>
                  </a:lnTo>
                  <a:lnTo>
                    <a:pt x="18" y="67"/>
                  </a:lnTo>
                  <a:lnTo>
                    <a:pt x="18" y="72"/>
                  </a:lnTo>
                  <a:lnTo>
                    <a:pt x="9" y="76"/>
                  </a:lnTo>
                  <a:lnTo>
                    <a:pt x="9" y="81"/>
                  </a:lnTo>
                  <a:lnTo>
                    <a:pt x="0" y="81"/>
                  </a:lnTo>
                  <a:lnTo>
                    <a:pt x="0" y="89"/>
                  </a:lnTo>
                  <a:lnTo>
                    <a:pt x="9" y="89"/>
                  </a:lnTo>
                  <a:lnTo>
                    <a:pt x="0" y="94"/>
                  </a:lnTo>
                  <a:lnTo>
                    <a:pt x="9" y="98"/>
                  </a:lnTo>
                  <a:lnTo>
                    <a:pt x="27" y="89"/>
                  </a:lnTo>
                  <a:lnTo>
                    <a:pt x="40" y="85"/>
                  </a:lnTo>
                  <a:lnTo>
                    <a:pt x="49" y="85"/>
                  </a:lnTo>
                  <a:lnTo>
                    <a:pt x="54" y="81"/>
                  </a:lnTo>
                  <a:lnTo>
                    <a:pt x="58" y="72"/>
                  </a:lnTo>
                  <a:lnTo>
                    <a:pt x="58" y="54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4" y="31"/>
                  </a:lnTo>
                  <a:lnTo>
                    <a:pt x="49" y="31"/>
                  </a:lnTo>
                  <a:lnTo>
                    <a:pt x="40" y="27"/>
                  </a:lnTo>
                  <a:lnTo>
                    <a:pt x="40" y="36"/>
                  </a:lnTo>
                  <a:lnTo>
                    <a:pt x="27" y="31"/>
                  </a:lnTo>
                  <a:lnTo>
                    <a:pt x="27" y="27"/>
                  </a:lnTo>
                  <a:lnTo>
                    <a:pt x="31" y="18"/>
                  </a:lnTo>
                  <a:lnTo>
                    <a:pt x="36" y="18"/>
                  </a:lnTo>
                  <a:lnTo>
                    <a:pt x="40" y="13"/>
                  </a:lnTo>
                  <a:lnTo>
                    <a:pt x="45" y="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35" name="Freeform 23"/>
            <p:cNvSpPr>
              <a:spLocks noEditPoints="1"/>
            </p:cNvSpPr>
            <p:nvPr/>
          </p:nvSpPr>
          <p:spPr bwMode="gray">
            <a:xfrm>
              <a:off x="1005" y="2757"/>
              <a:ext cx="296" cy="349"/>
            </a:xfrm>
            <a:custGeom>
              <a:avLst/>
              <a:gdLst>
                <a:gd name="T0" fmla="*/ 27 w 174"/>
                <a:gd name="T1" fmla="*/ 62 h 205"/>
                <a:gd name="T2" fmla="*/ 36 w 174"/>
                <a:gd name="T3" fmla="*/ 49 h 205"/>
                <a:gd name="T4" fmla="*/ 53 w 174"/>
                <a:gd name="T5" fmla="*/ 62 h 205"/>
                <a:gd name="T6" fmla="*/ 62 w 174"/>
                <a:gd name="T7" fmla="*/ 94 h 205"/>
                <a:gd name="T8" fmla="*/ 94 w 174"/>
                <a:gd name="T9" fmla="*/ 120 h 205"/>
                <a:gd name="T10" fmla="*/ 112 w 174"/>
                <a:gd name="T11" fmla="*/ 129 h 205"/>
                <a:gd name="T12" fmla="*/ 120 w 174"/>
                <a:gd name="T13" fmla="*/ 138 h 205"/>
                <a:gd name="T14" fmla="*/ 138 w 174"/>
                <a:gd name="T15" fmla="*/ 161 h 205"/>
                <a:gd name="T16" fmla="*/ 134 w 174"/>
                <a:gd name="T17" fmla="*/ 170 h 205"/>
                <a:gd name="T18" fmla="*/ 134 w 174"/>
                <a:gd name="T19" fmla="*/ 183 h 205"/>
                <a:gd name="T20" fmla="*/ 147 w 174"/>
                <a:gd name="T21" fmla="*/ 170 h 205"/>
                <a:gd name="T22" fmla="*/ 152 w 174"/>
                <a:gd name="T23" fmla="*/ 161 h 205"/>
                <a:gd name="T24" fmla="*/ 143 w 174"/>
                <a:gd name="T25" fmla="*/ 143 h 205"/>
                <a:gd name="T26" fmla="*/ 156 w 174"/>
                <a:gd name="T27" fmla="*/ 134 h 205"/>
                <a:gd name="T28" fmla="*/ 165 w 174"/>
                <a:gd name="T29" fmla="*/ 143 h 205"/>
                <a:gd name="T30" fmla="*/ 174 w 174"/>
                <a:gd name="T31" fmla="*/ 138 h 205"/>
                <a:gd name="T32" fmla="*/ 147 w 174"/>
                <a:gd name="T33" fmla="*/ 111 h 205"/>
                <a:gd name="T34" fmla="*/ 138 w 174"/>
                <a:gd name="T35" fmla="*/ 102 h 205"/>
                <a:gd name="T36" fmla="*/ 120 w 174"/>
                <a:gd name="T37" fmla="*/ 98 h 205"/>
                <a:gd name="T38" fmla="*/ 103 w 174"/>
                <a:gd name="T39" fmla="*/ 80 h 205"/>
                <a:gd name="T40" fmla="*/ 85 w 174"/>
                <a:gd name="T41" fmla="*/ 58 h 205"/>
                <a:gd name="T42" fmla="*/ 85 w 174"/>
                <a:gd name="T43" fmla="*/ 44 h 205"/>
                <a:gd name="T44" fmla="*/ 80 w 174"/>
                <a:gd name="T45" fmla="*/ 31 h 205"/>
                <a:gd name="T46" fmla="*/ 94 w 174"/>
                <a:gd name="T47" fmla="*/ 22 h 205"/>
                <a:gd name="T48" fmla="*/ 103 w 174"/>
                <a:gd name="T49" fmla="*/ 27 h 205"/>
                <a:gd name="T50" fmla="*/ 107 w 174"/>
                <a:gd name="T51" fmla="*/ 31 h 205"/>
                <a:gd name="T52" fmla="*/ 103 w 174"/>
                <a:gd name="T53" fmla="*/ 18 h 205"/>
                <a:gd name="T54" fmla="*/ 103 w 174"/>
                <a:gd name="T55" fmla="*/ 13 h 205"/>
                <a:gd name="T56" fmla="*/ 85 w 174"/>
                <a:gd name="T57" fmla="*/ 0 h 205"/>
                <a:gd name="T58" fmla="*/ 67 w 174"/>
                <a:gd name="T59" fmla="*/ 4 h 205"/>
                <a:gd name="T60" fmla="*/ 53 w 174"/>
                <a:gd name="T61" fmla="*/ 13 h 205"/>
                <a:gd name="T62" fmla="*/ 40 w 174"/>
                <a:gd name="T63" fmla="*/ 9 h 205"/>
                <a:gd name="T64" fmla="*/ 36 w 174"/>
                <a:gd name="T65" fmla="*/ 22 h 205"/>
                <a:gd name="T66" fmla="*/ 27 w 174"/>
                <a:gd name="T67" fmla="*/ 13 h 205"/>
                <a:gd name="T68" fmla="*/ 18 w 174"/>
                <a:gd name="T69" fmla="*/ 22 h 205"/>
                <a:gd name="T70" fmla="*/ 9 w 174"/>
                <a:gd name="T71" fmla="*/ 35 h 205"/>
                <a:gd name="T72" fmla="*/ 0 w 174"/>
                <a:gd name="T73" fmla="*/ 49 h 205"/>
                <a:gd name="T74" fmla="*/ 18 w 174"/>
                <a:gd name="T75" fmla="*/ 62 h 205"/>
                <a:gd name="T76" fmla="*/ 40 w 174"/>
                <a:gd name="T77" fmla="*/ 116 h 205"/>
                <a:gd name="T78" fmla="*/ 27 w 174"/>
                <a:gd name="T79" fmla="*/ 125 h 205"/>
                <a:gd name="T80" fmla="*/ 31 w 174"/>
                <a:gd name="T81" fmla="*/ 129 h 205"/>
                <a:gd name="T82" fmla="*/ 36 w 174"/>
                <a:gd name="T83" fmla="*/ 143 h 205"/>
                <a:gd name="T84" fmla="*/ 31 w 174"/>
                <a:gd name="T85" fmla="*/ 147 h 205"/>
                <a:gd name="T86" fmla="*/ 36 w 174"/>
                <a:gd name="T87" fmla="*/ 161 h 205"/>
                <a:gd name="T88" fmla="*/ 45 w 174"/>
                <a:gd name="T89" fmla="*/ 156 h 205"/>
                <a:gd name="T90" fmla="*/ 49 w 174"/>
                <a:gd name="T91" fmla="*/ 143 h 205"/>
                <a:gd name="T92" fmla="*/ 49 w 174"/>
                <a:gd name="T93" fmla="*/ 129 h 205"/>
                <a:gd name="T94" fmla="*/ 40 w 174"/>
                <a:gd name="T95" fmla="*/ 116 h 205"/>
                <a:gd name="T96" fmla="*/ 120 w 174"/>
                <a:gd name="T97" fmla="*/ 174 h 205"/>
                <a:gd name="T98" fmla="*/ 98 w 174"/>
                <a:gd name="T99" fmla="*/ 170 h 205"/>
                <a:gd name="T100" fmla="*/ 85 w 174"/>
                <a:gd name="T101" fmla="*/ 178 h 205"/>
                <a:gd name="T102" fmla="*/ 89 w 174"/>
                <a:gd name="T103" fmla="*/ 187 h 205"/>
                <a:gd name="T104" fmla="*/ 103 w 174"/>
                <a:gd name="T105" fmla="*/ 196 h 205"/>
                <a:gd name="T106" fmla="*/ 116 w 174"/>
                <a:gd name="T107" fmla="*/ 201 h 205"/>
                <a:gd name="T108" fmla="*/ 125 w 174"/>
                <a:gd name="T109" fmla="*/ 201 h 205"/>
                <a:gd name="T110" fmla="*/ 129 w 174"/>
                <a:gd name="T111" fmla="*/ 178 h 205"/>
                <a:gd name="T112" fmla="*/ 125 w 174"/>
                <a:gd name="T113" fmla="*/ 174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4" h="205">
                  <a:moveTo>
                    <a:pt x="22" y="67"/>
                  </a:moveTo>
                  <a:lnTo>
                    <a:pt x="27" y="62"/>
                  </a:lnTo>
                  <a:lnTo>
                    <a:pt x="31" y="58"/>
                  </a:lnTo>
                  <a:lnTo>
                    <a:pt x="36" y="49"/>
                  </a:lnTo>
                  <a:lnTo>
                    <a:pt x="49" y="58"/>
                  </a:lnTo>
                  <a:lnTo>
                    <a:pt x="53" y="62"/>
                  </a:lnTo>
                  <a:lnTo>
                    <a:pt x="58" y="80"/>
                  </a:lnTo>
                  <a:lnTo>
                    <a:pt x="62" y="94"/>
                  </a:lnTo>
                  <a:lnTo>
                    <a:pt x="85" y="111"/>
                  </a:lnTo>
                  <a:lnTo>
                    <a:pt x="94" y="120"/>
                  </a:lnTo>
                  <a:lnTo>
                    <a:pt x="103" y="116"/>
                  </a:lnTo>
                  <a:lnTo>
                    <a:pt x="112" y="129"/>
                  </a:lnTo>
                  <a:lnTo>
                    <a:pt x="120" y="129"/>
                  </a:lnTo>
                  <a:lnTo>
                    <a:pt x="120" y="138"/>
                  </a:lnTo>
                  <a:lnTo>
                    <a:pt x="129" y="143"/>
                  </a:lnTo>
                  <a:lnTo>
                    <a:pt x="138" y="161"/>
                  </a:lnTo>
                  <a:lnTo>
                    <a:pt x="134" y="165"/>
                  </a:lnTo>
                  <a:lnTo>
                    <a:pt x="134" y="170"/>
                  </a:lnTo>
                  <a:lnTo>
                    <a:pt x="129" y="174"/>
                  </a:lnTo>
                  <a:lnTo>
                    <a:pt x="134" y="183"/>
                  </a:lnTo>
                  <a:lnTo>
                    <a:pt x="138" y="178"/>
                  </a:lnTo>
                  <a:lnTo>
                    <a:pt x="147" y="170"/>
                  </a:lnTo>
                  <a:lnTo>
                    <a:pt x="147" y="165"/>
                  </a:lnTo>
                  <a:lnTo>
                    <a:pt x="152" y="161"/>
                  </a:lnTo>
                  <a:lnTo>
                    <a:pt x="156" y="152"/>
                  </a:lnTo>
                  <a:lnTo>
                    <a:pt x="143" y="143"/>
                  </a:lnTo>
                  <a:lnTo>
                    <a:pt x="152" y="134"/>
                  </a:lnTo>
                  <a:lnTo>
                    <a:pt x="156" y="134"/>
                  </a:lnTo>
                  <a:lnTo>
                    <a:pt x="165" y="134"/>
                  </a:lnTo>
                  <a:lnTo>
                    <a:pt x="165" y="143"/>
                  </a:lnTo>
                  <a:lnTo>
                    <a:pt x="170" y="147"/>
                  </a:lnTo>
                  <a:lnTo>
                    <a:pt x="174" y="138"/>
                  </a:lnTo>
                  <a:lnTo>
                    <a:pt x="165" y="125"/>
                  </a:lnTo>
                  <a:lnTo>
                    <a:pt x="147" y="111"/>
                  </a:lnTo>
                  <a:lnTo>
                    <a:pt x="138" y="111"/>
                  </a:lnTo>
                  <a:lnTo>
                    <a:pt x="138" y="102"/>
                  </a:lnTo>
                  <a:lnTo>
                    <a:pt x="138" y="98"/>
                  </a:lnTo>
                  <a:lnTo>
                    <a:pt x="120" y="98"/>
                  </a:lnTo>
                  <a:lnTo>
                    <a:pt x="112" y="89"/>
                  </a:lnTo>
                  <a:lnTo>
                    <a:pt x="103" y="80"/>
                  </a:lnTo>
                  <a:lnTo>
                    <a:pt x="98" y="71"/>
                  </a:lnTo>
                  <a:lnTo>
                    <a:pt x="85" y="58"/>
                  </a:lnTo>
                  <a:lnTo>
                    <a:pt x="80" y="49"/>
                  </a:lnTo>
                  <a:lnTo>
                    <a:pt x="85" y="44"/>
                  </a:lnTo>
                  <a:lnTo>
                    <a:pt x="80" y="35"/>
                  </a:lnTo>
                  <a:lnTo>
                    <a:pt x="80" y="31"/>
                  </a:lnTo>
                  <a:lnTo>
                    <a:pt x="85" y="27"/>
                  </a:lnTo>
                  <a:lnTo>
                    <a:pt x="94" y="22"/>
                  </a:lnTo>
                  <a:lnTo>
                    <a:pt x="98" y="27"/>
                  </a:lnTo>
                  <a:lnTo>
                    <a:pt x="103" y="27"/>
                  </a:lnTo>
                  <a:lnTo>
                    <a:pt x="103" y="31"/>
                  </a:lnTo>
                  <a:lnTo>
                    <a:pt x="107" y="31"/>
                  </a:lnTo>
                  <a:lnTo>
                    <a:pt x="103" y="22"/>
                  </a:lnTo>
                  <a:lnTo>
                    <a:pt x="103" y="18"/>
                  </a:lnTo>
                  <a:lnTo>
                    <a:pt x="98" y="13"/>
                  </a:lnTo>
                  <a:lnTo>
                    <a:pt x="103" y="13"/>
                  </a:lnTo>
                  <a:lnTo>
                    <a:pt x="89" y="9"/>
                  </a:lnTo>
                  <a:lnTo>
                    <a:pt x="85" y="0"/>
                  </a:lnTo>
                  <a:lnTo>
                    <a:pt x="71" y="0"/>
                  </a:lnTo>
                  <a:lnTo>
                    <a:pt x="67" y="4"/>
                  </a:lnTo>
                  <a:lnTo>
                    <a:pt x="58" y="4"/>
                  </a:lnTo>
                  <a:lnTo>
                    <a:pt x="53" y="13"/>
                  </a:lnTo>
                  <a:lnTo>
                    <a:pt x="45" y="13"/>
                  </a:lnTo>
                  <a:lnTo>
                    <a:pt x="40" y="9"/>
                  </a:lnTo>
                  <a:lnTo>
                    <a:pt x="40" y="18"/>
                  </a:lnTo>
                  <a:lnTo>
                    <a:pt x="36" y="22"/>
                  </a:lnTo>
                  <a:lnTo>
                    <a:pt x="31" y="13"/>
                  </a:lnTo>
                  <a:lnTo>
                    <a:pt x="27" y="13"/>
                  </a:lnTo>
                  <a:lnTo>
                    <a:pt x="27" y="22"/>
                  </a:lnTo>
                  <a:lnTo>
                    <a:pt x="18" y="22"/>
                  </a:lnTo>
                  <a:lnTo>
                    <a:pt x="13" y="22"/>
                  </a:lnTo>
                  <a:lnTo>
                    <a:pt x="9" y="35"/>
                  </a:lnTo>
                  <a:lnTo>
                    <a:pt x="4" y="35"/>
                  </a:lnTo>
                  <a:lnTo>
                    <a:pt x="0" y="49"/>
                  </a:lnTo>
                  <a:lnTo>
                    <a:pt x="9" y="62"/>
                  </a:lnTo>
                  <a:lnTo>
                    <a:pt x="18" y="62"/>
                  </a:lnTo>
                  <a:lnTo>
                    <a:pt x="22" y="67"/>
                  </a:lnTo>
                  <a:close/>
                  <a:moveTo>
                    <a:pt x="40" y="116"/>
                  </a:moveTo>
                  <a:lnTo>
                    <a:pt x="36" y="125"/>
                  </a:lnTo>
                  <a:lnTo>
                    <a:pt x="27" y="125"/>
                  </a:lnTo>
                  <a:lnTo>
                    <a:pt x="27" y="129"/>
                  </a:lnTo>
                  <a:lnTo>
                    <a:pt x="31" y="129"/>
                  </a:lnTo>
                  <a:lnTo>
                    <a:pt x="31" y="143"/>
                  </a:lnTo>
                  <a:lnTo>
                    <a:pt x="36" y="143"/>
                  </a:lnTo>
                  <a:lnTo>
                    <a:pt x="36" y="147"/>
                  </a:lnTo>
                  <a:lnTo>
                    <a:pt x="31" y="147"/>
                  </a:lnTo>
                  <a:lnTo>
                    <a:pt x="31" y="156"/>
                  </a:lnTo>
                  <a:lnTo>
                    <a:pt x="36" y="161"/>
                  </a:lnTo>
                  <a:lnTo>
                    <a:pt x="40" y="161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9" y="143"/>
                  </a:lnTo>
                  <a:lnTo>
                    <a:pt x="45" y="134"/>
                  </a:lnTo>
                  <a:lnTo>
                    <a:pt x="49" y="129"/>
                  </a:lnTo>
                  <a:lnTo>
                    <a:pt x="49" y="120"/>
                  </a:lnTo>
                  <a:lnTo>
                    <a:pt x="40" y="116"/>
                  </a:lnTo>
                  <a:close/>
                  <a:moveTo>
                    <a:pt x="125" y="174"/>
                  </a:moveTo>
                  <a:lnTo>
                    <a:pt x="120" y="174"/>
                  </a:lnTo>
                  <a:lnTo>
                    <a:pt x="107" y="174"/>
                  </a:lnTo>
                  <a:lnTo>
                    <a:pt x="98" y="170"/>
                  </a:lnTo>
                  <a:lnTo>
                    <a:pt x="89" y="174"/>
                  </a:lnTo>
                  <a:lnTo>
                    <a:pt x="85" y="178"/>
                  </a:lnTo>
                  <a:lnTo>
                    <a:pt x="85" y="187"/>
                  </a:lnTo>
                  <a:lnTo>
                    <a:pt x="89" y="187"/>
                  </a:lnTo>
                  <a:lnTo>
                    <a:pt x="94" y="187"/>
                  </a:lnTo>
                  <a:lnTo>
                    <a:pt x="103" y="196"/>
                  </a:lnTo>
                  <a:lnTo>
                    <a:pt x="112" y="196"/>
                  </a:lnTo>
                  <a:lnTo>
                    <a:pt x="116" y="201"/>
                  </a:lnTo>
                  <a:lnTo>
                    <a:pt x="125" y="205"/>
                  </a:lnTo>
                  <a:lnTo>
                    <a:pt x="125" y="201"/>
                  </a:lnTo>
                  <a:lnTo>
                    <a:pt x="125" y="187"/>
                  </a:lnTo>
                  <a:lnTo>
                    <a:pt x="129" y="178"/>
                  </a:lnTo>
                  <a:lnTo>
                    <a:pt x="129" y="174"/>
                  </a:lnTo>
                  <a:lnTo>
                    <a:pt x="125" y="17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36" name="Freeform 24"/>
            <p:cNvSpPr>
              <a:spLocks/>
            </p:cNvSpPr>
            <p:nvPr/>
          </p:nvSpPr>
          <p:spPr bwMode="gray">
            <a:xfrm>
              <a:off x="1353" y="2309"/>
              <a:ext cx="184" cy="114"/>
            </a:xfrm>
            <a:custGeom>
              <a:avLst/>
              <a:gdLst>
                <a:gd name="T0" fmla="*/ 5 w 108"/>
                <a:gd name="T1" fmla="*/ 49 h 67"/>
                <a:gd name="T2" fmla="*/ 9 w 108"/>
                <a:gd name="T3" fmla="*/ 49 h 67"/>
                <a:gd name="T4" fmla="*/ 18 w 108"/>
                <a:gd name="T5" fmla="*/ 45 h 67"/>
                <a:gd name="T6" fmla="*/ 23 w 108"/>
                <a:gd name="T7" fmla="*/ 49 h 67"/>
                <a:gd name="T8" fmla="*/ 32 w 108"/>
                <a:gd name="T9" fmla="*/ 45 h 67"/>
                <a:gd name="T10" fmla="*/ 49 w 108"/>
                <a:gd name="T11" fmla="*/ 49 h 67"/>
                <a:gd name="T12" fmla="*/ 58 w 108"/>
                <a:gd name="T13" fmla="*/ 45 h 67"/>
                <a:gd name="T14" fmla="*/ 63 w 108"/>
                <a:gd name="T15" fmla="*/ 49 h 67"/>
                <a:gd name="T16" fmla="*/ 67 w 108"/>
                <a:gd name="T17" fmla="*/ 54 h 67"/>
                <a:gd name="T18" fmla="*/ 81 w 108"/>
                <a:gd name="T19" fmla="*/ 67 h 67"/>
                <a:gd name="T20" fmla="*/ 94 w 108"/>
                <a:gd name="T21" fmla="*/ 63 h 67"/>
                <a:gd name="T22" fmla="*/ 99 w 108"/>
                <a:gd name="T23" fmla="*/ 58 h 67"/>
                <a:gd name="T24" fmla="*/ 103 w 108"/>
                <a:gd name="T25" fmla="*/ 49 h 67"/>
                <a:gd name="T26" fmla="*/ 103 w 108"/>
                <a:gd name="T27" fmla="*/ 49 h 67"/>
                <a:gd name="T28" fmla="*/ 103 w 108"/>
                <a:gd name="T29" fmla="*/ 40 h 67"/>
                <a:gd name="T30" fmla="*/ 103 w 108"/>
                <a:gd name="T31" fmla="*/ 22 h 67"/>
                <a:gd name="T32" fmla="*/ 108 w 108"/>
                <a:gd name="T33" fmla="*/ 18 h 67"/>
                <a:gd name="T34" fmla="*/ 103 w 108"/>
                <a:gd name="T35" fmla="*/ 13 h 67"/>
                <a:gd name="T36" fmla="*/ 99 w 108"/>
                <a:gd name="T37" fmla="*/ 13 h 67"/>
                <a:gd name="T38" fmla="*/ 90 w 108"/>
                <a:gd name="T39" fmla="*/ 9 h 67"/>
                <a:gd name="T40" fmla="*/ 85 w 108"/>
                <a:gd name="T41" fmla="*/ 9 h 67"/>
                <a:gd name="T42" fmla="*/ 76 w 108"/>
                <a:gd name="T43" fmla="*/ 5 h 67"/>
                <a:gd name="T44" fmla="*/ 67 w 108"/>
                <a:gd name="T45" fmla="*/ 0 h 67"/>
                <a:gd name="T46" fmla="*/ 54 w 108"/>
                <a:gd name="T47" fmla="*/ 5 h 67"/>
                <a:gd name="T48" fmla="*/ 54 w 108"/>
                <a:gd name="T49" fmla="*/ 18 h 67"/>
                <a:gd name="T50" fmla="*/ 49 w 108"/>
                <a:gd name="T51" fmla="*/ 22 h 67"/>
                <a:gd name="T52" fmla="*/ 41 w 108"/>
                <a:gd name="T53" fmla="*/ 27 h 67"/>
                <a:gd name="T54" fmla="*/ 32 w 108"/>
                <a:gd name="T55" fmla="*/ 22 h 67"/>
                <a:gd name="T56" fmla="*/ 32 w 108"/>
                <a:gd name="T57" fmla="*/ 18 h 67"/>
                <a:gd name="T58" fmla="*/ 27 w 108"/>
                <a:gd name="T59" fmla="*/ 9 h 67"/>
                <a:gd name="T60" fmla="*/ 23 w 108"/>
                <a:gd name="T61" fmla="*/ 5 h 67"/>
                <a:gd name="T62" fmla="*/ 14 w 108"/>
                <a:gd name="T63" fmla="*/ 9 h 67"/>
                <a:gd name="T64" fmla="*/ 9 w 108"/>
                <a:gd name="T65" fmla="*/ 13 h 67"/>
                <a:gd name="T66" fmla="*/ 9 w 108"/>
                <a:gd name="T67" fmla="*/ 22 h 67"/>
                <a:gd name="T68" fmla="*/ 0 w 108"/>
                <a:gd name="T69" fmla="*/ 31 h 67"/>
                <a:gd name="T70" fmla="*/ 5 w 108"/>
                <a:gd name="T71" fmla="*/ 49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" h="67">
                  <a:moveTo>
                    <a:pt x="5" y="49"/>
                  </a:moveTo>
                  <a:lnTo>
                    <a:pt x="9" y="49"/>
                  </a:lnTo>
                  <a:lnTo>
                    <a:pt x="18" y="45"/>
                  </a:lnTo>
                  <a:lnTo>
                    <a:pt x="23" y="49"/>
                  </a:lnTo>
                  <a:lnTo>
                    <a:pt x="32" y="45"/>
                  </a:lnTo>
                  <a:lnTo>
                    <a:pt x="49" y="49"/>
                  </a:lnTo>
                  <a:lnTo>
                    <a:pt x="58" y="45"/>
                  </a:lnTo>
                  <a:lnTo>
                    <a:pt x="63" y="49"/>
                  </a:lnTo>
                  <a:lnTo>
                    <a:pt x="67" y="54"/>
                  </a:lnTo>
                  <a:lnTo>
                    <a:pt x="81" y="67"/>
                  </a:lnTo>
                  <a:lnTo>
                    <a:pt x="94" y="63"/>
                  </a:lnTo>
                  <a:lnTo>
                    <a:pt x="99" y="58"/>
                  </a:lnTo>
                  <a:lnTo>
                    <a:pt x="103" y="49"/>
                  </a:lnTo>
                  <a:lnTo>
                    <a:pt x="103" y="49"/>
                  </a:lnTo>
                  <a:lnTo>
                    <a:pt x="103" y="40"/>
                  </a:lnTo>
                  <a:lnTo>
                    <a:pt x="103" y="22"/>
                  </a:lnTo>
                  <a:lnTo>
                    <a:pt x="108" y="18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0" y="9"/>
                  </a:lnTo>
                  <a:lnTo>
                    <a:pt x="85" y="9"/>
                  </a:lnTo>
                  <a:lnTo>
                    <a:pt x="76" y="5"/>
                  </a:lnTo>
                  <a:lnTo>
                    <a:pt x="67" y="0"/>
                  </a:lnTo>
                  <a:lnTo>
                    <a:pt x="54" y="5"/>
                  </a:lnTo>
                  <a:lnTo>
                    <a:pt x="54" y="18"/>
                  </a:lnTo>
                  <a:lnTo>
                    <a:pt x="49" y="22"/>
                  </a:lnTo>
                  <a:lnTo>
                    <a:pt x="41" y="27"/>
                  </a:lnTo>
                  <a:lnTo>
                    <a:pt x="32" y="22"/>
                  </a:lnTo>
                  <a:lnTo>
                    <a:pt x="32" y="18"/>
                  </a:lnTo>
                  <a:lnTo>
                    <a:pt x="27" y="9"/>
                  </a:lnTo>
                  <a:lnTo>
                    <a:pt x="23" y="5"/>
                  </a:lnTo>
                  <a:lnTo>
                    <a:pt x="14" y="9"/>
                  </a:lnTo>
                  <a:lnTo>
                    <a:pt x="9" y="13"/>
                  </a:lnTo>
                  <a:lnTo>
                    <a:pt x="9" y="22"/>
                  </a:lnTo>
                  <a:lnTo>
                    <a:pt x="0" y="31"/>
                  </a:lnTo>
                  <a:lnTo>
                    <a:pt x="5" y="4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37" name="Freeform 25"/>
            <p:cNvSpPr>
              <a:spLocks/>
            </p:cNvSpPr>
            <p:nvPr/>
          </p:nvSpPr>
          <p:spPr bwMode="gray">
            <a:xfrm>
              <a:off x="1353" y="2386"/>
              <a:ext cx="145" cy="105"/>
            </a:xfrm>
            <a:custGeom>
              <a:avLst/>
              <a:gdLst>
                <a:gd name="T0" fmla="*/ 5 w 85"/>
                <a:gd name="T1" fmla="*/ 4 h 62"/>
                <a:gd name="T2" fmla="*/ 0 w 85"/>
                <a:gd name="T3" fmla="*/ 4 h 62"/>
                <a:gd name="T4" fmla="*/ 5 w 85"/>
                <a:gd name="T5" fmla="*/ 18 h 62"/>
                <a:gd name="T6" fmla="*/ 5 w 85"/>
                <a:gd name="T7" fmla="*/ 22 h 62"/>
                <a:gd name="T8" fmla="*/ 9 w 85"/>
                <a:gd name="T9" fmla="*/ 22 h 62"/>
                <a:gd name="T10" fmla="*/ 9 w 85"/>
                <a:gd name="T11" fmla="*/ 27 h 62"/>
                <a:gd name="T12" fmla="*/ 23 w 85"/>
                <a:gd name="T13" fmla="*/ 31 h 62"/>
                <a:gd name="T14" fmla="*/ 32 w 85"/>
                <a:gd name="T15" fmla="*/ 31 h 62"/>
                <a:gd name="T16" fmla="*/ 32 w 85"/>
                <a:gd name="T17" fmla="*/ 35 h 62"/>
                <a:gd name="T18" fmla="*/ 32 w 85"/>
                <a:gd name="T19" fmla="*/ 49 h 62"/>
                <a:gd name="T20" fmla="*/ 41 w 85"/>
                <a:gd name="T21" fmla="*/ 58 h 62"/>
                <a:gd name="T22" fmla="*/ 41 w 85"/>
                <a:gd name="T23" fmla="*/ 62 h 62"/>
                <a:gd name="T24" fmla="*/ 49 w 85"/>
                <a:gd name="T25" fmla="*/ 53 h 62"/>
                <a:gd name="T26" fmla="*/ 58 w 85"/>
                <a:gd name="T27" fmla="*/ 58 h 62"/>
                <a:gd name="T28" fmla="*/ 63 w 85"/>
                <a:gd name="T29" fmla="*/ 53 h 62"/>
                <a:gd name="T30" fmla="*/ 67 w 85"/>
                <a:gd name="T31" fmla="*/ 58 h 62"/>
                <a:gd name="T32" fmla="*/ 67 w 85"/>
                <a:gd name="T33" fmla="*/ 49 h 62"/>
                <a:gd name="T34" fmla="*/ 72 w 85"/>
                <a:gd name="T35" fmla="*/ 44 h 62"/>
                <a:gd name="T36" fmla="*/ 76 w 85"/>
                <a:gd name="T37" fmla="*/ 35 h 62"/>
                <a:gd name="T38" fmla="*/ 81 w 85"/>
                <a:gd name="T39" fmla="*/ 31 h 62"/>
                <a:gd name="T40" fmla="*/ 81 w 85"/>
                <a:gd name="T41" fmla="*/ 31 h 62"/>
                <a:gd name="T42" fmla="*/ 85 w 85"/>
                <a:gd name="T43" fmla="*/ 31 h 62"/>
                <a:gd name="T44" fmla="*/ 81 w 85"/>
                <a:gd name="T45" fmla="*/ 27 h 62"/>
                <a:gd name="T46" fmla="*/ 81 w 85"/>
                <a:gd name="T47" fmla="*/ 27 h 62"/>
                <a:gd name="T48" fmla="*/ 81 w 85"/>
                <a:gd name="T49" fmla="*/ 22 h 62"/>
                <a:gd name="T50" fmla="*/ 67 w 85"/>
                <a:gd name="T51" fmla="*/ 9 h 62"/>
                <a:gd name="T52" fmla="*/ 63 w 85"/>
                <a:gd name="T53" fmla="*/ 4 h 62"/>
                <a:gd name="T54" fmla="*/ 58 w 85"/>
                <a:gd name="T55" fmla="*/ 0 h 62"/>
                <a:gd name="T56" fmla="*/ 49 w 85"/>
                <a:gd name="T57" fmla="*/ 4 h 62"/>
                <a:gd name="T58" fmla="*/ 32 w 85"/>
                <a:gd name="T59" fmla="*/ 0 h 62"/>
                <a:gd name="T60" fmla="*/ 23 w 85"/>
                <a:gd name="T61" fmla="*/ 4 h 62"/>
                <a:gd name="T62" fmla="*/ 18 w 85"/>
                <a:gd name="T63" fmla="*/ 0 h 62"/>
                <a:gd name="T64" fmla="*/ 9 w 85"/>
                <a:gd name="T65" fmla="*/ 4 h 62"/>
                <a:gd name="T66" fmla="*/ 5 w 85"/>
                <a:gd name="T67" fmla="*/ 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5" h="62">
                  <a:moveTo>
                    <a:pt x="5" y="4"/>
                  </a:moveTo>
                  <a:lnTo>
                    <a:pt x="0" y="4"/>
                  </a:lnTo>
                  <a:lnTo>
                    <a:pt x="5" y="18"/>
                  </a:lnTo>
                  <a:lnTo>
                    <a:pt x="5" y="22"/>
                  </a:lnTo>
                  <a:lnTo>
                    <a:pt x="9" y="22"/>
                  </a:lnTo>
                  <a:lnTo>
                    <a:pt x="9" y="27"/>
                  </a:lnTo>
                  <a:lnTo>
                    <a:pt x="23" y="31"/>
                  </a:lnTo>
                  <a:lnTo>
                    <a:pt x="32" y="31"/>
                  </a:lnTo>
                  <a:lnTo>
                    <a:pt x="32" y="35"/>
                  </a:lnTo>
                  <a:lnTo>
                    <a:pt x="32" y="49"/>
                  </a:lnTo>
                  <a:lnTo>
                    <a:pt x="41" y="58"/>
                  </a:lnTo>
                  <a:lnTo>
                    <a:pt x="41" y="62"/>
                  </a:lnTo>
                  <a:lnTo>
                    <a:pt x="49" y="53"/>
                  </a:lnTo>
                  <a:lnTo>
                    <a:pt x="58" y="58"/>
                  </a:lnTo>
                  <a:lnTo>
                    <a:pt x="63" y="53"/>
                  </a:lnTo>
                  <a:lnTo>
                    <a:pt x="67" y="58"/>
                  </a:lnTo>
                  <a:lnTo>
                    <a:pt x="67" y="49"/>
                  </a:lnTo>
                  <a:lnTo>
                    <a:pt x="72" y="44"/>
                  </a:lnTo>
                  <a:lnTo>
                    <a:pt x="76" y="35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5" y="31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2"/>
                  </a:lnTo>
                  <a:lnTo>
                    <a:pt x="67" y="9"/>
                  </a:lnTo>
                  <a:lnTo>
                    <a:pt x="63" y="4"/>
                  </a:lnTo>
                  <a:lnTo>
                    <a:pt x="58" y="0"/>
                  </a:lnTo>
                  <a:lnTo>
                    <a:pt x="49" y="4"/>
                  </a:lnTo>
                  <a:lnTo>
                    <a:pt x="32" y="0"/>
                  </a:lnTo>
                  <a:lnTo>
                    <a:pt x="23" y="4"/>
                  </a:lnTo>
                  <a:lnTo>
                    <a:pt x="18" y="0"/>
                  </a:lnTo>
                  <a:lnTo>
                    <a:pt x="9" y="4"/>
                  </a:lnTo>
                  <a:lnTo>
                    <a:pt x="5" y="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38" name="Freeform 26"/>
            <p:cNvSpPr>
              <a:spLocks/>
            </p:cNvSpPr>
            <p:nvPr/>
          </p:nvSpPr>
          <p:spPr bwMode="gray">
            <a:xfrm>
              <a:off x="997" y="2644"/>
              <a:ext cx="15" cy="22"/>
            </a:xfrm>
            <a:custGeom>
              <a:avLst/>
              <a:gdLst>
                <a:gd name="T0" fmla="*/ 0 w 9"/>
                <a:gd name="T1" fmla="*/ 13 h 13"/>
                <a:gd name="T2" fmla="*/ 0 w 9"/>
                <a:gd name="T3" fmla="*/ 9 h 13"/>
                <a:gd name="T4" fmla="*/ 0 w 9"/>
                <a:gd name="T5" fmla="*/ 0 h 13"/>
                <a:gd name="T6" fmla="*/ 5 w 9"/>
                <a:gd name="T7" fmla="*/ 0 h 13"/>
                <a:gd name="T8" fmla="*/ 5 w 9"/>
                <a:gd name="T9" fmla="*/ 4 h 13"/>
                <a:gd name="T10" fmla="*/ 9 w 9"/>
                <a:gd name="T11" fmla="*/ 9 h 13"/>
                <a:gd name="T12" fmla="*/ 9 w 9"/>
                <a:gd name="T13" fmla="*/ 13 h 13"/>
                <a:gd name="T14" fmla="*/ 5 w 9"/>
                <a:gd name="T15" fmla="*/ 13 h 13"/>
                <a:gd name="T16" fmla="*/ 0 w 9"/>
                <a:gd name="T1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3">
                  <a:moveTo>
                    <a:pt x="0" y="13"/>
                  </a:moveTo>
                  <a:lnTo>
                    <a:pt x="0" y="9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4"/>
                  </a:lnTo>
                  <a:lnTo>
                    <a:pt x="9" y="9"/>
                  </a:lnTo>
                  <a:lnTo>
                    <a:pt x="9" y="13"/>
                  </a:lnTo>
                  <a:lnTo>
                    <a:pt x="5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39" name="Freeform 27"/>
            <p:cNvSpPr>
              <a:spLocks/>
            </p:cNvSpPr>
            <p:nvPr/>
          </p:nvSpPr>
          <p:spPr bwMode="gray">
            <a:xfrm>
              <a:off x="1498" y="2712"/>
              <a:ext cx="76" cy="98"/>
            </a:xfrm>
            <a:custGeom>
              <a:avLst/>
              <a:gdLst>
                <a:gd name="T0" fmla="*/ 0 w 45"/>
                <a:gd name="T1" fmla="*/ 0 h 58"/>
                <a:gd name="T2" fmla="*/ 14 w 45"/>
                <a:gd name="T3" fmla="*/ 18 h 58"/>
                <a:gd name="T4" fmla="*/ 18 w 45"/>
                <a:gd name="T5" fmla="*/ 27 h 58"/>
                <a:gd name="T6" fmla="*/ 23 w 45"/>
                <a:gd name="T7" fmla="*/ 40 h 58"/>
                <a:gd name="T8" fmla="*/ 18 w 45"/>
                <a:gd name="T9" fmla="*/ 58 h 58"/>
                <a:gd name="T10" fmla="*/ 27 w 45"/>
                <a:gd name="T11" fmla="*/ 58 h 58"/>
                <a:gd name="T12" fmla="*/ 31 w 45"/>
                <a:gd name="T13" fmla="*/ 54 h 58"/>
                <a:gd name="T14" fmla="*/ 31 w 45"/>
                <a:gd name="T15" fmla="*/ 49 h 58"/>
                <a:gd name="T16" fmla="*/ 31 w 45"/>
                <a:gd name="T17" fmla="*/ 40 h 58"/>
                <a:gd name="T18" fmla="*/ 36 w 45"/>
                <a:gd name="T19" fmla="*/ 45 h 58"/>
                <a:gd name="T20" fmla="*/ 36 w 45"/>
                <a:gd name="T21" fmla="*/ 40 h 58"/>
                <a:gd name="T22" fmla="*/ 40 w 45"/>
                <a:gd name="T23" fmla="*/ 40 h 58"/>
                <a:gd name="T24" fmla="*/ 45 w 45"/>
                <a:gd name="T25" fmla="*/ 40 h 58"/>
                <a:gd name="T26" fmla="*/ 45 w 45"/>
                <a:gd name="T27" fmla="*/ 31 h 58"/>
                <a:gd name="T28" fmla="*/ 40 w 45"/>
                <a:gd name="T29" fmla="*/ 22 h 58"/>
                <a:gd name="T30" fmla="*/ 40 w 45"/>
                <a:gd name="T31" fmla="*/ 13 h 58"/>
                <a:gd name="T32" fmla="*/ 27 w 45"/>
                <a:gd name="T33" fmla="*/ 4 h 58"/>
                <a:gd name="T34" fmla="*/ 23 w 45"/>
                <a:gd name="T35" fmla="*/ 4 h 58"/>
                <a:gd name="T36" fmla="*/ 18 w 45"/>
                <a:gd name="T37" fmla="*/ 0 h 58"/>
                <a:gd name="T38" fmla="*/ 14 w 45"/>
                <a:gd name="T39" fmla="*/ 4 h 58"/>
                <a:gd name="T40" fmla="*/ 14 w 45"/>
                <a:gd name="T41" fmla="*/ 0 h 58"/>
                <a:gd name="T42" fmla="*/ 0 w 45"/>
                <a:gd name="T4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" h="58">
                  <a:moveTo>
                    <a:pt x="0" y="0"/>
                  </a:moveTo>
                  <a:lnTo>
                    <a:pt x="14" y="18"/>
                  </a:lnTo>
                  <a:lnTo>
                    <a:pt x="18" y="27"/>
                  </a:lnTo>
                  <a:lnTo>
                    <a:pt x="23" y="40"/>
                  </a:lnTo>
                  <a:lnTo>
                    <a:pt x="18" y="58"/>
                  </a:lnTo>
                  <a:lnTo>
                    <a:pt x="27" y="58"/>
                  </a:lnTo>
                  <a:lnTo>
                    <a:pt x="31" y="54"/>
                  </a:lnTo>
                  <a:lnTo>
                    <a:pt x="31" y="49"/>
                  </a:lnTo>
                  <a:lnTo>
                    <a:pt x="31" y="40"/>
                  </a:lnTo>
                  <a:lnTo>
                    <a:pt x="36" y="45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5" y="40"/>
                  </a:lnTo>
                  <a:lnTo>
                    <a:pt x="45" y="31"/>
                  </a:lnTo>
                  <a:lnTo>
                    <a:pt x="40" y="22"/>
                  </a:lnTo>
                  <a:lnTo>
                    <a:pt x="40" y="13"/>
                  </a:lnTo>
                  <a:lnTo>
                    <a:pt x="27" y="4"/>
                  </a:lnTo>
                  <a:lnTo>
                    <a:pt x="23" y="4"/>
                  </a:lnTo>
                  <a:lnTo>
                    <a:pt x="18" y="0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40" name="Freeform 28"/>
            <p:cNvSpPr>
              <a:spLocks/>
            </p:cNvSpPr>
            <p:nvPr/>
          </p:nvSpPr>
          <p:spPr bwMode="gray">
            <a:xfrm>
              <a:off x="929" y="2506"/>
              <a:ext cx="98" cy="107"/>
            </a:xfrm>
            <a:custGeom>
              <a:avLst/>
              <a:gdLst>
                <a:gd name="T0" fmla="*/ 45 w 58"/>
                <a:gd name="T1" fmla="*/ 63 h 63"/>
                <a:gd name="T2" fmla="*/ 40 w 58"/>
                <a:gd name="T3" fmla="*/ 63 h 63"/>
                <a:gd name="T4" fmla="*/ 40 w 58"/>
                <a:gd name="T5" fmla="*/ 58 h 63"/>
                <a:gd name="T6" fmla="*/ 36 w 58"/>
                <a:gd name="T7" fmla="*/ 54 h 63"/>
                <a:gd name="T8" fmla="*/ 27 w 58"/>
                <a:gd name="T9" fmla="*/ 54 h 63"/>
                <a:gd name="T10" fmla="*/ 18 w 58"/>
                <a:gd name="T11" fmla="*/ 45 h 63"/>
                <a:gd name="T12" fmla="*/ 14 w 58"/>
                <a:gd name="T13" fmla="*/ 54 h 63"/>
                <a:gd name="T14" fmla="*/ 9 w 58"/>
                <a:gd name="T15" fmla="*/ 54 h 63"/>
                <a:gd name="T16" fmla="*/ 0 w 58"/>
                <a:gd name="T17" fmla="*/ 54 h 63"/>
                <a:gd name="T18" fmla="*/ 0 w 58"/>
                <a:gd name="T19" fmla="*/ 49 h 63"/>
                <a:gd name="T20" fmla="*/ 5 w 58"/>
                <a:gd name="T21" fmla="*/ 49 h 63"/>
                <a:gd name="T22" fmla="*/ 5 w 58"/>
                <a:gd name="T23" fmla="*/ 49 h 63"/>
                <a:gd name="T24" fmla="*/ 5 w 58"/>
                <a:gd name="T25" fmla="*/ 49 h 63"/>
                <a:gd name="T26" fmla="*/ 0 w 58"/>
                <a:gd name="T27" fmla="*/ 45 h 63"/>
                <a:gd name="T28" fmla="*/ 5 w 58"/>
                <a:gd name="T29" fmla="*/ 40 h 63"/>
                <a:gd name="T30" fmla="*/ 14 w 58"/>
                <a:gd name="T31" fmla="*/ 45 h 63"/>
                <a:gd name="T32" fmla="*/ 14 w 58"/>
                <a:gd name="T33" fmla="*/ 40 h 63"/>
                <a:gd name="T34" fmla="*/ 9 w 58"/>
                <a:gd name="T35" fmla="*/ 40 h 63"/>
                <a:gd name="T36" fmla="*/ 5 w 58"/>
                <a:gd name="T37" fmla="*/ 40 h 63"/>
                <a:gd name="T38" fmla="*/ 14 w 58"/>
                <a:gd name="T39" fmla="*/ 36 h 63"/>
                <a:gd name="T40" fmla="*/ 18 w 58"/>
                <a:gd name="T41" fmla="*/ 27 h 63"/>
                <a:gd name="T42" fmla="*/ 27 w 58"/>
                <a:gd name="T43" fmla="*/ 9 h 63"/>
                <a:gd name="T44" fmla="*/ 27 w 58"/>
                <a:gd name="T45" fmla="*/ 9 h 63"/>
                <a:gd name="T46" fmla="*/ 31 w 58"/>
                <a:gd name="T47" fmla="*/ 9 h 63"/>
                <a:gd name="T48" fmla="*/ 36 w 58"/>
                <a:gd name="T49" fmla="*/ 5 h 63"/>
                <a:gd name="T50" fmla="*/ 40 w 58"/>
                <a:gd name="T51" fmla="*/ 0 h 63"/>
                <a:gd name="T52" fmla="*/ 54 w 58"/>
                <a:gd name="T53" fmla="*/ 0 h 63"/>
                <a:gd name="T54" fmla="*/ 54 w 58"/>
                <a:gd name="T55" fmla="*/ 0 h 63"/>
                <a:gd name="T56" fmla="*/ 54 w 58"/>
                <a:gd name="T57" fmla="*/ 9 h 63"/>
                <a:gd name="T58" fmla="*/ 58 w 58"/>
                <a:gd name="T59" fmla="*/ 9 h 63"/>
                <a:gd name="T60" fmla="*/ 54 w 58"/>
                <a:gd name="T61" fmla="*/ 18 h 63"/>
                <a:gd name="T62" fmla="*/ 54 w 58"/>
                <a:gd name="T63" fmla="*/ 18 h 63"/>
                <a:gd name="T64" fmla="*/ 54 w 58"/>
                <a:gd name="T65" fmla="*/ 36 h 63"/>
                <a:gd name="T66" fmla="*/ 49 w 58"/>
                <a:gd name="T67" fmla="*/ 36 h 63"/>
                <a:gd name="T68" fmla="*/ 40 w 58"/>
                <a:gd name="T69" fmla="*/ 40 h 63"/>
                <a:gd name="T70" fmla="*/ 40 w 58"/>
                <a:gd name="T71" fmla="*/ 45 h 63"/>
                <a:gd name="T72" fmla="*/ 45 w 58"/>
                <a:gd name="T73" fmla="*/ 49 h 63"/>
                <a:gd name="T74" fmla="*/ 40 w 58"/>
                <a:gd name="T75" fmla="*/ 58 h 63"/>
                <a:gd name="T76" fmla="*/ 45 w 58"/>
                <a:gd name="T7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8" h="63">
                  <a:moveTo>
                    <a:pt x="45" y="63"/>
                  </a:moveTo>
                  <a:lnTo>
                    <a:pt x="40" y="63"/>
                  </a:lnTo>
                  <a:lnTo>
                    <a:pt x="40" y="58"/>
                  </a:lnTo>
                  <a:lnTo>
                    <a:pt x="36" y="54"/>
                  </a:lnTo>
                  <a:lnTo>
                    <a:pt x="27" y="54"/>
                  </a:lnTo>
                  <a:lnTo>
                    <a:pt x="18" y="45"/>
                  </a:lnTo>
                  <a:lnTo>
                    <a:pt x="14" y="54"/>
                  </a:lnTo>
                  <a:lnTo>
                    <a:pt x="9" y="54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0" y="45"/>
                  </a:lnTo>
                  <a:lnTo>
                    <a:pt x="5" y="40"/>
                  </a:lnTo>
                  <a:lnTo>
                    <a:pt x="14" y="45"/>
                  </a:lnTo>
                  <a:lnTo>
                    <a:pt x="14" y="40"/>
                  </a:lnTo>
                  <a:lnTo>
                    <a:pt x="9" y="40"/>
                  </a:lnTo>
                  <a:lnTo>
                    <a:pt x="5" y="40"/>
                  </a:lnTo>
                  <a:lnTo>
                    <a:pt x="14" y="36"/>
                  </a:lnTo>
                  <a:lnTo>
                    <a:pt x="18" y="27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31" y="9"/>
                  </a:lnTo>
                  <a:lnTo>
                    <a:pt x="36" y="5"/>
                  </a:lnTo>
                  <a:lnTo>
                    <a:pt x="40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9"/>
                  </a:lnTo>
                  <a:lnTo>
                    <a:pt x="58" y="9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36"/>
                  </a:lnTo>
                  <a:lnTo>
                    <a:pt x="49" y="36"/>
                  </a:lnTo>
                  <a:lnTo>
                    <a:pt x="40" y="40"/>
                  </a:lnTo>
                  <a:lnTo>
                    <a:pt x="40" y="45"/>
                  </a:lnTo>
                  <a:lnTo>
                    <a:pt x="45" y="49"/>
                  </a:lnTo>
                  <a:lnTo>
                    <a:pt x="40" y="58"/>
                  </a:lnTo>
                  <a:lnTo>
                    <a:pt x="45" y="6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41" name="Freeform 29"/>
            <p:cNvSpPr>
              <a:spLocks noEditPoints="1"/>
            </p:cNvSpPr>
            <p:nvPr/>
          </p:nvSpPr>
          <p:spPr bwMode="gray">
            <a:xfrm>
              <a:off x="975" y="1519"/>
              <a:ext cx="630" cy="790"/>
            </a:xfrm>
            <a:custGeom>
              <a:avLst/>
              <a:gdLst>
                <a:gd name="T0" fmla="*/ 98 w 371"/>
                <a:gd name="T1" fmla="*/ 416 h 465"/>
                <a:gd name="T2" fmla="*/ 98 w 371"/>
                <a:gd name="T3" fmla="*/ 349 h 465"/>
                <a:gd name="T4" fmla="*/ 103 w 371"/>
                <a:gd name="T5" fmla="*/ 277 h 465"/>
                <a:gd name="T6" fmla="*/ 125 w 371"/>
                <a:gd name="T7" fmla="*/ 259 h 465"/>
                <a:gd name="T8" fmla="*/ 143 w 371"/>
                <a:gd name="T9" fmla="*/ 215 h 465"/>
                <a:gd name="T10" fmla="*/ 161 w 371"/>
                <a:gd name="T11" fmla="*/ 157 h 465"/>
                <a:gd name="T12" fmla="*/ 188 w 371"/>
                <a:gd name="T13" fmla="*/ 130 h 465"/>
                <a:gd name="T14" fmla="*/ 210 w 371"/>
                <a:gd name="T15" fmla="*/ 103 h 465"/>
                <a:gd name="T16" fmla="*/ 228 w 371"/>
                <a:gd name="T17" fmla="*/ 90 h 465"/>
                <a:gd name="T18" fmla="*/ 272 w 371"/>
                <a:gd name="T19" fmla="*/ 108 h 465"/>
                <a:gd name="T20" fmla="*/ 308 w 371"/>
                <a:gd name="T21" fmla="*/ 58 h 465"/>
                <a:gd name="T22" fmla="*/ 339 w 371"/>
                <a:gd name="T23" fmla="*/ 67 h 465"/>
                <a:gd name="T24" fmla="*/ 344 w 371"/>
                <a:gd name="T25" fmla="*/ 90 h 465"/>
                <a:gd name="T26" fmla="*/ 362 w 371"/>
                <a:gd name="T27" fmla="*/ 76 h 465"/>
                <a:gd name="T28" fmla="*/ 357 w 371"/>
                <a:gd name="T29" fmla="*/ 49 h 465"/>
                <a:gd name="T30" fmla="*/ 348 w 371"/>
                <a:gd name="T31" fmla="*/ 18 h 465"/>
                <a:gd name="T32" fmla="*/ 335 w 371"/>
                <a:gd name="T33" fmla="*/ 14 h 465"/>
                <a:gd name="T34" fmla="*/ 335 w 371"/>
                <a:gd name="T35" fmla="*/ 5 h 465"/>
                <a:gd name="T36" fmla="*/ 308 w 371"/>
                <a:gd name="T37" fmla="*/ 32 h 465"/>
                <a:gd name="T38" fmla="*/ 281 w 371"/>
                <a:gd name="T39" fmla="*/ 49 h 465"/>
                <a:gd name="T40" fmla="*/ 272 w 371"/>
                <a:gd name="T41" fmla="*/ 18 h 465"/>
                <a:gd name="T42" fmla="*/ 259 w 371"/>
                <a:gd name="T43" fmla="*/ 54 h 465"/>
                <a:gd name="T44" fmla="*/ 228 w 371"/>
                <a:gd name="T45" fmla="*/ 45 h 465"/>
                <a:gd name="T46" fmla="*/ 214 w 371"/>
                <a:gd name="T47" fmla="*/ 76 h 465"/>
                <a:gd name="T48" fmla="*/ 179 w 371"/>
                <a:gd name="T49" fmla="*/ 67 h 465"/>
                <a:gd name="T50" fmla="*/ 179 w 371"/>
                <a:gd name="T51" fmla="*/ 81 h 465"/>
                <a:gd name="T52" fmla="*/ 161 w 371"/>
                <a:gd name="T53" fmla="*/ 125 h 465"/>
                <a:gd name="T54" fmla="*/ 147 w 371"/>
                <a:gd name="T55" fmla="*/ 143 h 465"/>
                <a:gd name="T56" fmla="*/ 147 w 371"/>
                <a:gd name="T57" fmla="*/ 157 h 465"/>
                <a:gd name="T58" fmla="*/ 134 w 371"/>
                <a:gd name="T59" fmla="*/ 166 h 465"/>
                <a:gd name="T60" fmla="*/ 121 w 371"/>
                <a:gd name="T61" fmla="*/ 192 h 465"/>
                <a:gd name="T62" fmla="*/ 98 w 371"/>
                <a:gd name="T63" fmla="*/ 233 h 465"/>
                <a:gd name="T64" fmla="*/ 89 w 371"/>
                <a:gd name="T65" fmla="*/ 255 h 465"/>
                <a:gd name="T66" fmla="*/ 76 w 371"/>
                <a:gd name="T67" fmla="*/ 277 h 465"/>
                <a:gd name="T68" fmla="*/ 67 w 371"/>
                <a:gd name="T69" fmla="*/ 295 h 465"/>
                <a:gd name="T70" fmla="*/ 40 w 371"/>
                <a:gd name="T71" fmla="*/ 309 h 465"/>
                <a:gd name="T72" fmla="*/ 4 w 371"/>
                <a:gd name="T73" fmla="*/ 358 h 465"/>
                <a:gd name="T74" fmla="*/ 13 w 371"/>
                <a:gd name="T75" fmla="*/ 376 h 465"/>
                <a:gd name="T76" fmla="*/ 0 w 371"/>
                <a:gd name="T77" fmla="*/ 425 h 465"/>
                <a:gd name="T78" fmla="*/ 27 w 371"/>
                <a:gd name="T79" fmla="*/ 452 h 465"/>
                <a:gd name="T80" fmla="*/ 49 w 371"/>
                <a:gd name="T81" fmla="*/ 456 h 465"/>
                <a:gd name="T82" fmla="*/ 71 w 371"/>
                <a:gd name="T83" fmla="*/ 425 h 465"/>
                <a:gd name="T84" fmla="*/ 89 w 371"/>
                <a:gd name="T85" fmla="*/ 429 h 465"/>
                <a:gd name="T86" fmla="*/ 125 w 371"/>
                <a:gd name="T87" fmla="*/ 125 h 465"/>
                <a:gd name="T88" fmla="*/ 134 w 371"/>
                <a:gd name="T89" fmla="*/ 116 h 465"/>
                <a:gd name="T90" fmla="*/ 112 w 371"/>
                <a:gd name="T91" fmla="*/ 139 h 465"/>
                <a:gd name="T92" fmla="*/ 161 w 371"/>
                <a:gd name="T93" fmla="*/ 94 h 465"/>
                <a:gd name="T94" fmla="*/ 156 w 371"/>
                <a:gd name="T95" fmla="*/ 90 h 465"/>
                <a:gd name="T96" fmla="*/ 138 w 371"/>
                <a:gd name="T97" fmla="*/ 90 h 465"/>
                <a:gd name="T98" fmla="*/ 138 w 371"/>
                <a:gd name="T99" fmla="*/ 108 h 465"/>
                <a:gd name="T100" fmla="*/ 192 w 371"/>
                <a:gd name="T101" fmla="*/ 67 h 465"/>
                <a:gd name="T102" fmla="*/ 205 w 371"/>
                <a:gd name="T103" fmla="*/ 58 h 465"/>
                <a:gd name="T104" fmla="*/ 192 w 371"/>
                <a:gd name="T105" fmla="*/ 54 h 465"/>
                <a:gd name="T106" fmla="*/ 192 w 371"/>
                <a:gd name="T107" fmla="*/ 67 h 465"/>
                <a:gd name="T108" fmla="*/ 255 w 371"/>
                <a:gd name="T109" fmla="*/ 36 h 465"/>
                <a:gd name="T110" fmla="*/ 264 w 371"/>
                <a:gd name="T111" fmla="*/ 14 h 465"/>
                <a:gd name="T112" fmla="*/ 241 w 371"/>
                <a:gd name="T113" fmla="*/ 2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71" h="465">
                  <a:moveTo>
                    <a:pt x="89" y="434"/>
                  </a:moveTo>
                  <a:lnTo>
                    <a:pt x="98" y="438"/>
                  </a:lnTo>
                  <a:lnTo>
                    <a:pt x="98" y="425"/>
                  </a:lnTo>
                  <a:lnTo>
                    <a:pt x="98" y="416"/>
                  </a:lnTo>
                  <a:lnTo>
                    <a:pt x="107" y="407"/>
                  </a:lnTo>
                  <a:lnTo>
                    <a:pt x="103" y="380"/>
                  </a:lnTo>
                  <a:lnTo>
                    <a:pt x="112" y="367"/>
                  </a:lnTo>
                  <a:lnTo>
                    <a:pt x="98" y="349"/>
                  </a:lnTo>
                  <a:lnTo>
                    <a:pt x="98" y="304"/>
                  </a:lnTo>
                  <a:lnTo>
                    <a:pt x="103" y="300"/>
                  </a:lnTo>
                  <a:lnTo>
                    <a:pt x="98" y="295"/>
                  </a:lnTo>
                  <a:lnTo>
                    <a:pt x="103" y="277"/>
                  </a:lnTo>
                  <a:lnTo>
                    <a:pt x="112" y="273"/>
                  </a:lnTo>
                  <a:lnTo>
                    <a:pt x="121" y="277"/>
                  </a:lnTo>
                  <a:lnTo>
                    <a:pt x="130" y="273"/>
                  </a:lnTo>
                  <a:lnTo>
                    <a:pt x="125" y="259"/>
                  </a:lnTo>
                  <a:lnTo>
                    <a:pt x="134" y="233"/>
                  </a:lnTo>
                  <a:lnTo>
                    <a:pt x="134" y="215"/>
                  </a:lnTo>
                  <a:lnTo>
                    <a:pt x="138" y="210"/>
                  </a:lnTo>
                  <a:lnTo>
                    <a:pt x="143" y="215"/>
                  </a:lnTo>
                  <a:lnTo>
                    <a:pt x="147" y="206"/>
                  </a:lnTo>
                  <a:lnTo>
                    <a:pt x="143" y="197"/>
                  </a:lnTo>
                  <a:lnTo>
                    <a:pt x="165" y="175"/>
                  </a:lnTo>
                  <a:lnTo>
                    <a:pt x="161" y="157"/>
                  </a:lnTo>
                  <a:lnTo>
                    <a:pt x="165" y="143"/>
                  </a:lnTo>
                  <a:lnTo>
                    <a:pt x="174" y="130"/>
                  </a:lnTo>
                  <a:lnTo>
                    <a:pt x="183" y="134"/>
                  </a:lnTo>
                  <a:lnTo>
                    <a:pt x="188" y="130"/>
                  </a:lnTo>
                  <a:lnTo>
                    <a:pt x="183" y="116"/>
                  </a:lnTo>
                  <a:lnTo>
                    <a:pt x="188" y="112"/>
                  </a:lnTo>
                  <a:lnTo>
                    <a:pt x="210" y="116"/>
                  </a:lnTo>
                  <a:lnTo>
                    <a:pt x="210" y="103"/>
                  </a:lnTo>
                  <a:lnTo>
                    <a:pt x="214" y="94"/>
                  </a:lnTo>
                  <a:lnTo>
                    <a:pt x="223" y="94"/>
                  </a:lnTo>
                  <a:lnTo>
                    <a:pt x="219" y="90"/>
                  </a:lnTo>
                  <a:lnTo>
                    <a:pt x="228" y="90"/>
                  </a:lnTo>
                  <a:lnTo>
                    <a:pt x="228" y="85"/>
                  </a:lnTo>
                  <a:lnTo>
                    <a:pt x="237" y="85"/>
                  </a:lnTo>
                  <a:lnTo>
                    <a:pt x="250" y="108"/>
                  </a:lnTo>
                  <a:lnTo>
                    <a:pt x="272" y="108"/>
                  </a:lnTo>
                  <a:lnTo>
                    <a:pt x="281" y="112"/>
                  </a:lnTo>
                  <a:lnTo>
                    <a:pt x="295" y="99"/>
                  </a:lnTo>
                  <a:lnTo>
                    <a:pt x="295" y="76"/>
                  </a:lnTo>
                  <a:lnTo>
                    <a:pt x="308" y="58"/>
                  </a:lnTo>
                  <a:lnTo>
                    <a:pt x="326" y="54"/>
                  </a:lnTo>
                  <a:lnTo>
                    <a:pt x="331" y="63"/>
                  </a:lnTo>
                  <a:lnTo>
                    <a:pt x="339" y="63"/>
                  </a:lnTo>
                  <a:lnTo>
                    <a:pt x="339" y="67"/>
                  </a:lnTo>
                  <a:lnTo>
                    <a:pt x="335" y="85"/>
                  </a:lnTo>
                  <a:lnTo>
                    <a:pt x="331" y="90"/>
                  </a:lnTo>
                  <a:lnTo>
                    <a:pt x="331" y="94"/>
                  </a:lnTo>
                  <a:lnTo>
                    <a:pt x="344" y="90"/>
                  </a:lnTo>
                  <a:lnTo>
                    <a:pt x="353" y="76"/>
                  </a:lnTo>
                  <a:lnTo>
                    <a:pt x="353" y="67"/>
                  </a:lnTo>
                  <a:lnTo>
                    <a:pt x="353" y="67"/>
                  </a:lnTo>
                  <a:lnTo>
                    <a:pt x="362" y="76"/>
                  </a:lnTo>
                  <a:lnTo>
                    <a:pt x="366" y="63"/>
                  </a:lnTo>
                  <a:lnTo>
                    <a:pt x="339" y="49"/>
                  </a:lnTo>
                  <a:lnTo>
                    <a:pt x="335" y="45"/>
                  </a:lnTo>
                  <a:lnTo>
                    <a:pt x="357" y="49"/>
                  </a:lnTo>
                  <a:lnTo>
                    <a:pt x="366" y="36"/>
                  </a:lnTo>
                  <a:lnTo>
                    <a:pt x="371" y="36"/>
                  </a:lnTo>
                  <a:lnTo>
                    <a:pt x="371" y="27"/>
                  </a:lnTo>
                  <a:lnTo>
                    <a:pt x="348" y="18"/>
                  </a:lnTo>
                  <a:lnTo>
                    <a:pt x="344" y="18"/>
                  </a:lnTo>
                  <a:lnTo>
                    <a:pt x="348" y="9"/>
                  </a:lnTo>
                  <a:lnTo>
                    <a:pt x="344" y="5"/>
                  </a:lnTo>
                  <a:lnTo>
                    <a:pt x="335" y="14"/>
                  </a:lnTo>
                  <a:lnTo>
                    <a:pt x="331" y="32"/>
                  </a:lnTo>
                  <a:lnTo>
                    <a:pt x="326" y="27"/>
                  </a:lnTo>
                  <a:lnTo>
                    <a:pt x="331" y="18"/>
                  </a:lnTo>
                  <a:lnTo>
                    <a:pt x="335" y="5"/>
                  </a:lnTo>
                  <a:lnTo>
                    <a:pt x="335" y="5"/>
                  </a:lnTo>
                  <a:lnTo>
                    <a:pt x="326" y="0"/>
                  </a:lnTo>
                  <a:lnTo>
                    <a:pt x="317" y="5"/>
                  </a:lnTo>
                  <a:lnTo>
                    <a:pt x="308" y="32"/>
                  </a:lnTo>
                  <a:lnTo>
                    <a:pt x="304" y="9"/>
                  </a:lnTo>
                  <a:lnTo>
                    <a:pt x="295" y="27"/>
                  </a:lnTo>
                  <a:lnTo>
                    <a:pt x="286" y="49"/>
                  </a:lnTo>
                  <a:lnTo>
                    <a:pt x="281" y="49"/>
                  </a:lnTo>
                  <a:lnTo>
                    <a:pt x="286" y="32"/>
                  </a:lnTo>
                  <a:lnTo>
                    <a:pt x="295" y="9"/>
                  </a:lnTo>
                  <a:lnTo>
                    <a:pt x="277" y="5"/>
                  </a:lnTo>
                  <a:lnTo>
                    <a:pt x="272" y="18"/>
                  </a:lnTo>
                  <a:lnTo>
                    <a:pt x="277" y="23"/>
                  </a:lnTo>
                  <a:lnTo>
                    <a:pt x="268" y="27"/>
                  </a:lnTo>
                  <a:lnTo>
                    <a:pt x="259" y="41"/>
                  </a:lnTo>
                  <a:lnTo>
                    <a:pt x="259" y="54"/>
                  </a:lnTo>
                  <a:lnTo>
                    <a:pt x="250" y="54"/>
                  </a:lnTo>
                  <a:lnTo>
                    <a:pt x="250" y="41"/>
                  </a:lnTo>
                  <a:lnTo>
                    <a:pt x="237" y="41"/>
                  </a:lnTo>
                  <a:lnTo>
                    <a:pt x="228" y="45"/>
                  </a:lnTo>
                  <a:lnTo>
                    <a:pt x="237" y="54"/>
                  </a:lnTo>
                  <a:lnTo>
                    <a:pt x="228" y="58"/>
                  </a:lnTo>
                  <a:lnTo>
                    <a:pt x="223" y="54"/>
                  </a:lnTo>
                  <a:lnTo>
                    <a:pt x="214" y="76"/>
                  </a:lnTo>
                  <a:lnTo>
                    <a:pt x="214" y="58"/>
                  </a:lnTo>
                  <a:lnTo>
                    <a:pt x="197" y="67"/>
                  </a:lnTo>
                  <a:lnTo>
                    <a:pt x="192" y="76"/>
                  </a:lnTo>
                  <a:lnTo>
                    <a:pt x="179" y="67"/>
                  </a:lnTo>
                  <a:lnTo>
                    <a:pt x="170" y="76"/>
                  </a:lnTo>
                  <a:lnTo>
                    <a:pt x="165" y="85"/>
                  </a:lnTo>
                  <a:lnTo>
                    <a:pt x="170" y="90"/>
                  </a:lnTo>
                  <a:lnTo>
                    <a:pt x="179" y="81"/>
                  </a:lnTo>
                  <a:lnTo>
                    <a:pt x="179" y="99"/>
                  </a:lnTo>
                  <a:lnTo>
                    <a:pt x="165" y="108"/>
                  </a:lnTo>
                  <a:lnTo>
                    <a:pt x="161" y="116"/>
                  </a:lnTo>
                  <a:lnTo>
                    <a:pt x="161" y="125"/>
                  </a:lnTo>
                  <a:lnTo>
                    <a:pt x="152" y="121"/>
                  </a:lnTo>
                  <a:lnTo>
                    <a:pt x="138" y="134"/>
                  </a:lnTo>
                  <a:lnTo>
                    <a:pt x="138" y="148"/>
                  </a:lnTo>
                  <a:lnTo>
                    <a:pt x="147" y="143"/>
                  </a:lnTo>
                  <a:lnTo>
                    <a:pt x="147" y="152"/>
                  </a:lnTo>
                  <a:lnTo>
                    <a:pt x="138" y="152"/>
                  </a:lnTo>
                  <a:lnTo>
                    <a:pt x="130" y="161"/>
                  </a:lnTo>
                  <a:lnTo>
                    <a:pt x="147" y="157"/>
                  </a:lnTo>
                  <a:lnTo>
                    <a:pt x="152" y="161"/>
                  </a:lnTo>
                  <a:lnTo>
                    <a:pt x="152" y="166"/>
                  </a:lnTo>
                  <a:lnTo>
                    <a:pt x="143" y="161"/>
                  </a:lnTo>
                  <a:lnTo>
                    <a:pt x="134" y="166"/>
                  </a:lnTo>
                  <a:lnTo>
                    <a:pt x="134" y="170"/>
                  </a:lnTo>
                  <a:lnTo>
                    <a:pt x="125" y="170"/>
                  </a:lnTo>
                  <a:lnTo>
                    <a:pt x="116" y="184"/>
                  </a:lnTo>
                  <a:lnTo>
                    <a:pt x="121" y="192"/>
                  </a:lnTo>
                  <a:lnTo>
                    <a:pt x="112" y="197"/>
                  </a:lnTo>
                  <a:lnTo>
                    <a:pt x="116" y="206"/>
                  </a:lnTo>
                  <a:lnTo>
                    <a:pt x="107" y="215"/>
                  </a:lnTo>
                  <a:lnTo>
                    <a:pt x="98" y="233"/>
                  </a:lnTo>
                  <a:lnTo>
                    <a:pt x="98" y="233"/>
                  </a:lnTo>
                  <a:lnTo>
                    <a:pt x="103" y="246"/>
                  </a:lnTo>
                  <a:lnTo>
                    <a:pt x="98" y="242"/>
                  </a:lnTo>
                  <a:lnTo>
                    <a:pt x="89" y="255"/>
                  </a:lnTo>
                  <a:lnTo>
                    <a:pt x="94" y="255"/>
                  </a:lnTo>
                  <a:lnTo>
                    <a:pt x="94" y="264"/>
                  </a:lnTo>
                  <a:lnTo>
                    <a:pt x="80" y="264"/>
                  </a:lnTo>
                  <a:lnTo>
                    <a:pt x="76" y="277"/>
                  </a:lnTo>
                  <a:lnTo>
                    <a:pt x="71" y="286"/>
                  </a:lnTo>
                  <a:lnTo>
                    <a:pt x="80" y="295"/>
                  </a:lnTo>
                  <a:lnTo>
                    <a:pt x="76" y="300"/>
                  </a:lnTo>
                  <a:lnTo>
                    <a:pt x="67" y="295"/>
                  </a:lnTo>
                  <a:lnTo>
                    <a:pt x="58" y="282"/>
                  </a:lnTo>
                  <a:lnTo>
                    <a:pt x="49" y="295"/>
                  </a:lnTo>
                  <a:lnTo>
                    <a:pt x="49" y="313"/>
                  </a:lnTo>
                  <a:lnTo>
                    <a:pt x="40" y="309"/>
                  </a:lnTo>
                  <a:lnTo>
                    <a:pt x="18" y="327"/>
                  </a:lnTo>
                  <a:lnTo>
                    <a:pt x="4" y="335"/>
                  </a:lnTo>
                  <a:lnTo>
                    <a:pt x="0" y="349"/>
                  </a:lnTo>
                  <a:lnTo>
                    <a:pt x="4" y="358"/>
                  </a:lnTo>
                  <a:lnTo>
                    <a:pt x="13" y="358"/>
                  </a:lnTo>
                  <a:lnTo>
                    <a:pt x="4" y="362"/>
                  </a:lnTo>
                  <a:lnTo>
                    <a:pt x="9" y="371"/>
                  </a:lnTo>
                  <a:lnTo>
                    <a:pt x="13" y="376"/>
                  </a:lnTo>
                  <a:lnTo>
                    <a:pt x="4" y="376"/>
                  </a:lnTo>
                  <a:lnTo>
                    <a:pt x="0" y="398"/>
                  </a:lnTo>
                  <a:lnTo>
                    <a:pt x="4" y="402"/>
                  </a:lnTo>
                  <a:lnTo>
                    <a:pt x="0" y="425"/>
                  </a:lnTo>
                  <a:lnTo>
                    <a:pt x="9" y="434"/>
                  </a:lnTo>
                  <a:lnTo>
                    <a:pt x="13" y="447"/>
                  </a:lnTo>
                  <a:lnTo>
                    <a:pt x="18" y="452"/>
                  </a:lnTo>
                  <a:lnTo>
                    <a:pt x="27" y="452"/>
                  </a:lnTo>
                  <a:lnTo>
                    <a:pt x="27" y="461"/>
                  </a:lnTo>
                  <a:lnTo>
                    <a:pt x="36" y="465"/>
                  </a:lnTo>
                  <a:lnTo>
                    <a:pt x="45" y="461"/>
                  </a:lnTo>
                  <a:lnTo>
                    <a:pt x="49" y="456"/>
                  </a:lnTo>
                  <a:lnTo>
                    <a:pt x="54" y="456"/>
                  </a:lnTo>
                  <a:lnTo>
                    <a:pt x="63" y="438"/>
                  </a:lnTo>
                  <a:lnTo>
                    <a:pt x="67" y="429"/>
                  </a:lnTo>
                  <a:lnTo>
                    <a:pt x="71" y="425"/>
                  </a:lnTo>
                  <a:lnTo>
                    <a:pt x="76" y="420"/>
                  </a:lnTo>
                  <a:lnTo>
                    <a:pt x="80" y="420"/>
                  </a:lnTo>
                  <a:lnTo>
                    <a:pt x="80" y="429"/>
                  </a:lnTo>
                  <a:lnTo>
                    <a:pt x="89" y="429"/>
                  </a:lnTo>
                  <a:lnTo>
                    <a:pt x="89" y="434"/>
                  </a:lnTo>
                  <a:close/>
                  <a:moveTo>
                    <a:pt x="112" y="139"/>
                  </a:moveTo>
                  <a:lnTo>
                    <a:pt x="121" y="130"/>
                  </a:lnTo>
                  <a:lnTo>
                    <a:pt x="125" y="125"/>
                  </a:lnTo>
                  <a:lnTo>
                    <a:pt x="130" y="125"/>
                  </a:lnTo>
                  <a:lnTo>
                    <a:pt x="138" y="121"/>
                  </a:lnTo>
                  <a:lnTo>
                    <a:pt x="138" y="112"/>
                  </a:lnTo>
                  <a:lnTo>
                    <a:pt x="134" y="116"/>
                  </a:lnTo>
                  <a:lnTo>
                    <a:pt x="130" y="121"/>
                  </a:lnTo>
                  <a:lnTo>
                    <a:pt x="125" y="121"/>
                  </a:lnTo>
                  <a:lnTo>
                    <a:pt x="112" y="130"/>
                  </a:lnTo>
                  <a:lnTo>
                    <a:pt x="112" y="139"/>
                  </a:lnTo>
                  <a:close/>
                  <a:moveTo>
                    <a:pt x="152" y="116"/>
                  </a:moveTo>
                  <a:lnTo>
                    <a:pt x="161" y="108"/>
                  </a:lnTo>
                  <a:lnTo>
                    <a:pt x="165" y="99"/>
                  </a:lnTo>
                  <a:lnTo>
                    <a:pt x="161" y="94"/>
                  </a:lnTo>
                  <a:lnTo>
                    <a:pt x="156" y="94"/>
                  </a:lnTo>
                  <a:lnTo>
                    <a:pt x="152" y="103"/>
                  </a:lnTo>
                  <a:lnTo>
                    <a:pt x="152" y="94"/>
                  </a:lnTo>
                  <a:lnTo>
                    <a:pt x="156" y="90"/>
                  </a:lnTo>
                  <a:lnTo>
                    <a:pt x="156" y="76"/>
                  </a:lnTo>
                  <a:lnTo>
                    <a:pt x="147" y="90"/>
                  </a:lnTo>
                  <a:lnTo>
                    <a:pt x="143" y="103"/>
                  </a:lnTo>
                  <a:lnTo>
                    <a:pt x="138" y="90"/>
                  </a:lnTo>
                  <a:lnTo>
                    <a:pt x="138" y="99"/>
                  </a:lnTo>
                  <a:lnTo>
                    <a:pt x="134" y="99"/>
                  </a:lnTo>
                  <a:lnTo>
                    <a:pt x="130" y="108"/>
                  </a:lnTo>
                  <a:lnTo>
                    <a:pt x="138" y="108"/>
                  </a:lnTo>
                  <a:lnTo>
                    <a:pt x="147" y="103"/>
                  </a:lnTo>
                  <a:lnTo>
                    <a:pt x="143" y="116"/>
                  </a:lnTo>
                  <a:lnTo>
                    <a:pt x="152" y="116"/>
                  </a:lnTo>
                  <a:close/>
                  <a:moveTo>
                    <a:pt x="192" y="67"/>
                  </a:moveTo>
                  <a:lnTo>
                    <a:pt x="197" y="63"/>
                  </a:lnTo>
                  <a:lnTo>
                    <a:pt x="201" y="58"/>
                  </a:lnTo>
                  <a:lnTo>
                    <a:pt x="205" y="58"/>
                  </a:lnTo>
                  <a:lnTo>
                    <a:pt x="205" y="58"/>
                  </a:lnTo>
                  <a:lnTo>
                    <a:pt x="210" y="49"/>
                  </a:lnTo>
                  <a:lnTo>
                    <a:pt x="205" y="54"/>
                  </a:lnTo>
                  <a:lnTo>
                    <a:pt x="201" y="49"/>
                  </a:lnTo>
                  <a:lnTo>
                    <a:pt x="192" y="54"/>
                  </a:lnTo>
                  <a:lnTo>
                    <a:pt x="192" y="63"/>
                  </a:lnTo>
                  <a:lnTo>
                    <a:pt x="188" y="58"/>
                  </a:lnTo>
                  <a:lnTo>
                    <a:pt x="183" y="67"/>
                  </a:lnTo>
                  <a:lnTo>
                    <a:pt x="192" y="67"/>
                  </a:lnTo>
                  <a:close/>
                  <a:moveTo>
                    <a:pt x="241" y="27"/>
                  </a:moveTo>
                  <a:lnTo>
                    <a:pt x="246" y="32"/>
                  </a:lnTo>
                  <a:lnTo>
                    <a:pt x="259" y="27"/>
                  </a:lnTo>
                  <a:lnTo>
                    <a:pt x="255" y="36"/>
                  </a:lnTo>
                  <a:lnTo>
                    <a:pt x="259" y="41"/>
                  </a:lnTo>
                  <a:lnTo>
                    <a:pt x="264" y="27"/>
                  </a:lnTo>
                  <a:lnTo>
                    <a:pt x="259" y="27"/>
                  </a:lnTo>
                  <a:lnTo>
                    <a:pt x="264" y="14"/>
                  </a:lnTo>
                  <a:lnTo>
                    <a:pt x="259" y="14"/>
                  </a:lnTo>
                  <a:lnTo>
                    <a:pt x="259" y="18"/>
                  </a:lnTo>
                  <a:lnTo>
                    <a:pt x="250" y="18"/>
                  </a:lnTo>
                  <a:lnTo>
                    <a:pt x="241" y="27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42" name="Freeform 30"/>
            <p:cNvSpPr>
              <a:spLocks/>
            </p:cNvSpPr>
            <p:nvPr/>
          </p:nvSpPr>
          <p:spPr bwMode="gray">
            <a:xfrm>
              <a:off x="1187" y="2445"/>
              <a:ext cx="250" cy="237"/>
            </a:xfrm>
            <a:custGeom>
              <a:avLst/>
              <a:gdLst>
                <a:gd name="T0" fmla="*/ 13 w 147"/>
                <a:gd name="T1" fmla="*/ 99 h 139"/>
                <a:gd name="T2" fmla="*/ 13 w 147"/>
                <a:gd name="T3" fmla="*/ 90 h 139"/>
                <a:gd name="T4" fmla="*/ 9 w 147"/>
                <a:gd name="T5" fmla="*/ 85 h 139"/>
                <a:gd name="T6" fmla="*/ 9 w 147"/>
                <a:gd name="T7" fmla="*/ 72 h 139"/>
                <a:gd name="T8" fmla="*/ 9 w 147"/>
                <a:gd name="T9" fmla="*/ 59 h 139"/>
                <a:gd name="T10" fmla="*/ 0 w 147"/>
                <a:gd name="T11" fmla="*/ 50 h 139"/>
                <a:gd name="T12" fmla="*/ 0 w 147"/>
                <a:gd name="T13" fmla="*/ 36 h 139"/>
                <a:gd name="T14" fmla="*/ 0 w 147"/>
                <a:gd name="T15" fmla="*/ 27 h 139"/>
                <a:gd name="T16" fmla="*/ 5 w 147"/>
                <a:gd name="T17" fmla="*/ 27 h 139"/>
                <a:gd name="T18" fmla="*/ 9 w 147"/>
                <a:gd name="T19" fmla="*/ 36 h 139"/>
                <a:gd name="T20" fmla="*/ 9 w 147"/>
                <a:gd name="T21" fmla="*/ 27 h 139"/>
                <a:gd name="T22" fmla="*/ 13 w 147"/>
                <a:gd name="T23" fmla="*/ 23 h 139"/>
                <a:gd name="T24" fmla="*/ 22 w 147"/>
                <a:gd name="T25" fmla="*/ 14 h 139"/>
                <a:gd name="T26" fmla="*/ 36 w 147"/>
                <a:gd name="T27" fmla="*/ 14 h 139"/>
                <a:gd name="T28" fmla="*/ 40 w 147"/>
                <a:gd name="T29" fmla="*/ 5 h 139"/>
                <a:gd name="T30" fmla="*/ 49 w 147"/>
                <a:gd name="T31" fmla="*/ 0 h 139"/>
                <a:gd name="T32" fmla="*/ 58 w 147"/>
                <a:gd name="T33" fmla="*/ 0 h 139"/>
                <a:gd name="T34" fmla="*/ 72 w 147"/>
                <a:gd name="T35" fmla="*/ 0 h 139"/>
                <a:gd name="T36" fmla="*/ 72 w 147"/>
                <a:gd name="T37" fmla="*/ 5 h 139"/>
                <a:gd name="T38" fmla="*/ 63 w 147"/>
                <a:gd name="T39" fmla="*/ 5 h 139"/>
                <a:gd name="T40" fmla="*/ 67 w 147"/>
                <a:gd name="T41" fmla="*/ 9 h 139"/>
                <a:gd name="T42" fmla="*/ 76 w 147"/>
                <a:gd name="T43" fmla="*/ 5 h 139"/>
                <a:gd name="T44" fmla="*/ 76 w 147"/>
                <a:gd name="T45" fmla="*/ 14 h 139"/>
                <a:gd name="T46" fmla="*/ 80 w 147"/>
                <a:gd name="T47" fmla="*/ 9 h 139"/>
                <a:gd name="T48" fmla="*/ 89 w 147"/>
                <a:gd name="T49" fmla="*/ 9 h 139"/>
                <a:gd name="T50" fmla="*/ 107 w 147"/>
                <a:gd name="T51" fmla="*/ 14 h 139"/>
                <a:gd name="T52" fmla="*/ 130 w 147"/>
                <a:gd name="T53" fmla="*/ 14 h 139"/>
                <a:gd name="T54" fmla="*/ 139 w 147"/>
                <a:gd name="T55" fmla="*/ 23 h 139"/>
                <a:gd name="T56" fmla="*/ 139 w 147"/>
                <a:gd name="T57" fmla="*/ 27 h 139"/>
                <a:gd name="T58" fmla="*/ 143 w 147"/>
                <a:gd name="T59" fmla="*/ 41 h 139"/>
                <a:gd name="T60" fmla="*/ 147 w 147"/>
                <a:gd name="T61" fmla="*/ 50 h 139"/>
                <a:gd name="T62" fmla="*/ 147 w 147"/>
                <a:gd name="T63" fmla="*/ 59 h 139"/>
                <a:gd name="T64" fmla="*/ 134 w 147"/>
                <a:gd name="T65" fmla="*/ 63 h 139"/>
                <a:gd name="T66" fmla="*/ 139 w 147"/>
                <a:gd name="T67" fmla="*/ 72 h 139"/>
                <a:gd name="T68" fmla="*/ 139 w 147"/>
                <a:gd name="T69" fmla="*/ 81 h 139"/>
                <a:gd name="T70" fmla="*/ 139 w 147"/>
                <a:gd name="T71" fmla="*/ 85 h 139"/>
                <a:gd name="T72" fmla="*/ 143 w 147"/>
                <a:gd name="T73" fmla="*/ 99 h 139"/>
                <a:gd name="T74" fmla="*/ 143 w 147"/>
                <a:gd name="T75" fmla="*/ 108 h 139"/>
                <a:gd name="T76" fmla="*/ 147 w 147"/>
                <a:gd name="T77" fmla="*/ 112 h 139"/>
                <a:gd name="T78" fmla="*/ 143 w 147"/>
                <a:gd name="T79" fmla="*/ 117 h 139"/>
                <a:gd name="T80" fmla="*/ 134 w 147"/>
                <a:gd name="T81" fmla="*/ 121 h 139"/>
                <a:gd name="T82" fmla="*/ 125 w 147"/>
                <a:gd name="T83" fmla="*/ 135 h 139"/>
                <a:gd name="T84" fmla="*/ 130 w 147"/>
                <a:gd name="T85" fmla="*/ 139 h 139"/>
                <a:gd name="T86" fmla="*/ 125 w 147"/>
                <a:gd name="T87" fmla="*/ 139 h 139"/>
                <a:gd name="T88" fmla="*/ 112 w 147"/>
                <a:gd name="T89" fmla="*/ 130 h 139"/>
                <a:gd name="T90" fmla="*/ 98 w 147"/>
                <a:gd name="T91" fmla="*/ 135 h 139"/>
                <a:gd name="T92" fmla="*/ 94 w 147"/>
                <a:gd name="T93" fmla="*/ 130 h 139"/>
                <a:gd name="T94" fmla="*/ 89 w 147"/>
                <a:gd name="T95" fmla="*/ 139 h 139"/>
                <a:gd name="T96" fmla="*/ 80 w 147"/>
                <a:gd name="T97" fmla="*/ 130 h 139"/>
                <a:gd name="T98" fmla="*/ 72 w 147"/>
                <a:gd name="T99" fmla="*/ 135 h 139"/>
                <a:gd name="T100" fmla="*/ 67 w 147"/>
                <a:gd name="T101" fmla="*/ 130 h 139"/>
                <a:gd name="T102" fmla="*/ 67 w 147"/>
                <a:gd name="T103" fmla="*/ 121 h 139"/>
                <a:gd name="T104" fmla="*/ 58 w 147"/>
                <a:gd name="T105" fmla="*/ 121 h 139"/>
                <a:gd name="T106" fmla="*/ 54 w 147"/>
                <a:gd name="T107" fmla="*/ 112 h 139"/>
                <a:gd name="T108" fmla="*/ 45 w 147"/>
                <a:gd name="T109" fmla="*/ 108 h 139"/>
                <a:gd name="T110" fmla="*/ 40 w 147"/>
                <a:gd name="T111" fmla="*/ 117 h 139"/>
                <a:gd name="T112" fmla="*/ 31 w 147"/>
                <a:gd name="T113" fmla="*/ 112 h 139"/>
                <a:gd name="T114" fmla="*/ 36 w 147"/>
                <a:gd name="T115" fmla="*/ 108 h 139"/>
                <a:gd name="T116" fmla="*/ 27 w 147"/>
                <a:gd name="T117" fmla="*/ 108 h 139"/>
                <a:gd name="T118" fmla="*/ 22 w 147"/>
                <a:gd name="T119" fmla="*/ 99 h 139"/>
                <a:gd name="T120" fmla="*/ 18 w 147"/>
                <a:gd name="T121" fmla="*/ 103 h 139"/>
                <a:gd name="T122" fmla="*/ 13 w 147"/>
                <a:gd name="T123" fmla="*/ 9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7" h="139">
                  <a:moveTo>
                    <a:pt x="13" y="99"/>
                  </a:moveTo>
                  <a:lnTo>
                    <a:pt x="13" y="90"/>
                  </a:lnTo>
                  <a:lnTo>
                    <a:pt x="9" y="85"/>
                  </a:lnTo>
                  <a:lnTo>
                    <a:pt x="9" y="72"/>
                  </a:lnTo>
                  <a:lnTo>
                    <a:pt x="9" y="59"/>
                  </a:lnTo>
                  <a:lnTo>
                    <a:pt x="0" y="50"/>
                  </a:lnTo>
                  <a:lnTo>
                    <a:pt x="0" y="36"/>
                  </a:lnTo>
                  <a:lnTo>
                    <a:pt x="0" y="27"/>
                  </a:lnTo>
                  <a:lnTo>
                    <a:pt x="5" y="27"/>
                  </a:lnTo>
                  <a:lnTo>
                    <a:pt x="9" y="36"/>
                  </a:lnTo>
                  <a:lnTo>
                    <a:pt x="9" y="27"/>
                  </a:lnTo>
                  <a:lnTo>
                    <a:pt x="13" y="23"/>
                  </a:lnTo>
                  <a:lnTo>
                    <a:pt x="22" y="14"/>
                  </a:lnTo>
                  <a:lnTo>
                    <a:pt x="36" y="14"/>
                  </a:lnTo>
                  <a:lnTo>
                    <a:pt x="40" y="5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72" y="0"/>
                  </a:lnTo>
                  <a:lnTo>
                    <a:pt x="72" y="5"/>
                  </a:lnTo>
                  <a:lnTo>
                    <a:pt x="63" y="5"/>
                  </a:lnTo>
                  <a:lnTo>
                    <a:pt x="67" y="9"/>
                  </a:lnTo>
                  <a:lnTo>
                    <a:pt x="76" y="5"/>
                  </a:lnTo>
                  <a:lnTo>
                    <a:pt x="76" y="14"/>
                  </a:lnTo>
                  <a:lnTo>
                    <a:pt x="80" y="9"/>
                  </a:lnTo>
                  <a:lnTo>
                    <a:pt x="89" y="9"/>
                  </a:lnTo>
                  <a:lnTo>
                    <a:pt x="107" y="14"/>
                  </a:lnTo>
                  <a:lnTo>
                    <a:pt x="130" y="14"/>
                  </a:lnTo>
                  <a:lnTo>
                    <a:pt x="139" y="23"/>
                  </a:lnTo>
                  <a:lnTo>
                    <a:pt x="139" y="27"/>
                  </a:lnTo>
                  <a:lnTo>
                    <a:pt x="143" y="41"/>
                  </a:lnTo>
                  <a:lnTo>
                    <a:pt x="147" y="50"/>
                  </a:lnTo>
                  <a:lnTo>
                    <a:pt x="147" y="59"/>
                  </a:lnTo>
                  <a:lnTo>
                    <a:pt x="134" y="63"/>
                  </a:lnTo>
                  <a:lnTo>
                    <a:pt x="139" y="72"/>
                  </a:lnTo>
                  <a:lnTo>
                    <a:pt x="139" y="81"/>
                  </a:lnTo>
                  <a:lnTo>
                    <a:pt x="139" y="85"/>
                  </a:lnTo>
                  <a:lnTo>
                    <a:pt x="143" y="99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3" y="117"/>
                  </a:lnTo>
                  <a:lnTo>
                    <a:pt x="134" y="121"/>
                  </a:lnTo>
                  <a:lnTo>
                    <a:pt x="125" y="135"/>
                  </a:lnTo>
                  <a:lnTo>
                    <a:pt x="130" y="139"/>
                  </a:lnTo>
                  <a:lnTo>
                    <a:pt x="125" y="139"/>
                  </a:lnTo>
                  <a:lnTo>
                    <a:pt x="112" y="130"/>
                  </a:lnTo>
                  <a:lnTo>
                    <a:pt x="98" y="135"/>
                  </a:lnTo>
                  <a:lnTo>
                    <a:pt x="94" y="130"/>
                  </a:lnTo>
                  <a:lnTo>
                    <a:pt x="89" y="139"/>
                  </a:lnTo>
                  <a:lnTo>
                    <a:pt x="80" y="130"/>
                  </a:lnTo>
                  <a:lnTo>
                    <a:pt x="72" y="135"/>
                  </a:lnTo>
                  <a:lnTo>
                    <a:pt x="67" y="130"/>
                  </a:lnTo>
                  <a:lnTo>
                    <a:pt x="67" y="121"/>
                  </a:lnTo>
                  <a:lnTo>
                    <a:pt x="58" y="121"/>
                  </a:lnTo>
                  <a:lnTo>
                    <a:pt x="54" y="112"/>
                  </a:lnTo>
                  <a:lnTo>
                    <a:pt x="45" y="108"/>
                  </a:lnTo>
                  <a:lnTo>
                    <a:pt x="40" y="117"/>
                  </a:lnTo>
                  <a:lnTo>
                    <a:pt x="31" y="112"/>
                  </a:lnTo>
                  <a:lnTo>
                    <a:pt x="36" y="108"/>
                  </a:lnTo>
                  <a:lnTo>
                    <a:pt x="27" y="108"/>
                  </a:lnTo>
                  <a:lnTo>
                    <a:pt x="22" y="99"/>
                  </a:lnTo>
                  <a:lnTo>
                    <a:pt x="18" y="103"/>
                  </a:lnTo>
                  <a:lnTo>
                    <a:pt x="13" y="9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43" name="Freeform 31"/>
            <p:cNvSpPr>
              <a:spLocks noEditPoints="1"/>
            </p:cNvSpPr>
            <p:nvPr/>
          </p:nvSpPr>
          <p:spPr bwMode="gray">
            <a:xfrm>
              <a:off x="436" y="2925"/>
              <a:ext cx="273" cy="303"/>
            </a:xfrm>
            <a:custGeom>
              <a:avLst/>
              <a:gdLst>
                <a:gd name="T0" fmla="*/ 0 w 161"/>
                <a:gd name="T1" fmla="*/ 174 h 179"/>
                <a:gd name="T2" fmla="*/ 0 w 161"/>
                <a:gd name="T3" fmla="*/ 179 h 179"/>
                <a:gd name="T4" fmla="*/ 9 w 161"/>
                <a:gd name="T5" fmla="*/ 179 h 179"/>
                <a:gd name="T6" fmla="*/ 9 w 161"/>
                <a:gd name="T7" fmla="*/ 174 h 179"/>
                <a:gd name="T8" fmla="*/ 0 w 161"/>
                <a:gd name="T9" fmla="*/ 174 h 179"/>
                <a:gd name="T10" fmla="*/ 120 w 161"/>
                <a:gd name="T11" fmla="*/ 4 h 179"/>
                <a:gd name="T12" fmla="*/ 120 w 161"/>
                <a:gd name="T13" fmla="*/ 13 h 179"/>
                <a:gd name="T14" fmla="*/ 120 w 161"/>
                <a:gd name="T15" fmla="*/ 27 h 179"/>
                <a:gd name="T16" fmla="*/ 120 w 161"/>
                <a:gd name="T17" fmla="*/ 31 h 179"/>
                <a:gd name="T18" fmla="*/ 120 w 161"/>
                <a:gd name="T19" fmla="*/ 31 h 179"/>
                <a:gd name="T20" fmla="*/ 120 w 161"/>
                <a:gd name="T21" fmla="*/ 40 h 179"/>
                <a:gd name="T22" fmla="*/ 116 w 161"/>
                <a:gd name="T23" fmla="*/ 54 h 179"/>
                <a:gd name="T24" fmla="*/ 112 w 161"/>
                <a:gd name="T25" fmla="*/ 58 h 179"/>
                <a:gd name="T26" fmla="*/ 112 w 161"/>
                <a:gd name="T27" fmla="*/ 67 h 179"/>
                <a:gd name="T28" fmla="*/ 116 w 161"/>
                <a:gd name="T29" fmla="*/ 72 h 179"/>
                <a:gd name="T30" fmla="*/ 116 w 161"/>
                <a:gd name="T31" fmla="*/ 72 h 179"/>
                <a:gd name="T32" fmla="*/ 116 w 161"/>
                <a:gd name="T33" fmla="*/ 76 h 179"/>
                <a:gd name="T34" fmla="*/ 120 w 161"/>
                <a:gd name="T35" fmla="*/ 80 h 179"/>
                <a:gd name="T36" fmla="*/ 120 w 161"/>
                <a:gd name="T37" fmla="*/ 89 h 179"/>
                <a:gd name="T38" fmla="*/ 120 w 161"/>
                <a:gd name="T39" fmla="*/ 98 h 179"/>
                <a:gd name="T40" fmla="*/ 120 w 161"/>
                <a:gd name="T41" fmla="*/ 98 h 179"/>
                <a:gd name="T42" fmla="*/ 125 w 161"/>
                <a:gd name="T43" fmla="*/ 94 h 179"/>
                <a:gd name="T44" fmla="*/ 134 w 161"/>
                <a:gd name="T45" fmla="*/ 98 h 179"/>
                <a:gd name="T46" fmla="*/ 138 w 161"/>
                <a:gd name="T47" fmla="*/ 98 h 179"/>
                <a:gd name="T48" fmla="*/ 143 w 161"/>
                <a:gd name="T49" fmla="*/ 94 h 179"/>
                <a:gd name="T50" fmla="*/ 143 w 161"/>
                <a:gd name="T51" fmla="*/ 85 h 179"/>
                <a:gd name="T52" fmla="*/ 147 w 161"/>
                <a:gd name="T53" fmla="*/ 85 h 179"/>
                <a:gd name="T54" fmla="*/ 143 w 161"/>
                <a:gd name="T55" fmla="*/ 76 h 179"/>
                <a:gd name="T56" fmla="*/ 147 w 161"/>
                <a:gd name="T57" fmla="*/ 67 h 179"/>
                <a:gd name="T58" fmla="*/ 138 w 161"/>
                <a:gd name="T59" fmla="*/ 54 h 179"/>
                <a:gd name="T60" fmla="*/ 147 w 161"/>
                <a:gd name="T61" fmla="*/ 49 h 179"/>
                <a:gd name="T62" fmla="*/ 147 w 161"/>
                <a:gd name="T63" fmla="*/ 40 h 179"/>
                <a:gd name="T64" fmla="*/ 147 w 161"/>
                <a:gd name="T65" fmla="*/ 36 h 179"/>
                <a:gd name="T66" fmla="*/ 152 w 161"/>
                <a:gd name="T67" fmla="*/ 22 h 179"/>
                <a:gd name="T68" fmla="*/ 161 w 161"/>
                <a:gd name="T69" fmla="*/ 13 h 179"/>
                <a:gd name="T70" fmla="*/ 152 w 161"/>
                <a:gd name="T71" fmla="*/ 9 h 179"/>
                <a:gd name="T72" fmla="*/ 134 w 161"/>
                <a:gd name="T73" fmla="*/ 9 h 179"/>
                <a:gd name="T74" fmla="*/ 129 w 161"/>
                <a:gd name="T75" fmla="*/ 0 h 179"/>
                <a:gd name="T76" fmla="*/ 120 w 161"/>
                <a:gd name="T77" fmla="*/ 4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1" h="179">
                  <a:moveTo>
                    <a:pt x="0" y="174"/>
                  </a:moveTo>
                  <a:lnTo>
                    <a:pt x="0" y="179"/>
                  </a:lnTo>
                  <a:lnTo>
                    <a:pt x="9" y="179"/>
                  </a:lnTo>
                  <a:lnTo>
                    <a:pt x="9" y="174"/>
                  </a:lnTo>
                  <a:lnTo>
                    <a:pt x="0" y="174"/>
                  </a:lnTo>
                  <a:close/>
                  <a:moveTo>
                    <a:pt x="120" y="4"/>
                  </a:moveTo>
                  <a:lnTo>
                    <a:pt x="120" y="13"/>
                  </a:lnTo>
                  <a:lnTo>
                    <a:pt x="120" y="27"/>
                  </a:lnTo>
                  <a:lnTo>
                    <a:pt x="120" y="31"/>
                  </a:lnTo>
                  <a:lnTo>
                    <a:pt x="120" y="31"/>
                  </a:lnTo>
                  <a:lnTo>
                    <a:pt x="120" y="40"/>
                  </a:lnTo>
                  <a:lnTo>
                    <a:pt x="116" y="54"/>
                  </a:lnTo>
                  <a:lnTo>
                    <a:pt x="112" y="58"/>
                  </a:lnTo>
                  <a:lnTo>
                    <a:pt x="112" y="67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6"/>
                  </a:lnTo>
                  <a:lnTo>
                    <a:pt x="120" y="80"/>
                  </a:lnTo>
                  <a:lnTo>
                    <a:pt x="120" y="89"/>
                  </a:lnTo>
                  <a:lnTo>
                    <a:pt x="120" y="98"/>
                  </a:lnTo>
                  <a:lnTo>
                    <a:pt x="120" y="98"/>
                  </a:lnTo>
                  <a:lnTo>
                    <a:pt x="125" y="94"/>
                  </a:lnTo>
                  <a:lnTo>
                    <a:pt x="134" y="98"/>
                  </a:lnTo>
                  <a:lnTo>
                    <a:pt x="138" y="98"/>
                  </a:lnTo>
                  <a:lnTo>
                    <a:pt x="143" y="94"/>
                  </a:lnTo>
                  <a:lnTo>
                    <a:pt x="143" y="85"/>
                  </a:lnTo>
                  <a:lnTo>
                    <a:pt x="147" y="85"/>
                  </a:lnTo>
                  <a:lnTo>
                    <a:pt x="143" y="76"/>
                  </a:lnTo>
                  <a:lnTo>
                    <a:pt x="147" y="67"/>
                  </a:lnTo>
                  <a:lnTo>
                    <a:pt x="138" y="54"/>
                  </a:lnTo>
                  <a:lnTo>
                    <a:pt x="147" y="49"/>
                  </a:lnTo>
                  <a:lnTo>
                    <a:pt x="147" y="40"/>
                  </a:lnTo>
                  <a:lnTo>
                    <a:pt x="147" y="36"/>
                  </a:lnTo>
                  <a:lnTo>
                    <a:pt x="152" y="22"/>
                  </a:lnTo>
                  <a:lnTo>
                    <a:pt x="161" y="13"/>
                  </a:lnTo>
                  <a:lnTo>
                    <a:pt x="152" y="9"/>
                  </a:lnTo>
                  <a:lnTo>
                    <a:pt x="134" y="9"/>
                  </a:lnTo>
                  <a:lnTo>
                    <a:pt x="129" y="0"/>
                  </a:lnTo>
                  <a:lnTo>
                    <a:pt x="120" y="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44" name="Freeform 32"/>
            <p:cNvSpPr>
              <a:spLocks/>
            </p:cNvSpPr>
            <p:nvPr/>
          </p:nvSpPr>
          <p:spPr bwMode="gray">
            <a:xfrm>
              <a:off x="1346" y="2712"/>
              <a:ext cx="220" cy="166"/>
            </a:xfrm>
            <a:custGeom>
              <a:avLst/>
              <a:gdLst>
                <a:gd name="T0" fmla="*/ 0 w 129"/>
                <a:gd name="T1" fmla="*/ 45 h 98"/>
                <a:gd name="T2" fmla="*/ 4 w 129"/>
                <a:gd name="T3" fmla="*/ 54 h 98"/>
                <a:gd name="T4" fmla="*/ 4 w 129"/>
                <a:gd name="T5" fmla="*/ 62 h 98"/>
                <a:gd name="T6" fmla="*/ 13 w 129"/>
                <a:gd name="T7" fmla="*/ 71 h 98"/>
                <a:gd name="T8" fmla="*/ 22 w 129"/>
                <a:gd name="T9" fmla="*/ 76 h 98"/>
                <a:gd name="T10" fmla="*/ 27 w 129"/>
                <a:gd name="T11" fmla="*/ 76 h 98"/>
                <a:gd name="T12" fmla="*/ 27 w 129"/>
                <a:gd name="T13" fmla="*/ 80 h 98"/>
                <a:gd name="T14" fmla="*/ 31 w 129"/>
                <a:gd name="T15" fmla="*/ 80 h 98"/>
                <a:gd name="T16" fmla="*/ 36 w 129"/>
                <a:gd name="T17" fmla="*/ 80 h 98"/>
                <a:gd name="T18" fmla="*/ 36 w 129"/>
                <a:gd name="T19" fmla="*/ 89 h 98"/>
                <a:gd name="T20" fmla="*/ 49 w 129"/>
                <a:gd name="T21" fmla="*/ 94 h 98"/>
                <a:gd name="T22" fmla="*/ 62 w 129"/>
                <a:gd name="T23" fmla="*/ 98 h 98"/>
                <a:gd name="T24" fmla="*/ 76 w 129"/>
                <a:gd name="T25" fmla="*/ 98 h 98"/>
                <a:gd name="T26" fmla="*/ 85 w 129"/>
                <a:gd name="T27" fmla="*/ 89 h 98"/>
                <a:gd name="T28" fmla="*/ 98 w 129"/>
                <a:gd name="T29" fmla="*/ 85 h 98"/>
                <a:gd name="T30" fmla="*/ 116 w 129"/>
                <a:gd name="T31" fmla="*/ 94 h 98"/>
                <a:gd name="T32" fmla="*/ 116 w 129"/>
                <a:gd name="T33" fmla="*/ 85 h 98"/>
                <a:gd name="T34" fmla="*/ 120 w 129"/>
                <a:gd name="T35" fmla="*/ 80 h 98"/>
                <a:gd name="T36" fmla="*/ 120 w 129"/>
                <a:gd name="T37" fmla="*/ 67 h 98"/>
                <a:gd name="T38" fmla="*/ 120 w 129"/>
                <a:gd name="T39" fmla="*/ 71 h 98"/>
                <a:gd name="T40" fmla="*/ 129 w 129"/>
                <a:gd name="T41" fmla="*/ 71 h 98"/>
                <a:gd name="T42" fmla="*/ 129 w 129"/>
                <a:gd name="T43" fmla="*/ 62 h 98"/>
                <a:gd name="T44" fmla="*/ 125 w 129"/>
                <a:gd name="T45" fmla="*/ 62 h 98"/>
                <a:gd name="T46" fmla="*/ 116 w 129"/>
                <a:gd name="T47" fmla="*/ 67 h 98"/>
                <a:gd name="T48" fmla="*/ 112 w 129"/>
                <a:gd name="T49" fmla="*/ 62 h 98"/>
                <a:gd name="T50" fmla="*/ 107 w 129"/>
                <a:gd name="T51" fmla="*/ 58 h 98"/>
                <a:gd name="T52" fmla="*/ 112 w 129"/>
                <a:gd name="T53" fmla="*/ 40 h 98"/>
                <a:gd name="T54" fmla="*/ 107 w 129"/>
                <a:gd name="T55" fmla="*/ 27 h 98"/>
                <a:gd name="T56" fmla="*/ 103 w 129"/>
                <a:gd name="T57" fmla="*/ 18 h 98"/>
                <a:gd name="T58" fmla="*/ 89 w 129"/>
                <a:gd name="T59" fmla="*/ 0 h 98"/>
                <a:gd name="T60" fmla="*/ 67 w 129"/>
                <a:gd name="T61" fmla="*/ 9 h 98"/>
                <a:gd name="T62" fmla="*/ 40 w 129"/>
                <a:gd name="T63" fmla="*/ 4 h 98"/>
                <a:gd name="T64" fmla="*/ 36 w 129"/>
                <a:gd name="T65" fmla="*/ 9 h 98"/>
                <a:gd name="T66" fmla="*/ 36 w 129"/>
                <a:gd name="T67" fmla="*/ 13 h 98"/>
                <a:gd name="T68" fmla="*/ 22 w 129"/>
                <a:gd name="T69" fmla="*/ 18 h 98"/>
                <a:gd name="T70" fmla="*/ 13 w 129"/>
                <a:gd name="T71" fmla="*/ 36 h 98"/>
                <a:gd name="T72" fmla="*/ 13 w 129"/>
                <a:gd name="T73" fmla="*/ 40 h 98"/>
                <a:gd name="T74" fmla="*/ 4 w 129"/>
                <a:gd name="T75" fmla="*/ 45 h 98"/>
                <a:gd name="T76" fmla="*/ 0 w 129"/>
                <a:gd name="T77" fmla="*/ 4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9" h="98">
                  <a:moveTo>
                    <a:pt x="0" y="45"/>
                  </a:moveTo>
                  <a:lnTo>
                    <a:pt x="4" y="54"/>
                  </a:lnTo>
                  <a:lnTo>
                    <a:pt x="4" y="62"/>
                  </a:lnTo>
                  <a:lnTo>
                    <a:pt x="13" y="71"/>
                  </a:lnTo>
                  <a:lnTo>
                    <a:pt x="22" y="76"/>
                  </a:lnTo>
                  <a:lnTo>
                    <a:pt x="27" y="76"/>
                  </a:lnTo>
                  <a:lnTo>
                    <a:pt x="27" y="80"/>
                  </a:lnTo>
                  <a:lnTo>
                    <a:pt x="31" y="80"/>
                  </a:lnTo>
                  <a:lnTo>
                    <a:pt x="36" y="80"/>
                  </a:lnTo>
                  <a:lnTo>
                    <a:pt x="36" y="89"/>
                  </a:lnTo>
                  <a:lnTo>
                    <a:pt x="49" y="94"/>
                  </a:lnTo>
                  <a:lnTo>
                    <a:pt x="62" y="98"/>
                  </a:lnTo>
                  <a:lnTo>
                    <a:pt x="76" y="98"/>
                  </a:lnTo>
                  <a:lnTo>
                    <a:pt x="85" y="89"/>
                  </a:lnTo>
                  <a:lnTo>
                    <a:pt x="98" y="85"/>
                  </a:lnTo>
                  <a:lnTo>
                    <a:pt x="116" y="94"/>
                  </a:lnTo>
                  <a:lnTo>
                    <a:pt x="116" y="85"/>
                  </a:lnTo>
                  <a:lnTo>
                    <a:pt x="120" y="80"/>
                  </a:lnTo>
                  <a:lnTo>
                    <a:pt x="120" y="67"/>
                  </a:lnTo>
                  <a:lnTo>
                    <a:pt x="120" y="71"/>
                  </a:lnTo>
                  <a:lnTo>
                    <a:pt x="129" y="71"/>
                  </a:lnTo>
                  <a:lnTo>
                    <a:pt x="129" y="62"/>
                  </a:lnTo>
                  <a:lnTo>
                    <a:pt x="125" y="62"/>
                  </a:lnTo>
                  <a:lnTo>
                    <a:pt x="116" y="67"/>
                  </a:lnTo>
                  <a:lnTo>
                    <a:pt x="112" y="62"/>
                  </a:lnTo>
                  <a:lnTo>
                    <a:pt x="107" y="58"/>
                  </a:lnTo>
                  <a:lnTo>
                    <a:pt x="112" y="40"/>
                  </a:lnTo>
                  <a:lnTo>
                    <a:pt x="107" y="27"/>
                  </a:lnTo>
                  <a:lnTo>
                    <a:pt x="103" y="18"/>
                  </a:lnTo>
                  <a:lnTo>
                    <a:pt x="89" y="0"/>
                  </a:lnTo>
                  <a:lnTo>
                    <a:pt x="67" y="9"/>
                  </a:lnTo>
                  <a:lnTo>
                    <a:pt x="40" y="4"/>
                  </a:lnTo>
                  <a:lnTo>
                    <a:pt x="36" y="9"/>
                  </a:lnTo>
                  <a:lnTo>
                    <a:pt x="36" y="13"/>
                  </a:lnTo>
                  <a:lnTo>
                    <a:pt x="22" y="18"/>
                  </a:lnTo>
                  <a:lnTo>
                    <a:pt x="13" y="36"/>
                  </a:lnTo>
                  <a:lnTo>
                    <a:pt x="13" y="40"/>
                  </a:lnTo>
                  <a:lnTo>
                    <a:pt x="4" y="45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45" name="Freeform 33"/>
            <p:cNvSpPr>
              <a:spLocks/>
            </p:cNvSpPr>
            <p:nvPr/>
          </p:nvSpPr>
          <p:spPr bwMode="gray">
            <a:xfrm>
              <a:off x="1255" y="2666"/>
              <a:ext cx="145" cy="52"/>
            </a:xfrm>
            <a:custGeom>
              <a:avLst/>
              <a:gdLst>
                <a:gd name="T0" fmla="*/ 0 w 85"/>
                <a:gd name="T1" fmla="*/ 22 h 31"/>
                <a:gd name="T2" fmla="*/ 5 w 85"/>
                <a:gd name="T3" fmla="*/ 18 h 31"/>
                <a:gd name="T4" fmla="*/ 14 w 85"/>
                <a:gd name="T5" fmla="*/ 18 h 31"/>
                <a:gd name="T6" fmla="*/ 18 w 85"/>
                <a:gd name="T7" fmla="*/ 13 h 31"/>
                <a:gd name="T8" fmla="*/ 23 w 85"/>
                <a:gd name="T9" fmla="*/ 5 h 31"/>
                <a:gd name="T10" fmla="*/ 27 w 85"/>
                <a:gd name="T11" fmla="*/ 0 h 31"/>
                <a:gd name="T12" fmla="*/ 32 w 85"/>
                <a:gd name="T13" fmla="*/ 5 h 31"/>
                <a:gd name="T14" fmla="*/ 40 w 85"/>
                <a:gd name="T15" fmla="*/ 0 h 31"/>
                <a:gd name="T16" fmla="*/ 49 w 85"/>
                <a:gd name="T17" fmla="*/ 9 h 31"/>
                <a:gd name="T18" fmla="*/ 54 w 85"/>
                <a:gd name="T19" fmla="*/ 0 h 31"/>
                <a:gd name="T20" fmla="*/ 58 w 85"/>
                <a:gd name="T21" fmla="*/ 5 h 31"/>
                <a:gd name="T22" fmla="*/ 72 w 85"/>
                <a:gd name="T23" fmla="*/ 0 h 31"/>
                <a:gd name="T24" fmla="*/ 85 w 85"/>
                <a:gd name="T25" fmla="*/ 9 h 31"/>
                <a:gd name="T26" fmla="*/ 81 w 85"/>
                <a:gd name="T27" fmla="*/ 22 h 31"/>
                <a:gd name="T28" fmla="*/ 72 w 85"/>
                <a:gd name="T29" fmla="*/ 22 h 31"/>
                <a:gd name="T30" fmla="*/ 67 w 85"/>
                <a:gd name="T31" fmla="*/ 18 h 31"/>
                <a:gd name="T32" fmla="*/ 63 w 85"/>
                <a:gd name="T33" fmla="*/ 22 h 31"/>
                <a:gd name="T34" fmla="*/ 54 w 85"/>
                <a:gd name="T35" fmla="*/ 18 h 31"/>
                <a:gd name="T36" fmla="*/ 45 w 85"/>
                <a:gd name="T37" fmla="*/ 27 h 31"/>
                <a:gd name="T38" fmla="*/ 36 w 85"/>
                <a:gd name="T39" fmla="*/ 27 h 31"/>
                <a:gd name="T40" fmla="*/ 32 w 85"/>
                <a:gd name="T41" fmla="*/ 31 h 31"/>
                <a:gd name="T42" fmla="*/ 14 w 85"/>
                <a:gd name="T43" fmla="*/ 31 h 31"/>
                <a:gd name="T44" fmla="*/ 9 w 85"/>
                <a:gd name="T45" fmla="*/ 27 h 31"/>
                <a:gd name="T46" fmla="*/ 9 w 85"/>
                <a:gd name="T47" fmla="*/ 22 h 31"/>
                <a:gd name="T48" fmla="*/ 5 w 85"/>
                <a:gd name="T49" fmla="*/ 22 h 31"/>
                <a:gd name="T50" fmla="*/ 0 w 85"/>
                <a:gd name="T51" fmla="*/ 2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5" h="31">
                  <a:moveTo>
                    <a:pt x="0" y="22"/>
                  </a:moveTo>
                  <a:lnTo>
                    <a:pt x="5" y="18"/>
                  </a:lnTo>
                  <a:lnTo>
                    <a:pt x="14" y="18"/>
                  </a:lnTo>
                  <a:lnTo>
                    <a:pt x="18" y="13"/>
                  </a:lnTo>
                  <a:lnTo>
                    <a:pt x="23" y="5"/>
                  </a:lnTo>
                  <a:lnTo>
                    <a:pt x="27" y="0"/>
                  </a:lnTo>
                  <a:lnTo>
                    <a:pt x="32" y="5"/>
                  </a:lnTo>
                  <a:lnTo>
                    <a:pt x="40" y="0"/>
                  </a:lnTo>
                  <a:lnTo>
                    <a:pt x="49" y="9"/>
                  </a:lnTo>
                  <a:lnTo>
                    <a:pt x="54" y="0"/>
                  </a:lnTo>
                  <a:lnTo>
                    <a:pt x="58" y="5"/>
                  </a:lnTo>
                  <a:lnTo>
                    <a:pt x="72" y="0"/>
                  </a:lnTo>
                  <a:lnTo>
                    <a:pt x="85" y="9"/>
                  </a:lnTo>
                  <a:lnTo>
                    <a:pt x="81" y="22"/>
                  </a:lnTo>
                  <a:lnTo>
                    <a:pt x="72" y="22"/>
                  </a:lnTo>
                  <a:lnTo>
                    <a:pt x="67" y="18"/>
                  </a:lnTo>
                  <a:lnTo>
                    <a:pt x="63" y="22"/>
                  </a:lnTo>
                  <a:lnTo>
                    <a:pt x="54" y="18"/>
                  </a:lnTo>
                  <a:lnTo>
                    <a:pt x="45" y="27"/>
                  </a:lnTo>
                  <a:lnTo>
                    <a:pt x="36" y="27"/>
                  </a:lnTo>
                  <a:lnTo>
                    <a:pt x="32" y="31"/>
                  </a:lnTo>
                  <a:lnTo>
                    <a:pt x="14" y="31"/>
                  </a:lnTo>
                  <a:lnTo>
                    <a:pt x="9" y="27"/>
                  </a:lnTo>
                  <a:lnTo>
                    <a:pt x="9" y="22"/>
                  </a:lnTo>
                  <a:lnTo>
                    <a:pt x="5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46" name="Freeform 34"/>
            <p:cNvSpPr>
              <a:spLocks/>
            </p:cNvSpPr>
            <p:nvPr/>
          </p:nvSpPr>
          <p:spPr bwMode="gray">
            <a:xfrm>
              <a:off x="1171" y="2764"/>
              <a:ext cx="77" cy="46"/>
            </a:xfrm>
            <a:custGeom>
              <a:avLst/>
              <a:gdLst>
                <a:gd name="T0" fmla="*/ 5 w 45"/>
                <a:gd name="T1" fmla="*/ 27 h 27"/>
                <a:gd name="T2" fmla="*/ 5 w 45"/>
                <a:gd name="T3" fmla="*/ 27 h 27"/>
                <a:gd name="T4" fmla="*/ 5 w 45"/>
                <a:gd name="T5" fmla="*/ 27 h 27"/>
                <a:gd name="T6" fmla="*/ 14 w 45"/>
                <a:gd name="T7" fmla="*/ 27 h 27"/>
                <a:gd name="T8" fmla="*/ 14 w 45"/>
                <a:gd name="T9" fmla="*/ 27 h 27"/>
                <a:gd name="T10" fmla="*/ 18 w 45"/>
                <a:gd name="T11" fmla="*/ 23 h 27"/>
                <a:gd name="T12" fmla="*/ 22 w 45"/>
                <a:gd name="T13" fmla="*/ 27 h 27"/>
                <a:gd name="T14" fmla="*/ 27 w 45"/>
                <a:gd name="T15" fmla="*/ 27 h 27"/>
                <a:gd name="T16" fmla="*/ 27 w 45"/>
                <a:gd name="T17" fmla="*/ 27 h 27"/>
                <a:gd name="T18" fmla="*/ 27 w 45"/>
                <a:gd name="T19" fmla="*/ 23 h 27"/>
                <a:gd name="T20" fmla="*/ 31 w 45"/>
                <a:gd name="T21" fmla="*/ 18 h 27"/>
                <a:gd name="T22" fmla="*/ 31 w 45"/>
                <a:gd name="T23" fmla="*/ 18 h 27"/>
                <a:gd name="T24" fmla="*/ 31 w 45"/>
                <a:gd name="T25" fmla="*/ 14 h 27"/>
                <a:gd name="T26" fmla="*/ 31 w 45"/>
                <a:gd name="T27" fmla="*/ 14 h 27"/>
                <a:gd name="T28" fmla="*/ 36 w 45"/>
                <a:gd name="T29" fmla="*/ 14 h 27"/>
                <a:gd name="T30" fmla="*/ 36 w 45"/>
                <a:gd name="T31" fmla="*/ 9 h 27"/>
                <a:gd name="T32" fmla="*/ 40 w 45"/>
                <a:gd name="T33" fmla="*/ 9 h 27"/>
                <a:gd name="T34" fmla="*/ 40 w 45"/>
                <a:gd name="T35" fmla="*/ 9 h 27"/>
                <a:gd name="T36" fmla="*/ 40 w 45"/>
                <a:gd name="T37" fmla="*/ 5 h 27"/>
                <a:gd name="T38" fmla="*/ 45 w 45"/>
                <a:gd name="T39" fmla="*/ 9 h 27"/>
                <a:gd name="T40" fmla="*/ 45 w 45"/>
                <a:gd name="T41" fmla="*/ 9 h 27"/>
                <a:gd name="T42" fmla="*/ 40 w 45"/>
                <a:gd name="T43" fmla="*/ 0 h 27"/>
                <a:gd name="T44" fmla="*/ 27 w 45"/>
                <a:gd name="T45" fmla="*/ 5 h 27"/>
                <a:gd name="T46" fmla="*/ 18 w 45"/>
                <a:gd name="T47" fmla="*/ 9 h 27"/>
                <a:gd name="T48" fmla="*/ 5 w 45"/>
                <a:gd name="T49" fmla="*/ 9 h 27"/>
                <a:gd name="T50" fmla="*/ 0 w 45"/>
                <a:gd name="T51" fmla="*/ 9 h 27"/>
                <a:gd name="T52" fmla="*/ 5 w 45"/>
                <a:gd name="T53" fmla="*/ 14 h 27"/>
                <a:gd name="T54" fmla="*/ 5 w 45"/>
                <a:gd name="T55" fmla="*/ 18 h 27"/>
                <a:gd name="T56" fmla="*/ 9 w 45"/>
                <a:gd name="T57" fmla="*/ 27 h 27"/>
                <a:gd name="T58" fmla="*/ 5 w 45"/>
                <a:gd name="T5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5" h="27">
                  <a:moveTo>
                    <a:pt x="5" y="27"/>
                  </a:moveTo>
                  <a:lnTo>
                    <a:pt x="5" y="27"/>
                  </a:lnTo>
                  <a:lnTo>
                    <a:pt x="5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8" y="23"/>
                  </a:lnTo>
                  <a:lnTo>
                    <a:pt x="22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3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6" y="14"/>
                  </a:lnTo>
                  <a:lnTo>
                    <a:pt x="36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5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0" y="0"/>
                  </a:lnTo>
                  <a:lnTo>
                    <a:pt x="27" y="5"/>
                  </a:lnTo>
                  <a:lnTo>
                    <a:pt x="18" y="9"/>
                  </a:lnTo>
                  <a:lnTo>
                    <a:pt x="5" y="9"/>
                  </a:lnTo>
                  <a:lnTo>
                    <a:pt x="0" y="9"/>
                  </a:lnTo>
                  <a:lnTo>
                    <a:pt x="5" y="14"/>
                  </a:lnTo>
                  <a:lnTo>
                    <a:pt x="5" y="18"/>
                  </a:lnTo>
                  <a:lnTo>
                    <a:pt x="9" y="27"/>
                  </a:lnTo>
                  <a:lnTo>
                    <a:pt x="5" y="27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47" name="Freeform 35"/>
            <p:cNvSpPr>
              <a:spLocks noEditPoints="1"/>
            </p:cNvSpPr>
            <p:nvPr/>
          </p:nvSpPr>
          <p:spPr bwMode="gray">
            <a:xfrm>
              <a:off x="1119" y="1679"/>
              <a:ext cx="318" cy="744"/>
            </a:xfrm>
            <a:custGeom>
              <a:avLst/>
              <a:gdLst>
                <a:gd name="T0" fmla="*/ 0 w 187"/>
                <a:gd name="T1" fmla="*/ 340 h 438"/>
                <a:gd name="T2" fmla="*/ 9 w 187"/>
                <a:gd name="T3" fmla="*/ 358 h 438"/>
                <a:gd name="T4" fmla="*/ 13 w 187"/>
                <a:gd name="T5" fmla="*/ 358 h 438"/>
                <a:gd name="T6" fmla="*/ 9 w 187"/>
                <a:gd name="T7" fmla="*/ 371 h 438"/>
                <a:gd name="T8" fmla="*/ 13 w 187"/>
                <a:gd name="T9" fmla="*/ 384 h 438"/>
                <a:gd name="T10" fmla="*/ 27 w 187"/>
                <a:gd name="T11" fmla="*/ 402 h 438"/>
                <a:gd name="T12" fmla="*/ 22 w 187"/>
                <a:gd name="T13" fmla="*/ 411 h 438"/>
                <a:gd name="T14" fmla="*/ 22 w 187"/>
                <a:gd name="T15" fmla="*/ 429 h 438"/>
                <a:gd name="T16" fmla="*/ 31 w 187"/>
                <a:gd name="T17" fmla="*/ 438 h 438"/>
                <a:gd name="T18" fmla="*/ 45 w 187"/>
                <a:gd name="T19" fmla="*/ 434 h 438"/>
                <a:gd name="T20" fmla="*/ 45 w 187"/>
                <a:gd name="T21" fmla="*/ 420 h 438"/>
                <a:gd name="T22" fmla="*/ 53 w 187"/>
                <a:gd name="T23" fmla="*/ 416 h 438"/>
                <a:gd name="T24" fmla="*/ 76 w 187"/>
                <a:gd name="T25" fmla="*/ 407 h 438"/>
                <a:gd name="T26" fmla="*/ 85 w 187"/>
                <a:gd name="T27" fmla="*/ 358 h 438"/>
                <a:gd name="T28" fmla="*/ 112 w 187"/>
                <a:gd name="T29" fmla="*/ 340 h 438"/>
                <a:gd name="T30" fmla="*/ 116 w 187"/>
                <a:gd name="T31" fmla="*/ 317 h 438"/>
                <a:gd name="T32" fmla="*/ 98 w 187"/>
                <a:gd name="T33" fmla="*/ 295 h 438"/>
                <a:gd name="T34" fmla="*/ 94 w 187"/>
                <a:gd name="T35" fmla="*/ 282 h 438"/>
                <a:gd name="T36" fmla="*/ 98 w 187"/>
                <a:gd name="T37" fmla="*/ 259 h 438"/>
                <a:gd name="T38" fmla="*/ 98 w 187"/>
                <a:gd name="T39" fmla="*/ 241 h 438"/>
                <a:gd name="T40" fmla="*/ 98 w 187"/>
                <a:gd name="T41" fmla="*/ 233 h 438"/>
                <a:gd name="T42" fmla="*/ 103 w 187"/>
                <a:gd name="T43" fmla="*/ 224 h 438"/>
                <a:gd name="T44" fmla="*/ 103 w 187"/>
                <a:gd name="T45" fmla="*/ 215 h 438"/>
                <a:gd name="T46" fmla="*/ 116 w 187"/>
                <a:gd name="T47" fmla="*/ 210 h 438"/>
                <a:gd name="T48" fmla="*/ 125 w 187"/>
                <a:gd name="T49" fmla="*/ 201 h 438"/>
                <a:gd name="T50" fmla="*/ 138 w 187"/>
                <a:gd name="T51" fmla="*/ 188 h 438"/>
                <a:gd name="T52" fmla="*/ 143 w 187"/>
                <a:gd name="T53" fmla="*/ 165 h 438"/>
                <a:gd name="T54" fmla="*/ 161 w 187"/>
                <a:gd name="T55" fmla="*/ 139 h 438"/>
                <a:gd name="T56" fmla="*/ 165 w 187"/>
                <a:gd name="T57" fmla="*/ 125 h 438"/>
                <a:gd name="T58" fmla="*/ 174 w 187"/>
                <a:gd name="T59" fmla="*/ 125 h 438"/>
                <a:gd name="T60" fmla="*/ 183 w 187"/>
                <a:gd name="T61" fmla="*/ 112 h 438"/>
                <a:gd name="T62" fmla="*/ 187 w 187"/>
                <a:gd name="T63" fmla="*/ 81 h 438"/>
                <a:gd name="T64" fmla="*/ 179 w 187"/>
                <a:gd name="T65" fmla="*/ 36 h 438"/>
                <a:gd name="T66" fmla="*/ 152 w 187"/>
                <a:gd name="T67" fmla="*/ 14 h 438"/>
                <a:gd name="T68" fmla="*/ 129 w 187"/>
                <a:gd name="T69" fmla="*/ 0 h 438"/>
                <a:gd name="T70" fmla="*/ 125 w 187"/>
                <a:gd name="T71" fmla="*/ 22 h 438"/>
                <a:gd name="T72" fmla="*/ 98 w 187"/>
                <a:gd name="T73" fmla="*/ 22 h 438"/>
                <a:gd name="T74" fmla="*/ 98 w 187"/>
                <a:gd name="T75" fmla="*/ 40 h 438"/>
                <a:gd name="T76" fmla="*/ 80 w 187"/>
                <a:gd name="T77" fmla="*/ 49 h 438"/>
                <a:gd name="T78" fmla="*/ 80 w 187"/>
                <a:gd name="T79" fmla="*/ 81 h 438"/>
                <a:gd name="T80" fmla="*/ 62 w 187"/>
                <a:gd name="T81" fmla="*/ 112 h 438"/>
                <a:gd name="T82" fmla="*/ 53 w 187"/>
                <a:gd name="T83" fmla="*/ 116 h 438"/>
                <a:gd name="T84" fmla="*/ 49 w 187"/>
                <a:gd name="T85" fmla="*/ 139 h 438"/>
                <a:gd name="T86" fmla="*/ 45 w 187"/>
                <a:gd name="T87" fmla="*/ 179 h 438"/>
                <a:gd name="T88" fmla="*/ 27 w 187"/>
                <a:gd name="T89" fmla="*/ 179 h 438"/>
                <a:gd name="T90" fmla="*/ 13 w 187"/>
                <a:gd name="T91" fmla="*/ 201 h 438"/>
                <a:gd name="T92" fmla="*/ 13 w 187"/>
                <a:gd name="T93" fmla="*/ 210 h 438"/>
                <a:gd name="T94" fmla="*/ 27 w 187"/>
                <a:gd name="T95" fmla="*/ 273 h 438"/>
                <a:gd name="T96" fmla="*/ 22 w 187"/>
                <a:gd name="T97" fmla="*/ 313 h 438"/>
                <a:gd name="T98" fmla="*/ 13 w 187"/>
                <a:gd name="T99" fmla="*/ 331 h 438"/>
                <a:gd name="T100" fmla="*/ 4 w 187"/>
                <a:gd name="T101" fmla="*/ 340 h 438"/>
                <a:gd name="T102" fmla="*/ 80 w 187"/>
                <a:gd name="T103" fmla="*/ 402 h 438"/>
                <a:gd name="T104" fmla="*/ 80 w 187"/>
                <a:gd name="T105" fmla="*/ 411 h 438"/>
                <a:gd name="T106" fmla="*/ 89 w 187"/>
                <a:gd name="T107" fmla="*/ 384 h 438"/>
                <a:gd name="T108" fmla="*/ 120 w 187"/>
                <a:gd name="T109" fmla="*/ 371 h 438"/>
                <a:gd name="T110" fmla="*/ 112 w 187"/>
                <a:gd name="T111" fmla="*/ 371 h 438"/>
                <a:gd name="T112" fmla="*/ 103 w 187"/>
                <a:gd name="T113" fmla="*/ 376 h 438"/>
                <a:gd name="T114" fmla="*/ 107 w 187"/>
                <a:gd name="T115" fmla="*/ 393 h 438"/>
                <a:gd name="T116" fmla="*/ 112 w 187"/>
                <a:gd name="T117" fmla="*/ 380 h 438"/>
                <a:gd name="T118" fmla="*/ 120 w 187"/>
                <a:gd name="T119" fmla="*/ 371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7" h="438">
                  <a:moveTo>
                    <a:pt x="4" y="340"/>
                  </a:moveTo>
                  <a:lnTo>
                    <a:pt x="0" y="340"/>
                  </a:lnTo>
                  <a:lnTo>
                    <a:pt x="0" y="358"/>
                  </a:lnTo>
                  <a:lnTo>
                    <a:pt x="9" y="358"/>
                  </a:lnTo>
                  <a:lnTo>
                    <a:pt x="9" y="353"/>
                  </a:lnTo>
                  <a:lnTo>
                    <a:pt x="13" y="358"/>
                  </a:lnTo>
                  <a:lnTo>
                    <a:pt x="9" y="367"/>
                  </a:lnTo>
                  <a:lnTo>
                    <a:pt x="9" y="371"/>
                  </a:lnTo>
                  <a:lnTo>
                    <a:pt x="9" y="384"/>
                  </a:lnTo>
                  <a:lnTo>
                    <a:pt x="13" y="384"/>
                  </a:lnTo>
                  <a:lnTo>
                    <a:pt x="18" y="398"/>
                  </a:lnTo>
                  <a:lnTo>
                    <a:pt x="27" y="402"/>
                  </a:lnTo>
                  <a:lnTo>
                    <a:pt x="18" y="411"/>
                  </a:lnTo>
                  <a:lnTo>
                    <a:pt x="22" y="411"/>
                  </a:lnTo>
                  <a:lnTo>
                    <a:pt x="18" y="411"/>
                  </a:lnTo>
                  <a:lnTo>
                    <a:pt x="22" y="429"/>
                  </a:lnTo>
                  <a:lnTo>
                    <a:pt x="22" y="434"/>
                  </a:lnTo>
                  <a:lnTo>
                    <a:pt x="31" y="438"/>
                  </a:lnTo>
                  <a:lnTo>
                    <a:pt x="45" y="438"/>
                  </a:lnTo>
                  <a:lnTo>
                    <a:pt x="45" y="434"/>
                  </a:lnTo>
                  <a:lnTo>
                    <a:pt x="45" y="429"/>
                  </a:lnTo>
                  <a:lnTo>
                    <a:pt x="45" y="420"/>
                  </a:lnTo>
                  <a:lnTo>
                    <a:pt x="53" y="420"/>
                  </a:lnTo>
                  <a:lnTo>
                    <a:pt x="53" y="416"/>
                  </a:lnTo>
                  <a:lnTo>
                    <a:pt x="71" y="416"/>
                  </a:lnTo>
                  <a:lnTo>
                    <a:pt x="76" y="407"/>
                  </a:lnTo>
                  <a:lnTo>
                    <a:pt x="80" y="380"/>
                  </a:lnTo>
                  <a:lnTo>
                    <a:pt x="85" y="358"/>
                  </a:lnTo>
                  <a:lnTo>
                    <a:pt x="94" y="344"/>
                  </a:lnTo>
                  <a:lnTo>
                    <a:pt x="112" y="340"/>
                  </a:lnTo>
                  <a:lnTo>
                    <a:pt x="107" y="331"/>
                  </a:lnTo>
                  <a:lnTo>
                    <a:pt x="116" y="317"/>
                  </a:lnTo>
                  <a:lnTo>
                    <a:pt x="112" y="308"/>
                  </a:lnTo>
                  <a:lnTo>
                    <a:pt x="98" y="295"/>
                  </a:lnTo>
                  <a:lnTo>
                    <a:pt x="94" y="291"/>
                  </a:lnTo>
                  <a:lnTo>
                    <a:pt x="94" y="282"/>
                  </a:lnTo>
                  <a:lnTo>
                    <a:pt x="94" y="259"/>
                  </a:lnTo>
                  <a:lnTo>
                    <a:pt x="98" y="259"/>
                  </a:lnTo>
                  <a:lnTo>
                    <a:pt x="94" y="255"/>
                  </a:lnTo>
                  <a:lnTo>
                    <a:pt x="98" y="241"/>
                  </a:lnTo>
                  <a:lnTo>
                    <a:pt x="94" y="237"/>
                  </a:lnTo>
                  <a:lnTo>
                    <a:pt x="98" y="233"/>
                  </a:lnTo>
                  <a:lnTo>
                    <a:pt x="98" y="224"/>
                  </a:lnTo>
                  <a:lnTo>
                    <a:pt x="103" y="224"/>
                  </a:lnTo>
                  <a:lnTo>
                    <a:pt x="107" y="219"/>
                  </a:lnTo>
                  <a:lnTo>
                    <a:pt x="103" y="215"/>
                  </a:lnTo>
                  <a:lnTo>
                    <a:pt x="112" y="206"/>
                  </a:lnTo>
                  <a:lnTo>
                    <a:pt x="116" y="210"/>
                  </a:lnTo>
                  <a:lnTo>
                    <a:pt x="125" y="197"/>
                  </a:lnTo>
                  <a:lnTo>
                    <a:pt x="125" y="201"/>
                  </a:lnTo>
                  <a:lnTo>
                    <a:pt x="129" y="192"/>
                  </a:lnTo>
                  <a:lnTo>
                    <a:pt x="138" y="188"/>
                  </a:lnTo>
                  <a:lnTo>
                    <a:pt x="152" y="174"/>
                  </a:lnTo>
                  <a:lnTo>
                    <a:pt x="143" y="165"/>
                  </a:lnTo>
                  <a:lnTo>
                    <a:pt x="152" y="148"/>
                  </a:lnTo>
                  <a:lnTo>
                    <a:pt x="161" y="139"/>
                  </a:lnTo>
                  <a:lnTo>
                    <a:pt x="161" y="130"/>
                  </a:lnTo>
                  <a:lnTo>
                    <a:pt x="165" y="125"/>
                  </a:lnTo>
                  <a:lnTo>
                    <a:pt x="165" y="121"/>
                  </a:lnTo>
                  <a:lnTo>
                    <a:pt x="174" y="125"/>
                  </a:lnTo>
                  <a:lnTo>
                    <a:pt x="187" y="125"/>
                  </a:lnTo>
                  <a:lnTo>
                    <a:pt x="183" y="112"/>
                  </a:lnTo>
                  <a:lnTo>
                    <a:pt x="183" y="98"/>
                  </a:lnTo>
                  <a:lnTo>
                    <a:pt x="187" y="81"/>
                  </a:lnTo>
                  <a:lnTo>
                    <a:pt x="183" y="58"/>
                  </a:lnTo>
                  <a:lnTo>
                    <a:pt x="179" y="36"/>
                  </a:lnTo>
                  <a:lnTo>
                    <a:pt x="174" y="22"/>
                  </a:lnTo>
                  <a:lnTo>
                    <a:pt x="152" y="14"/>
                  </a:lnTo>
                  <a:lnTo>
                    <a:pt x="138" y="0"/>
                  </a:lnTo>
                  <a:lnTo>
                    <a:pt x="129" y="0"/>
                  </a:lnTo>
                  <a:lnTo>
                    <a:pt x="125" y="9"/>
                  </a:lnTo>
                  <a:lnTo>
                    <a:pt x="125" y="22"/>
                  </a:lnTo>
                  <a:lnTo>
                    <a:pt x="103" y="18"/>
                  </a:lnTo>
                  <a:lnTo>
                    <a:pt x="98" y="22"/>
                  </a:lnTo>
                  <a:lnTo>
                    <a:pt x="103" y="36"/>
                  </a:lnTo>
                  <a:lnTo>
                    <a:pt x="98" y="40"/>
                  </a:lnTo>
                  <a:lnTo>
                    <a:pt x="89" y="36"/>
                  </a:lnTo>
                  <a:lnTo>
                    <a:pt x="80" y="49"/>
                  </a:lnTo>
                  <a:lnTo>
                    <a:pt x="76" y="63"/>
                  </a:lnTo>
                  <a:lnTo>
                    <a:pt x="80" y="81"/>
                  </a:lnTo>
                  <a:lnTo>
                    <a:pt x="58" y="103"/>
                  </a:lnTo>
                  <a:lnTo>
                    <a:pt x="62" y="112"/>
                  </a:lnTo>
                  <a:lnTo>
                    <a:pt x="58" y="121"/>
                  </a:lnTo>
                  <a:lnTo>
                    <a:pt x="53" y="116"/>
                  </a:lnTo>
                  <a:lnTo>
                    <a:pt x="49" y="121"/>
                  </a:lnTo>
                  <a:lnTo>
                    <a:pt x="49" y="139"/>
                  </a:lnTo>
                  <a:lnTo>
                    <a:pt x="40" y="165"/>
                  </a:lnTo>
                  <a:lnTo>
                    <a:pt x="45" y="179"/>
                  </a:lnTo>
                  <a:lnTo>
                    <a:pt x="36" y="183"/>
                  </a:lnTo>
                  <a:lnTo>
                    <a:pt x="27" y="179"/>
                  </a:lnTo>
                  <a:lnTo>
                    <a:pt x="18" y="183"/>
                  </a:lnTo>
                  <a:lnTo>
                    <a:pt x="13" y="201"/>
                  </a:lnTo>
                  <a:lnTo>
                    <a:pt x="18" y="206"/>
                  </a:lnTo>
                  <a:lnTo>
                    <a:pt x="13" y="210"/>
                  </a:lnTo>
                  <a:lnTo>
                    <a:pt x="13" y="255"/>
                  </a:lnTo>
                  <a:lnTo>
                    <a:pt x="27" y="273"/>
                  </a:lnTo>
                  <a:lnTo>
                    <a:pt x="18" y="286"/>
                  </a:lnTo>
                  <a:lnTo>
                    <a:pt x="22" y="313"/>
                  </a:lnTo>
                  <a:lnTo>
                    <a:pt x="13" y="322"/>
                  </a:lnTo>
                  <a:lnTo>
                    <a:pt x="13" y="331"/>
                  </a:lnTo>
                  <a:lnTo>
                    <a:pt x="13" y="344"/>
                  </a:lnTo>
                  <a:lnTo>
                    <a:pt x="4" y="340"/>
                  </a:lnTo>
                  <a:close/>
                  <a:moveTo>
                    <a:pt x="85" y="384"/>
                  </a:moveTo>
                  <a:lnTo>
                    <a:pt x="80" y="402"/>
                  </a:lnTo>
                  <a:lnTo>
                    <a:pt x="80" y="416"/>
                  </a:lnTo>
                  <a:lnTo>
                    <a:pt x="80" y="411"/>
                  </a:lnTo>
                  <a:lnTo>
                    <a:pt x="80" y="407"/>
                  </a:lnTo>
                  <a:lnTo>
                    <a:pt x="89" y="384"/>
                  </a:lnTo>
                  <a:lnTo>
                    <a:pt x="85" y="384"/>
                  </a:lnTo>
                  <a:close/>
                  <a:moveTo>
                    <a:pt x="120" y="371"/>
                  </a:moveTo>
                  <a:lnTo>
                    <a:pt x="116" y="367"/>
                  </a:lnTo>
                  <a:lnTo>
                    <a:pt x="112" y="371"/>
                  </a:lnTo>
                  <a:lnTo>
                    <a:pt x="107" y="367"/>
                  </a:lnTo>
                  <a:lnTo>
                    <a:pt x="103" y="376"/>
                  </a:lnTo>
                  <a:lnTo>
                    <a:pt x="103" y="384"/>
                  </a:lnTo>
                  <a:lnTo>
                    <a:pt x="107" y="393"/>
                  </a:lnTo>
                  <a:lnTo>
                    <a:pt x="112" y="380"/>
                  </a:lnTo>
                  <a:lnTo>
                    <a:pt x="112" y="380"/>
                  </a:lnTo>
                  <a:lnTo>
                    <a:pt x="112" y="371"/>
                  </a:lnTo>
                  <a:lnTo>
                    <a:pt x="120" y="37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48" name="Freeform 36"/>
            <p:cNvSpPr>
              <a:spLocks/>
            </p:cNvSpPr>
            <p:nvPr/>
          </p:nvSpPr>
          <p:spPr bwMode="gray">
            <a:xfrm>
              <a:off x="1005" y="2734"/>
              <a:ext cx="99" cy="61"/>
            </a:xfrm>
            <a:custGeom>
              <a:avLst/>
              <a:gdLst>
                <a:gd name="T0" fmla="*/ 13 w 58"/>
                <a:gd name="T1" fmla="*/ 36 h 36"/>
                <a:gd name="T2" fmla="*/ 9 w 58"/>
                <a:gd name="T3" fmla="*/ 27 h 36"/>
                <a:gd name="T4" fmla="*/ 4 w 58"/>
                <a:gd name="T5" fmla="*/ 23 h 36"/>
                <a:gd name="T6" fmla="*/ 0 w 58"/>
                <a:gd name="T7" fmla="*/ 32 h 36"/>
                <a:gd name="T8" fmla="*/ 0 w 58"/>
                <a:gd name="T9" fmla="*/ 23 h 36"/>
                <a:gd name="T10" fmla="*/ 9 w 58"/>
                <a:gd name="T11" fmla="*/ 9 h 36"/>
                <a:gd name="T12" fmla="*/ 9 w 58"/>
                <a:gd name="T13" fmla="*/ 5 h 36"/>
                <a:gd name="T14" fmla="*/ 18 w 58"/>
                <a:gd name="T15" fmla="*/ 5 h 36"/>
                <a:gd name="T16" fmla="*/ 22 w 58"/>
                <a:gd name="T17" fmla="*/ 0 h 36"/>
                <a:gd name="T18" fmla="*/ 22 w 58"/>
                <a:gd name="T19" fmla="*/ 5 h 36"/>
                <a:gd name="T20" fmla="*/ 31 w 58"/>
                <a:gd name="T21" fmla="*/ 0 h 36"/>
                <a:gd name="T22" fmla="*/ 40 w 58"/>
                <a:gd name="T23" fmla="*/ 0 h 36"/>
                <a:gd name="T24" fmla="*/ 49 w 58"/>
                <a:gd name="T25" fmla="*/ 0 h 36"/>
                <a:gd name="T26" fmla="*/ 49 w 58"/>
                <a:gd name="T27" fmla="*/ 14 h 36"/>
                <a:gd name="T28" fmla="*/ 49 w 58"/>
                <a:gd name="T29" fmla="*/ 18 h 36"/>
                <a:gd name="T30" fmla="*/ 58 w 58"/>
                <a:gd name="T31" fmla="*/ 14 h 36"/>
                <a:gd name="T32" fmla="*/ 58 w 58"/>
                <a:gd name="T33" fmla="*/ 18 h 36"/>
                <a:gd name="T34" fmla="*/ 53 w 58"/>
                <a:gd name="T35" fmla="*/ 27 h 36"/>
                <a:gd name="T36" fmla="*/ 45 w 58"/>
                <a:gd name="T37" fmla="*/ 27 h 36"/>
                <a:gd name="T38" fmla="*/ 40 w 58"/>
                <a:gd name="T39" fmla="*/ 23 h 36"/>
                <a:gd name="T40" fmla="*/ 40 w 58"/>
                <a:gd name="T41" fmla="*/ 32 h 36"/>
                <a:gd name="T42" fmla="*/ 36 w 58"/>
                <a:gd name="T43" fmla="*/ 36 h 36"/>
                <a:gd name="T44" fmla="*/ 31 w 58"/>
                <a:gd name="T45" fmla="*/ 27 h 36"/>
                <a:gd name="T46" fmla="*/ 27 w 58"/>
                <a:gd name="T47" fmla="*/ 27 h 36"/>
                <a:gd name="T48" fmla="*/ 27 w 58"/>
                <a:gd name="T49" fmla="*/ 36 h 36"/>
                <a:gd name="T50" fmla="*/ 18 w 58"/>
                <a:gd name="T51" fmla="*/ 36 h 36"/>
                <a:gd name="T52" fmla="*/ 13 w 58"/>
                <a:gd name="T5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8" h="36">
                  <a:moveTo>
                    <a:pt x="13" y="36"/>
                  </a:moveTo>
                  <a:lnTo>
                    <a:pt x="9" y="27"/>
                  </a:lnTo>
                  <a:lnTo>
                    <a:pt x="4" y="23"/>
                  </a:lnTo>
                  <a:lnTo>
                    <a:pt x="0" y="32"/>
                  </a:lnTo>
                  <a:lnTo>
                    <a:pt x="0" y="23"/>
                  </a:lnTo>
                  <a:lnTo>
                    <a:pt x="9" y="9"/>
                  </a:lnTo>
                  <a:lnTo>
                    <a:pt x="9" y="5"/>
                  </a:lnTo>
                  <a:lnTo>
                    <a:pt x="18" y="5"/>
                  </a:lnTo>
                  <a:lnTo>
                    <a:pt x="22" y="0"/>
                  </a:lnTo>
                  <a:lnTo>
                    <a:pt x="22" y="5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49" y="0"/>
                  </a:lnTo>
                  <a:lnTo>
                    <a:pt x="49" y="14"/>
                  </a:lnTo>
                  <a:lnTo>
                    <a:pt x="49" y="18"/>
                  </a:lnTo>
                  <a:lnTo>
                    <a:pt x="58" y="14"/>
                  </a:lnTo>
                  <a:lnTo>
                    <a:pt x="58" y="18"/>
                  </a:lnTo>
                  <a:lnTo>
                    <a:pt x="53" y="27"/>
                  </a:lnTo>
                  <a:lnTo>
                    <a:pt x="45" y="27"/>
                  </a:lnTo>
                  <a:lnTo>
                    <a:pt x="40" y="23"/>
                  </a:lnTo>
                  <a:lnTo>
                    <a:pt x="40" y="32"/>
                  </a:lnTo>
                  <a:lnTo>
                    <a:pt x="36" y="36"/>
                  </a:lnTo>
                  <a:lnTo>
                    <a:pt x="31" y="27"/>
                  </a:lnTo>
                  <a:lnTo>
                    <a:pt x="27" y="27"/>
                  </a:lnTo>
                  <a:lnTo>
                    <a:pt x="27" y="36"/>
                  </a:lnTo>
                  <a:lnTo>
                    <a:pt x="18" y="36"/>
                  </a:lnTo>
                  <a:lnTo>
                    <a:pt x="13" y="36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49" name="Freeform 37"/>
            <p:cNvSpPr>
              <a:spLocks noEditPoints="1"/>
            </p:cNvSpPr>
            <p:nvPr/>
          </p:nvSpPr>
          <p:spPr bwMode="gray">
            <a:xfrm>
              <a:off x="1482" y="2925"/>
              <a:ext cx="464" cy="212"/>
            </a:xfrm>
            <a:custGeom>
              <a:avLst/>
              <a:gdLst>
                <a:gd name="T0" fmla="*/ 0 w 273"/>
                <a:gd name="T1" fmla="*/ 18 h 125"/>
                <a:gd name="T2" fmla="*/ 18 w 273"/>
                <a:gd name="T3" fmla="*/ 0 h 125"/>
                <a:gd name="T4" fmla="*/ 32 w 273"/>
                <a:gd name="T5" fmla="*/ 4 h 125"/>
                <a:gd name="T6" fmla="*/ 45 w 273"/>
                <a:gd name="T7" fmla="*/ 18 h 125"/>
                <a:gd name="T8" fmla="*/ 32 w 273"/>
                <a:gd name="T9" fmla="*/ 22 h 125"/>
                <a:gd name="T10" fmla="*/ 14 w 273"/>
                <a:gd name="T11" fmla="*/ 31 h 125"/>
                <a:gd name="T12" fmla="*/ 0 w 273"/>
                <a:gd name="T13" fmla="*/ 40 h 125"/>
                <a:gd name="T14" fmla="*/ 9 w 273"/>
                <a:gd name="T15" fmla="*/ 27 h 125"/>
                <a:gd name="T16" fmla="*/ 63 w 273"/>
                <a:gd name="T17" fmla="*/ 112 h 125"/>
                <a:gd name="T18" fmla="*/ 85 w 273"/>
                <a:gd name="T19" fmla="*/ 107 h 125"/>
                <a:gd name="T20" fmla="*/ 99 w 273"/>
                <a:gd name="T21" fmla="*/ 116 h 125"/>
                <a:gd name="T22" fmla="*/ 121 w 273"/>
                <a:gd name="T23" fmla="*/ 107 h 125"/>
                <a:gd name="T24" fmla="*/ 139 w 273"/>
                <a:gd name="T25" fmla="*/ 112 h 125"/>
                <a:gd name="T26" fmla="*/ 148 w 273"/>
                <a:gd name="T27" fmla="*/ 107 h 125"/>
                <a:gd name="T28" fmla="*/ 143 w 273"/>
                <a:gd name="T29" fmla="*/ 116 h 125"/>
                <a:gd name="T30" fmla="*/ 139 w 273"/>
                <a:gd name="T31" fmla="*/ 125 h 125"/>
                <a:gd name="T32" fmla="*/ 157 w 273"/>
                <a:gd name="T33" fmla="*/ 116 h 125"/>
                <a:gd name="T34" fmla="*/ 179 w 273"/>
                <a:gd name="T35" fmla="*/ 103 h 125"/>
                <a:gd name="T36" fmla="*/ 210 w 273"/>
                <a:gd name="T37" fmla="*/ 103 h 125"/>
                <a:gd name="T38" fmla="*/ 241 w 273"/>
                <a:gd name="T39" fmla="*/ 103 h 125"/>
                <a:gd name="T40" fmla="*/ 264 w 273"/>
                <a:gd name="T41" fmla="*/ 103 h 125"/>
                <a:gd name="T42" fmla="*/ 273 w 273"/>
                <a:gd name="T43" fmla="*/ 94 h 125"/>
                <a:gd name="T44" fmla="*/ 259 w 273"/>
                <a:gd name="T45" fmla="*/ 63 h 125"/>
                <a:gd name="T46" fmla="*/ 264 w 273"/>
                <a:gd name="T47" fmla="*/ 45 h 125"/>
                <a:gd name="T48" fmla="*/ 250 w 273"/>
                <a:gd name="T49" fmla="*/ 22 h 125"/>
                <a:gd name="T50" fmla="*/ 219 w 273"/>
                <a:gd name="T51" fmla="*/ 13 h 125"/>
                <a:gd name="T52" fmla="*/ 206 w 273"/>
                <a:gd name="T53" fmla="*/ 22 h 125"/>
                <a:gd name="T54" fmla="*/ 183 w 273"/>
                <a:gd name="T55" fmla="*/ 22 h 125"/>
                <a:gd name="T56" fmla="*/ 148 w 273"/>
                <a:gd name="T57" fmla="*/ 18 h 125"/>
                <a:gd name="T58" fmla="*/ 134 w 273"/>
                <a:gd name="T59" fmla="*/ 9 h 125"/>
                <a:gd name="T60" fmla="*/ 130 w 273"/>
                <a:gd name="T61" fmla="*/ 0 h 125"/>
                <a:gd name="T62" fmla="*/ 103 w 273"/>
                <a:gd name="T63" fmla="*/ 0 h 125"/>
                <a:gd name="T64" fmla="*/ 76 w 273"/>
                <a:gd name="T65" fmla="*/ 18 h 125"/>
                <a:gd name="T66" fmla="*/ 54 w 273"/>
                <a:gd name="T67" fmla="*/ 18 h 125"/>
                <a:gd name="T68" fmla="*/ 45 w 273"/>
                <a:gd name="T69" fmla="*/ 22 h 125"/>
                <a:gd name="T70" fmla="*/ 40 w 273"/>
                <a:gd name="T71" fmla="*/ 27 h 125"/>
                <a:gd name="T72" fmla="*/ 36 w 273"/>
                <a:gd name="T73" fmla="*/ 31 h 125"/>
                <a:gd name="T74" fmla="*/ 23 w 273"/>
                <a:gd name="T75" fmla="*/ 40 h 125"/>
                <a:gd name="T76" fmla="*/ 9 w 273"/>
                <a:gd name="T77" fmla="*/ 36 h 125"/>
                <a:gd name="T78" fmla="*/ 0 w 273"/>
                <a:gd name="T79" fmla="*/ 49 h 125"/>
                <a:gd name="T80" fmla="*/ 9 w 273"/>
                <a:gd name="T81" fmla="*/ 54 h 125"/>
                <a:gd name="T82" fmla="*/ 14 w 273"/>
                <a:gd name="T83" fmla="*/ 72 h 125"/>
                <a:gd name="T84" fmla="*/ 5 w 273"/>
                <a:gd name="T85" fmla="*/ 67 h 125"/>
                <a:gd name="T86" fmla="*/ 9 w 273"/>
                <a:gd name="T87" fmla="*/ 76 h 125"/>
                <a:gd name="T88" fmla="*/ 14 w 273"/>
                <a:gd name="T89" fmla="*/ 85 h 125"/>
                <a:gd name="T90" fmla="*/ 23 w 273"/>
                <a:gd name="T91" fmla="*/ 94 h 125"/>
                <a:gd name="T92" fmla="*/ 27 w 273"/>
                <a:gd name="T93" fmla="*/ 98 h 125"/>
                <a:gd name="T94" fmla="*/ 23 w 273"/>
                <a:gd name="T95" fmla="*/ 107 h 125"/>
                <a:gd name="T96" fmla="*/ 32 w 273"/>
                <a:gd name="T97" fmla="*/ 107 h 125"/>
                <a:gd name="T98" fmla="*/ 45 w 273"/>
                <a:gd name="T99" fmla="*/ 103 h 125"/>
                <a:gd name="T100" fmla="*/ 54 w 273"/>
                <a:gd name="T101" fmla="*/ 116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3" h="125">
                  <a:moveTo>
                    <a:pt x="0" y="22"/>
                  </a:moveTo>
                  <a:lnTo>
                    <a:pt x="0" y="18"/>
                  </a:lnTo>
                  <a:lnTo>
                    <a:pt x="0" y="9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32" y="4"/>
                  </a:lnTo>
                  <a:lnTo>
                    <a:pt x="32" y="13"/>
                  </a:lnTo>
                  <a:lnTo>
                    <a:pt x="45" y="18"/>
                  </a:lnTo>
                  <a:lnTo>
                    <a:pt x="36" y="22"/>
                  </a:lnTo>
                  <a:lnTo>
                    <a:pt x="32" y="22"/>
                  </a:lnTo>
                  <a:lnTo>
                    <a:pt x="18" y="22"/>
                  </a:lnTo>
                  <a:lnTo>
                    <a:pt x="14" y="31"/>
                  </a:lnTo>
                  <a:lnTo>
                    <a:pt x="9" y="31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9" y="27"/>
                  </a:lnTo>
                  <a:lnTo>
                    <a:pt x="0" y="22"/>
                  </a:lnTo>
                  <a:close/>
                  <a:moveTo>
                    <a:pt x="63" y="112"/>
                  </a:moveTo>
                  <a:lnTo>
                    <a:pt x="67" y="103"/>
                  </a:lnTo>
                  <a:lnTo>
                    <a:pt x="85" y="107"/>
                  </a:lnTo>
                  <a:lnTo>
                    <a:pt x="90" y="116"/>
                  </a:lnTo>
                  <a:lnTo>
                    <a:pt x="99" y="116"/>
                  </a:lnTo>
                  <a:lnTo>
                    <a:pt x="116" y="112"/>
                  </a:lnTo>
                  <a:lnTo>
                    <a:pt x="121" y="107"/>
                  </a:lnTo>
                  <a:lnTo>
                    <a:pt x="125" y="107"/>
                  </a:lnTo>
                  <a:lnTo>
                    <a:pt x="139" y="112"/>
                  </a:lnTo>
                  <a:lnTo>
                    <a:pt x="143" y="103"/>
                  </a:lnTo>
                  <a:lnTo>
                    <a:pt x="148" y="107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21"/>
                  </a:lnTo>
                  <a:lnTo>
                    <a:pt x="139" y="125"/>
                  </a:lnTo>
                  <a:lnTo>
                    <a:pt x="148" y="125"/>
                  </a:lnTo>
                  <a:lnTo>
                    <a:pt x="157" y="116"/>
                  </a:lnTo>
                  <a:lnTo>
                    <a:pt x="157" y="107"/>
                  </a:lnTo>
                  <a:lnTo>
                    <a:pt x="179" y="103"/>
                  </a:lnTo>
                  <a:lnTo>
                    <a:pt x="197" y="107"/>
                  </a:lnTo>
                  <a:lnTo>
                    <a:pt x="210" y="103"/>
                  </a:lnTo>
                  <a:lnTo>
                    <a:pt x="233" y="98"/>
                  </a:lnTo>
                  <a:lnTo>
                    <a:pt x="241" y="103"/>
                  </a:lnTo>
                  <a:lnTo>
                    <a:pt x="246" y="98"/>
                  </a:lnTo>
                  <a:lnTo>
                    <a:pt x="264" y="103"/>
                  </a:lnTo>
                  <a:lnTo>
                    <a:pt x="273" y="98"/>
                  </a:lnTo>
                  <a:lnTo>
                    <a:pt x="273" y="94"/>
                  </a:lnTo>
                  <a:lnTo>
                    <a:pt x="264" y="89"/>
                  </a:lnTo>
                  <a:lnTo>
                    <a:pt x="259" y="63"/>
                  </a:lnTo>
                  <a:lnTo>
                    <a:pt x="268" y="54"/>
                  </a:lnTo>
                  <a:lnTo>
                    <a:pt x="264" y="45"/>
                  </a:lnTo>
                  <a:lnTo>
                    <a:pt x="255" y="40"/>
                  </a:lnTo>
                  <a:lnTo>
                    <a:pt x="250" y="22"/>
                  </a:lnTo>
                  <a:lnTo>
                    <a:pt x="241" y="18"/>
                  </a:lnTo>
                  <a:lnTo>
                    <a:pt x="219" y="13"/>
                  </a:lnTo>
                  <a:lnTo>
                    <a:pt x="210" y="18"/>
                  </a:lnTo>
                  <a:lnTo>
                    <a:pt x="206" y="22"/>
                  </a:lnTo>
                  <a:lnTo>
                    <a:pt x="192" y="18"/>
                  </a:lnTo>
                  <a:lnTo>
                    <a:pt x="183" y="22"/>
                  </a:lnTo>
                  <a:lnTo>
                    <a:pt x="170" y="22"/>
                  </a:lnTo>
                  <a:lnTo>
                    <a:pt x="148" y="18"/>
                  </a:lnTo>
                  <a:lnTo>
                    <a:pt x="143" y="9"/>
                  </a:lnTo>
                  <a:lnTo>
                    <a:pt x="134" y="9"/>
                  </a:lnTo>
                  <a:lnTo>
                    <a:pt x="134" y="0"/>
                  </a:lnTo>
                  <a:lnTo>
                    <a:pt x="130" y="0"/>
                  </a:lnTo>
                  <a:lnTo>
                    <a:pt x="125" y="4"/>
                  </a:lnTo>
                  <a:lnTo>
                    <a:pt x="103" y="0"/>
                  </a:lnTo>
                  <a:lnTo>
                    <a:pt x="76" y="13"/>
                  </a:lnTo>
                  <a:lnTo>
                    <a:pt x="76" y="18"/>
                  </a:lnTo>
                  <a:lnTo>
                    <a:pt x="63" y="18"/>
                  </a:lnTo>
                  <a:lnTo>
                    <a:pt x="54" y="18"/>
                  </a:lnTo>
                  <a:lnTo>
                    <a:pt x="45" y="18"/>
                  </a:lnTo>
                  <a:lnTo>
                    <a:pt x="45" y="22"/>
                  </a:lnTo>
                  <a:lnTo>
                    <a:pt x="45" y="27"/>
                  </a:lnTo>
                  <a:lnTo>
                    <a:pt x="40" y="27"/>
                  </a:lnTo>
                  <a:lnTo>
                    <a:pt x="45" y="31"/>
                  </a:lnTo>
                  <a:lnTo>
                    <a:pt x="36" y="31"/>
                  </a:lnTo>
                  <a:lnTo>
                    <a:pt x="27" y="31"/>
                  </a:lnTo>
                  <a:lnTo>
                    <a:pt x="23" y="40"/>
                  </a:lnTo>
                  <a:lnTo>
                    <a:pt x="14" y="36"/>
                  </a:lnTo>
                  <a:lnTo>
                    <a:pt x="9" y="36"/>
                  </a:lnTo>
                  <a:lnTo>
                    <a:pt x="0" y="40"/>
                  </a:lnTo>
                  <a:lnTo>
                    <a:pt x="0" y="49"/>
                  </a:lnTo>
                  <a:lnTo>
                    <a:pt x="14" y="49"/>
                  </a:lnTo>
                  <a:lnTo>
                    <a:pt x="9" y="54"/>
                  </a:lnTo>
                  <a:lnTo>
                    <a:pt x="14" y="67"/>
                  </a:lnTo>
                  <a:lnTo>
                    <a:pt x="14" y="72"/>
                  </a:lnTo>
                  <a:lnTo>
                    <a:pt x="9" y="72"/>
                  </a:lnTo>
                  <a:lnTo>
                    <a:pt x="5" y="67"/>
                  </a:lnTo>
                  <a:lnTo>
                    <a:pt x="5" y="76"/>
                  </a:lnTo>
                  <a:lnTo>
                    <a:pt x="9" y="76"/>
                  </a:lnTo>
                  <a:lnTo>
                    <a:pt x="14" y="80"/>
                  </a:lnTo>
                  <a:lnTo>
                    <a:pt x="14" y="85"/>
                  </a:lnTo>
                  <a:lnTo>
                    <a:pt x="14" y="94"/>
                  </a:lnTo>
                  <a:lnTo>
                    <a:pt x="23" y="94"/>
                  </a:lnTo>
                  <a:lnTo>
                    <a:pt x="14" y="98"/>
                  </a:lnTo>
                  <a:lnTo>
                    <a:pt x="27" y="98"/>
                  </a:lnTo>
                  <a:lnTo>
                    <a:pt x="27" y="103"/>
                  </a:lnTo>
                  <a:lnTo>
                    <a:pt x="23" y="107"/>
                  </a:lnTo>
                  <a:lnTo>
                    <a:pt x="27" y="103"/>
                  </a:lnTo>
                  <a:lnTo>
                    <a:pt x="32" y="107"/>
                  </a:lnTo>
                  <a:lnTo>
                    <a:pt x="36" y="98"/>
                  </a:lnTo>
                  <a:lnTo>
                    <a:pt x="45" y="103"/>
                  </a:lnTo>
                  <a:lnTo>
                    <a:pt x="49" y="112"/>
                  </a:lnTo>
                  <a:lnTo>
                    <a:pt x="54" y="116"/>
                  </a:lnTo>
                  <a:lnTo>
                    <a:pt x="63" y="11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50" name="Freeform 38"/>
            <p:cNvSpPr>
              <a:spLocks/>
            </p:cNvSpPr>
            <p:nvPr/>
          </p:nvSpPr>
          <p:spPr bwMode="gray">
            <a:xfrm>
              <a:off x="1392" y="2561"/>
              <a:ext cx="432" cy="287"/>
            </a:xfrm>
            <a:custGeom>
              <a:avLst/>
              <a:gdLst>
                <a:gd name="T0" fmla="*/ 4 w 254"/>
                <a:gd name="T1" fmla="*/ 71 h 169"/>
                <a:gd name="T2" fmla="*/ 4 w 254"/>
                <a:gd name="T3" fmla="*/ 67 h 169"/>
                <a:gd name="T4" fmla="*/ 22 w 254"/>
                <a:gd name="T5" fmla="*/ 49 h 169"/>
                <a:gd name="T6" fmla="*/ 22 w 254"/>
                <a:gd name="T7" fmla="*/ 40 h 169"/>
                <a:gd name="T8" fmla="*/ 18 w 254"/>
                <a:gd name="T9" fmla="*/ 17 h 169"/>
                <a:gd name="T10" fmla="*/ 26 w 254"/>
                <a:gd name="T11" fmla="*/ 17 h 169"/>
                <a:gd name="T12" fmla="*/ 35 w 254"/>
                <a:gd name="T13" fmla="*/ 4 h 169"/>
                <a:gd name="T14" fmla="*/ 58 w 254"/>
                <a:gd name="T15" fmla="*/ 13 h 169"/>
                <a:gd name="T16" fmla="*/ 76 w 254"/>
                <a:gd name="T17" fmla="*/ 13 h 169"/>
                <a:gd name="T18" fmla="*/ 80 w 254"/>
                <a:gd name="T19" fmla="*/ 17 h 169"/>
                <a:gd name="T20" fmla="*/ 89 w 254"/>
                <a:gd name="T21" fmla="*/ 13 h 169"/>
                <a:gd name="T22" fmla="*/ 98 w 254"/>
                <a:gd name="T23" fmla="*/ 13 h 169"/>
                <a:gd name="T24" fmla="*/ 111 w 254"/>
                <a:gd name="T25" fmla="*/ 17 h 169"/>
                <a:gd name="T26" fmla="*/ 120 w 254"/>
                <a:gd name="T27" fmla="*/ 17 h 169"/>
                <a:gd name="T28" fmla="*/ 125 w 254"/>
                <a:gd name="T29" fmla="*/ 0 h 169"/>
                <a:gd name="T30" fmla="*/ 138 w 254"/>
                <a:gd name="T31" fmla="*/ 4 h 169"/>
                <a:gd name="T32" fmla="*/ 147 w 254"/>
                <a:gd name="T33" fmla="*/ 4 h 169"/>
                <a:gd name="T34" fmla="*/ 165 w 254"/>
                <a:gd name="T35" fmla="*/ 0 h 169"/>
                <a:gd name="T36" fmla="*/ 174 w 254"/>
                <a:gd name="T37" fmla="*/ 8 h 169"/>
                <a:gd name="T38" fmla="*/ 187 w 254"/>
                <a:gd name="T39" fmla="*/ 22 h 169"/>
                <a:gd name="T40" fmla="*/ 192 w 254"/>
                <a:gd name="T41" fmla="*/ 44 h 169"/>
                <a:gd name="T42" fmla="*/ 205 w 254"/>
                <a:gd name="T43" fmla="*/ 49 h 169"/>
                <a:gd name="T44" fmla="*/ 219 w 254"/>
                <a:gd name="T45" fmla="*/ 44 h 169"/>
                <a:gd name="T46" fmla="*/ 223 w 254"/>
                <a:gd name="T47" fmla="*/ 53 h 169"/>
                <a:gd name="T48" fmla="*/ 232 w 254"/>
                <a:gd name="T49" fmla="*/ 58 h 169"/>
                <a:gd name="T50" fmla="*/ 241 w 254"/>
                <a:gd name="T51" fmla="*/ 58 h 169"/>
                <a:gd name="T52" fmla="*/ 250 w 254"/>
                <a:gd name="T53" fmla="*/ 71 h 169"/>
                <a:gd name="T54" fmla="*/ 250 w 254"/>
                <a:gd name="T55" fmla="*/ 80 h 169"/>
                <a:gd name="T56" fmla="*/ 250 w 254"/>
                <a:gd name="T57" fmla="*/ 93 h 169"/>
                <a:gd name="T58" fmla="*/ 232 w 254"/>
                <a:gd name="T59" fmla="*/ 111 h 169"/>
                <a:gd name="T60" fmla="*/ 205 w 254"/>
                <a:gd name="T61" fmla="*/ 120 h 169"/>
                <a:gd name="T62" fmla="*/ 192 w 254"/>
                <a:gd name="T63" fmla="*/ 125 h 169"/>
                <a:gd name="T64" fmla="*/ 183 w 254"/>
                <a:gd name="T65" fmla="*/ 125 h 169"/>
                <a:gd name="T66" fmla="*/ 192 w 254"/>
                <a:gd name="T67" fmla="*/ 147 h 169"/>
                <a:gd name="T68" fmla="*/ 201 w 254"/>
                <a:gd name="T69" fmla="*/ 156 h 169"/>
                <a:gd name="T70" fmla="*/ 192 w 254"/>
                <a:gd name="T71" fmla="*/ 156 h 169"/>
                <a:gd name="T72" fmla="*/ 178 w 254"/>
                <a:gd name="T73" fmla="*/ 160 h 169"/>
                <a:gd name="T74" fmla="*/ 156 w 254"/>
                <a:gd name="T75" fmla="*/ 165 h 169"/>
                <a:gd name="T76" fmla="*/ 160 w 254"/>
                <a:gd name="T77" fmla="*/ 151 h 169"/>
                <a:gd name="T78" fmla="*/ 147 w 254"/>
                <a:gd name="T79" fmla="*/ 147 h 169"/>
                <a:gd name="T80" fmla="*/ 165 w 254"/>
                <a:gd name="T81" fmla="*/ 138 h 169"/>
                <a:gd name="T82" fmla="*/ 156 w 254"/>
                <a:gd name="T83" fmla="*/ 129 h 169"/>
                <a:gd name="T84" fmla="*/ 138 w 254"/>
                <a:gd name="T85" fmla="*/ 129 h 169"/>
                <a:gd name="T86" fmla="*/ 138 w 254"/>
                <a:gd name="T87" fmla="*/ 120 h 169"/>
                <a:gd name="T88" fmla="*/ 116 w 254"/>
                <a:gd name="T89" fmla="*/ 129 h 169"/>
                <a:gd name="T90" fmla="*/ 111 w 254"/>
                <a:gd name="T91" fmla="*/ 129 h 169"/>
                <a:gd name="T92" fmla="*/ 111 w 254"/>
                <a:gd name="T93" fmla="*/ 143 h 169"/>
                <a:gd name="T94" fmla="*/ 102 w 254"/>
                <a:gd name="T95" fmla="*/ 151 h 169"/>
                <a:gd name="T96" fmla="*/ 89 w 254"/>
                <a:gd name="T97" fmla="*/ 156 h 169"/>
                <a:gd name="T98" fmla="*/ 80 w 254"/>
                <a:gd name="T99" fmla="*/ 147 h 169"/>
                <a:gd name="T100" fmla="*/ 93 w 254"/>
                <a:gd name="T101" fmla="*/ 143 h 169"/>
                <a:gd name="T102" fmla="*/ 93 w 254"/>
                <a:gd name="T103" fmla="*/ 129 h 169"/>
                <a:gd name="T104" fmla="*/ 98 w 254"/>
                <a:gd name="T105" fmla="*/ 129 h 169"/>
                <a:gd name="T106" fmla="*/ 107 w 254"/>
                <a:gd name="T107" fmla="*/ 129 h 169"/>
                <a:gd name="T108" fmla="*/ 102 w 254"/>
                <a:gd name="T109" fmla="*/ 111 h 169"/>
                <a:gd name="T110" fmla="*/ 89 w 254"/>
                <a:gd name="T111" fmla="*/ 93 h 169"/>
                <a:gd name="T112" fmla="*/ 80 w 254"/>
                <a:gd name="T113" fmla="*/ 89 h 169"/>
                <a:gd name="T114" fmla="*/ 76 w 254"/>
                <a:gd name="T115" fmla="*/ 89 h 169"/>
                <a:gd name="T116" fmla="*/ 40 w 254"/>
                <a:gd name="T117" fmla="*/ 98 h 169"/>
                <a:gd name="T118" fmla="*/ 9 w 254"/>
                <a:gd name="T119" fmla="*/ 98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4" h="169">
                  <a:moveTo>
                    <a:pt x="0" y="84"/>
                  </a:moveTo>
                  <a:lnTo>
                    <a:pt x="4" y="71"/>
                  </a:lnTo>
                  <a:lnTo>
                    <a:pt x="9" y="71"/>
                  </a:lnTo>
                  <a:lnTo>
                    <a:pt x="4" y="67"/>
                  </a:lnTo>
                  <a:lnTo>
                    <a:pt x="13" y="53"/>
                  </a:lnTo>
                  <a:lnTo>
                    <a:pt x="22" y="49"/>
                  </a:lnTo>
                  <a:lnTo>
                    <a:pt x="26" y="44"/>
                  </a:lnTo>
                  <a:lnTo>
                    <a:pt x="22" y="40"/>
                  </a:lnTo>
                  <a:lnTo>
                    <a:pt x="22" y="31"/>
                  </a:lnTo>
                  <a:lnTo>
                    <a:pt x="18" y="17"/>
                  </a:lnTo>
                  <a:lnTo>
                    <a:pt x="18" y="13"/>
                  </a:lnTo>
                  <a:lnTo>
                    <a:pt x="26" y="17"/>
                  </a:lnTo>
                  <a:lnTo>
                    <a:pt x="31" y="8"/>
                  </a:lnTo>
                  <a:lnTo>
                    <a:pt x="35" y="4"/>
                  </a:lnTo>
                  <a:lnTo>
                    <a:pt x="49" y="8"/>
                  </a:lnTo>
                  <a:lnTo>
                    <a:pt x="58" y="13"/>
                  </a:lnTo>
                  <a:lnTo>
                    <a:pt x="71" y="8"/>
                  </a:lnTo>
                  <a:lnTo>
                    <a:pt x="76" y="13"/>
                  </a:lnTo>
                  <a:lnTo>
                    <a:pt x="80" y="22"/>
                  </a:lnTo>
                  <a:lnTo>
                    <a:pt x="80" y="17"/>
                  </a:lnTo>
                  <a:lnTo>
                    <a:pt x="89" y="17"/>
                  </a:lnTo>
                  <a:lnTo>
                    <a:pt x="89" y="13"/>
                  </a:lnTo>
                  <a:lnTo>
                    <a:pt x="93" y="17"/>
                  </a:lnTo>
                  <a:lnTo>
                    <a:pt x="98" y="13"/>
                  </a:lnTo>
                  <a:lnTo>
                    <a:pt x="102" y="22"/>
                  </a:lnTo>
                  <a:lnTo>
                    <a:pt x="111" y="17"/>
                  </a:lnTo>
                  <a:lnTo>
                    <a:pt x="120" y="22"/>
                  </a:lnTo>
                  <a:lnTo>
                    <a:pt x="120" y="17"/>
                  </a:lnTo>
                  <a:lnTo>
                    <a:pt x="120" y="13"/>
                  </a:lnTo>
                  <a:lnTo>
                    <a:pt x="125" y="0"/>
                  </a:lnTo>
                  <a:lnTo>
                    <a:pt x="134" y="4"/>
                  </a:lnTo>
                  <a:lnTo>
                    <a:pt x="138" y="4"/>
                  </a:lnTo>
                  <a:lnTo>
                    <a:pt x="143" y="0"/>
                  </a:lnTo>
                  <a:lnTo>
                    <a:pt x="147" y="4"/>
                  </a:lnTo>
                  <a:lnTo>
                    <a:pt x="156" y="0"/>
                  </a:lnTo>
                  <a:lnTo>
                    <a:pt x="165" y="0"/>
                  </a:lnTo>
                  <a:lnTo>
                    <a:pt x="169" y="8"/>
                  </a:lnTo>
                  <a:lnTo>
                    <a:pt x="174" y="8"/>
                  </a:lnTo>
                  <a:lnTo>
                    <a:pt x="169" y="17"/>
                  </a:lnTo>
                  <a:lnTo>
                    <a:pt x="187" y="22"/>
                  </a:lnTo>
                  <a:lnTo>
                    <a:pt x="187" y="31"/>
                  </a:lnTo>
                  <a:lnTo>
                    <a:pt x="192" y="44"/>
                  </a:lnTo>
                  <a:lnTo>
                    <a:pt x="201" y="44"/>
                  </a:lnTo>
                  <a:lnTo>
                    <a:pt x="205" y="49"/>
                  </a:lnTo>
                  <a:lnTo>
                    <a:pt x="210" y="44"/>
                  </a:lnTo>
                  <a:lnTo>
                    <a:pt x="219" y="44"/>
                  </a:lnTo>
                  <a:lnTo>
                    <a:pt x="223" y="49"/>
                  </a:lnTo>
                  <a:lnTo>
                    <a:pt x="223" y="53"/>
                  </a:lnTo>
                  <a:lnTo>
                    <a:pt x="232" y="53"/>
                  </a:lnTo>
                  <a:lnTo>
                    <a:pt x="232" y="58"/>
                  </a:lnTo>
                  <a:lnTo>
                    <a:pt x="236" y="53"/>
                  </a:lnTo>
                  <a:lnTo>
                    <a:pt x="241" y="58"/>
                  </a:lnTo>
                  <a:lnTo>
                    <a:pt x="254" y="67"/>
                  </a:lnTo>
                  <a:lnTo>
                    <a:pt x="250" y="71"/>
                  </a:lnTo>
                  <a:lnTo>
                    <a:pt x="254" y="75"/>
                  </a:lnTo>
                  <a:lnTo>
                    <a:pt x="250" y="80"/>
                  </a:lnTo>
                  <a:lnTo>
                    <a:pt x="254" y="84"/>
                  </a:lnTo>
                  <a:lnTo>
                    <a:pt x="250" y="93"/>
                  </a:lnTo>
                  <a:lnTo>
                    <a:pt x="241" y="98"/>
                  </a:lnTo>
                  <a:lnTo>
                    <a:pt x="232" y="111"/>
                  </a:lnTo>
                  <a:lnTo>
                    <a:pt x="223" y="111"/>
                  </a:lnTo>
                  <a:lnTo>
                    <a:pt x="205" y="120"/>
                  </a:lnTo>
                  <a:lnTo>
                    <a:pt x="196" y="125"/>
                  </a:lnTo>
                  <a:lnTo>
                    <a:pt x="192" y="125"/>
                  </a:lnTo>
                  <a:lnTo>
                    <a:pt x="187" y="129"/>
                  </a:lnTo>
                  <a:lnTo>
                    <a:pt x="183" y="125"/>
                  </a:lnTo>
                  <a:lnTo>
                    <a:pt x="174" y="134"/>
                  </a:lnTo>
                  <a:lnTo>
                    <a:pt x="192" y="147"/>
                  </a:lnTo>
                  <a:lnTo>
                    <a:pt x="205" y="147"/>
                  </a:lnTo>
                  <a:lnTo>
                    <a:pt x="201" y="156"/>
                  </a:lnTo>
                  <a:lnTo>
                    <a:pt x="196" y="156"/>
                  </a:lnTo>
                  <a:lnTo>
                    <a:pt x="192" y="156"/>
                  </a:lnTo>
                  <a:lnTo>
                    <a:pt x="183" y="160"/>
                  </a:lnTo>
                  <a:lnTo>
                    <a:pt x="178" y="160"/>
                  </a:lnTo>
                  <a:lnTo>
                    <a:pt x="169" y="169"/>
                  </a:lnTo>
                  <a:lnTo>
                    <a:pt x="156" y="165"/>
                  </a:lnTo>
                  <a:lnTo>
                    <a:pt x="160" y="160"/>
                  </a:lnTo>
                  <a:lnTo>
                    <a:pt x="160" y="151"/>
                  </a:lnTo>
                  <a:lnTo>
                    <a:pt x="156" y="151"/>
                  </a:lnTo>
                  <a:lnTo>
                    <a:pt x="147" y="147"/>
                  </a:lnTo>
                  <a:lnTo>
                    <a:pt x="156" y="138"/>
                  </a:lnTo>
                  <a:lnTo>
                    <a:pt x="165" y="138"/>
                  </a:lnTo>
                  <a:lnTo>
                    <a:pt x="160" y="134"/>
                  </a:lnTo>
                  <a:lnTo>
                    <a:pt x="156" y="129"/>
                  </a:lnTo>
                  <a:lnTo>
                    <a:pt x="134" y="134"/>
                  </a:lnTo>
                  <a:lnTo>
                    <a:pt x="138" y="129"/>
                  </a:lnTo>
                  <a:lnTo>
                    <a:pt x="129" y="125"/>
                  </a:lnTo>
                  <a:lnTo>
                    <a:pt x="138" y="120"/>
                  </a:lnTo>
                  <a:lnTo>
                    <a:pt x="125" y="125"/>
                  </a:lnTo>
                  <a:lnTo>
                    <a:pt x="116" y="129"/>
                  </a:lnTo>
                  <a:lnTo>
                    <a:pt x="111" y="125"/>
                  </a:lnTo>
                  <a:lnTo>
                    <a:pt x="111" y="129"/>
                  </a:lnTo>
                  <a:lnTo>
                    <a:pt x="116" y="134"/>
                  </a:lnTo>
                  <a:lnTo>
                    <a:pt x="111" y="143"/>
                  </a:lnTo>
                  <a:lnTo>
                    <a:pt x="102" y="147"/>
                  </a:lnTo>
                  <a:lnTo>
                    <a:pt x="102" y="151"/>
                  </a:lnTo>
                  <a:lnTo>
                    <a:pt x="98" y="151"/>
                  </a:lnTo>
                  <a:lnTo>
                    <a:pt x="89" y="156"/>
                  </a:lnTo>
                  <a:lnTo>
                    <a:pt x="85" y="151"/>
                  </a:lnTo>
                  <a:lnTo>
                    <a:pt x="80" y="147"/>
                  </a:lnTo>
                  <a:lnTo>
                    <a:pt x="89" y="147"/>
                  </a:lnTo>
                  <a:lnTo>
                    <a:pt x="93" y="143"/>
                  </a:lnTo>
                  <a:lnTo>
                    <a:pt x="93" y="138"/>
                  </a:lnTo>
                  <a:lnTo>
                    <a:pt x="93" y="129"/>
                  </a:lnTo>
                  <a:lnTo>
                    <a:pt x="98" y="134"/>
                  </a:lnTo>
                  <a:lnTo>
                    <a:pt x="98" y="129"/>
                  </a:lnTo>
                  <a:lnTo>
                    <a:pt x="102" y="129"/>
                  </a:lnTo>
                  <a:lnTo>
                    <a:pt x="107" y="129"/>
                  </a:lnTo>
                  <a:lnTo>
                    <a:pt x="107" y="120"/>
                  </a:lnTo>
                  <a:lnTo>
                    <a:pt x="102" y="111"/>
                  </a:lnTo>
                  <a:lnTo>
                    <a:pt x="102" y="102"/>
                  </a:lnTo>
                  <a:lnTo>
                    <a:pt x="89" y="93"/>
                  </a:lnTo>
                  <a:lnTo>
                    <a:pt x="85" y="93"/>
                  </a:lnTo>
                  <a:lnTo>
                    <a:pt x="80" y="89"/>
                  </a:lnTo>
                  <a:lnTo>
                    <a:pt x="76" y="93"/>
                  </a:lnTo>
                  <a:lnTo>
                    <a:pt x="76" y="89"/>
                  </a:lnTo>
                  <a:lnTo>
                    <a:pt x="62" y="89"/>
                  </a:lnTo>
                  <a:lnTo>
                    <a:pt x="40" y="98"/>
                  </a:lnTo>
                  <a:lnTo>
                    <a:pt x="13" y="93"/>
                  </a:lnTo>
                  <a:lnTo>
                    <a:pt x="9" y="98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51" name="Freeform 39"/>
            <p:cNvSpPr>
              <a:spLocks/>
            </p:cNvSpPr>
            <p:nvPr/>
          </p:nvSpPr>
          <p:spPr bwMode="gray">
            <a:xfrm>
              <a:off x="1353" y="2917"/>
              <a:ext cx="61" cy="60"/>
            </a:xfrm>
            <a:custGeom>
              <a:avLst/>
              <a:gdLst>
                <a:gd name="T0" fmla="*/ 9 w 36"/>
                <a:gd name="T1" fmla="*/ 35 h 35"/>
                <a:gd name="T2" fmla="*/ 0 w 36"/>
                <a:gd name="T3" fmla="*/ 31 h 35"/>
                <a:gd name="T4" fmla="*/ 0 w 36"/>
                <a:gd name="T5" fmla="*/ 8 h 35"/>
                <a:gd name="T6" fmla="*/ 9 w 36"/>
                <a:gd name="T7" fmla="*/ 4 h 35"/>
                <a:gd name="T8" fmla="*/ 9 w 36"/>
                <a:gd name="T9" fmla="*/ 4 h 35"/>
                <a:gd name="T10" fmla="*/ 23 w 36"/>
                <a:gd name="T11" fmla="*/ 0 h 35"/>
                <a:gd name="T12" fmla="*/ 27 w 36"/>
                <a:gd name="T13" fmla="*/ 4 h 35"/>
                <a:gd name="T14" fmla="*/ 36 w 36"/>
                <a:gd name="T15" fmla="*/ 8 h 35"/>
                <a:gd name="T16" fmla="*/ 36 w 36"/>
                <a:gd name="T17" fmla="*/ 22 h 35"/>
                <a:gd name="T18" fmla="*/ 27 w 36"/>
                <a:gd name="T19" fmla="*/ 26 h 35"/>
                <a:gd name="T20" fmla="*/ 23 w 36"/>
                <a:gd name="T21" fmla="*/ 26 h 35"/>
                <a:gd name="T22" fmla="*/ 18 w 36"/>
                <a:gd name="T23" fmla="*/ 31 h 35"/>
                <a:gd name="T24" fmla="*/ 9 w 36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35">
                  <a:moveTo>
                    <a:pt x="9" y="35"/>
                  </a:moveTo>
                  <a:lnTo>
                    <a:pt x="0" y="31"/>
                  </a:lnTo>
                  <a:lnTo>
                    <a:pt x="0" y="8"/>
                  </a:lnTo>
                  <a:lnTo>
                    <a:pt x="9" y="4"/>
                  </a:lnTo>
                  <a:lnTo>
                    <a:pt x="9" y="4"/>
                  </a:lnTo>
                  <a:lnTo>
                    <a:pt x="23" y="0"/>
                  </a:lnTo>
                  <a:lnTo>
                    <a:pt x="27" y="4"/>
                  </a:lnTo>
                  <a:lnTo>
                    <a:pt x="36" y="8"/>
                  </a:lnTo>
                  <a:lnTo>
                    <a:pt x="36" y="22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18" y="31"/>
                  </a:lnTo>
                  <a:lnTo>
                    <a:pt x="9" y="3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52" name="Freeform 40"/>
            <p:cNvSpPr>
              <a:spLocks noEditPoints="1"/>
            </p:cNvSpPr>
            <p:nvPr/>
          </p:nvSpPr>
          <p:spPr bwMode="gray">
            <a:xfrm>
              <a:off x="648" y="2189"/>
              <a:ext cx="250" cy="461"/>
            </a:xfrm>
            <a:custGeom>
              <a:avLst/>
              <a:gdLst>
                <a:gd name="T0" fmla="*/ 22 w 147"/>
                <a:gd name="T1" fmla="*/ 71 h 272"/>
                <a:gd name="T2" fmla="*/ 31 w 147"/>
                <a:gd name="T3" fmla="*/ 53 h 272"/>
                <a:gd name="T4" fmla="*/ 18 w 147"/>
                <a:gd name="T5" fmla="*/ 80 h 272"/>
                <a:gd name="T6" fmla="*/ 13 w 147"/>
                <a:gd name="T7" fmla="*/ 165 h 272"/>
                <a:gd name="T8" fmla="*/ 4 w 147"/>
                <a:gd name="T9" fmla="*/ 156 h 272"/>
                <a:gd name="T10" fmla="*/ 22 w 147"/>
                <a:gd name="T11" fmla="*/ 143 h 272"/>
                <a:gd name="T12" fmla="*/ 36 w 147"/>
                <a:gd name="T13" fmla="*/ 156 h 272"/>
                <a:gd name="T14" fmla="*/ 36 w 147"/>
                <a:gd name="T15" fmla="*/ 89 h 272"/>
                <a:gd name="T16" fmla="*/ 27 w 147"/>
                <a:gd name="T17" fmla="*/ 80 h 272"/>
                <a:gd name="T18" fmla="*/ 31 w 147"/>
                <a:gd name="T19" fmla="*/ 93 h 272"/>
                <a:gd name="T20" fmla="*/ 76 w 147"/>
                <a:gd name="T21" fmla="*/ 49 h 272"/>
                <a:gd name="T22" fmla="*/ 45 w 147"/>
                <a:gd name="T23" fmla="*/ 62 h 272"/>
                <a:gd name="T24" fmla="*/ 36 w 147"/>
                <a:gd name="T25" fmla="*/ 98 h 272"/>
                <a:gd name="T26" fmla="*/ 27 w 147"/>
                <a:gd name="T27" fmla="*/ 107 h 272"/>
                <a:gd name="T28" fmla="*/ 36 w 147"/>
                <a:gd name="T29" fmla="*/ 111 h 272"/>
                <a:gd name="T30" fmla="*/ 36 w 147"/>
                <a:gd name="T31" fmla="*/ 120 h 272"/>
                <a:gd name="T32" fmla="*/ 40 w 147"/>
                <a:gd name="T33" fmla="*/ 138 h 272"/>
                <a:gd name="T34" fmla="*/ 45 w 147"/>
                <a:gd name="T35" fmla="*/ 125 h 272"/>
                <a:gd name="T36" fmla="*/ 54 w 147"/>
                <a:gd name="T37" fmla="*/ 143 h 272"/>
                <a:gd name="T38" fmla="*/ 58 w 147"/>
                <a:gd name="T39" fmla="*/ 156 h 272"/>
                <a:gd name="T40" fmla="*/ 71 w 147"/>
                <a:gd name="T41" fmla="*/ 151 h 272"/>
                <a:gd name="T42" fmla="*/ 76 w 147"/>
                <a:gd name="T43" fmla="*/ 174 h 272"/>
                <a:gd name="T44" fmla="*/ 76 w 147"/>
                <a:gd name="T45" fmla="*/ 183 h 272"/>
                <a:gd name="T46" fmla="*/ 54 w 147"/>
                <a:gd name="T47" fmla="*/ 187 h 272"/>
                <a:gd name="T48" fmla="*/ 67 w 147"/>
                <a:gd name="T49" fmla="*/ 196 h 272"/>
                <a:gd name="T50" fmla="*/ 45 w 147"/>
                <a:gd name="T51" fmla="*/ 223 h 272"/>
                <a:gd name="T52" fmla="*/ 67 w 147"/>
                <a:gd name="T53" fmla="*/ 232 h 272"/>
                <a:gd name="T54" fmla="*/ 76 w 147"/>
                <a:gd name="T55" fmla="*/ 236 h 272"/>
                <a:gd name="T56" fmla="*/ 49 w 147"/>
                <a:gd name="T57" fmla="*/ 254 h 272"/>
                <a:gd name="T58" fmla="*/ 40 w 147"/>
                <a:gd name="T59" fmla="*/ 268 h 272"/>
                <a:gd name="T60" fmla="*/ 58 w 147"/>
                <a:gd name="T61" fmla="*/ 259 h 272"/>
                <a:gd name="T62" fmla="*/ 89 w 147"/>
                <a:gd name="T63" fmla="*/ 254 h 272"/>
                <a:gd name="T64" fmla="*/ 98 w 147"/>
                <a:gd name="T65" fmla="*/ 254 h 272"/>
                <a:gd name="T66" fmla="*/ 121 w 147"/>
                <a:gd name="T67" fmla="*/ 250 h 272"/>
                <a:gd name="T68" fmla="*/ 143 w 147"/>
                <a:gd name="T69" fmla="*/ 232 h 272"/>
                <a:gd name="T70" fmla="*/ 143 w 147"/>
                <a:gd name="T71" fmla="*/ 223 h 272"/>
                <a:gd name="T72" fmla="*/ 129 w 147"/>
                <a:gd name="T73" fmla="*/ 201 h 272"/>
                <a:gd name="T74" fmla="*/ 121 w 147"/>
                <a:gd name="T75" fmla="*/ 183 h 272"/>
                <a:gd name="T76" fmla="*/ 103 w 147"/>
                <a:gd name="T77" fmla="*/ 151 h 272"/>
                <a:gd name="T78" fmla="*/ 85 w 147"/>
                <a:gd name="T79" fmla="*/ 125 h 272"/>
                <a:gd name="T80" fmla="*/ 89 w 147"/>
                <a:gd name="T81" fmla="*/ 111 h 272"/>
                <a:gd name="T82" fmla="*/ 98 w 147"/>
                <a:gd name="T83" fmla="*/ 80 h 272"/>
                <a:gd name="T84" fmla="*/ 62 w 147"/>
                <a:gd name="T85" fmla="*/ 80 h 272"/>
                <a:gd name="T86" fmla="*/ 67 w 147"/>
                <a:gd name="T87" fmla="*/ 71 h 272"/>
                <a:gd name="T88" fmla="*/ 76 w 147"/>
                <a:gd name="T89" fmla="*/ 44 h 272"/>
                <a:gd name="T90" fmla="*/ 76 w 147"/>
                <a:gd name="T91" fmla="*/ 40 h 272"/>
                <a:gd name="T92" fmla="*/ 107 w 147"/>
                <a:gd name="T93" fmla="*/ 13 h 272"/>
                <a:gd name="T94" fmla="*/ 103 w 147"/>
                <a:gd name="T95" fmla="*/ 17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7" h="272">
                  <a:moveTo>
                    <a:pt x="13" y="98"/>
                  </a:moveTo>
                  <a:lnTo>
                    <a:pt x="18" y="93"/>
                  </a:lnTo>
                  <a:lnTo>
                    <a:pt x="22" y="76"/>
                  </a:lnTo>
                  <a:lnTo>
                    <a:pt x="22" y="71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31" y="58"/>
                  </a:lnTo>
                  <a:lnTo>
                    <a:pt x="31" y="53"/>
                  </a:lnTo>
                  <a:lnTo>
                    <a:pt x="22" y="58"/>
                  </a:lnTo>
                  <a:lnTo>
                    <a:pt x="18" y="76"/>
                  </a:lnTo>
                  <a:lnTo>
                    <a:pt x="13" y="76"/>
                  </a:lnTo>
                  <a:lnTo>
                    <a:pt x="18" y="80"/>
                  </a:lnTo>
                  <a:lnTo>
                    <a:pt x="13" y="98"/>
                  </a:lnTo>
                  <a:close/>
                  <a:moveTo>
                    <a:pt x="27" y="169"/>
                  </a:moveTo>
                  <a:lnTo>
                    <a:pt x="22" y="169"/>
                  </a:lnTo>
                  <a:lnTo>
                    <a:pt x="13" y="165"/>
                  </a:lnTo>
                  <a:lnTo>
                    <a:pt x="13" y="174"/>
                  </a:lnTo>
                  <a:lnTo>
                    <a:pt x="0" y="169"/>
                  </a:lnTo>
                  <a:lnTo>
                    <a:pt x="0" y="165"/>
                  </a:lnTo>
                  <a:lnTo>
                    <a:pt x="4" y="156"/>
                  </a:lnTo>
                  <a:lnTo>
                    <a:pt x="9" y="156"/>
                  </a:lnTo>
                  <a:lnTo>
                    <a:pt x="13" y="151"/>
                  </a:lnTo>
                  <a:lnTo>
                    <a:pt x="18" y="143"/>
                  </a:lnTo>
                  <a:lnTo>
                    <a:pt x="22" y="143"/>
                  </a:lnTo>
                  <a:lnTo>
                    <a:pt x="31" y="143"/>
                  </a:lnTo>
                  <a:lnTo>
                    <a:pt x="36" y="151"/>
                  </a:lnTo>
                  <a:lnTo>
                    <a:pt x="31" y="156"/>
                  </a:lnTo>
                  <a:lnTo>
                    <a:pt x="36" y="156"/>
                  </a:lnTo>
                  <a:lnTo>
                    <a:pt x="40" y="160"/>
                  </a:lnTo>
                  <a:lnTo>
                    <a:pt x="36" y="165"/>
                  </a:lnTo>
                  <a:lnTo>
                    <a:pt x="27" y="169"/>
                  </a:lnTo>
                  <a:close/>
                  <a:moveTo>
                    <a:pt x="36" y="89"/>
                  </a:moveTo>
                  <a:lnTo>
                    <a:pt x="31" y="84"/>
                  </a:lnTo>
                  <a:lnTo>
                    <a:pt x="31" y="80"/>
                  </a:lnTo>
                  <a:lnTo>
                    <a:pt x="27" y="76"/>
                  </a:lnTo>
                  <a:lnTo>
                    <a:pt x="27" y="80"/>
                  </a:lnTo>
                  <a:lnTo>
                    <a:pt x="22" y="89"/>
                  </a:lnTo>
                  <a:lnTo>
                    <a:pt x="27" y="89"/>
                  </a:lnTo>
                  <a:lnTo>
                    <a:pt x="27" y="93"/>
                  </a:lnTo>
                  <a:lnTo>
                    <a:pt x="31" y="93"/>
                  </a:lnTo>
                  <a:lnTo>
                    <a:pt x="36" y="89"/>
                  </a:lnTo>
                  <a:close/>
                  <a:moveTo>
                    <a:pt x="62" y="71"/>
                  </a:moveTo>
                  <a:lnTo>
                    <a:pt x="76" y="58"/>
                  </a:lnTo>
                  <a:lnTo>
                    <a:pt x="76" y="49"/>
                  </a:lnTo>
                  <a:lnTo>
                    <a:pt x="58" y="53"/>
                  </a:lnTo>
                  <a:lnTo>
                    <a:pt x="49" y="49"/>
                  </a:lnTo>
                  <a:lnTo>
                    <a:pt x="45" y="62"/>
                  </a:lnTo>
                  <a:lnTo>
                    <a:pt x="45" y="62"/>
                  </a:lnTo>
                  <a:lnTo>
                    <a:pt x="40" y="67"/>
                  </a:lnTo>
                  <a:lnTo>
                    <a:pt x="36" y="71"/>
                  </a:lnTo>
                  <a:lnTo>
                    <a:pt x="36" y="84"/>
                  </a:lnTo>
                  <a:lnTo>
                    <a:pt x="36" y="98"/>
                  </a:lnTo>
                  <a:lnTo>
                    <a:pt x="36" y="102"/>
                  </a:lnTo>
                  <a:lnTo>
                    <a:pt x="36" y="107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31" y="111"/>
                  </a:lnTo>
                  <a:lnTo>
                    <a:pt x="27" y="111"/>
                  </a:lnTo>
                  <a:lnTo>
                    <a:pt x="27" y="116"/>
                  </a:lnTo>
                  <a:lnTo>
                    <a:pt x="36" y="111"/>
                  </a:lnTo>
                  <a:lnTo>
                    <a:pt x="45" y="102"/>
                  </a:lnTo>
                  <a:lnTo>
                    <a:pt x="49" y="102"/>
                  </a:lnTo>
                  <a:lnTo>
                    <a:pt x="36" y="120"/>
                  </a:lnTo>
                  <a:lnTo>
                    <a:pt x="36" y="120"/>
                  </a:lnTo>
                  <a:lnTo>
                    <a:pt x="31" y="125"/>
                  </a:lnTo>
                  <a:lnTo>
                    <a:pt x="36" y="125"/>
                  </a:lnTo>
                  <a:lnTo>
                    <a:pt x="40" y="134"/>
                  </a:lnTo>
                  <a:lnTo>
                    <a:pt x="40" y="138"/>
                  </a:lnTo>
                  <a:lnTo>
                    <a:pt x="45" y="138"/>
                  </a:lnTo>
                  <a:lnTo>
                    <a:pt x="45" y="134"/>
                  </a:lnTo>
                  <a:lnTo>
                    <a:pt x="49" y="134"/>
                  </a:lnTo>
                  <a:lnTo>
                    <a:pt x="45" y="125"/>
                  </a:lnTo>
                  <a:lnTo>
                    <a:pt x="49" y="125"/>
                  </a:lnTo>
                  <a:lnTo>
                    <a:pt x="49" y="134"/>
                  </a:lnTo>
                  <a:lnTo>
                    <a:pt x="54" y="134"/>
                  </a:lnTo>
                  <a:lnTo>
                    <a:pt x="54" y="143"/>
                  </a:lnTo>
                  <a:lnTo>
                    <a:pt x="49" y="151"/>
                  </a:lnTo>
                  <a:lnTo>
                    <a:pt x="54" y="160"/>
                  </a:lnTo>
                  <a:lnTo>
                    <a:pt x="54" y="156"/>
                  </a:lnTo>
                  <a:lnTo>
                    <a:pt x="58" y="156"/>
                  </a:lnTo>
                  <a:lnTo>
                    <a:pt x="62" y="156"/>
                  </a:lnTo>
                  <a:lnTo>
                    <a:pt x="58" y="151"/>
                  </a:lnTo>
                  <a:lnTo>
                    <a:pt x="67" y="156"/>
                  </a:lnTo>
                  <a:lnTo>
                    <a:pt x="71" y="151"/>
                  </a:lnTo>
                  <a:lnTo>
                    <a:pt x="80" y="151"/>
                  </a:lnTo>
                  <a:lnTo>
                    <a:pt x="76" y="156"/>
                  </a:lnTo>
                  <a:lnTo>
                    <a:pt x="71" y="160"/>
                  </a:lnTo>
                  <a:lnTo>
                    <a:pt x="76" y="174"/>
                  </a:lnTo>
                  <a:lnTo>
                    <a:pt x="80" y="169"/>
                  </a:lnTo>
                  <a:lnTo>
                    <a:pt x="85" y="169"/>
                  </a:lnTo>
                  <a:lnTo>
                    <a:pt x="76" y="174"/>
                  </a:lnTo>
                  <a:lnTo>
                    <a:pt x="76" y="183"/>
                  </a:lnTo>
                  <a:lnTo>
                    <a:pt x="80" y="187"/>
                  </a:lnTo>
                  <a:lnTo>
                    <a:pt x="62" y="187"/>
                  </a:lnTo>
                  <a:lnTo>
                    <a:pt x="58" y="187"/>
                  </a:lnTo>
                  <a:lnTo>
                    <a:pt x="54" y="187"/>
                  </a:lnTo>
                  <a:lnTo>
                    <a:pt x="58" y="192"/>
                  </a:lnTo>
                  <a:lnTo>
                    <a:pt x="54" y="201"/>
                  </a:lnTo>
                  <a:lnTo>
                    <a:pt x="62" y="196"/>
                  </a:lnTo>
                  <a:lnTo>
                    <a:pt x="67" y="196"/>
                  </a:lnTo>
                  <a:lnTo>
                    <a:pt x="67" y="205"/>
                  </a:lnTo>
                  <a:lnTo>
                    <a:pt x="67" y="210"/>
                  </a:lnTo>
                  <a:lnTo>
                    <a:pt x="62" y="219"/>
                  </a:lnTo>
                  <a:lnTo>
                    <a:pt x="45" y="223"/>
                  </a:lnTo>
                  <a:lnTo>
                    <a:pt x="49" y="232"/>
                  </a:lnTo>
                  <a:lnTo>
                    <a:pt x="58" y="223"/>
                  </a:lnTo>
                  <a:lnTo>
                    <a:pt x="62" y="232"/>
                  </a:lnTo>
                  <a:lnTo>
                    <a:pt x="67" y="232"/>
                  </a:lnTo>
                  <a:lnTo>
                    <a:pt x="71" y="232"/>
                  </a:lnTo>
                  <a:lnTo>
                    <a:pt x="76" y="227"/>
                  </a:lnTo>
                  <a:lnTo>
                    <a:pt x="80" y="227"/>
                  </a:lnTo>
                  <a:lnTo>
                    <a:pt x="76" y="236"/>
                  </a:lnTo>
                  <a:lnTo>
                    <a:pt x="62" y="241"/>
                  </a:lnTo>
                  <a:lnTo>
                    <a:pt x="58" y="245"/>
                  </a:lnTo>
                  <a:lnTo>
                    <a:pt x="54" y="250"/>
                  </a:lnTo>
                  <a:lnTo>
                    <a:pt x="49" y="254"/>
                  </a:lnTo>
                  <a:lnTo>
                    <a:pt x="45" y="259"/>
                  </a:lnTo>
                  <a:lnTo>
                    <a:pt x="40" y="263"/>
                  </a:lnTo>
                  <a:lnTo>
                    <a:pt x="36" y="268"/>
                  </a:lnTo>
                  <a:lnTo>
                    <a:pt x="40" y="268"/>
                  </a:lnTo>
                  <a:lnTo>
                    <a:pt x="45" y="268"/>
                  </a:lnTo>
                  <a:lnTo>
                    <a:pt x="45" y="272"/>
                  </a:lnTo>
                  <a:lnTo>
                    <a:pt x="49" y="263"/>
                  </a:lnTo>
                  <a:lnTo>
                    <a:pt x="58" y="259"/>
                  </a:lnTo>
                  <a:lnTo>
                    <a:pt x="71" y="263"/>
                  </a:lnTo>
                  <a:lnTo>
                    <a:pt x="71" y="254"/>
                  </a:lnTo>
                  <a:lnTo>
                    <a:pt x="85" y="250"/>
                  </a:lnTo>
                  <a:lnTo>
                    <a:pt x="89" y="254"/>
                  </a:lnTo>
                  <a:lnTo>
                    <a:pt x="89" y="259"/>
                  </a:lnTo>
                  <a:lnTo>
                    <a:pt x="94" y="254"/>
                  </a:lnTo>
                  <a:lnTo>
                    <a:pt x="98" y="254"/>
                  </a:lnTo>
                  <a:lnTo>
                    <a:pt x="98" y="254"/>
                  </a:lnTo>
                  <a:lnTo>
                    <a:pt x="103" y="254"/>
                  </a:lnTo>
                  <a:lnTo>
                    <a:pt x="103" y="250"/>
                  </a:lnTo>
                  <a:lnTo>
                    <a:pt x="112" y="254"/>
                  </a:lnTo>
                  <a:lnTo>
                    <a:pt x="121" y="250"/>
                  </a:lnTo>
                  <a:lnTo>
                    <a:pt x="125" y="250"/>
                  </a:lnTo>
                  <a:lnTo>
                    <a:pt x="138" y="250"/>
                  </a:lnTo>
                  <a:lnTo>
                    <a:pt x="143" y="241"/>
                  </a:lnTo>
                  <a:lnTo>
                    <a:pt x="143" y="232"/>
                  </a:lnTo>
                  <a:lnTo>
                    <a:pt x="134" y="232"/>
                  </a:lnTo>
                  <a:lnTo>
                    <a:pt x="129" y="232"/>
                  </a:lnTo>
                  <a:lnTo>
                    <a:pt x="138" y="223"/>
                  </a:lnTo>
                  <a:lnTo>
                    <a:pt x="143" y="223"/>
                  </a:lnTo>
                  <a:lnTo>
                    <a:pt x="147" y="214"/>
                  </a:lnTo>
                  <a:lnTo>
                    <a:pt x="147" y="205"/>
                  </a:lnTo>
                  <a:lnTo>
                    <a:pt x="143" y="201"/>
                  </a:lnTo>
                  <a:lnTo>
                    <a:pt x="129" y="201"/>
                  </a:lnTo>
                  <a:lnTo>
                    <a:pt x="125" y="205"/>
                  </a:lnTo>
                  <a:lnTo>
                    <a:pt x="121" y="201"/>
                  </a:lnTo>
                  <a:lnTo>
                    <a:pt x="125" y="192"/>
                  </a:lnTo>
                  <a:lnTo>
                    <a:pt x="121" y="183"/>
                  </a:lnTo>
                  <a:lnTo>
                    <a:pt x="121" y="178"/>
                  </a:lnTo>
                  <a:lnTo>
                    <a:pt x="112" y="160"/>
                  </a:lnTo>
                  <a:lnTo>
                    <a:pt x="107" y="160"/>
                  </a:lnTo>
                  <a:lnTo>
                    <a:pt x="103" y="151"/>
                  </a:lnTo>
                  <a:lnTo>
                    <a:pt x="103" y="147"/>
                  </a:lnTo>
                  <a:lnTo>
                    <a:pt x="98" y="134"/>
                  </a:lnTo>
                  <a:lnTo>
                    <a:pt x="94" y="129"/>
                  </a:lnTo>
                  <a:lnTo>
                    <a:pt x="85" y="125"/>
                  </a:lnTo>
                  <a:lnTo>
                    <a:pt x="76" y="125"/>
                  </a:lnTo>
                  <a:lnTo>
                    <a:pt x="80" y="116"/>
                  </a:lnTo>
                  <a:lnTo>
                    <a:pt x="85" y="120"/>
                  </a:lnTo>
                  <a:lnTo>
                    <a:pt x="89" y="111"/>
                  </a:lnTo>
                  <a:lnTo>
                    <a:pt x="85" y="116"/>
                  </a:lnTo>
                  <a:lnTo>
                    <a:pt x="85" y="107"/>
                  </a:lnTo>
                  <a:lnTo>
                    <a:pt x="85" y="98"/>
                  </a:lnTo>
                  <a:lnTo>
                    <a:pt x="98" y="80"/>
                  </a:lnTo>
                  <a:lnTo>
                    <a:pt x="98" y="76"/>
                  </a:lnTo>
                  <a:lnTo>
                    <a:pt x="89" y="80"/>
                  </a:lnTo>
                  <a:lnTo>
                    <a:pt x="71" y="76"/>
                  </a:lnTo>
                  <a:lnTo>
                    <a:pt x="62" y="80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62" y="76"/>
                  </a:lnTo>
                  <a:lnTo>
                    <a:pt x="67" y="71"/>
                  </a:lnTo>
                  <a:lnTo>
                    <a:pt x="62" y="71"/>
                  </a:lnTo>
                  <a:close/>
                  <a:moveTo>
                    <a:pt x="71" y="35"/>
                  </a:moveTo>
                  <a:lnTo>
                    <a:pt x="71" y="44"/>
                  </a:lnTo>
                  <a:lnTo>
                    <a:pt x="76" y="44"/>
                  </a:lnTo>
                  <a:lnTo>
                    <a:pt x="76" y="40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76" y="40"/>
                  </a:lnTo>
                  <a:lnTo>
                    <a:pt x="80" y="31"/>
                  </a:lnTo>
                  <a:lnTo>
                    <a:pt x="71" y="35"/>
                  </a:lnTo>
                  <a:close/>
                  <a:moveTo>
                    <a:pt x="103" y="17"/>
                  </a:moveTo>
                  <a:lnTo>
                    <a:pt x="107" y="13"/>
                  </a:lnTo>
                  <a:lnTo>
                    <a:pt x="103" y="0"/>
                  </a:lnTo>
                  <a:lnTo>
                    <a:pt x="98" y="8"/>
                  </a:lnTo>
                  <a:lnTo>
                    <a:pt x="103" y="8"/>
                  </a:lnTo>
                  <a:lnTo>
                    <a:pt x="103" y="17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53" name="Freeform 41"/>
            <p:cNvSpPr>
              <a:spLocks/>
            </p:cNvSpPr>
            <p:nvPr/>
          </p:nvSpPr>
          <p:spPr bwMode="gray">
            <a:xfrm>
              <a:off x="1301" y="2789"/>
              <a:ext cx="113" cy="142"/>
            </a:xfrm>
            <a:custGeom>
              <a:avLst/>
              <a:gdLst>
                <a:gd name="T0" fmla="*/ 0 w 67"/>
                <a:gd name="T1" fmla="*/ 67 h 84"/>
                <a:gd name="T2" fmla="*/ 0 w 67"/>
                <a:gd name="T3" fmla="*/ 67 h 84"/>
                <a:gd name="T4" fmla="*/ 0 w 67"/>
                <a:gd name="T5" fmla="*/ 67 h 84"/>
                <a:gd name="T6" fmla="*/ 0 w 67"/>
                <a:gd name="T7" fmla="*/ 62 h 84"/>
                <a:gd name="T8" fmla="*/ 0 w 67"/>
                <a:gd name="T9" fmla="*/ 62 h 84"/>
                <a:gd name="T10" fmla="*/ 0 w 67"/>
                <a:gd name="T11" fmla="*/ 58 h 84"/>
                <a:gd name="T12" fmla="*/ 5 w 67"/>
                <a:gd name="T13" fmla="*/ 53 h 84"/>
                <a:gd name="T14" fmla="*/ 5 w 67"/>
                <a:gd name="T15" fmla="*/ 53 h 84"/>
                <a:gd name="T16" fmla="*/ 5 w 67"/>
                <a:gd name="T17" fmla="*/ 53 h 84"/>
                <a:gd name="T18" fmla="*/ 5 w 67"/>
                <a:gd name="T19" fmla="*/ 49 h 84"/>
                <a:gd name="T20" fmla="*/ 9 w 67"/>
                <a:gd name="T21" fmla="*/ 49 h 84"/>
                <a:gd name="T22" fmla="*/ 13 w 67"/>
                <a:gd name="T23" fmla="*/ 44 h 84"/>
                <a:gd name="T24" fmla="*/ 9 w 67"/>
                <a:gd name="T25" fmla="*/ 40 h 84"/>
                <a:gd name="T26" fmla="*/ 13 w 67"/>
                <a:gd name="T27" fmla="*/ 40 h 84"/>
                <a:gd name="T28" fmla="*/ 13 w 67"/>
                <a:gd name="T29" fmla="*/ 40 h 84"/>
                <a:gd name="T30" fmla="*/ 5 w 67"/>
                <a:gd name="T31" fmla="*/ 35 h 84"/>
                <a:gd name="T32" fmla="*/ 5 w 67"/>
                <a:gd name="T33" fmla="*/ 31 h 84"/>
                <a:gd name="T34" fmla="*/ 9 w 67"/>
                <a:gd name="T35" fmla="*/ 26 h 84"/>
                <a:gd name="T36" fmla="*/ 9 w 67"/>
                <a:gd name="T37" fmla="*/ 22 h 84"/>
                <a:gd name="T38" fmla="*/ 5 w 67"/>
                <a:gd name="T39" fmla="*/ 22 h 84"/>
                <a:gd name="T40" fmla="*/ 5 w 67"/>
                <a:gd name="T41" fmla="*/ 17 h 84"/>
                <a:gd name="T42" fmla="*/ 9 w 67"/>
                <a:gd name="T43" fmla="*/ 17 h 84"/>
                <a:gd name="T44" fmla="*/ 9 w 67"/>
                <a:gd name="T45" fmla="*/ 13 h 84"/>
                <a:gd name="T46" fmla="*/ 5 w 67"/>
                <a:gd name="T47" fmla="*/ 13 h 84"/>
                <a:gd name="T48" fmla="*/ 5 w 67"/>
                <a:gd name="T49" fmla="*/ 13 h 84"/>
                <a:gd name="T50" fmla="*/ 5 w 67"/>
                <a:gd name="T51" fmla="*/ 9 h 84"/>
                <a:gd name="T52" fmla="*/ 5 w 67"/>
                <a:gd name="T53" fmla="*/ 9 h 84"/>
                <a:gd name="T54" fmla="*/ 5 w 67"/>
                <a:gd name="T55" fmla="*/ 4 h 84"/>
                <a:gd name="T56" fmla="*/ 0 w 67"/>
                <a:gd name="T57" fmla="*/ 4 h 84"/>
                <a:gd name="T58" fmla="*/ 13 w 67"/>
                <a:gd name="T59" fmla="*/ 0 h 84"/>
                <a:gd name="T60" fmla="*/ 27 w 67"/>
                <a:gd name="T61" fmla="*/ 0 h 84"/>
                <a:gd name="T62" fmla="*/ 31 w 67"/>
                <a:gd name="T63" fmla="*/ 9 h 84"/>
                <a:gd name="T64" fmla="*/ 31 w 67"/>
                <a:gd name="T65" fmla="*/ 17 h 84"/>
                <a:gd name="T66" fmla="*/ 40 w 67"/>
                <a:gd name="T67" fmla="*/ 26 h 84"/>
                <a:gd name="T68" fmla="*/ 49 w 67"/>
                <a:gd name="T69" fmla="*/ 31 h 84"/>
                <a:gd name="T70" fmla="*/ 54 w 67"/>
                <a:gd name="T71" fmla="*/ 31 h 84"/>
                <a:gd name="T72" fmla="*/ 54 w 67"/>
                <a:gd name="T73" fmla="*/ 35 h 84"/>
                <a:gd name="T74" fmla="*/ 58 w 67"/>
                <a:gd name="T75" fmla="*/ 35 h 84"/>
                <a:gd name="T76" fmla="*/ 54 w 67"/>
                <a:gd name="T77" fmla="*/ 53 h 84"/>
                <a:gd name="T78" fmla="*/ 67 w 67"/>
                <a:gd name="T79" fmla="*/ 62 h 84"/>
                <a:gd name="T80" fmla="*/ 67 w 67"/>
                <a:gd name="T81" fmla="*/ 67 h 84"/>
                <a:gd name="T82" fmla="*/ 58 w 67"/>
                <a:gd name="T83" fmla="*/ 71 h 84"/>
                <a:gd name="T84" fmla="*/ 58 w 67"/>
                <a:gd name="T85" fmla="*/ 80 h 84"/>
                <a:gd name="T86" fmla="*/ 54 w 67"/>
                <a:gd name="T87" fmla="*/ 76 h 84"/>
                <a:gd name="T88" fmla="*/ 40 w 67"/>
                <a:gd name="T89" fmla="*/ 80 h 84"/>
                <a:gd name="T90" fmla="*/ 40 w 67"/>
                <a:gd name="T91" fmla="*/ 80 h 84"/>
                <a:gd name="T92" fmla="*/ 31 w 67"/>
                <a:gd name="T93" fmla="*/ 84 h 84"/>
                <a:gd name="T94" fmla="*/ 27 w 67"/>
                <a:gd name="T95" fmla="*/ 84 h 84"/>
                <a:gd name="T96" fmla="*/ 27 w 67"/>
                <a:gd name="T97" fmla="*/ 76 h 84"/>
                <a:gd name="T98" fmla="*/ 18 w 67"/>
                <a:gd name="T99" fmla="*/ 71 h 84"/>
                <a:gd name="T100" fmla="*/ 13 w 67"/>
                <a:gd name="T101" fmla="*/ 84 h 84"/>
                <a:gd name="T102" fmla="*/ 9 w 67"/>
                <a:gd name="T103" fmla="*/ 84 h 84"/>
                <a:gd name="T104" fmla="*/ 0 w 67"/>
                <a:gd name="T105" fmla="*/ 71 h 84"/>
                <a:gd name="T106" fmla="*/ 0 w 67"/>
                <a:gd name="T107" fmla="*/ 71 h 84"/>
                <a:gd name="T108" fmla="*/ 0 w 67"/>
                <a:gd name="T109" fmla="*/ 6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7" h="84">
                  <a:moveTo>
                    <a:pt x="0" y="67"/>
                  </a:moveTo>
                  <a:lnTo>
                    <a:pt x="0" y="67"/>
                  </a:lnTo>
                  <a:lnTo>
                    <a:pt x="0" y="67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58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49"/>
                  </a:lnTo>
                  <a:lnTo>
                    <a:pt x="9" y="49"/>
                  </a:lnTo>
                  <a:lnTo>
                    <a:pt x="13" y="44"/>
                  </a:lnTo>
                  <a:lnTo>
                    <a:pt x="9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5" y="35"/>
                  </a:lnTo>
                  <a:lnTo>
                    <a:pt x="5" y="31"/>
                  </a:lnTo>
                  <a:lnTo>
                    <a:pt x="9" y="26"/>
                  </a:lnTo>
                  <a:lnTo>
                    <a:pt x="9" y="22"/>
                  </a:lnTo>
                  <a:lnTo>
                    <a:pt x="5" y="22"/>
                  </a:lnTo>
                  <a:lnTo>
                    <a:pt x="5" y="17"/>
                  </a:lnTo>
                  <a:lnTo>
                    <a:pt x="9" y="17"/>
                  </a:lnTo>
                  <a:lnTo>
                    <a:pt x="9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4"/>
                  </a:lnTo>
                  <a:lnTo>
                    <a:pt x="0" y="4"/>
                  </a:lnTo>
                  <a:lnTo>
                    <a:pt x="13" y="0"/>
                  </a:lnTo>
                  <a:lnTo>
                    <a:pt x="27" y="0"/>
                  </a:lnTo>
                  <a:lnTo>
                    <a:pt x="31" y="9"/>
                  </a:lnTo>
                  <a:lnTo>
                    <a:pt x="31" y="17"/>
                  </a:lnTo>
                  <a:lnTo>
                    <a:pt x="40" y="26"/>
                  </a:lnTo>
                  <a:lnTo>
                    <a:pt x="49" y="31"/>
                  </a:lnTo>
                  <a:lnTo>
                    <a:pt x="54" y="31"/>
                  </a:lnTo>
                  <a:lnTo>
                    <a:pt x="54" y="35"/>
                  </a:lnTo>
                  <a:lnTo>
                    <a:pt x="58" y="35"/>
                  </a:lnTo>
                  <a:lnTo>
                    <a:pt x="54" y="53"/>
                  </a:lnTo>
                  <a:lnTo>
                    <a:pt x="67" y="62"/>
                  </a:lnTo>
                  <a:lnTo>
                    <a:pt x="67" y="67"/>
                  </a:lnTo>
                  <a:lnTo>
                    <a:pt x="58" y="71"/>
                  </a:lnTo>
                  <a:lnTo>
                    <a:pt x="58" y="80"/>
                  </a:lnTo>
                  <a:lnTo>
                    <a:pt x="54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31" y="84"/>
                  </a:lnTo>
                  <a:lnTo>
                    <a:pt x="27" y="84"/>
                  </a:lnTo>
                  <a:lnTo>
                    <a:pt x="27" y="76"/>
                  </a:lnTo>
                  <a:lnTo>
                    <a:pt x="18" y="71"/>
                  </a:lnTo>
                  <a:lnTo>
                    <a:pt x="13" y="84"/>
                  </a:lnTo>
                  <a:lnTo>
                    <a:pt x="9" y="84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54" name="Freeform 42"/>
            <p:cNvSpPr>
              <a:spLocks/>
            </p:cNvSpPr>
            <p:nvPr/>
          </p:nvSpPr>
          <p:spPr bwMode="gray">
            <a:xfrm>
              <a:off x="1301" y="2909"/>
              <a:ext cx="22" cy="22"/>
            </a:xfrm>
            <a:custGeom>
              <a:avLst/>
              <a:gdLst>
                <a:gd name="T0" fmla="*/ 0 w 13"/>
                <a:gd name="T1" fmla="*/ 0 h 13"/>
                <a:gd name="T2" fmla="*/ 0 w 13"/>
                <a:gd name="T3" fmla="*/ 0 h 13"/>
                <a:gd name="T4" fmla="*/ 9 w 13"/>
                <a:gd name="T5" fmla="*/ 13 h 13"/>
                <a:gd name="T6" fmla="*/ 13 w 13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3">
                  <a:moveTo>
                    <a:pt x="0" y="0"/>
                  </a:moveTo>
                  <a:lnTo>
                    <a:pt x="0" y="0"/>
                  </a:lnTo>
                  <a:lnTo>
                    <a:pt x="9" y="13"/>
                  </a:lnTo>
                  <a:lnTo>
                    <a:pt x="13" y="13"/>
                  </a:lnTo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8155" name="Freeform 43"/>
            <p:cNvSpPr>
              <a:spLocks noEditPoints="1"/>
            </p:cNvSpPr>
            <p:nvPr/>
          </p:nvSpPr>
          <p:spPr bwMode="gray">
            <a:xfrm>
              <a:off x="436" y="2871"/>
              <a:ext cx="539" cy="493"/>
            </a:xfrm>
            <a:custGeom>
              <a:avLst/>
              <a:gdLst>
                <a:gd name="T0" fmla="*/ 4 w 317"/>
                <a:gd name="T1" fmla="*/ 290 h 290"/>
                <a:gd name="T2" fmla="*/ 13 w 317"/>
                <a:gd name="T3" fmla="*/ 277 h 290"/>
                <a:gd name="T4" fmla="*/ 22 w 317"/>
                <a:gd name="T5" fmla="*/ 286 h 290"/>
                <a:gd name="T6" fmla="*/ 27 w 317"/>
                <a:gd name="T7" fmla="*/ 290 h 290"/>
                <a:gd name="T8" fmla="*/ 27 w 317"/>
                <a:gd name="T9" fmla="*/ 286 h 290"/>
                <a:gd name="T10" fmla="*/ 143 w 317"/>
                <a:gd name="T11" fmla="*/ 125 h 290"/>
                <a:gd name="T12" fmla="*/ 156 w 317"/>
                <a:gd name="T13" fmla="*/ 138 h 290"/>
                <a:gd name="T14" fmla="*/ 170 w 317"/>
                <a:gd name="T15" fmla="*/ 147 h 290"/>
                <a:gd name="T16" fmla="*/ 179 w 317"/>
                <a:gd name="T17" fmla="*/ 143 h 290"/>
                <a:gd name="T18" fmla="*/ 196 w 317"/>
                <a:gd name="T19" fmla="*/ 138 h 290"/>
                <a:gd name="T20" fmla="*/ 205 w 317"/>
                <a:gd name="T21" fmla="*/ 138 h 290"/>
                <a:gd name="T22" fmla="*/ 219 w 317"/>
                <a:gd name="T23" fmla="*/ 134 h 290"/>
                <a:gd name="T24" fmla="*/ 228 w 317"/>
                <a:gd name="T25" fmla="*/ 125 h 290"/>
                <a:gd name="T26" fmla="*/ 241 w 317"/>
                <a:gd name="T27" fmla="*/ 111 h 290"/>
                <a:gd name="T28" fmla="*/ 250 w 317"/>
                <a:gd name="T29" fmla="*/ 98 h 290"/>
                <a:gd name="T30" fmla="*/ 241 w 317"/>
                <a:gd name="T31" fmla="*/ 89 h 290"/>
                <a:gd name="T32" fmla="*/ 263 w 317"/>
                <a:gd name="T33" fmla="*/ 53 h 290"/>
                <a:gd name="T34" fmla="*/ 295 w 317"/>
                <a:gd name="T35" fmla="*/ 35 h 290"/>
                <a:gd name="T36" fmla="*/ 295 w 317"/>
                <a:gd name="T37" fmla="*/ 31 h 290"/>
                <a:gd name="T38" fmla="*/ 295 w 317"/>
                <a:gd name="T39" fmla="*/ 27 h 290"/>
                <a:gd name="T40" fmla="*/ 277 w 317"/>
                <a:gd name="T41" fmla="*/ 27 h 290"/>
                <a:gd name="T42" fmla="*/ 259 w 317"/>
                <a:gd name="T43" fmla="*/ 22 h 290"/>
                <a:gd name="T44" fmla="*/ 241 w 317"/>
                <a:gd name="T45" fmla="*/ 22 h 290"/>
                <a:gd name="T46" fmla="*/ 223 w 317"/>
                <a:gd name="T47" fmla="*/ 4 h 290"/>
                <a:gd name="T48" fmla="*/ 214 w 317"/>
                <a:gd name="T49" fmla="*/ 4 h 290"/>
                <a:gd name="T50" fmla="*/ 201 w 317"/>
                <a:gd name="T51" fmla="*/ 4 h 290"/>
                <a:gd name="T52" fmla="*/ 179 w 317"/>
                <a:gd name="T53" fmla="*/ 4 h 290"/>
                <a:gd name="T54" fmla="*/ 170 w 317"/>
                <a:gd name="T55" fmla="*/ 0 h 290"/>
                <a:gd name="T56" fmla="*/ 152 w 317"/>
                <a:gd name="T57" fmla="*/ 4 h 290"/>
                <a:gd name="T58" fmla="*/ 143 w 317"/>
                <a:gd name="T59" fmla="*/ 0 h 290"/>
                <a:gd name="T60" fmla="*/ 125 w 317"/>
                <a:gd name="T61" fmla="*/ 0 h 290"/>
                <a:gd name="T62" fmla="*/ 116 w 317"/>
                <a:gd name="T63" fmla="*/ 4 h 290"/>
                <a:gd name="T64" fmla="*/ 112 w 317"/>
                <a:gd name="T65" fmla="*/ 18 h 290"/>
                <a:gd name="T66" fmla="*/ 116 w 317"/>
                <a:gd name="T67" fmla="*/ 22 h 290"/>
                <a:gd name="T68" fmla="*/ 116 w 317"/>
                <a:gd name="T69" fmla="*/ 31 h 290"/>
                <a:gd name="T70" fmla="*/ 129 w 317"/>
                <a:gd name="T71" fmla="*/ 31 h 290"/>
                <a:gd name="T72" fmla="*/ 152 w 317"/>
                <a:gd name="T73" fmla="*/ 40 h 290"/>
                <a:gd name="T74" fmla="*/ 152 w 317"/>
                <a:gd name="T75" fmla="*/ 53 h 290"/>
                <a:gd name="T76" fmla="*/ 147 w 317"/>
                <a:gd name="T77" fmla="*/ 71 h 290"/>
                <a:gd name="T78" fmla="*/ 138 w 317"/>
                <a:gd name="T79" fmla="*/ 85 h 290"/>
                <a:gd name="T80" fmla="*/ 143 w 317"/>
                <a:gd name="T81" fmla="*/ 107 h 290"/>
                <a:gd name="T82" fmla="*/ 143 w 317"/>
                <a:gd name="T83" fmla="*/ 116 h 290"/>
                <a:gd name="T84" fmla="*/ 268 w 317"/>
                <a:gd name="T85" fmla="*/ 94 h 290"/>
                <a:gd name="T86" fmla="*/ 268 w 317"/>
                <a:gd name="T87" fmla="*/ 103 h 290"/>
                <a:gd name="T88" fmla="*/ 272 w 317"/>
                <a:gd name="T89" fmla="*/ 103 h 290"/>
                <a:gd name="T90" fmla="*/ 272 w 317"/>
                <a:gd name="T91" fmla="*/ 94 h 290"/>
                <a:gd name="T92" fmla="*/ 286 w 317"/>
                <a:gd name="T93" fmla="*/ 85 h 290"/>
                <a:gd name="T94" fmla="*/ 290 w 317"/>
                <a:gd name="T95" fmla="*/ 89 h 290"/>
                <a:gd name="T96" fmla="*/ 304 w 317"/>
                <a:gd name="T97" fmla="*/ 85 h 290"/>
                <a:gd name="T98" fmla="*/ 299 w 317"/>
                <a:gd name="T99" fmla="*/ 76 h 290"/>
                <a:gd name="T100" fmla="*/ 290 w 317"/>
                <a:gd name="T101" fmla="*/ 80 h 290"/>
                <a:gd name="T102" fmla="*/ 308 w 317"/>
                <a:gd name="T103" fmla="*/ 71 h 290"/>
                <a:gd name="T104" fmla="*/ 317 w 317"/>
                <a:gd name="T105" fmla="*/ 80 h 290"/>
                <a:gd name="T106" fmla="*/ 308 w 317"/>
                <a:gd name="T107" fmla="*/ 71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7" h="290">
                  <a:moveTo>
                    <a:pt x="0" y="281"/>
                  </a:moveTo>
                  <a:lnTo>
                    <a:pt x="4" y="290"/>
                  </a:lnTo>
                  <a:lnTo>
                    <a:pt x="13" y="286"/>
                  </a:lnTo>
                  <a:lnTo>
                    <a:pt x="13" y="277"/>
                  </a:lnTo>
                  <a:lnTo>
                    <a:pt x="0" y="281"/>
                  </a:lnTo>
                  <a:close/>
                  <a:moveTo>
                    <a:pt x="22" y="286"/>
                  </a:moveTo>
                  <a:lnTo>
                    <a:pt x="18" y="290"/>
                  </a:lnTo>
                  <a:lnTo>
                    <a:pt x="27" y="290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2" y="286"/>
                  </a:lnTo>
                  <a:close/>
                  <a:moveTo>
                    <a:pt x="143" y="125"/>
                  </a:moveTo>
                  <a:lnTo>
                    <a:pt x="156" y="134"/>
                  </a:lnTo>
                  <a:lnTo>
                    <a:pt x="156" y="138"/>
                  </a:lnTo>
                  <a:lnTo>
                    <a:pt x="156" y="143"/>
                  </a:lnTo>
                  <a:lnTo>
                    <a:pt x="170" y="147"/>
                  </a:lnTo>
                  <a:lnTo>
                    <a:pt x="174" y="138"/>
                  </a:lnTo>
                  <a:lnTo>
                    <a:pt x="179" y="143"/>
                  </a:lnTo>
                  <a:lnTo>
                    <a:pt x="187" y="134"/>
                  </a:lnTo>
                  <a:lnTo>
                    <a:pt x="196" y="138"/>
                  </a:lnTo>
                  <a:lnTo>
                    <a:pt x="205" y="134"/>
                  </a:lnTo>
                  <a:lnTo>
                    <a:pt x="205" y="138"/>
                  </a:lnTo>
                  <a:lnTo>
                    <a:pt x="214" y="134"/>
                  </a:lnTo>
                  <a:lnTo>
                    <a:pt x="219" y="134"/>
                  </a:lnTo>
                  <a:lnTo>
                    <a:pt x="223" y="129"/>
                  </a:lnTo>
                  <a:lnTo>
                    <a:pt x="228" y="125"/>
                  </a:lnTo>
                  <a:lnTo>
                    <a:pt x="237" y="125"/>
                  </a:lnTo>
                  <a:lnTo>
                    <a:pt x="241" y="111"/>
                  </a:lnTo>
                  <a:lnTo>
                    <a:pt x="246" y="103"/>
                  </a:lnTo>
                  <a:lnTo>
                    <a:pt x="250" y="98"/>
                  </a:lnTo>
                  <a:lnTo>
                    <a:pt x="246" y="98"/>
                  </a:lnTo>
                  <a:lnTo>
                    <a:pt x="241" y="89"/>
                  </a:lnTo>
                  <a:lnTo>
                    <a:pt x="241" y="85"/>
                  </a:lnTo>
                  <a:lnTo>
                    <a:pt x="263" y="53"/>
                  </a:lnTo>
                  <a:lnTo>
                    <a:pt x="281" y="49"/>
                  </a:lnTo>
                  <a:lnTo>
                    <a:pt x="295" y="35"/>
                  </a:lnTo>
                  <a:lnTo>
                    <a:pt x="295" y="31"/>
                  </a:lnTo>
                  <a:lnTo>
                    <a:pt x="295" y="31"/>
                  </a:lnTo>
                  <a:lnTo>
                    <a:pt x="299" y="27"/>
                  </a:lnTo>
                  <a:lnTo>
                    <a:pt x="295" y="27"/>
                  </a:lnTo>
                  <a:lnTo>
                    <a:pt x="286" y="27"/>
                  </a:lnTo>
                  <a:lnTo>
                    <a:pt x="277" y="27"/>
                  </a:lnTo>
                  <a:lnTo>
                    <a:pt x="268" y="22"/>
                  </a:lnTo>
                  <a:lnTo>
                    <a:pt x="259" y="22"/>
                  </a:lnTo>
                  <a:lnTo>
                    <a:pt x="246" y="22"/>
                  </a:lnTo>
                  <a:lnTo>
                    <a:pt x="241" y="22"/>
                  </a:lnTo>
                  <a:lnTo>
                    <a:pt x="228" y="13"/>
                  </a:lnTo>
                  <a:lnTo>
                    <a:pt x="223" y="4"/>
                  </a:lnTo>
                  <a:lnTo>
                    <a:pt x="214" y="9"/>
                  </a:lnTo>
                  <a:lnTo>
                    <a:pt x="214" y="4"/>
                  </a:lnTo>
                  <a:lnTo>
                    <a:pt x="205" y="4"/>
                  </a:lnTo>
                  <a:lnTo>
                    <a:pt x="201" y="4"/>
                  </a:lnTo>
                  <a:lnTo>
                    <a:pt x="192" y="4"/>
                  </a:lnTo>
                  <a:lnTo>
                    <a:pt x="179" y="4"/>
                  </a:lnTo>
                  <a:lnTo>
                    <a:pt x="170" y="4"/>
                  </a:lnTo>
                  <a:lnTo>
                    <a:pt x="170" y="0"/>
                  </a:lnTo>
                  <a:lnTo>
                    <a:pt x="161" y="0"/>
                  </a:lnTo>
                  <a:lnTo>
                    <a:pt x="152" y="4"/>
                  </a:lnTo>
                  <a:lnTo>
                    <a:pt x="147" y="0"/>
                  </a:lnTo>
                  <a:lnTo>
                    <a:pt x="143" y="0"/>
                  </a:lnTo>
                  <a:lnTo>
                    <a:pt x="134" y="0"/>
                  </a:lnTo>
                  <a:lnTo>
                    <a:pt x="125" y="0"/>
                  </a:lnTo>
                  <a:lnTo>
                    <a:pt x="129" y="4"/>
                  </a:lnTo>
                  <a:lnTo>
                    <a:pt x="116" y="4"/>
                  </a:lnTo>
                  <a:lnTo>
                    <a:pt x="112" y="9"/>
                  </a:lnTo>
                  <a:lnTo>
                    <a:pt x="112" y="18"/>
                  </a:lnTo>
                  <a:lnTo>
                    <a:pt x="116" y="18"/>
                  </a:lnTo>
                  <a:lnTo>
                    <a:pt x="116" y="22"/>
                  </a:lnTo>
                  <a:lnTo>
                    <a:pt x="120" y="27"/>
                  </a:lnTo>
                  <a:lnTo>
                    <a:pt x="116" y="31"/>
                  </a:lnTo>
                  <a:lnTo>
                    <a:pt x="120" y="35"/>
                  </a:lnTo>
                  <a:lnTo>
                    <a:pt x="129" y="31"/>
                  </a:lnTo>
                  <a:lnTo>
                    <a:pt x="134" y="40"/>
                  </a:lnTo>
                  <a:lnTo>
                    <a:pt x="152" y="40"/>
                  </a:lnTo>
                  <a:lnTo>
                    <a:pt x="161" y="44"/>
                  </a:lnTo>
                  <a:lnTo>
                    <a:pt x="152" y="53"/>
                  </a:lnTo>
                  <a:lnTo>
                    <a:pt x="147" y="67"/>
                  </a:lnTo>
                  <a:lnTo>
                    <a:pt x="147" y="71"/>
                  </a:lnTo>
                  <a:lnTo>
                    <a:pt x="147" y="80"/>
                  </a:lnTo>
                  <a:lnTo>
                    <a:pt x="138" y="85"/>
                  </a:lnTo>
                  <a:lnTo>
                    <a:pt x="147" y="98"/>
                  </a:lnTo>
                  <a:lnTo>
                    <a:pt x="143" y="107"/>
                  </a:lnTo>
                  <a:lnTo>
                    <a:pt x="147" y="116"/>
                  </a:lnTo>
                  <a:lnTo>
                    <a:pt x="143" y="116"/>
                  </a:lnTo>
                  <a:lnTo>
                    <a:pt x="143" y="125"/>
                  </a:lnTo>
                  <a:close/>
                  <a:moveTo>
                    <a:pt x="268" y="94"/>
                  </a:moveTo>
                  <a:lnTo>
                    <a:pt x="263" y="98"/>
                  </a:lnTo>
                  <a:lnTo>
                    <a:pt x="268" y="103"/>
                  </a:lnTo>
                  <a:lnTo>
                    <a:pt x="268" y="103"/>
                  </a:lnTo>
                  <a:lnTo>
                    <a:pt x="272" y="103"/>
                  </a:lnTo>
                  <a:lnTo>
                    <a:pt x="268" y="98"/>
                  </a:lnTo>
                  <a:lnTo>
                    <a:pt x="272" y="94"/>
                  </a:lnTo>
                  <a:lnTo>
                    <a:pt x="268" y="94"/>
                  </a:lnTo>
                  <a:close/>
                  <a:moveTo>
                    <a:pt x="286" y="85"/>
                  </a:moveTo>
                  <a:lnTo>
                    <a:pt x="286" y="85"/>
                  </a:lnTo>
                  <a:lnTo>
                    <a:pt x="290" y="89"/>
                  </a:lnTo>
                  <a:lnTo>
                    <a:pt x="299" y="89"/>
                  </a:lnTo>
                  <a:lnTo>
                    <a:pt x="304" y="85"/>
                  </a:lnTo>
                  <a:lnTo>
                    <a:pt x="304" y="80"/>
                  </a:lnTo>
                  <a:lnTo>
                    <a:pt x="299" y="76"/>
                  </a:lnTo>
                  <a:lnTo>
                    <a:pt x="299" y="76"/>
                  </a:lnTo>
                  <a:lnTo>
                    <a:pt x="290" y="80"/>
                  </a:lnTo>
                  <a:lnTo>
                    <a:pt x="286" y="85"/>
                  </a:lnTo>
                  <a:close/>
                  <a:moveTo>
                    <a:pt x="308" y="71"/>
                  </a:moveTo>
                  <a:lnTo>
                    <a:pt x="308" y="80"/>
                  </a:lnTo>
                  <a:lnTo>
                    <a:pt x="317" y="80"/>
                  </a:lnTo>
                  <a:lnTo>
                    <a:pt x="313" y="71"/>
                  </a:lnTo>
                  <a:lnTo>
                    <a:pt x="308" y="7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0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213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22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ast Europe and West Asia</a:t>
            </a:r>
          </a:p>
        </p:txBody>
      </p:sp>
      <p:grpSp>
        <p:nvGrpSpPr>
          <p:cNvPr id="2782211" name="Group 3"/>
          <p:cNvGrpSpPr>
            <a:grpSpLocks/>
          </p:cNvGrpSpPr>
          <p:nvPr/>
        </p:nvGrpSpPr>
        <p:grpSpPr bwMode="auto">
          <a:xfrm>
            <a:off x="2271714" y="1484313"/>
            <a:ext cx="7907337" cy="4062412"/>
            <a:chOff x="1629" y="911"/>
            <a:chExt cx="3823" cy="1964"/>
          </a:xfrm>
        </p:grpSpPr>
        <p:sp>
          <p:nvSpPr>
            <p:cNvPr id="2782212" name="Freeform 4"/>
            <p:cNvSpPr>
              <a:spLocks noEditPoints="1"/>
            </p:cNvSpPr>
            <p:nvPr/>
          </p:nvSpPr>
          <p:spPr bwMode="gray">
            <a:xfrm>
              <a:off x="2368" y="2675"/>
              <a:ext cx="126" cy="112"/>
            </a:xfrm>
            <a:custGeom>
              <a:avLst/>
              <a:gdLst>
                <a:gd name="T0" fmla="*/ 0 w 85"/>
                <a:gd name="T1" fmla="*/ 50 h 76"/>
                <a:gd name="T2" fmla="*/ 18 w 85"/>
                <a:gd name="T3" fmla="*/ 63 h 76"/>
                <a:gd name="T4" fmla="*/ 23 w 85"/>
                <a:gd name="T5" fmla="*/ 68 h 76"/>
                <a:gd name="T6" fmla="*/ 23 w 85"/>
                <a:gd name="T7" fmla="*/ 54 h 76"/>
                <a:gd name="T8" fmla="*/ 18 w 85"/>
                <a:gd name="T9" fmla="*/ 54 h 76"/>
                <a:gd name="T10" fmla="*/ 14 w 85"/>
                <a:gd name="T11" fmla="*/ 54 h 76"/>
                <a:gd name="T12" fmla="*/ 5 w 85"/>
                <a:gd name="T13" fmla="*/ 50 h 76"/>
                <a:gd name="T14" fmla="*/ 0 w 85"/>
                <a:gd name="T15" fmla="*/ 50 h 76"/>
                <a:gd name="T16" fmla="*/ 5 w 85"/>
                <a:gd name="T17" fmla="*/ 23 h 76"/>
                <a:gd name="T18" fmla="*/ 9 w 85"/>
                <a:gd name="T19" fmla="*/ 23 h 76"/>
                <a:gd name="T20" fmla="*/ 5 w 85"/>
                <a:gd name="T21" fmla="*/ 23 h 76"/>
                <a:gd name="T22" fmla="*/ 9 w 85"/>
                <a:gd name="T23" fmla="*/ 27 h 76"/>
                <a:gd name="T24" fmla="*/ 14 w 85"/>
                <a:gd name="T25" fmla="*/ 23 h 76"/>
                <a:gd name="T26" fmla="*/ 14 w 85"/>
                <a:gd name="T27" fmla="*/ 27 h 76"/>
                <a:gd name="T28" fmla="*/ 14 w 85"/>
                <a:gd name="T29" fmla="*/ 32 h 76"/>
                <a:gd name="T30" fmla="*/ 9 w 85"/>
                <a:gd name="T31" fmla="*/ 32 h 76"/>
                <a:gd name="T32" fmla="*/ 23 w 85"/>
                <a:gd name="T33" fmla="*/ 41 h 76"/>
                <a:gd name="T34" fmla="*/ 18 w 85"/>
                <a:gd name="T35" fmla="*/ 45 h 76"/>
                <a:gd name="T36" fmla="*/ 27 w 85"/>
                <a:gd name="T37" fmla="*/ 50 h 76"/>
                <a:gd name="T38" fmla="*/ 27 w 85"/>
                <a:gd name="T39" fmla="*/ 54 h 76"/>
                <a:gd name="T40" fmla="*/ 32 w 85"/>
                <a:gd name="T41" fmla="*/ 54 h 76"/>
                <a:gd name="T42" fmla="*/ 32 w 85"/>
                <a:gd name="T43" fmla="*/ 59 h 76"/>
                <a:gd name="T44" fmla="*/ 27 w 85"/>
                <a:gd name="T45" fmla="*/ 59 h 76"/>
                <a:gd name="T46" fmla="*/ 27 w 85"/>
                <a:gd name="T47" fmla="*/ 63 h 76"/>
                <a:gd name="T48" fmla="*/ 49 w 85"/>
                <a:gd name="T49" fmla="*/ 50 h 76"/>
                <a:gd name="T50" fmla="*/ 54 w 85"/>
                <a:gd name="T51" fmla="*/ 54 h 76"/>
                <a:gd name="T52" fmla="*/ 54 w 85"/>
                <a:gd name="T53" fmla="*/ 68 h 76"/>
                <a:gd name="T54" fmla="*/ 67 w 85"/>
                <a:gd name="T55" fmla="*/ 76 h 76"/>
                <a:gd name="T56" fmla="*/ 67 w 85"/>
                <a:gd name="T57" fmla="*/ 63 h 76"/>
                <a:gd name="T58" fmla="*/ 63 w 85"/>
                <a:gd name="T59" fmla="*/ 54 h 76"/>
                <a:gd name="T60" fmla="*/ 67 w 85"/>
                <a:gd name="T61" fmla="*/ 54 h 76"/>
                <a:gd name="T62" fmla="*/ 72 w 85"/>
                <a:gd name="T63" fmla="*/ 59 h 76"/>
                <a:gd name="T64" fmla="*/ 76 w 85"/>
                <a:gd name="T65" fmla="*/ 41 h 76"/>
                <a:gd name="T66" fmla="*/ 85 w 85"/>
                <a:gd name="T67" fmla="*/ 36 h 76"/>
                <a:gd name="T68" fmla="*/ 81 w 85"/>
                <a:gd name="T69" fmla="*/ 27 h 76"/>
                <a:gd name="T70" fmla="*/ 76 w 85"/>
                <a:gd name="T71" fmla="*/ 32 h 76"/>
                <a:gd name="T72" fmla="*/ 67 w 85"/>
                <a:gd name="T73" fmla="*/ 23 h 76"/>
                <a:gd name="T74" fmla="*/ 63 w 85"/>
                <a:gd name="T75" fmla="*/ 9 h 76"/>
                <a:gd name="T76" fmla="*/ 54 w 85"/>
                <a:gd name="T77" fmla="*/ 14 h 76"/>
                <a:gd name="T78" fmla="*/ 54 w 85"/>
                <a:gd name="T79" fmla="*/ 14 h 76"/>
                <a:gd name="T80" fmla="*/ 49 w 85"/>
                <a:gd name="T81" fmla="*/ 18 h 76"/>
                <a:gd name="T82" fmla="*/ 45 w 85"/>
                <a:gd name="T83" fmla="*/ 18 h 76"/>
                <a:gd name="T84" fmla="*/ 36 w 85"/>
                <a:gd name="T85" fmla="*/ 5 h 76"/>
                <a:gd name="T86" fmla="*/ 32 w 85"/>
                <a:gd name="T87" fmla="*/ 5 h 76"/>
                <a:gd name="T88" fmla="*/ 27 w 85"/>
                <a:gd name="T89" fmla="*/ 0 h 76"/>
                <a:gd name="T90" fmla="*/ 23 w 85"/>
                <a:gd name="T91" fmla="*/ 9 h 76"/>
                <a:gd name="T92" fmla="*/ 27 w 85"/>
                <a:gd name="T93" fmla="*/ 14 h 76"/>
                <a:gd name="T94" fmla="*/ 36 w 85"/>
                <a:gd name="T95" fmla="*/ 18 h 76"/>
                <a:gd name="T96" fmla="*/ 32 w 85"/>
                <a:gd name="T97" fmla="*/ 23 h 76"/>
                <a:gd name="T98" fmla="*/ 27 w 85"/>
                <a:gd name="T99" fmla="*/ 18 h 76"/>
                <a:gd name="T100" fmla="*/ 18 w 85"/>
                <a:gd name="T101" fmla="*/ 23 h 76"/>
                <a:gd name="T102" fmla="*/ 9 w 85"/>
                <a:gd name="T103" fmla="*/ 18 h 76"/>
                <a:gd name="T104" fmla="*/ 5 w 85"/>
                <a:gd name="T105" fmla="*/ 2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5" h="76">
                  <a:moveTo>
                    <a:pt x="0" y="50"/>
                  </a:moveTo>
                  <a:lnTo>
                    <a:pt x="18" y="63"/>
                  </a:lnTo>
                  <a:lnTo>
                    <a:pt x="23" y="68"/>
                  </a:lnTo>
                  <a:lnTo>
                    <a:pt x="23" y="54"/>
                  </a:lnTo>
                  <a:lnTo>
                    <a:pt x="18" y="54"/>
                  </a:lnTo>
                  <a:lnTo>
                    <a:pt x="14" y="54"/>
                  </a:lnTo>
                  <a:lnTo>
                    <a:pt x="5" y="50"/>
                  </a:lnTo>
                  <a:lnTo>
                    <a:pt x="0" y="50"/>
                  </a:lnTo>
                  <a:close/>
                  <a:moveTo>
                    <a:pt x="5" y="23"/>
                  </a:moveTo>
                  <a:lnTo>
                    <a:pt x="9" y="23"/>
                  </a:lnTo>
                  <a:lnTo>
                    <a:pt x="5" y="23"/>
                  </a:lnTo>
                  <a:lnTo>
                    <a:pt x="9" y="27"/>
                  </a:lnTo>
                  <a:lnTo>
                    <a:pt x="14" y="23"/>
                  </a:lnTo>
                  <a:lnTo>
                    <a:pt x="14" y="27"/>
                  </a:lnTo>
                  <a:lnTo>
                    <a:pt x="14" y="32"/>
                  </a:lnTo>
                  <a:lnTo>
                    <a:pt x="9" y="32"/>
                  </a:lnTo>
                  <a:lnTo>
                    <a:pt x="23" y="41"/>
                  </a:lnTo>
                  <a:lnTo>
                    <a:pt x="18" y="45"/>
                  </a:lnTo>
                  <a:lnTo>
                    <a:pt x="27" y="50"/>
                  </a:lnTo>
                  <a:lnTo>
                    <a:pt x="27" y="54"/>
                  </a:lnTo>
                  <a:lnTo>
                    <a:pt x="32" y="54"/>
                  </a:lnTo>
                  <a:lnTo>
                    <a:pt x="32" y="59"/>
                  </a:lnTo>
                  <a:lnTo>
                    <a:pt x="27" y="59"/>
                  </a:lnTo>
                  <a:lnTo>
                    <a:pt x="27" y="63"/>
                  </a:lnTo>
                  <a:lnTo>
                    <a:pt x="49" y="50"/>
                  </a:lnTo>
                  <a:lnTo>
                    <a:pt x="54" y="54"/>
                  </a:lnTo>
                  <a:lnTo>
                    <a:pt x="54" y="68"/>
                  </a:lnTo>
                  <a:lnTo>
                    <a:pt x="67" y="76"/>
                  </a:lnTo>
                  <a:lnTo>
                    <a:pt x="67" y="63"/>
                  </a:lnTo>
                  <a:lnTo>
                    <a:pt x="63" y="54"/>
                  </a:lnTo>
                  <a:lnTo>
                    <a:pt x="67" y="54"/>
                  </a:lnTo>
                  <a:lnTo>
                    <a:pt x="72" y="59"/>
                  </a:lnTo>
                  <a:lnTo>
                    <a:pt x="76" y="41"/>
                  </a:lnTo>
                  <a:lnTo>
                    <a:pt x="85" y="36"/>
                  </a:lnTo>
                  <a:lnTo>
                    <a:pt x="81" y="27"/>
                  </a:lnTo>
                  <a:lnTo>
                    <a:pt x="76" y="32"/>
                  </a:lnTo>
                  <a:lnTo>
                    <a:pt x="67" y="23"/>
                  </a:lnTo>
                  <a:lnTo>
                    <a:pt x="63" y="9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49" y="18"/>
                  </a:lnTo>
                  <a:lnTo>
                    <a:pt x="45" y="18"/>
                  </a:lnTo>
                  <a:lnTo>
                    <a:pt x="36" y="5"/>
                  </a:lnTo>
                  <a:lnTo>
                    <a:pt x="32" y="5"/>
                  </a:lnTo>
                  <a:lnTo>
                    <a:pt x="27" y="0"/>
                  </a:lnTo>
                  <a:lnTo>
                    <a:pt x="23" y="9"/>
                  </a:lnTo>
                  <a:lnTo>
                    <a:pt x="27" y="14"/>
                  </a:lnTo>
                  <a:lnTo>
                    <a:pt x="36" y="18"/>
                  </a:lnTo>
                  <a:lnTo>
                    <a:pt x="32" y="23"/>
                  </a:lnTo>
                  <a:lnTo>
                    <a:pt x="27" y="18"/>
                  </a:lnTo>
                  <a:lnTo>
                    <a:pt x="18" y="23"/>
                  </a:lnTo>
                  <a:lnTo>
                    <a:pt x="9" y="18"/>
                  </a:lnTo>
                  <a:lnTo>
                    <a:pt x="5" y="2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13" name="Freeform 5"/>
            <p:cNvSpPr>
              <a:spLocks/>
            </p:cNvSpPr>
            <p:nvPr/>
          </p:nvSpPr>
          <p:spPr bwMode="gray">
            <a:xfrm>
              <a:off x="2342" y="2701"/>
              <a:ext cx="73" cy="74"/>
            </a:xfrm>
            <a:custGeom>
              <a:avLst/>
              <a:gdLst>
                <a:gd name="T0" fmla="*/ 0 w 50"/>
                <a:gd name="T1" fmla="*/ 0 h 50"/>
                <a:gd name="T2" fmla="*/ 5 w 50"/>
                <a:gd name="T3" fmla="*/ 18 h 50"/>
                <a:gd name="T4" fmla="*/ 14 w 50"/>
                <a:gd name="T5" fmla="*/ 23 h 50"/>
                <a:gd name="T6" fmla="*/ 18 w 50"/>
                <a:gd name="T7" fmla="*/ 32 h 50"/>
                <a:gd name="T8" fmla="*/ 23 w 50"/>
                <a:gd name="T9" fmla="*/ 32 h 50"/>
                <a:gd name="T10" fmla="*/ 32 w 50"/>
                <a:gd name="T11" fmla="*/ 36 h 50"/>
                <a:gd name="T12" fmla="*/ 36 w 50"/>
                <a:gd name="T13" fmla="*/ 36 h 50"/>
                <a:gd name="T14" fmla="*/ 41 w 50"/>
                <a:gd name="T15" fmla="*/ 36 h 50"/>
                <a:gd name="T16" fmla="*/ 41 w 50"/>
                <a:gd name="T17" fmla="*/ 50 h 50"/>
                <a:gd name="T18" fmla="*/ 45 w 50"/>
                <a:gd name="T19" fmla="*/ 50 h 50"/>
                <a:gd name="T20" fmla="*/ 45 w 50"/>
                <a:gd name="T21" fmla="*/ 45 h 50"/>
                <a:gd name="T22" fmla="*/ 45 w 50"/>
                <a:gd name="T23" fmla="*/ 41 h 50"/>
                <a:gd name="T24" fmla="*/ 50 w 50"/>
                <a:gd name="T25" fmla="*/ 41 h 50"/>
                <a:gd name="T26" fmla="*/ 50 w 50"/>
                <a:gd name="T27" fmla="*/ 36 h 50"/>
                <a:gd name="T28" fmla="*/ 45 w 50"/>
                <a:gd name="T29" fmla="*/ 36 h 50"/>
                <a:gd name="T30" fmla="*/ 45 w 50"/>
                <a:gd name="T31" fmla="*/ 32 h 50"/>
                <a:gd name="T32" fmla="*/ 36 w 50"/>
                <a:gd name="T33" fmla="*/ 27 h 50"/>
                <a:gd name="T34" fmla="*/ 41 w 50"/>
                <a:gd name="T35" fmla="*/ 23 h 50"/>
                <a:gd name="T36" fmla="*/ 27 w 50"/>
                <a:gd name="T37" fmla="*/ 14 h 50"/>
                <a:gd name="T38" fmla="*/ 32 w 50"/>
                <a:gd name="T39" fmla="*/ 14 h 50"/>
                <a:gd name="T40" fmla="*/ 32 w 50"/>
                <a:gd name="T41" fmla="*/ 9 h 50"/>
                <a:gd name="T42" fmla="*/ 32 w 50"/>
                <a:gd name="T43" fmla="*/ 5 h 50"/>
                <a:gd name="T44" fmla="*/ 27 w 50"/>
                <a:gd name="T45" fmla="*/ 9 h 50"/>
                <a:gd name="T46" fmla="*/ 23 w 50"/>
                <a:gd name="T47" fmla="*/ 5 h 50"/>
                <a:gd name="T48" fmla="*/ 27 w 50"/>
                <a:gd name="T49" fmla="*/ 5 h 50"/>
                <a:gd name="T50" fmla="*/ 23 w 50"/>
                <a:gd name="T51" fmla="*/ 5 h 50"/>
                <a:gd name="T52" fmla="*/ 14 w 50"/>
                <a:gd name="T53" fmla="*/ 0 h 50"/>
                <a:gd name="T54" fmla="*/ 9 w 50"/>
                <a:gd name="T55" fmla="*/ 5 h 50"/>
                <a:gd name="T56" fmla="*/ 0 w 50"/>
                <a:gd name="T57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50">
                  <a:moveTo>
                    <a:pt x="0" y="0"/>
                  </a:moveTo>
                  <a:lnTo>
                    <a:pt x="5" y="18"/>
                  </a:lnTo>
                  <a:lnTo>
                    <a:pt x="14" y="23"/>
                  </a:lnTo>
                  <a:lnTo>
                    <a:pt x="18" y="32"/>
                  </a:lnTo>
                  <a:lnTo>
                    <a:pt x="23" y="32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41" y="36"/>
                  </a:lnTo>
                  <a:lnTo>
                    <a:pt x="41" y="50"/>
                  </a:lnTo>
                  <a:lnTo>
                    <a:pt x="45" y="50"/>
                  </a:lnTo>
                  <a:lnTo>
                    <a:pt x="45" y="45"/>
                  </a:lnTo>
                  <a:lnTo>
                    <a:pt x="45" y="41"/>
                  </a:lnTo>
                  <a:lnTo>
                    <a:pt x="50" y="41"/>
                  </a:lnTo>
                  <a:lnTo>
                    <a:pt x="50" y="36"/>
                  </a:lnTo>
                  <a:lnTo>
                    <a:pt x="45" y="36"/>
                  </a:lnTo>
                  <a:lnTo>
                    <a:pt x="45" y="32"/>
                  </a:lnTo>
                  <a:lnTo>
                    <a:pt x="36" y="27"/>
                  </a:lnTo>
                  <a:lnTo>
                    <a:pt x="41" y="23"/>
                  </a:lnTo>
                  <a:lnTo>
                    <a:pt x="27" y="14"/>
                  </a:lnTo>
                  <a:lnTo>
                    <a:pt x="32" y="14"/>
                  </a:lnTo>
                  <a:lnTo>
                    <a:pt x="32" y="9"/>
                  </a:lnTo>
                  <a:lnTo>
                    <a:pt x="32" y="5"/>
                  </a:lnTo>
                  <a:lnTo>
                    <a:pt x="27" y="9"/>
                  </a:lnTo>
                  <a:lnTo>
                    <a:pt x="23" y="5"/>
                  </a:lnTo>
                  <a:lnTo>
                    <a:pt x="27" y="5"/>
                  </a:lnTo>
                  <a:lnTo>
                    <a:pt x="23" y="5"/>
                  </a:lnTo>
                  <a:lnTo>
                    <a:pt x="14" y="0"/>
                  </a:lnTo>
                  <a:lnTo>
                    <a:pt x="9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14" name="Freeform 6"/>
            <p:cNvSpPr>
              <a:spLocks/>
            </p:cNvSpPr>
            <p:nvPr/>
          </p:nvSpPr>
          <p:spPr bwMode="gray">
            <a:xfrm>
              <a:off x="2269" y="2636"/>
              <a:ext cx="152" cy="73"/>
            </a:xfrm>
            <a:custGeom>
              <a:avLst/>
              <a:gdLst>
                <a:gd name="T0" fmla="*/ 0 w 103"/>
                <a:gd name="T1" fmla="*/ 0 h 49"/>
                <a:gd name="T2" fmla="*/ 18 w 103"/>
                <a:gd name="T3" fmla="*/ 9 h 49"/>
                <a:gd name="T4" fmla="*/ 23 w 103"/>
                <a:gd name="T5" fmla="*/ 18 h 49"/>
                <a:gd name="T6" fmla="*/ 23 w 103"/>
                <a:gd name="T7" fmla="*/ 31 h 49"/>
                <a:gd name="T8" fmla="*/ 18 w 103"/>
                <a:gd name="T9" fmla="*/ 35 h 49"/>
                <a:gd name="T10" fmla="*/ 40 w 103"/>
                <a:gd name="T11" fmla="*/ 40 h 49"/>
                <a:gd name="T12" fmla="*/ 49 w 103"/>
                <a:gd name="T13" fmla="*/ 44 h 49"/>
                <a:gd name="T14" fmla="*/ 58 w 103"/>
                <a:gd name="T15" fmla="*/ 49 h 49"/>
                <a:gd name="T16" fmla="*/ 63 w 103"/>
                <a:gd name="T17" fmla="*/ 44 h 49"/>
                <a:gd name="T18" fmla="*/ 72 w 103"/>
                <a:gd name="T19" fmla="*/ 49 h 49"/>
                <a:gd name="T20" fmla="*/ 76 w 103"/>
                <a:gd name="T21" fmla="*/ 44 h 49"/>
                <a:gd name="T22" fmla="*/ 85 w 103"/>
                <a:gd name="T23" fmla="*/ 49 h 49"/>
                <a:gd name="T24" fmla="*/ 94 w 103"/>
                <a:gd name="T25" fmla="*/ 44 h 49"/>
                <a:gd name="T26" fmla="*/ 99 w 103"/>
                <a:gd name="T27" fmla="*/ 49 h 49"/>
                <a:gd name="T28" fmla="*/ 103 w 103"/>
                <a:gd name="T29" fmla="*/ 44 h 49"/>
                <a:gd name="T30" fmla="*/ 94 w 103"/>
                <a:gd name="T31" fmla="*/ 40 h 49"/>
                <a:gd name="T32" fmla="*/ 90 w 103"/>
                <a:gd name="T33" fmla="*/ 35 h 49"/>
                <a:gd name="T34" fmla="*/ 94 w 103"/>
                <a:gd name="T35" fmla="*/ 26 h 49"/>
                <a:gd name="T36" fmla="*/ 94 w 103"/>
                <a:gd name="T37" fmla="*/ 26 h 49"/>
                <a:gd name="T38" fmla="*/ 85 w 103"/>
                <a:gd name="T39" fmla="*/ 22 h 49"/>
                <a:gd name="T40" fmla="*/ 90 w 103"/>
                <a:gd name="T41" fmla="*/ 18 h 49"/>
                <a:gd name="T42" fmla="*/ 76 w 103"/>
                <a:gd name="T43" fmla="*/ 18 h 49"/>
                <a:gd name="T44" fmla="*/ 76 w 103"/>
                <a:gd name="T45" fmla="*/ 13 h 49"/>
                <a:gd name="T46" fmla="*/ 67 w 103"/>
                <a:gd name="T47" fmla="*/ 13 h 49"/>
                <a:gd name="T48" fmla="*/ 67 w 103"/>
                <a:gd name="T49" fmla="*/ 18 h 49"/>
                <a:gd name="T50" fmla="*/ 63 w 103"/>
                <a:gd name="T51" fmla="*/ 13 h 49"/>
                <a:gd name="T52" fmla="*/ 58 w 103"/>
                <a:gd name="T53" fmla="*/ 18 h 49"/>
                <a:gd name="T54" fmla="*/ 54 w 103"/>
                <a:gd name="T55" fmla="*/ 9 h 49"/>
                <a:gd name="T56" fmla="*/ 49 w 103"/>
                <a:gd name="T57" fmla="*/ 13 h 49"/>
                <a:gd name="T58" fmla="*/ 45 w 103"/>
                <a:gd name="T59" fmla="*/ 4 h 49"/>
                <a:gd name="T60" fmla="*/ 27 w 103"/>
                <a:gd name="T61" fmla="*/ 4 h 49"/>
                <a:gd name="T62" fmla="*/ 18 w 103"/>
                <a:gd name="T63" fmla="*/ 0 h 49"/>
                <a:gd name="T64" fmla="*/ 5 w 103"/>
                <a:gd name="T65" fmla="*/ 0 h 49"/>
                <a:gd name="T66" fmla="*/ 0 w 103"/>
                <a:gd name="T6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3" h="49">
                  <a:moveTo>
                    <a:pt x="0" y="0"/>
                  </a:moveTo>
                  <a:lnTo>
                    <a:pt x="18" y="9"/>
                  </a:lnTo>
                  <a:lnTo>
                    <a:pt x="23" y="18"/>
                  </a:lnTo>
                  <a:lnTo>
                    <a:pt x="23" y="31"/>
                  </a:lnTo>
                  <a:lnTo>
                    <a:pt x="18" y="35"/>
                  </a:lnTo>
                  <a:lnTo>
                    <a:pt x="40" y="40"/>
                  </a:lnTo>
                  <a:lnTo>
                    <a:pt x="49" y="44"/>
                  </a:lnTo>
                  <a:lnTo>
                    <a:pt x="58" y="49"/>
                  </a:lnTo>
                  <a:lnTo>
                    <a:pt x="63" y="44"/>
                  </a:lnTo>
                  <a:lnTo>
                    <a:pt x="72" y="49"/>
                  </a:lnTo>
                  <a:lnTo>
                    <a:pt x="76" y="44"/>
                  </a:lnTo>
                  <a:lnTo>
                    <a:pt x="85" y="49"/>
                  </a:lnTo>
                  <a:lnTo>
                    <a:pt x="94" y="44"/>
                  </a:lnTo>
                  <a:lnTo>
                    <a:pt x="99" y="49"/>
                  </a:lnTo>
                  <a:lnTo>
                    <a:pt x="103" y="44"/>
                  </a:lnTo>
                  <a:lnTo>
                    <a:pt x="94" y="40"/>
                  </a:lnTo>
                  <a:lnTo>
                    <a:pt x="90" y="35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85" y="22"/>
                  </a:lnTo>
                  <a:lnTo>
                    <a:pt x="90" y="18"/>
                  </a:lnTo>
                  <a:lnTo>
                    <a:pt x="76" y="18"/>
                  </a:lnTo>
                  <a:lnTo>
                    <a:pt x="76" y="13"/>
                  </a:lnTo>
                  <a:lnTo>
                    <a:pt x="67" y="13"/>
                  </a:lnTo>
                  <a:lnTo>
                    <a:pt x="67" y="18"/>
                  </a:lnTo>
                  <a:lnTo>
                    <a:pt x="63" y="13"/>
                  </a:lnTo>
                  <a:lnTo>
                    <a:pt x="58" y="18"/>
                  </a:lnTo>
                  <a:lnTo>
                    <a:pt x="54" y="9"/>
                  </a:lnTo>
                  <a:lnTo>
                    <a:pt x="49" y="13"/>
                  </a:lnTo>
                  <a:lnTo>
                    <a:pt x="45" y="4"/>
                  </a:lnTo>
                  <a:lnTo>
                    <a:pt x="27" y="4"/>
                  </a:lnTo>
                  <a:lnTo>
                    <a:pt x="18" y="0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15" name="Freeform 7"/>
            <p:cNvSpPr>
              <a:spLocks/>
            </p:cNvSpPr>
            <p:nvPr/>
          </p:nvSpPr>
          <p:spPr bwMode="gray">
            <a:xfrm>
              <a:off x="2408" y="2233"/>
              <a:ext cx="865" cy="468"/>
            </a:xfrm>
            <a:custGeom>
              <a:avLst/>
              <a:gdLst>
                <a:gd name="T0" fmla="*/ 9 w 585"/>
                <a:gd name="T1" fmla="*/ 179 h 317"/>
                <a:gd name="T2" fmla="*/ 31 w 585"/>
                <a:gd name="T3" fmla="*/ 197 h 317"/>
                <a:gd name="T4" fmla="*/ 36 w 585"/>
                <a:gd name="T5" fmla="*/ 206 h 317"/>
                <a:gd name="T6" fmla="*/ 81 w 585"/>
                <a:gd name="T7" fmla="*/ 192 h 317"/>
                <a:gd name="T8" fmla="*/ 76 w 585"/>
                <a:gd name="T9" fmla="*/ 232 h 317"/>
                <a:gd name="T10" fmla="*/ 72 w 585"/>
                <a:gd name="T11" fmla="*/ 250 h 317"/>
                <a:gd name="T12" fmla="*/ 67 w 585"/>
                <a:gd name="T13" fmla="*/ 277 h 317"/>
                <a:gd name="T14" fmla="*/ 85 w 585"/>
                <a:gd name="T15" fmla="*/ 295 h 317"/>
                <a:gd name="T16" fmla="*/ 112 w 585"/>
                <a:gd name="T17" fmla="*/ 291 h 317"/>
                <a:gd name="T18" fmla="*/ 134 w 585"/>
                <a:gd name="T19" fmla="*/ 313 h 317"/>
                <a:gd name="T20" fmla="*/ 183 w 585"/>
                <a:gd name="T21" fmla="*/ 224 h 317"/>
                <a:gd name="T22" fmla="*/ 210 w 585"/>
                <a:gd name="T23" fmla="*/ 206 h 317"/>
                <a:gd name="T24" fmla="*/ 223 w 585"/>
                <a:gd name="T25" fmla="*/ 241 h 317"/>
                <a:gd name="T26" fmla="*/ 223 w 585"/>
                <a:gd name="T27" fmla="*/ 268 h 317"/>
                <a:gd name="T28" fmla="*/ 273 w 585"/>
                <a:gd name="T29" fmla="*/ 282 h 317"/>
                <a:gd name="T30" fmla="*/ 273 w 585"/>
                <a:gd name="T31" fmla="*/ 304 h 317"/>
                <a:gd name="T32" fmla="*/ 322 w 585"/>
                <a:gd name="T33" fmla="*/ 313 h 317"/>
                <a:gd name="T34" fmla="*/ 371 w 585"/>
                <a:gd name="T35" fmla="*/ 286 h 317"/>
                <a:gd name="T36" fmla="*/ 393 w 585"/>
                <a:gd name="T37" fmla="*/ 282 h 317"/>
                <a:gd name="T38" fmla="*/ 460 w 585"/>
                <a:gd name="T39" fmla="*/ 291 h 317"/>
                <a:gd name="T40" fmla="*/ 474 w 585"/>
                <a:gd name="T41" fmla="*/ 291 h 317"/>
                <a:gd name="T42" fmla="*/ 483 w 585"/>
                <a:gd name="T43" fmla="*/ 299 h 317"/>
                <a:gd name="T44" fmla="*/ 478 w 585"/>
                <a:gd name="T45" fmla="*/ 237 h 317"/>
                <a:gd name="T46" fmla="*/ 550 w 585"/>
                <a:gd name="T47" fmla="*/ 201 h 317"/>
                <a:gd name="T48" fmla="*/ 581 w 585"/>
                <a:gd name="T49" fmla="*/ 152 h 317"/>
                <a:gd name="T50" fmla="*/ 554 w 585"/>
                <a:gd name="T51" fmla="*/ 143 h 317"/>
                <a:gd name="T52" fmla="*/ 523 w 585"/>
                <a:gd name="T53" fmla="*/ 112 h 317"/>
                <a:gd name="T54" fmla="*/ 500 w 585"/>
                <a:gd name="T55" fmla="*/ 116 h 317"/>
                <a:gd name="T56" fmla="*/ 483 w 585"/>
                <a:gd name="T57" fmla="*/ 116 h 317"/>
                <a:gd name="T58" fmla="*/ 433 w 585"/>
                <a:gd name="T59" fmla="*/ 27 h 317"/>
                <a:gd name="T60" fmla="*/ 402 w 585"/>
                <a:gd name="T61" fmla="*/ 49 h 317"/>
                <a:gd name="T62" fmla="*/ 389 w 585"/>
                <a:gd name="T63" fmla="*/ 40 h 317"/>
                <a:gd name="T64" fmla="*/ 357 w 585"/>
                <a:gd name="T65" fmla="*/ 36 h 317"/>
                <a:gd name="T66" fmla="*/ 340 w 585"/>
                <a:gd name="T67" fmla="*/ 9 h 317"/>
                <a:gd name="T68" fmla="*/ 308 w 585"/>
                <a:gd name="T69" fmla="*/ 18 h 317"/>
                <a:gd name="T70" fmla="*/ 268 w 585"/>
                <a:gd name="T71" fmla="*/ 22 h 317"/>
                <a:gd name="T72" fmla="*/ 237 w 585"/>
                <a:gd name="T73" fmla="*/ 36 h 317"/>
                <a:gd name="T74" fmla="*/ 219 w 585"/>
                <a:gd name="T75" fmla="*/ 49 h 317"/>
                <a:gd name="T76" fmla="*/ 210 w 585"/>
                <a:gd name="T77" fmla="*/ 63 h 317"/>
                <a:gd name="T78" fmla="*/ 201 w 585"/>
                <a:gd name="T79" fmla="*/ 94 h 317"/>
                <a:gd name="T80" fmla="*/ 215 w 585"/>
                <a:gd name="T81" fmla="*/ 116 h 317"/>
                <a:gd name="T82" fmla="*/ 183 w 585"/>
                <a:gd name="T83" fmla="*/ 116 h 317"/>
                <a:gd name="T84" fmla="*/ 156 w 585"/>
                <a:gd name="T85" fmla="*/ 112 h 317"/>
                <a:gd name="T86" fmla="*/ 134 w 585"/>
                <a:gd name="T87" fmla="*/ 121 h 317"/>
                <a:gd name="T88" fmla="*/ 116 w 585"/>
                <a:gd name="T89" fmla="*/ 121 h 317"/>
                <a:gd name="T90" fmla="*/ 89 w 585"/>
                <a:gd name="T91" fmla="*/ 103 h 317"/>
                <a:gd name="T92" fmla="*/ 72 w 585"/>
                <a:gd name="T93" fmla="*/ 98 h 317"/>
                <a:gd name="T94" fmla="*/ 36 w 585"/>
                <a:gd name="T95" fmla="*/ 121 h 317"/>
                <a:gd name="T96" fmla="*/ 18 w 585"/>
                <a:gd name="T97" fmla="*/ 125 h 317"/>
                <a:gd name="T98" fmla="*/ 5 w 585"/>
                <a:gd name="T99" fmla="*/ 152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5" h="317">
                  <a:moveTo>
                    <a:pt x="5" y="156"/>
                  </a:moveTo>
                  <a:lnTo>
                    <a:pt x="0" y="170"/>
                  </a:lnTo>
                  <a:lnTo>
                    <a:pt x="9" y="174"/>
                  </a:lnTo>
                  <a:lnTo>
                    <a:pt x="9" y="179"/>
                  </a:lnTo>
                  <a:lnTo>
                    <a:pt x="13" y="188"/>
                  </a:lnTo>
                  <a:lnTo>
                    <a:pt x="13" y="179"/>
                  </a:lnTo>
                  <a:lnTo>
                    <a:pt x="22" y="183"/>
                  </a:lnTo>
                  <a:lnTo>
                    <a:pt x="31" y="197"/>
                  </a:lnTo>
                  <a:lnTo>
                    <a:pt x="36" y="201"/>
                  </a:lnTo>
                  <a:lnTo>
                    <a:pt x="31" y="201"/>
                  </a:lnTo>
                  <a:lnTo>
                    <a:pt x="27" y="206"/>
                  </a:lnTo>
                  <a:lnTo>
                    <a:pt x="36" y="206"/>
                  </a:lnTo>
                  <a:lnTo>
                    <a:pt x="36" y="206"/>
                  </a:lnTo>
                  <a:lnTo>
                    <a:pt x="49" y="201"/>
                  </a:lnTo>
                  <a:lnTo>
                    <a:pt x="67" y="192"/>
                  </a:lnTo>
                  <a:lnTo>
                    <a:pt x="81" y="192"/>
                  </a:lnTo>
                  <a:lnTo>
                    <a:pt x="103" y="201"/>
                  </a:lnTo>
                  <a:lnTo>
                    <a:pt x="98" y="224"/>
                  </a:lnTo>
                  <a:lnTo>
                    <a:pt x="98" y="232"/>
                  </a:lnTo>
                  <a:lnTo>
                    <a:pt x="76" y="232"/>
                  </a:lnTo>
                  <a:lnTo>
                    <a:pt x="67" y="232"/>
                  </a:lnTo>
                  <a:lnTo>
                    <a:pt x="67" y="241"/>
                  </a:lnTo>
                  <a:lnTo>
                    <a:pt x="72" y="241"/>
                  </a:lnTo>
                  <a:lnTo>
                    <a:pt x="72" y="250"/>
                  </a:lnTo>
                  <a:lnTo>
                    <a:pt x="54" y="250"/>
                  </a:lnTo>
                  <a:lnTo>
                    <a:pt x="54" y="255"/>
                  </a:lnTo>
                  <a:lnTo>
                    <a:pt x="63" y="255"/>
                  </a:lnTo>
                  <a:lnTo>
                    <a:pt x="67" y="277"/>
                  </a:lnTo>
                  <a:lnTo>
                    <a:pt x="76" y="277"/>
                  </a:lnTo>
                  <a:lnTo>
                    <a:pt x="81" y="286"/>
                  </a:lnTo>
                  <a:lnTo>
                    <a:pt x="89" y="286"/>
                  </a:lnTo>
                  <a:lnTo>
                    <a:pt x="85" y="295"/>
                  </a:lnTo>
                  <a:lnTo>
                    <a:pt x="89" y="304"/>
                  </a:lnTo>
                  <a:lnTo>
                    <a:pt x="89" y="299"/>
                  </a:lnTo>
                  <a:lnTo>
                    <a:pt x="98" y="295"/>
                  </a:lnTo>
                  <a:lnTo>
                    <a:pt x="112" y="291"/>
                  </a:lnTo>
                  <a:lnTo>
                    <a:pt x="121" y="299"/>
                  </a:lnTo>
                  <a:lnTo>
                    <a:pt x="125" y="308"/>
                  </a:lnTo>
                  <a:lnTo>
                    <a:pt x="130" y="313"/>
                  </a:lnTo>
                  <a:lnTo>
                    <a:pt x="134" y="313"/>
                  </a:lnTo>
                  <a:lnTo>
                    <a:pt x="134" y="241"/>
                  </a:lnTo>
                  <a:lnTo>
                    <a:pt x="174" y="228"/>
                  </a:lnTo>
                  <a:lnTo>
                    <a:pt x="174" y="219"/>
                  </a:lnTo>
                  <a:lnTo>
                    <a:pt x="183" y="224"/>
                  </a:lnTo>
                  <a:lnTo>
                    <a:pt x="183" y="210"/>
                  </a:lnTo>
                  <a:lnTo>
                    <a:pt x="192" y="215"/>
                  </a:lnTo>
                  <a:lnTo>
                    <a:pt x="197" y="206"/>
                  </a:lnTo>
                  <a:lnTo>
                    <a:pt x="210" y="206"/>
                  </a:lnTo>
                  <a:lnTo>
                    <a:pt x="219" y="206"/>
                  </a:lnTo>
                  <a:lnTo>
                    <a:pt x="210" y="224"/>
                  </a:lnTo>
                  <a:lnTo>
                    <a:pt x="215" y="237"/>
                  </a:lnTo>
                  <a:lnTo>
                    <a:pt x="223" y="241"/>
                  </a:lnTo>
                  <a:lnTo>
                    <a:pt x="215" y="246"/>
                  </a:lnTo>
                  <a:lnTo>
                    <a:pt x="215" y="255"/>
                  </a:lnTo>
                  <a:lnTo>
                    <a:pt x="215" y="255"/>
                  </a:lnTo>
                  <a:lnTo>
                    <a:pt x="223" y="268"/>
                  </a:lnTo>
                  <a:lnTo>
                    <a:pt x="255" y="268"/>
                  </a:lnTo>
                  <a:lnTo>
                    <a:pt x="259" y="264"/>
                  </a:lnTo>
                  <a:lnTo>
                    <a:pt x="268" y="273"/>
                  </a:lnTo>
                  <a:lnTo>
                    <a:pt x="273" y="282"/>
                  </a:lnTo>
                  <a:lnTo>
                    <a:pt x="277" y="282"/>
                  </a:lnTo>
                  <a:lnTo>
                    <a:pt x="277" y="295"/>
                  </a:lnTo>
                  <a:lnTo>
                    <a:pt x="273" y="295"/>
                  </a:lnTo>
                  <a:lnTo>
                    <a:pt x="273" y="304"/>
                  </a:lnTo>
                  <a:lnTo>
                    <a:pt x="286" y="304"/>
                  </a:lnTo>
                  <a:lnTo>
                    <a:pt x="286" y="313"/>
                  </a:lnTo>
                  <a:lnTo>
                    <a:pt x="317" y="317"/>
                  </a:lnTo>
                  <a:lnTo>
                    <a:pt x="322" y="313"/>
                  </a:lnTo>
                  <a:lnTo>
                    <a:pt x="340" y="295"/>
                  </a:lnTo>
                  <a:lnTo>
                    <a:pt x="353" y="291"/>
                  </a:lnTo>
                  <a:lnTo>
                    <a:pt x="357" y="286"/>
                  </a:lnTo>
                  <a:lnTo>
                    <a:pt x="371" y="286"/>
                  </a:lnTo>
                  <a:lnTo>
                    <a:pt x="384" y="295"/>
                  </a:lnTo>
                  <a:lnTo>
                    <a:pt x="389" y="295"/>
                  </a:lnTo>
                  <a:lnTo>
                    <a:pt x="389" y="282"/>
                  </a:lnTo>
                  <a:lnTo>
                    <a:pt x="393" y="282"/>
                  </a:lnTo>
                  <a:lnTo>
                    <a:pt x="407" y="286"/>
                  </a:lnTo>
                  <a:lnTo>
                    <a:pt x="411" y="291"/>
                  </a:lnTo>
                  <a:lnTo>
                    <a:pt x="429" y="286"/>
                  </a:lnTo>
                  <a:lnTo>
                    <a:pt x="460" y="291"/>
                  </a:lnTo>
                  <a:lnTo>
                    <a:pt x="469" y="286"/>
                  </a:lnTo>
                  <a:lnTo>
                    <a:pt x="474" y="286"/>
                  </a:lnTo>
                  <a:lnTo>
                    <a:pt x="469" y="291"/>
                  </a:lnTo>
                  <a:lnTo>
                    <a:pt x="474" y="291"/>
                  </a:lnTo>
                  <a:lnTo>
                    <a:pt x="474" y="295"/>
                  </a:lnTo>
                  <a:lnTo>
                    <a:pt x="483" y="295"/>
                  </a:lnTo>
                  <a:lnTo>
                    <a:pt x="483" y="299"/>
                  </a:lnTo>
                  <a:lnTo>
                    <a:pt x="483" y="299"/>
                  </a:lnTo>
                  <a:lnTo>
                    <a:pt x="491" y="273"/>
                  </a:lnTo>
                  <a:lnTo>
                    <a:pt x="487" y="250"/>
                  </a:lnTo>
                  <a:lnTo>
                    <a:pt x="478" y="246"/>
                  </a:lnTo>
                  <a:lnTo>
                    <a:pt x="478" y="237"/>
                  </a:lnTo>
                  <a:lnTo>
                    <a:pt x="514" y="237"/>
                  </a:lnTo>
                  <a:lnTo>
                    <a:pt x="509" y="228"/>
                  </a:lnTo>
                  <a:lnTo>
                    <a:pt x="523" y="197"/>
                  </a:lnTo>
                  <a:lnTo>
                    <a:pt x="550" y="201"/>
                  </a:lnTo>
                  <a:lnTo>
                    <a:pt x="563" y="192"/>
                  </a:lnTo>
                  <a:lnTo>
                    <a:pt x="563" y="174"/>
                  </a:lnTo>
                  <a:lnTo>
                    <a:pt x="572" y="165"/>
                  </a:lnTo>
                  <a:lnTo>
                    <a:pt x="581" y="152"/>
                  </a:lnTo>
                  <a:lnTo>
                    <a:pt x="585" y="152"/>
                  </a:lnTo>
                  <a:lnTo>
                    <a:pt x="585" y="148"/>
                  </a:lnTo>
                  <a:lnTo>
                    <a:pt x="563" y="143"/>
                  </a:lnTo>
                  <a:lnTo>
                    <a:pt x="554" y="143"/>
                  </a:lnTo>
                  <a:lnTo>
                    <a:pt x="550" y="130"/>
                  </a:lnTo>
                  <a:lnTo>
                    <a:pt x="545" y="134"/>
                  </a:lnTo>
                  <a:lnTo>
                    <a:pt x="532" y="116"/>
                  </a:lnTo>
                  <a:lnTo>
                    <a:pt x="523" y="112"/>
                  </a:lnTo>
                  <a:lnTo>
                    <a:pt x="518" y="112"/>
                  </a:lnTo>
                  <a:lnTo>
                    <a:pt x="514" y="116"/>
                  </a:lnTo>
                  <a:lnTo>
                    <a:pt x="509" y="121"/>
                  </a:lnTo>
                  <a:lnTo>
                    <a:pt x="500" y="116"/>
                  </a:lnTo>
                  <a:lnTo>
                    <a:pt x="500" y="107"/>
                  </a:lnTo>
                  <a:lnTo>
                    <a:pt x="491" y="107"/>
                  </a:lnTo>
                  <a:lnTo>
                    <a:pt x="487" y="112"/>
                  </a:lnTo>
                  <a:lnTo>
                    <a:pt x="483" y="116"/>
                  </a:lnTo>
                  <a:lnTo>
                    <a:pt x="451" y="63"/>
                  </a:lnTo>
                  <a:lnTo>
                    <a:pt x="433" y="40"/>
                  </a:lnTo>
                  <a:lnTo>
                    <a:pt x="438" y="31"/>
                  </a:lnTo>
                  <a:lnTo>
                    <a:pt x="433" y="27"/>
                  </a:lnTo>
                  <a:lnTo>
                    <a:pt x="424" y="31"/>
                  </a:lnTo>
                  <a:lnTo>
                    <a:pt x="416" y="36"/>
                  </a:lnTo>
                  <a:lnTo>
                    <a:pt x="411" y="40"/>
                  </a:lnTo>
                  <a:lnTo>
                    <a:pt x="402" y="49"/>
                  </a:lnTo>
                  <a:lnTo>
                    <a:pt x="393" y="45"/>
                  </a:lnTo>
                  <a:lnTo>
                    <a:pt x="384" y="49"/>
                  </a:lnTo>
                  <a:lnTo>
                    <a:pt x="384" y="45"/>
                  </a:lnTo>
                  <a:lnTo>
                    <a:pt x="389" y="40"/>
                  </a:lnTo>
                  <a:lnTo>
                    <a:pt x="375" y="36"/>
                  </a:lnTo>
                  <a:lnTo>
                    <a:pt x="371" y="40"/>
                  </a:lnTo>
                  <a:lnTo>
                    <a:pt x="371" y="31"/>
                  </a:lnTo>
                  <a:lnTo>
                    <a:pt x="357" y="36"/>
                  </a:lnTo>
                  <a:lnTo>
                    <a:pt x="353" y="31"/>
                  </a:lnTo>
                  <a:lnTo>
                    <a:pt x="353" y="22"/>
                  </a:lnTo>
                  <a:lnTo>
                    <a:pt x="349" y="9"/>
                  </a:lnTo>
                  <a:lnTo>
                    <a:pt x="340" y="9"/>
                  </a:lnTo>
                  <a:lnTo>
                    <a:pt x="322" y="5"/>
                  </a:lnTo>
                  <a:lnTo>
                    <a:pt x="317" y="9"/>
                  </a:lnTo>
                  <a:lnTo>
                    <a:pt x="313" y="0"/>
                  </a:lnTo>
                  <a:lnTo>
                    <a:pt x="308" y="18"/>
                  </a:lnTo>
                  <a:lnTo>
                    <a:pt x="304" y="13"/>
                  </a:lnTo>
                  <a:lnTo>
                    <a:pt x="299" y="18"/>
                  </a:lnTo>
                  <a:lnTo>
                    <a:pt x="277" y="22"/>
                  </a:lnTo>
                  <a:lnTo>
                    <a:pt x="268" y="22"/>
                  </a:lnTo>
                  <a:lnTo>
                    <a:pt x="264" y="27"/>
                  </a:lnTo>
                  <a:lnTo>
                    <a:pt x="264" y="22"/>
                  </a:lnTo>
                  <a:lnTo>
                    <a:pt x="246" y="31"/>
                  </a:lnTo>
                  <a:lnTo>
                    <a:pt x="237" y="36"/>
                  </a:lnTo>
                  <a:lnTo>
                    <a:pt x="215" y="36"/>
                  </a:lnTo>
                  <a:lnTo>
                    <a:pt x="210" y="40"/>
                  </a:lnTo>
                  <a:lnTo>
                    <a:pt x="206" y="49"/>
                  </a:lnTo>
                  <a:lnTo>
                    <a:pt x="219" y="49"/>
                  </a:lnTo>
                  <a:lnTo>
                    <a:pt x="210" y="54"/>
                  </a:lnTo>
                  <a:lnTo>
                    <a:pt x="219" y="54"/>
                  </a:lnTo>
                  <a:lnTo>
                    <a:pt x="223" y="63"/>
                  </a:lnTo>
                  <a:lnTo>
                    <a:pt x="210" y="63"/>
                  </a:lnTo>
                  <a:lnTo>
                    <a:pt x="201" y="67"/>
                  </a:lnTo>
                  <a:lnTo>
                    <a:pt x="206" y="76"/>
                  </a:lnTo>
                  <a:lnTo>
                    <a:pt x="192" y="85"/>
                  </a:lnTo>
                  <a:lnTo>
                    <a:pt x="201" y="94"/>
                  </a:lnTo>
                  <a:lnTo>
                    <a:pt x="206" y="103"/>
                  </a:lnTo>
                  <a:lnTo>
                    <a:pt x="215" y="103"/>
                  </a:lnTo>
                  <a:lnTo>
                    <a:pt x="215" y="112"/>
                  </a:lnTo>
                  <a:lnTo>
                    <a:pt x="215" y="116"/>
                  </a:lnTo>
                  <a:lnTo>
                    <a:pt x="201" y="121"/>
                  </a:lnTo>
                  <a:lnTo>
                    <a:pt x="192" y="112"/>
                  </a:lnTo>
                  <a:lnTo>
                    <a:pt x="183" y="125"/>
                  </a:lnTo>
                  <a:lnTo>
                    <a:pt x="183" y="116"/>
                  </a:lnTo>
                  <a:lnTo>
                    <a:pt x="179" y="112"/>
                  </a:lnTo>
                  <a:lnTo>
                    <a:pt x="174" y="107"/>
                  </a:lnTo>
                  <a:lnTo>
                    <a:pt x="165" y="107"/>
                  </a:lnTo>
                  <a:lnTo>
                    <a:pt x="156" y="112"/>
                  </a:lnTo>
                  <a:lnTo>
                    <a:pt x="152" y="107"/>
                  </a:lnTo>
                  <a:lnTo>
                    <a:pt x="143" y="107"/>
                  </a:lnTo>
                  <a:lnTo>
                    <a:pt x="139" y="116"/>
                  </a:lnTo>
                  <a:lnTo>
                    <a:pt x="134" y="121"/>
                  </a:lnTo>
                  <a:lnTo>
                    <a:pt x="125" y="116"/>
                  </a:lnTo>
                  <a:lnTo>
                    <a:pt x="121" y="116"/>
                  </a:lnTo>
                  <a:lnTo>
                    <a:pt x="121" y="121"/>
                  </a:lnTo>
                  <a:lnTo>
                    <a:pt x="116" y="121"/>
                  </a:lnTo>
                  <a:lnTo>
                    <a:pt x="112" y="116"/>
                  </a:lnTo>
                  <a:lnTo>
                    <a:pt x="107" y="103"/>
                  </a:lnTo>
                  <a:lnTo>
                    <a:pt x="94" y="98"/>
                  </a:lnTo>
                  <a:lnTo>
                    <a:pt x="89" y="103"/>
                  </a:lnTo>
                  <a:lnTo>
                    <a:pt x="85" y="94"/>
                  </a:lnTo>
                  <a:lnTo>
                    <a:pt x="76" y="98"/>
                  </a:lnTo>
                  <a:lnTo>
                    <a:pt x="72" y="103"/>
                  </a:lnTo>
                  <a:lnTo>
                    <a:pt x="72" y="98"/>
                  </a:lnTo>
                  <a:lnTo>
                    <a:pt x="67" y="94"/>
                  </a:lnTo>
                  <a:lnTo>
                    <a:pt x="63" y="103"/>
                  </a:lnTo>
                  <a:lnTo>
                    <a:pt x="45" y="116"/>
                  </a:lnTo>
                  <a:lnTo>
                    <a:pt x="36" y="121"/>
                  </a:lnTo>
                  <a:lnTo>
                    <a:pt x="31" y="116"/>
                  </a:lnTo>
                  <a:lnTo>
                    <a:pt x="36" y="134"/>
                  </a:lnTo>
                  <a:lnTo>
                    <a:pt x="31" y="139"/>
                  </a:lnTo>
                  <a:lnTo>
                    <a:pt x="18" y="125"/>
                  </a:lnTo>
                  <a:lnTo>
                    <a:pt x="13" y="125"/>
                  </a:lnTo>
                  <a:lnTo>
                    <a:pt x="13" y="139"/>
                  </a:lnTo>
                  <a:lnTo>
                    <a:pt x="9" y="139"/>
                  </a:lnTo>
                  <a:lnTo>
                    <a:pt x="5" y="152"/>
                  </a:lnTo>
                  <a:lnTo>
                    <a:pt x="5" y="156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16" name="Freeform 8"/>
            <p:cNvSpPr>
              <a:spLocks/>
            </p:cNvSpPr>
            <p:nvPr/>
          </p:nvSpPr>
          <p:spPr bwMode="gray">
            <a:xfrm>
              <a:off x="2890" y="2649"/>
              <a:ext cx="232" cy="105"/>
            </a:xfrm>
            <a:custGeom>
              <a:avLst/>
              <a:gdLst>
                <a:gd name="T0" fmla="*/ 23 w 157"/>
                <a:gd name="T1" fmla="*/ 58 h 71"/>
                <a:gd name="T2" fmla="*/ 18 w 157"/>
                <a:gd name="T3" fmla="*/ 62 h 71"/>
                <a:gd name="T4" fmla="*/ 14 w 157"/>
                <a:gd name="T5" fmla="*/ 53 h 71"/>
                <a:gd name="T6" fmla="*/ 5 w 157"/>
                <a:gd name="T7" fmla="*/ 58 h 71"/>
                <a:gd name="T8" fmla="*/ 0 w 157"/>
                <a:gd name="T9" fmla="*/ 67 h 71"/>
                <a:gd name="T10" fmla="*/ 18 w 157"/>
                <a:gd name="T11" fmla="*/ 67 h 71"/>
                <a:gd name="T12" fmla="*/ 27 w 157"/>
                <a:gd name="T13" fmla="*/ 71 h 71"/>
                <a:gd name="T14" fmla="*/ 36 w 157"/>
                <a:gd name="T15" fmla="*/ 67 h 71"/>
                <a:gd name="T16" fmla="*/ 49 w 157"/>
                <a:gd name="T17" fmla="*/ 71 h 71"/>
                <a:gd name="T18" fmla="*/ 63 w 157"/>
                <a:gd name="T19" fmla="*/ 67 h 71"/>
                <a:gd name="T20" fmla="*/ 76 w 157"/>
                <a:gd name="T21" fmla="*/ 53 h 71"/>
                <a:gd name="T22" fmla="*/ 90 w 157"/>
                <a:gd name="T23" fmla="*/ 44 h 71"/>
                <a:gd name="T24" fmla="*/ 107 w 157"/>
                <a:gd name="T25" fmla="*/ 40 h 71"/>
                <a:gd name="T26" fmla="*/ 143 w 157"/>
                <a:gd name="T27" fmla="*/ 26 h 71"/>
                <a:gd name="T28" fmla="*/ 157 w 157"/>
                <a:gd name="T29" fmla="*/ 17 h 71"/>
                <a:gd name="T30" fmla="*/ 157 w 157"/>
                <a:gd name="T31" fmla="*/ 13 h 71"/>
                <a:gd name="T32" fmla="*/ 148 w 157"/>
                <a:gd name="T33" fmla="*/ 9 h 71"/>
                <a:gd name="T34" fmla="*/ 148 w 157"/>
                <a:gd name="T35" fmla="*/ 4 h 71"/>
                <a:gd name="T36" fmla="*/ 134 w 157"/>
                <a:gd name="T37" fmla="*/ 9 h 71"/>
                <a:gd name="T38" fmla="*/ 85 w 157"/>
                <a:gd name="T39" fmla="*/ 9 h 71"/>
                <a:gd name="T40" fmla="*/ 67 w 157"/>
                <a:gd name="T41" fmla="*/ 0 h 71"/>
                <a:gd name="T42" fmla="*/ 63 w 157"/>
                <a:gd name="T43" fmla="*/ 13 h 71"/>
                <a:gd name="T44" fmla="*/ 45 w 157"/>
                <a:gd name="T45" fmla="*/ 4 h 71"/>
                <a:gd name="T46" fmla="*/ 27 w 157"/>
                <a:gd name="T47" fmla="*/ 9 h 71"/>
                <a:gd name="T48" fmla="*/ 31 w 157"/>
                <a:gd name="T49" fmla="*/ 17 h 71"/>
                <a:gd name="T50" fmla="*/ 18 w 157"/>
                <a:gd name="T51" fmla="*/ 31 h 71"/>
                <a:gd name="T52" fmla="*/ 23 w 157"/>
                <a:gd name="T53" fmla="*/ 35 h 71"/>
                <a:gd name="T54" fmla="*/ 40 w 157"/>
                <a:gd name="T55" fmla="*/ 35 h 71"/>
                <a:gd name="T56" fmla="*/ 58 w 157"/>
                <a:gd name="T57" fmla="*/ 40 h 71"/>
                <a:gd name="T58" fmla="*/ 54 w 157"/>
                <a:gd name="T59" fmla="*/ 49 h 71"/>
                <a:gd name="T60" fmla="*/ 45 w 157"/>
                <a:gd name="T61" fmla="*/ 49 h 71"/>
                <a:gd name="T62" fmla="*/ 31 w 157"/>
                <a:gd name="T63" fmla="*/ 49 h 71"/>
                <a:gd name="T64" fmla="*/ 31 w 157"/>
                <a:gd name="T65" fmla="*/ 62 h 71"/>
                <a:gd name="T66" fmla="*/ 27 w 157"/>
                <a:gd name="T67" fmla="*/ 5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7" h="71">
                  <a:moveTo>
                    <a:pt x="27" y="53"/>
                  </a:moveTo>
                  <a:lnTo>
                    <a:pt x="23" y="58"/>
                  </a:lnTo>
                  <a:lnTo>
                    <a:pt x="23" y="62"/>
                  </a:lnTo>
                  <a:lnTo>
                    <a:pt x="18" y="62"/>
                  </a:lnTo>
                  <a:lnTo>
                    <a:pt x="18" y="58"/>
                  </a:lnTo>
                  <a:lnTo>
                    <a:pt x="14" y="53"/>
                  </a:lnTo>
                  <a:lnTo>
                    <a:pt x="5" y="53"/>
                  </a:lnTo>
                  <a:lnTo>
                    <a:pt x="5" y="58"/>
                  </a:lnTo>
                  <a:lnTo>
                    <a:pt x="0" y="62"/>
                  </a:lnTo>
                  <a:lnTo>
                    <a:pt x="0" y="67"/>
                  </a:lnTo>
                  <a:lnTo>
                    <a:pt x="14" y="67"/>
                  </a:lnTo>
                  <a:lnTo>
                    <a:pt x="18" y="67"/>
                  </a:lnTo>
                  <a:lnTo>
                    <a:pt x="23" y="67"/>
                  </a:lnTo>
                  <a:lnTo>
                    <a:pt x="27" y="71"/>
                  </a:lnTo>
                  <a:lnTo>
                    <a:pt x="31" y="67"/>
                  </a:lnTo>
                  <a:lnTo>
                    <a:pt x="36" y="67"/>
                  </a:lnTo>
                  <a:lnTo>
                    <a:pt x="36" y="71"/>
                  </a:lnTo>
                  <a:lnTo>
                    <a:pt x="49" y="71"/>
                  </a:lnTo>
                  <a:lnTo>
                    <a:pt x="54" y="67"/>
                  </a:lnTo>
                  <a:lnTo>
                    <a:pt x="63" y="67"/>
                  </a:lnTo>
                  <a:lnTo>
                    <a:pt x="63" y="58"/>
                  </a:lnTo>
                  <a:lnTo>
                    <a:pt x="76" y="53"/>
                  </a:lnTo>
                  <a:lnTo>
                    <a:pt x="81" y="44"/>
                  </a:lnTo>
                  <a:lnTo>
                    <a:pt x="90" y="44"/>
                  </a:lnTo>
                  <a:lnTo>
                    <a:pt x="98" y="53"/>
                  </a:lnTo>
                  <a:lnTo>
                    <a:pt x="107" y="40"/>
                  </a:lnTo>
                  <a:lnTo>
                    <a:pt x="125" y="40"/>
                  </a:lnTo>
                  <a:lnTo>
                    <a:pt x="143" y="26"/>
                  </a:lnTo>
                  <a:lnTo>
                    <a:pt x="157" y="22"/>
                  </a:lnTo>
                  <a:lnTo>
                    <a:pt x="157" y="17"/>
                  </a:lnTo>
                  <a:lnTo>
                    <a:pt x="157" y="17"/>
                  </a:lnTo>
                  <a:lnTo>
                    <a:pt x="157" y="13"/>
                  </a:lnTo>
                  <a:lnTo>
                    <a:pt x="148" y="13"/>
                  </a:lnTo>
                  <a:lnTo>
                    <a:pt x="148" y="9"/>
                  </a:lnTo>
                  <a:lnTo>
                    <a:pt x="143" y="9"/>
                  </a:lnTo>
                  <a:lnTo>
                    <a:pt x="148" y="4"/>
                  </a:lnTo>
                  <a:lnTo>
                    <a:pt x="143" y="4"/>
                  </a:lnTo>
                  <a:lnTo>
                    <a:pt x="134" y="9"/>
                  </a:lnTo>
                  <a:lnTo>
                    <a:pt x="103" y="4"/>
                  </a:lnTo>
                  <a:lnTo>
                    <a:pt x="85" y="9"/>
                  </a:lnTo>
                  <a:lnTo>
                    <a:pt x="81" y="4"/>
                  </a:lnTo>
                  <a:lnTo>
                    <a:pt x="67" y="0"/>
                  </a:lnTo>
                  <a:lnTo>
                    <a:pt x="63" y="0"/>
                  </a:lnTo>
                  <a:lnTo>
                    <a:pt x="63" y="13"/>
                  </a:lnTo>
                  <a:lnTo>
                    <a:pt x="58" y="13"/>
                  </a:lnTo>
                  <a:lnTo>
                    <a:pt x="45" y="4"/>
                  </a:lnTo>
                  <a:lnTo>
                    <a:pt x="31" y="4"/>
                  </a:lnTo>
                  <a:lnTo>
                    <a:pt x="27" y="9"/>
                  </a:lnTo>
                  <a:lnTo>
                    <a:pt x="31" y="13"/>
                  </a:lnTo>
                  <a:lnTo>
                    <a:pt x="31" y="17"/>
                  </a:lnTo>
                  <a:lnTo>
                    <a:pt x="18" y="26"/>
                  </a:lnTo>
                  <a:lnTo>
                    <a:pt x="18" y="31"/>
                  </a:lnTo>
                  <a:lnTo>
                    <a:pt x="23" y="31"/>
                  </a:lnTo>
                  <a:lnTo>
                    <a:pt x="23" y="35"/>
                  </a:lnTo>
                  <a:lnTo>
                    <a:pt x="36" y="31"/>
                  </a:lnTo>
                  <a:lnTo>
                    <a:pt x="40" y="35"/>
                  </a:lnTo>
                  <a:lnTo>
                    <a:pt x="49" y="40"/>
                  </a:lnTo>
                  <a:lnTo>
                    <a:pt x="58" y="40"/>
                  </a:lnTo>
                  <a:lnTo>
                    <a:pt x="58" y="44"/>
                  </a:lnTo>
                  <a:lnTo>
                    <a:pt x="54" y="49"/>
                  </a:lnTo>
                  <a:lnTo>
                    <a:pt x="49" y="44"/>
                  </a:lnTo>
                  <a:lnTo>
                    <a:pt x="45" y="49"/>
                  </a:lnTo>
                  <a:lnTo>
                    <a:pt x="40" y="53"/>
                  </a:lnTo>
                  <a:lnTo>
                    <a:pt x="31" y="49"/>
                  </a:lnTo>
                  <a:lnTo>
                    <a:pt x="31" y="53"/>
                  </a:lnTo>
                  <a:lnTo>
                    <a:pt x="31" y="62"/>
                  </a:lnTo>
                  <a:lnTo>
                    <a:pt x="27" y="62"/>
                  </a:lnTo>
                  <a:lnTo>
                    <a:pt x="27" y="5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17" name="Freeform 9"/>
            <p:cNvSpPr>
              <a:spLocks noEditPoints="1"/>
            </p:cNvSpPr>
            <p:nvPr/>
          </p:nvSpPr>
          <p:spPr bwMode="gray">
            <a:xfrm>
              <a:off x="1833" y="911"/>
              <a:ext cx="3619" cy="1790"/>
            </a:xfrm>
            <a:custGeom>
              <a:avLst/>
              <a:gdLst>
                <a:gd name="T0" fmla="*/ 23 w 2448"/>
                <a:gd name="T1" fmla="*/ 907 h 1211"/>
                <a:gd name="T2" fmla="*/ 152 w 2448"/>
                <a:gd name="T3" fmla="*/ 764 h 1211"/>
                <a:gd name="T4" fmla="*/ 157 w 2448"/>
                <a:gd name="T5" fmla="*/ 630 h 1211"/>
                <a:gd name="T6" fmla="*/ 170 w 2448"/>
                <a:gd name="T7" fmla="*/ 429 h 1211"/>
                <a:gd name="T8" fmla="*/ 300 w 2448"/>
                <a:gd name="T9" fmla="*/ 505 h 1211"/>
                <a:gd name="T10" fmla="*/ 224 w 2448"/>
                <a:gd name="T11" fmla="*/ 613 h 1211"/>
                <a:gd name="T12" fmla="*/ 318 w 2448"/>
                <a:gd name="T13" fmla="*/ 577 h 1211"/>
                <a:gd name="T14" fmla="*/ 385 w 2448"/>
                <a:gd name="T15" fmla="*/ 541 h 1211"/>
                <a:gd name="T16" fmla="*/ 577 w 2448"/>
                <a:gd name="T17" fmla="*/ 474 h 1211"/>
                <a:gd name="T18" fmla="*/ 697 w 2448"/>
                <a:gd name="T19" fmla="*/ 358 h 1211"/>
                <a:gd name="T20" fmla="*/ 755 w 2448"/>
                <a:gd name="T21" fmla="*/ 568 h 1211"/>
                <a:gd name="T22" fmla="*/ 796 w 2448"/>
                <a:gd name="T23" fmla="*/ 318 h 1211"/>
                <a:gd name="T24" fmla="*/ 867 w 2448"/>
                <a:gd name="T25" fmla="*/ 318 h 1211"/>
                <a:gd name="T26" fmla="*/ 965 w 2448"/>
                <a:gd name="T27" fmla="*/ 170 h 1211"/>
                <a:gd name="T28" fmla="*/ 1229 w 2448"/>
                <a:gd name="T29" fmla="*/ 41 h 1211"/>
                <a:gd name="T30" fmla="*/ 1314 w 2448"/>
                <a:gd name="T31" fmla="*/ 242 h 1211"/>
                <a:gd name="T32" fmla="*/ 1573 w 2448"/>
                <a:gd name="T33" fmla="*/ 349 h 1211"/>
                <a:gd name="T34" fmla="*/ 1823 w 2448"/>
                <a:gd name="T35" fmla="*/ 309 h 1211"/>
                <a:gd name="T36" fmla="*/ 2073 w 2448"/>
                <a:gd name="T37" fmla="*/ 438 h 1211"/>
                <a:gd name="T38" fmla="*/ 2377 w 2448"/>
                <a:gd name="T39" fmla="*/ 537 h 1211"/>
                <a:gd name="T40" fmla="*/ 2310 w 2448"/>
                <a:gd name="T41" fmla="*/ 595 h 1211"/>
                <a:gd name="T42" fmla="*/ 2095 w 2448"/>
                <a:gd name="T43" fmla="*/ 782 h 1211"/>
                <a:gd name="T44" fmla="*/ 2011 w 2448"/>
                <a:gd name="T45" fmla="*/ 957 h 1211"/>
                <a:gd name="T46" fmla="*/ 2055 w 2448"/>
                <a:gd name="T47" fmla="*/ 724 h 1211"/>
                <a:gd name="T48" fmla="*/ 1854 w 2448"/>
                <a:gd name="T49" fmla="*/ 782 h 1211"/>
                <a:gd name="T50" fmla="*/ 1716 w 2448"/>
                <a:gd name="T51" fmla="*/ 1091 h 1211"/>
                <a:gd name="T52" fmla="*/ 1649 w 2448"/>
                <a:gd name="T53" fmla="*/ 1068 h 1211"/>
                <a:gd name="T54" fmla="*/ 1448 w 2448"/>
                <a:gd name="T55" fmla="*/ 979 h 1211"/>
                <a:gd name="T56" fmla="*/ 1140 w 2448"/>
                <a:gd name="T57" fmla="*/ 979 h 1211"/>
                <a:gd name="T58" fmla="*/ 934 w 2448"/>
                <a:gd name="T59" fmla="*/ 1028 h 1211"/>
                <a:gd name="T60" fmla="*/ 800 w 2448"/>
                <a:gd name="T61" fmla="*/ 934 h 1211"/>
                <a:gd name="T62" fmla="*/ 697 w 2448"/>
                <a:gd name="T63" fmla="*/ 912 h 1211"/>
                <a:gd name="T64" fmla="*/ 590 w 2448"/>
                <a:gd name="T65" fmla="*/ 961 h 1211"/>
                <a:gd name="T66" fmla="*/ 532 w 2448"/>
                <a:gd name="T67" fmla="*/ 1001 h 1211"/>
                <a:gd name="T68" fmla="*/ 434 w 2448"/>
                <a:gd name="T69" fmla="*/ 1010 h 1211"/>
                <a:gd name="T70" fmla="*/ 420 w 2448"/>
                <a:gd name="T71" fmla="*/ 1091 h 1211"/>
                <a:gd name="T72" fmla="*/ 411 w 2448"/>
                <a:gd name="T73" fmla="*/ 1211 h 1211"/>
                <a:gd name="T74" fmla="*/ 322 w 2448"/>
                <a:gd name="T75" fmla="*/ 1171 h 1211"/>
                <a:gd name="T76" fmla="*/ 273 w 2448"/>
                <a:gd name="T77" fmla="*/ 1091 h 1211"/>
                <a:gd name="T78" fmla="*/ 260 w 2448"/>
                <a:gd name="T79" fmla="*/ 1019 h 1211"/>
                <a:gd name="T80" fmla="*/ 170 w 2448"/>
                <a:gd name="T81" fmla="*/ 957 h 1211"/>
                <a:gd name="T82" fmla="*/ 139 w 2448"/>
                <a:gd name="T83" fmla="*/ 881 h 1211"/>
                <a:gd name="T84" fmla="*/ 188 w 2448"/>
                <a:gd name="T85" fmla="*/ 764 h 1211"/>
                <a:gd name="T86" fmla="*/ 429 w 2448"/>
                <a:gd name="T87" fmla="*/ 443 h 1211"/>
                <a:gd name="T88" fmla="*/ 711 w 2448"/>
                <a:gd name="T89" fmla="*/ 67 h 1211"/>
                <a:gd name="T90" fmla="*/ 528 w 2448"/>
                <a:gd name="T91" fmla="*/ 188 h 1211"/>
                <a:gd name="T92" fmla="*/ 537 w 2448"/>
                <a:gd name="T93" fmla="*/ 376 h 1211"/>
                <a:gd name="T94" fmla="*/ 483 w 2448"/>
                <a:gd name="T95" fmla="*/ 353 h 1211"/>
                <a:gd name="T96" fmla="*/ 550 w 2448"/>
                <a:gd name="T97" fmla="*/ 385 h 1211"/>
                <a:gd name="T98" fmla="*/ 1296 w 2448"/>
                <a:gd name="T99" fmla="*/ 890 h 1211"/>
                <a:gd name="T100" fmla="*/ 1693 w 2448"/>
                <a:gd name="T101" fmla="*/ 121 h 1211"/>
                <a:gd name="T102" fmla="*/ 1760 w 2448"/>
                <a:gd name="T103" fmla="*/ 130 h 1211"/>
                <a:gd name="T104" fmla="*/ 1734 w 2448"/>
                <a:gd name="T105" fmla="*/ 242 h 1211"/>
                <a:gd name="T106" fmla="*/ 1756 w 2448"/>
                <a:gd name="T107" fmla="*/ 939 h 1211"/>
                <a:gd name="T108" fmla="*/ 1792 w 2448"/>
                <a:gd name="T109" fmla="*/ 1055 h 1211"/>
                <a:gd name="T110" fmla="*/ 1823 w 2448"/>
                <a:gd name="T111" fmla="*/ 1144 h 1211"/>
                <a:gd name="T112" fmla="*/ 1832 w 2448"/>
                <a:gd name="T113" fmla="*/ 188 h 1211"/>
                <a:gd name="T114" fmla="*/ 1903 w 2448"/>
                <a:gd name="T115" fmla="*/ 1086 h 1211"/>
                <a:gd name="T116" fmla="*/ 1953 w 2448"/>
                <a:gd name="T117" fmla="*/ 1015 h 1211"/>
                <a:gd name="T118" fmla="*/ 2091 w 2448"/>
                <a:gd name="T119" fmla="*/ 903 h 1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48" h="1211">
                  <a:moveTo>
                    <a:pt x="23" y="894"/>
                  </a:moveTo>
                  <a:lnTo>
                    <a:pt x="27" y="894"/>
                  </a:lnTo>
                  <a:lnTo>
                    <a:pt x="27" y="899"/>
                  </a:lnTo>
                  <a:lnTo>
                    <a:pt x="41" y="903"/>
                  </a:lnTo>
                  <a:lnTo>
                    <a:pt x="50" y="903"/>
                  </a:lnTo>
                  <a:lnTo>
                    <a:pt x="50" y="907"/>
                  </a:lnTo>
                  <a:lnTo>
                    <a:pt x="50" y="921"/>
                  </a:lnTo>
                  <a:lnTo>
                    <a:pt x="27" y="921"/>
                  </a:lnTo>
                  <a:lnTo>
                    <a:pt x="9" y="916"/>
                  </a:lnTo>
                  <a:lnTo>
                    <a:pt x="0" y="916"/>
                  </a:lnTo>
                  <a:lnTo>
                    <a:pt x="9" y="912"/>
                  </a:lnTo>
                  <a:lnTo>
                    <a:pt x="5" y="912"/>
                  </a:lnTo>
                  <a:lnTo>
                    <a:pt x="5" y="907"/>
                  </a:lnTo>
                  <a:lnTo>
                    <a:pt x="14" y="903"/>
                  </a:lnTo>
                  <a:lnTo>
                    <a:pt x="18" y="894"/>
                  </a:lnTo>
                  <a:lnTo>
                    <a:pt x="14" y="907"/>
                  </a:lnTo>
                  <a:lnTo>
                    <a:pt x="23" y="907"/>
                  </a:lnTo>
                  <a:lnTo>
                    <a:pt x="27" y="903"/>
                  </a:lnTo>
                  <a:lnTo>
                    <a:pt x="23" y="894"/>
                  </a:lnTo>
                  <a:close/>
                  <a:moveTo>
                    <a:pt x="117" y="840"/>
                  </a:moveTo>
                  <a:lnTo>
                    <a:pt x="126" y="836"/>
                  </a:lnTo>
                  <a:lnTo>
                    <a:pt x="130" y="832"/>
                  </a:lnTo>
                  <a:lnTo>
                    <a:pt x="121" y="823"/>
                  </a:lnTo>
                  <a:lnTo>
                    <a:pt x="117" y="814"/>
                  </a:lnTo>
                  <a:lnTo>
                    <a:pt x="117" y="809"/>
                  </a:lnTo>
                  <a:lnTo>
                    <a:pt x="117" y="800"/>
                  </a:lnTo>
                  <a:lnTo>
                    <a:pt x="126" y="796"/>
                  </a:lnTo>
                  <a:lnTo>
                    <a:pt x="130" y="787"/>
                  </a:lnTo>
                  <a:lnTo>
                    <a:pt x="126" y="778"/>
                  </a:lnTo>
                  <a:lnTo>
                    <a:pt x="126" y="773"/>
                  </a:lnTo>
                  <a:lnTo>
                    <a:pt x="130" y="778"/>
                  </a:lnTo>
                  <a:lnTo>
                    <a:pt x="139" y="769"/>
                  </a:lnTo>
                  <a:lnTo>
                    <a:pt x="148" y="773"/>
                  </a:lnTo>
                  <a:lnTo>
                    <a:pt x="152" y="764"/>
                  </a:lnTo>
                  <a:lnTo>
                    <a:pt x="148" y="764"/>
                  </a:lnTo>
                  <a:lnTo>
                    <a:pt x="134" y="764"/>
                  </a:lnTo>
                  <a:lnTo>
                    <a:pt x="130" y="756"/>
                  </a:lnTo>
                  <a:lnTo>
                    <a:pt x="134" y="756"/>
                  </a:lnTo>
                  <a:lnTo>
                    <a:pt x="134" y="747"/>
                  </a:lnTo>
                  <a:lnTo>
                    <a:pt x="130" y="756"/>
                  </a:lnTo>
                  <a:lnTo>
                    <a:pt x="126" y="756"/>
                  </a:lnTo>
                  <a:lnTo>
                    <a:pt x="134" y="747"/>
                  </a:lnTo>
                  <a:lnTo>
                    <a:pt x="143" y="738"/>
                  </a:lnTo>
                  <a:lnTo>
                    <a:pt x="148" y="724"/>
                  </a:lnTo>
                  <a:lnTo>
                    <a:pt x="175" y="697"/>
                  </a:lnTo>
                  <a:lnTo>
                    <a:pt x="179" y="689"/>
                  </a:lnTo>
                  <a:lnTo>
                    <a:pt x="161" y="671"/>
                  </a:lnTo>
                  <a:lnTo>
                    <a:pt x="148" y="657"/>
                  </a:lnTo>
                  <a:lnTo>
                    <a:pt x="161" y="644"/>
                  </a:lnTo>
                  <a:lnTo>
                    <a:pt x="148" y="635"/>
                  </a:lnTo>
                  <a:lnTo>
                    <a:pt x="157" y="630"/>
                  </a:lnTo>
                  <a:lnTo>
                    <a:pt x="148" y="626"/>
                  </a:lnTo>
                  <a:lnTo>
                    <a:pt x="148" y="581"/>
                  </a:lnTo>
                  <a:lnTo>
                    <a:pt x="157" y="577"/>
                  </a:lnTo>
                  <a:lnTo>
                    <a:pt x="148" y="563"/>
                  </a:lnTo>
                  <a:lnTo>
                    <a:pt x="143" y="546"/>
                  </a:lnTo>
                  <a:lnTo>
                    <a:pt x="134" y="532"/>
                  </a:lnTo>
                  <a:lnTo>
                    <a:pt x="148" y="505"/>
                  </a:lnTo>
                  <a:lnTo>
                    <a:pt x="148" y="496"/>
                  </a:lnTo>
                  <a:lnTo>
                    <a:pt x="134" y="487"/>
                  </a:lnTo>
                  <a:lnTo>
                    <a:pt x="130" y="470"/>
                  </a:lnTo>
                  <a:lnTo>
                    <a:pt x="139" y="452"/>
                  </a:lnTo>
                  <a:lnTo>
                    <a:pt x="148" y="438"/>
                  </a:lnTo>
                  <a:lnTo>
                    <a:pt x="148" y="429"/>
                  </a:lnTo>
                  <a:lnTo>
                    <a:pt x="148" y="429"/>
                  </a:lnTo>
                  <a:lnTo>
                    <a:pt x="157" y="438"/>
                  </a:lnTo>
                  <a:lnTo>
                    <a:pt x="161" y="425"/>
                  </a:lnTo>
                  <a:lnTo>
                    <a:pt x="170" y="429"/>
                  </a:lnTo>
                  <a:lnTo>
                    <a:pt x="175" y="425"/>
                  </a:lnTo>
                  <a:lnTo>
                    <a:pt x="175" y="416"/>
                  </a:lnTo>
                  <a:lnTo>
                    <a:pt x="197" y="425"/>
                  </a:lnTo>
                  <a:lnTo>
                    <a:pt x="193" y="434"/>
                  </a:lnTo>
                  <a:lnTo>
                    <a:pt x="179" y="429"/>
                  </a:lnTo>
                  <a:lnTo>
                    <a:pt x="179" y="434"/>
                  </a:lnTo>
                  <a:lnTo>
                    <a:pt x="201" y="443"/>
                  </a:lnTo>
                  <a:lnTo>
                    <a:pt x="197" y="456"/>
                  </a:lnTo>
                  <a:lnTo>
                    <a:pt x="206" y="452"/>
                  </a:lnTo>
                  <a:lnTo>
                    <a:pt x="224" y="452"/>
                  </a:lnTo>
                  <a:lnTo>
                    <a:pt x="228" y="447"/>
                  </a:lnTo>
                  <a:lnTo>
                    <a:pt x="233" y="447"/>
                  </a:lnTo>
                  <a:lnTo>
                    <a:pt x="246" y="456"/>
                  </a:lnTo>
                  <a:lnTo>
                    <a:pt x="273" y="483"/>
                  </a:lnTo>
                  <a:lnTo>
                    <a:pt x="277" y="478"/>
                  </a:lnTo>
                  <a:lnTo>
                    <a:pt x="300" y="496"/>
                  </a:lnTo>
                  <a:lnTo>
                    <a:pt x="300" y="505"/>
                  </a:lnTo>
                  <a:lnTo>
                    <a:pt x="309" y="510"/>
                  </a:lnTo>
                  <a:lnTo>
                    <a:pt x="309" y="537"/>
                  </a:lnTo>
                  <a:lnTo>
                    <a:pt x="300" y="563"/>
                  </a:lnTo>
                  <a:lnTo>
                    <a:pt x="282" y="572"/>
                  </a:lnTo>
                  <a:lnTo>
                    <a:pt x="246" y="568"/>
                  </a:lnTo>
                  <a:lnTo>
                    <a:pt x="219" y="559"/>
                  </a:lnTo>
                  <a:lnTo>
                    <a:pt x="201" y="550"/>
                  </a:lnTo>
                  <a:lnTo>
                    <a:pt x="193" y="537"/>
                  </a:lnTo>
                  <a:lnTo>
                    <a:pt x="184" y="537"/>
                  </a:lnTo>
                  <a:lnTo>
                    <a:pt x="188" y="550"/>
                  </a:lnTo>
                  <a:lnTo>
                    <a:pt x="197" y="554"/>
                  </a:lnTo>
                  <a:lnTo>
                    <a:pt x="197" y="559"/>
                  </a:lnTo>
                  <a:lnTo>
                    <a:pt x="206" y="563"/>
                  </a:lnTo>
                  <a:lnTo>
                    <a:pt x="219" y="568"/>
                  </a:lnTo>
                  <a:lnTo>
                    <a:pt x="224" y="581"/>
                  </a:lnTo>
                  <a:lnTo>
                    <a:pt x="219" y="604"/>
                  </a:lnTo>
                  <a:lnTo>
                    <a:pt x="224" y="613"/>
                  </a:lnTo>
                  <a:lnTo>
                    <a:pt x="219" y="630"/>
                  </a:lnTo>
                  <a:lnTo>
                    <a:pt x="233" y="630"/>
                  </a:lnTo>
                  <a:lnTo>
                    <a:pt x="246" y="644"/>
                  </a:lnTo>
                  <a:lnTo>
                    <a:pt x="268" y="644"/>
                  </a:lnTo>
                  <a:lnTo>
                    <a:pt x="268" y="630"/>
                  </a:lnTo>
                  <a:lnTo>
                    <a:pt x="255" y="630"/>
                  </a:lnTo>
                  <a:lnTo>
                    <a:pt x="246" y="617"/>
                  </a:lnTo>
                  <a:lnTo>
                    <a:pt x="251" y="604"/>
                  </a:lnTo>
                  <a:lnTo>
                    <a:pt x="260" y="608"/>
                  </a:lnTo>
                  <a:lnTo>
                    <a:pt x="291" y="626"/>
                  </a:lnTo>
                  <a:lnTo>
                    <a:pt x="304" y="626"/>
                  </a:lnTo>
                  <a:lnTo>
                    <a:pt x="300" y="617"/>
                  </a:lnTo>
                  <a:lnTo>
                    <a:pt x="291" y="604"/>
                  </a:lnTo>
                  <a:lnTo>
                    <a:pt x="291" y="595"/>
                  </a:lnTo>
                  <a:lnTo>
                    <a:pt x="300" y="586"/>
                  </a:lnTo>
                  <a:lnTo>
                    <a:pt x="304" y="577"/>
                  </a:lnTo>
                  <a:lnTo>
                    <a:pt x="318" y="577"/>
                  </a:lnTo>
                  <a:lnTo>
                    <a:pt x="327" y="559"/>
                  </a:lnTo>
                  <a:lnTo>
                    <a:pt x="358" y="572"/>
                  </a:lnTo>
                  <a:lnTo>
                    <a:pt x="362" y="546"/>
                  </a:lnTo>
                  <a:lnTo>
                    <a:pt x="362" y="528"/>
                  </a:lnTo>
                  <a:lnTo>
                    <a:pt x="349" y="528"/>
                  </a:lnTo>
                  <a:lnTo>
                    <a:pt x="349" y="505"/>
                  </a:lnTo>
                  <a:lnTo>
                    <a:pt x="353" y="487"/>
                  </a:lnTo>
                  <a:lnTo>
                    <a:pt x="340" y="474"/>
                  </a:lnTo>
                  <a:lnTo>
                    <a:pt x="344" y="470"/>
                  </a:lnTo>
                  <a:lnTo>
                    <a:pt x="358" y="474"/>
                  </a:lnTo>
                  <a:lnTo>
                    <a:pt x="371" y="474"/>
                  </a:lnTo>
                  <a:lnTo>
                    <a:pt x="389" y="492"/>
                  </a:lnTo>
                  <a:lnTo>
                    <a:pt x="394" y="501"/>
                  </a:lnTo>
                  <a:lnTo>
                    <a:pt x="376" y="505"/>
                  </a:lnTo>
                  <a:lnTo>
                    <a:pt x="371" y="519"/>
                  </a:lnTo>
                  <a:lnTo>
                    <a:pt x="376" y="523"/>
                  </a:lnTo>
                  <a:lnTo>
                    <a:pt x="385" y="541"/>
                  </a:lnTo>
                  <a:lnTo>
                    <a:pt x="407" y="541"/>
                  </a:lnTo>
                  <a:lnTo>
                    <a:pt x="411" y="510"/>
                  </a:lnTo>
                  <a:lnTo>
                    <a:pt x="447" y="483"/>
                  </a:lnTo>
                  <a:lnTo>
                    <a:pt x="456" y="483"/>
                  </a:lnTo>
                  <a:lnTo>
                    <a:pt x="487" y="461"/>
                  </a:lnTo>
                  <a:lnTo>
                    <a:pt x="501" y="461"/>
                  </a:lnTo>
                  <a:lnTo>
                    <a:pt x="492" y="474"/>
                  </a:lnTo>
                  <a:lnTo>
                    <a:pt x="496" y="483"/>
                  </a:lnTo>
                  <a:lnTo>
                    <a:pt x="487" y="487"/>
                  </a:lnTo>
                  <a:lnTo>
                    <a:pt x="501" y="492"/>
                  </a:lnTo>
                  <a:lnTo>
                    <a:pt x="523" y="474"/>
                  </a:lnTo>
                  <a:lnTo>
                    <a:pt x="541" y="474"/>
                  </a:lnTo>
                  <a:lnTo>
                    <a:pt x="559" y="461"/>
                  </a:lnTo>
                  <a:lnTo>
                    <a:pt x="568" y="461"/>
                  </a:lnTo>
                  <a:lnTo>
                    <a:pt x="568" y="483"/>
                  </a:lnTo>
                  <a:lnTo>
                    <a:pt x="581" y="483"/>
                  </a:lnTo>
                  <a:lnTo>
                    <a:pt x="577" y="474"/>
                  </a:lnTo>
                  <a:lnTo>
                    <a:pt x="595" y="465"/>
                  </a:lnTo>
                  <a:lnTo>
                    <a:pt x="586" y="438"/>
                  </a:lnTo>
                  <a:lnTo>
                    <a:pt x="595" y="429"/>
                  </a:lnTo>
                  <a:lnTo>
                    <a:pt x="630" y="434"/>
                  </a:lnTo>
                  <a:lnTo>
                    <a:pt x="662" y="456"/>
                  </a:lnTo>
                  <a:lnTo>
                    <a:pt x="693" y="478"/>
                  </a:lnTo>
                  <a:lnTo>
                    <a:pt x="702" y="496"/>
                  </a:lnTo>
                  <a:lnTo>
                    <a:pt x="711" y="470"/>
                  </a:lnTo>
                  <a:lnTo>
                    <a:pt x="702" y="470"/>
                  </a:lnTo>
                  <a:lnTo>
                    <a:pt x="693" y="443"/>
                  </a:lnTo>
                  <a:lnTo>
                    <a:pt x="679" y="443"/>
                  </a:lnTo>
                  <a:lnTo>
                    <a:pt x="679" y="420"/>
                  </a:lnTo>
                  <a:lnTo>
                    <a:pt x="684" y="411"/>
                  </a:lnTo>
                  <a:lnTo>
                    <a:pt x="684" y="389"/>
                  </a:lnTo>
                  <a:lnTo>
                    <a:pt x="675" y="394"/>
                  </a:lnTo>
                  <a:lnTo>
                    <a:pt x="684" y="362"/>
                  </a:lnTo>
                  <a:lnTo>
                    <a:pt x="697" y="358"/>
                  </a:lnTo>
                  <a:lnTo>
                    <a:pt x="706" y="331"/>
                  </a:lnTo>
                  <a:lnTo>
                    <a:pt x="711" y="295"/>
                  </a:lnTo>
                  <a:lnTo>
                    <a:pt x="720" y="282"/>
                  </a:lnTo>
                  <a:lnTo>
                    <a:pt x="751" y="282"/>
                  </a:lnTo>
                  <a:lnTo>
                    <a:pt x="760" y="291"/>
                  </a:lnTo>
                  <a:lnTo>
                    <a:pt x="755" y="340"/>
                  </a:lnTo>
                  <a:lnTo>
                    <a:pt x="746" y="340"/>
                  </a:lnTo>
                  <a:lnTo>
                    <a:pt x="769" y="376"/>
                  </a:lnTo>
                  <a:lnTo>
                    <a:pt x="760" y="456"/>
                  </a:lnTo>
                  <a:lnTo>
                    <a:pt x="773" y="478"/>
                  </a:lnTo>
                  <a:lnTo>
                    <a:pt x="764" y="492"/>
                  </a:lnTo>
                  <a:lnTo>
                    <a:pt x="769" y="510"/>
                  </a:lnTo>
                  <a:lnTo>
                    <a:pt x="755" y="537"/>
                  </a:lnTo>
                  <a:lnTo>
                    <a:pt x="746" y="546"/>
                  </a:lnTo>
                  <a:lnTo>
                    <a:pt x="738" y="554"/>
                  </a:lnTo>
                  <a:lnTo>
                    <a:pt x="742" y="563"/>
                  </a:lnTo>
                  <a:lnTo>
                    <a:pt x="755" y="568"/>
                  </a:lnTo>
                  <a:lnTo>
                    <a:pt x="760" y="554"/>
                  </a:lnTo>
                  <a:lnTo>
                    <a:pt x="778" y="541"/>
                  </a:lnTo>
                  <a:lnTo>
                    <a:pt x="782" y="514"/>
                  </a:lnTo>
                  <a:lnTo>
                    <a:pt x="791" y="510"/>
                  </a:lnTo>
                  <a:lnTo>
                    <a:pt x="791" y="478"/>
                  </a:lnTo>
                  <a:lnTo>
                    <a:pt x="818" y="465"/>
                  </a:lnTo>
                  <a:lnTo>
                    <a:pt x="827" y="505"/>
                  </a:lnTo>
                  <a:lnTo>
                    <a:pt x="840" y="487"/>
                  </a:lnTo>
                  <a:lnTo>
                    <a:pt x="836" y="465"/>
                  </a:lnTo>
                  <a:lnTo>
                    <a:pt x="809" y="456"/>
                  </a:lnTo>
                  <a:lnTo>
                    <a:pt x="778" y="461"/>
                  </a:lnTo>
                  <a:lnTo>
                    <a:pt x="773" y="416"/>
                  </a:lnTo>
                  <a:lnTo>
                    <a:pt x="787" y="398"/>
                  </a:lnTo>
                  <a:lnTo>
                    <a:pt x="778" y="362"/>
                  </a:lnTo>
                  <a:lnTo>
                    <a:pt x="769" y="358"/>
                  </a:lnTo>
                  <a:lnTo>
                    <a:pt x="778" y="335"/>
                  </a:lnTo>
                  <a:lnTo>
                    <a:pt x="796" y="318"/>
                  </a:lnTo>
                  <a:lnTo>
                    <a:pt x="796" y="286"/>
                  </a:lnTo>
                  <a:lnTo>
                    <a:pt x="800" y="282"/>
                  </a:lnTo>
                  <a:lnTo>
                    <a:pt x="809" y="309"/>
                  </a:lnTo>
                  <a:lnTo>
                    <a:pt x="805" y="358"/>
                  </a:lnTo>
                  <a:lnTo>
                    <a:pt x="836" y="367"/>
                  </a:lnTo>
                  <a:lnTo>
                    <a:pt x="840" y="380"/>
                  </a:lnTo>
                  <a:lnTo>
                    <a:pt x="849" y="376"/>
                  </a:lnTo>
                  <a:lnTo>
                    <a:pt x="836" y="358"/>
                  </a:lnTo>
                  <a:lnTo>
                    <a:pt x="813" y="344"/>
                  </a:lnTo>
                  <a:lnTo>
                    <a:pt x="818" y="327"/>
                  </a:lnTo>
                  <a:lnTo>
                    <a:pt x="836" y="335"/>
                  </a:lnTo>
                  <a:lnTo>
                    <a:pt x="845" y="322"/>
                  </a:lnTo>
                  <a:lnTo>
                    <a:pt x="831" y="322"/>
                  </a:lnTo>
                  <a:lnTo>
                    <a:pt x="831" y="313"/>
                  </a:lnTo>
                  <a:lnTo>
                    <a:pt x="845" y="304"/>
                  </a:lnTo>
                  <a:lnTo>
                    <a:pt x="863" y="309"/>
                  </a:lnTo>
                  <a:lnTo>
                    <a:pt x="867" y="318"/>
                  </a:lnTo>
                  <a:lnTo>
                    <a:pt x="880" y="318"/>
                  </a:lnTo>
                  <a:lnTo>
                    <a:pt x="894" y="340"/>
                  </a:lnTo>
                  <a:lnTo>
                    <a:pt x="912" y="335"/>
                  </a:lnTo>
                  <a:lnTo>
                    <a:pt x="912" y="353"/>
                  </a:lnTo>
                  <a:lnTo>
                    <a:pt x="903" y="362"/>
                  </a:lnTo>
                  <a:lnTo>
                    <a:pt x="898" y="389"/>
                  </a:lnTo>
                  <a:lnTo>
                    <a:pt x="921" y="389"/>
                  </a:lnTo>
                  <a:lnTo>
                    <a:pt x="916" y="367"/>
                  </a:lnTo>
                  <a:lnTo>
                    <a:pt x="925" y="335"/>
                  </a:lnTo>
                  <a:lnTo>
                    <a:pt x="912" y="327"/>
                  </a:lnTo>
                  <a:lnTo>
                    <a:pt x="880" y="291"/>
                  </a:lnTo>
                  <a:lnTo>
                    <a:pt x="880" y="242"/>
                  </a:lnTo>
                  <a:lnTo>
                    <a:pt x="965" y="233"/>
                  </a:lnTo>
                  <a:lnTo>
                    <a:pt x="961" y="215"/>
                  </a:lnTo>
                  <a:lnTo>
                    <a:pt x="952" y="215"/>
                  </a:lnTo>
                  <a:lnTo>
                    <a:pt x="947" y="192"/>
                  </a:lnTo>
                  <a:lnTo>
                    <a:pt x="965" y="170"/>
                  </a:lnTo>
                  <a:lnTo>
                    <a:pt x="983" y="175"/>
                  </a:lnTo>
                  <a:lnTo>
                    <a:pt x="1001" y="157"/>
                  </a:lnTo>
                  <a:lnTo>
                    <a:pt x="1055" y="130"/>
                  </a:lnTo>
                  <a:lnTo>
                    <a:pt x="1050" y="117"/>
                  </a:lnTo>
                  <a:lnTo>
                    <a:pt x="1090" y="85"/>
                  </a:lnTo>
                  <a:lnTo>
                    <a:pt x="1113" y="90"/>
                  </a:lnTo>
                  <a:lnTo>
                    <a:pt x="1090" y="117"/>
                  </a:lnTo>
                  <a:lnTo>
                    <a:pt x="1108" y="117"/>
                  </a:lnTo>
                  <a:lnTo>
                    <a:pt x="1135" y="94"/>
                  </a:lnTo>
                  <a:lnTo>
                    <a:pt x="1144" y="94"/>
                  </a:lnTo>
                  <a:lnTo>
                    <a:pt x="1135" y="81"/>
                  </a:lnTo>
                  <a:lnTo>
                    <a:pt x="1166" y="76"/>
                  </a:lnTo>
                  <a:lnTo>
                    <a:pt x="1175" y="41"/>
                  </a:lnTo>
                  <a:lnTo>
                    <a:pt x="1198" y="14"/>
                  </a:lnTo>
                  <a:lnTo>
                    <a:pt x="1224" y="0"/>
                  </a:lnTo>
                  <a:lnTo>
                    <a:pt x="1247" y="18"/>
                  </a:lnTo>
                  <a:lnTo>
                    <a:pt x="1229" y="41"/>
                  </a:lnTo>
                  <a:lnTo>
                    <a:pt x="1256" y="54"/>
                  </a:lnTo>
                  <a:lnTo>
                    <a:pt x="1242" y="81"/>
                  </a:lnTo>
                  <a:lnTo>
                    <a:pt x="1260" y="81"/>
                  </a:lnTo>
                  <a:lnTo>
                    <a:pt x="1274" y="63"/>
                  </a:lnTo>
                  <a:lnTo>
                    <a:pt x="1323" y="58"/>
                  </a:lnTo>
                  <a:lnTo>
                    <a:pt x="1345" y="76"/>
                  </a:lnTo>
                  <a:lnTo>
                    <a:pt x="1349" y="94"/>
                  </a:lnTo>
                  <a:lnTo>
                    <a:pt x="1345" y="166"/>
                  </a:lnTo>
                  <a:lnTo>
                    <a:pt x="1332" y="184"/>
                  </a:lnTo>
                  <a:lnTo>
                    <a:pt x="1287" y="224"/>
                  </a:lnTo>
                  <a:lnTo>
                    <a:pt x="1269" y="255"/>
                  </a:lnTo>
                  <a:lnTo>
                    <a:pt x="1251" y="268"/>
                  </a:lnTo>
                  <a:lnTo>
                    <a:pt x="1251" y="273"/>
                  </a:lnTo>
                  <a:lnTo>
                    <a:pt x="1287" y="260"/>
                  </a:lnTo>
                  <a:lnTo>
                    <a:pt x="1300" y="233"/>
                  </a:lnTo>
                  <a:lnTo>
                    <a:pt x="1314" y="228"/>
                  </a:lnTo>
                  <a:lnTo>
                    <a:pt x="1314" y="242"/>
                  </a:lnTo>
                  <a:lnTo>
                    <a:pt x="1336" y="246"/>
                  </a:lnTo>
                  <a:lnTo>
                    <a:pt x="1341" y="233"/>
                  </a:lnTo>
                  <a:lnTo>
                    <a:pt x="1349" y="255"/>
                  </a:lnTo>
                  <a:lnTo>
                    <a:pt x="1372" y="242"/>
                  </a:lnTo>
                  <a:lnTo>
                    <a:pt x="1421" y="251"/>
                  </a:lnTo>
                  <a:lnTo>
                    <a:pt x="1416" y="273"/>
                  </a:lnTo>
                  <a:lnTo>
                    <a:pt x="1466" y="282"/>
                  </a:lnTo>
                  <a:lnTo>
                    <a:pt x="1479" y="286"/>
                  </a:lnTo>
                  <a:lnTo>
                    <a:pt x="1488" y="268"/>
                  </a:lnTo>
                  <a:lnTo>
                    <a:pt x="1475" y="255"/>
                  </a:lnTo>
                  <a:lnTo>
                    <a:pt x="1497" y="237"/>
                  </a:lnTo>
                  <a:lnTo>
                    <a:pt x="1528" y="255"/>
                  </a:lnTo>
                  <a:lnTo>
                    <a:pt x="1573" y="277"/>
                  </a:lnTo>
                  <a:lnTo>
                    <a:pt x="1564" y="335"/>
                  </a:lnTo>
                  <a:lnTo>
                    <a:pt x="1573" y="335"/>
                  </a:lnTo>
                  <a:lnTo>
                    <a:pt x="1577" y="344"/>
                  </a:lnTo>
                  <a:lnTo>
                    <a:pt x="1573" y="349"/>
                  </a:lnTo>
                  <a:lnTo>
                    <a:pt x="1582" y="371"/>
                  </a:lnTo>
                  <a:lnTo>
                    <a:pt x="1595" y="380"/>
                  </a:lnTo>
                  <a:lnTo>
                    <a:pt x="1600" y="394"/>
                  </a:lnTo>
                  <a:lnTo>
                    <a:pt x="1613" y="367"/>
                  </a:lnTo>
                  <a:lnTo>
                    <a:pt x="1617" y="331"/>
                  </a:lnTo>
                  <a:lnTo>
                    <a:pt x="1626" y="331"/>
                  </a:lnTo>
                  <a:lnTo>
                    <a:pt x="1635" y="358"/>
                  </a:lnTo>
                  <a:lnTo>
                    <a:pt x="1653" y="353"/>
                  </a:lnTo>
                  <a:lnTo>
                    <a:pt x="1662" y="344"/>
                  </a:lnTo>
                  <a:lnTo>
                    <a:pt x="1725" y="353"/>
                  </a:lnTo>
                  <a:lnTo>
                    <a:pt x="1720" y="331"/>
                  </a:lnTo>
                  <a:lnTo>
                    <a:pt x="1725" y="318"/>
                  </a:lnTo>
                  <a:lnTo>
                    <a:pt x="1711" y="318"/>
                  </a:lnTo>
                  <a:lnTo>
                    <a:pt x="1716" y="304"/>
                  </a:lnTo>
                  <a:lnTo>
                    <a:pt x="1734" y="304"/>
                  </a:lnTo>
                  <a:lnTo>
                    <a:pt x="1734" y="286"/>
                  </a:lnTo>
                  <a:lnTo>
                    <a:pt x="1823" y="309"/>
                  </a:lnTo>
                  <a:lnTo>
                    <a:pt x="1787" y="304"/>
                  </a:lnTo>
                  <a:lnTo>
                    <a:pt x="1783" y="322"/>
                  </a:lnTo>
                  <a:lnTo>
                    <a:pt x="1823" y="313"/>
                  </a:lnTo>
                  <a:lnTo>
                    <a:pt x="1796" y="344"/>
                  </a:lnTo>
                  <a:lnTo>
                    <a:pt x="1814" y="335"/>
                  </a:lnTo>
                  <a:lnTo>
                    <a:pt x="1832" y="313"/>
                  </a:lnTo>
                  <a:lnTo>
                    <a:pt x="1859" y="313"/>
                  </a:lnTo>
                  <a:lnTo>
                    <a:pt x="1868" y="331"/>
                  </a:lnTo>
                  <a:lnTo>
                    <a:pt x="1854" y="340"/>
                  </a:lnTo>
                  <a:lnTo>
                    <a:pt x="1868" y="349"/>
                  </a:lnTo>
                  <a:lnTo>
                    <a:pt x="1903" y="380"/>
                  </a:lnTo>
                  <a:lnTo>
                    <a:pt x="1975" y="376"/>
                  </a:lnTo>
                  <a:lnTo>
                    <a:pt x="1997" y="380"/>
                  </a:lnTo>
                  <a:lnTo>
                    <a:pt x="2011" y="411"/>
                  </a:lnTo>
                  <a:lnTo>
                    <a:pt x="2011" y="438"/>
                  </a:lnTo>
                  <a:lnTo>
                    <a:pt x="2037" y="443"/>
                  </a:lnTo>
                  <a:lnTo>
                    <a:pt x="2073" y="438"/>
                  </a:lnTo>
                  <a:lnTo>
                    <a:pt x="2078" y="447"/>
                  </a:lnTo>
                  <a:lnTo>
                    <a:pt x="2091" y="443"/>
                  </a:lnTo>
                  <a:lnTo>
                    <a:pt x="2104" y="447"/>
                  </a:lnTo>
                  <a:lnTo>
                    <a:pt x="2122" y="434"/>
                  </a:lnTo>
                  <a:lnTo>
                    <a:pt x="2122" y="420"/>
                  </a:lnTo>
                  <a:lnTo>
                    <a:pt x="2140" y="429"/>
                  </a:lnTo>
                  <a:lnTo>
                    <a:pt x="2127" y="443"/>
                  </a:lnTo>
                  <a:lnTo>
                    <a:pt x="2140" y="478"/>
                  </a:lnTo>
                  <a:lnTo>
                    <a:pt x="2167" y="470"/>
                  </a:lnTo>
                  <a:lnTo>
                    <a:pt x="2167" y="443"/>
                  </a:lnTo>
                  <a:lnTo>
                    <a:pt x="2158" y="438"/>
                  </a:lnTo>
                  <a:lnTo>
                    <a:pt x="2158" y="420"/>
                  </a:lnTo>
                  <a:lnTo>
                    <a:pt x="2203" y="429"/>
                  </a:lnTo>
                  <a:lnTo>
                    <a:pt x="2243" y="434"/>
                  </a:lnTo>
                  <a:lnTo>
                    <a:pt x="2283" y="452"/>
                  </a:lnTo>
                  <a:lnTo>
                    <a:pt x="2368" y="519"/>
                  </a:lnTo>
                  <a:lnTo>
                    <a:pt x="2377" y="537"/>
                  </a:lnTo>
                  <a:lnTo>
                    <a:pt x="2372" y="554"/>
                  </a:lnTo>
                  <a:lnTo>
                    <a:pt x="2386" y="559"/>
                  </a:lnTo>
                  <a:lnTo>
                    <a:pt x="2381" y="537"/>
                  </a:lnTo>
                  <a:lnTo>
                    <a:pt x="2422" y="541"/>
                  </a:lnTo>
                  <a:lnTo>
                    <a:pt x="2448" y="577"/>
                  </a:lnTo>
                  <a:lnTo>
                    <a:pt x="2435" y="595"/>
                  </a:lnTo>
                  <a:lnTo>
                    <a:pt x="2417" y="595"/>
                  </a:lnTo>
                  <a:lnTo>
                    <a:pt x="2417" y="617"/>
                  </a:lnTo>
                  <a:lnTo>
                    <a:pt x="2404" y="639"/>
                  </a:lnTo>
                  <a:lnTo>
                    <a:pt x="2377" y="626"/>
                  </a:lnTo>
                  <a:lnTo>
                    <a:pt x="2363" y="626"/>
                  </a:lnTo>
                  <a:lnTo>
                    <a:pt x="2359" y="604"/>
                  </a:lnTo>
                  <a:lnTo>
                    <a:pt x="2346" y="599"/>
                  </a:lnTo>
                  <a:lnTo>
                    <a:pt x="2319" y="599"/>
                  </a:lnTo>
                  <a:lnTo>
                    <a:pt x="2319" y="577"/>
                  </a:lnTo>
                  <a:lnTo>
                    <a:pt x="2305" y="581"/>
                  </a:lnTo>
                  <a:lnTo>
                    <a:pt x="2310" y="595"/>
                  </a:lnTo>
                  <a:lnTo>
                    <a:pt x="2305" y="608"/>
                  </a:lnTo>
                  <a:lnTo>
                    <a:pt x="2279" y="635"/>
                  </a:lnTo>
                  <a:lnTo>
                    <a:pt x="2256" y="621"/>
                  </a:lnTo>
                  <a:lnTo>
                    <a:pt x="2256" y="626"/>
                  </a:lnTo>
                  <a:lnTo>
                    <a:pt x="2274" y="644"/>
                  </a:lnTo>
                  <a:lnTo>
                    <a:pt x="2279" y="671"/>
                  </a:lnTo>
                  <a:lnTo>
                    <a:pt x="2292" y="684"/>
                  </a:lnTo>
                  <a:lnTo>
                    <a:pt x="2283" y="702"/>
                  </a:lnTo>
                  <a:lnTo>
                    <a:pt x="2261" y="693"/>
                  </a:lnTo>
                  <a:lnTo>
                    <a:pt x="2238" y="702"/>
                  </a:lnTo>
                  <a:lnTo>
                    <a:pt x="2207" y="724"/>
                  </a:lnTo>
                  <a:lnTo>
                    <a:pt x="2180" y="742"/>
                  </a:lnTo>
                  <a:lnTo>
                    <a:pt x="2162" y="782"/>
                  </a:lnTo>
                  <a:lnTo>
                    <a:pt x="2145" y="760"/>
                  </a:lnTo>
                  <a:lnTo>
                    <a:pt x="2127" y="760"/>
                  </a:lnTo>
                  <a:lnTo>
                    <a:pt x="2095" y="782"/>
                  </a:lnTo>
                  <a:lnTo>
                    <a:pt x="2095" y="782"/>
                  </a:lnTo>
                  <a:lnTo>
                    <a:pt x="2095" y="760"/>
                  </a:lnTo>
                  <a:lnTo>
                    <a:pt x="2082" y="787"/>
                  </a:lnTo>
                  <a:lnTo>
                    <a:pt x="2064" y="778"/>
                  </a:lnTo>
                  <a:lnTo>
                    <a:pt x="2037" y="832"/>
                  </a:lnTo>
                  <a:lnTo>
                    <a:pt x="2055" y="836"/>
                  </a:lnTo>
                  <a:lnTo>
                    <a:pt x="2046" y="863"/>
                  </a:lnTo>
                  <a:lnTo>
                    <a:pt x="2055" y="876"/>
                  </a:lnTo>
                  <a:lnTo>
                    <a:pt x="2046" y="885"/>
                  </a:lnTo>
                  <a:lnTo>
                    <a:pt x="2033" y="881"/>
                  </a:lnTo>
                  <a:lnTo>
                    <a:pt x="2028" y="907"/>
                  </a:lnTo>
                  <a:lnTo>
                    <a:pt x="2037" y="912"/>
                  </a:lnTo>
                  <a:lnTo>
                    <a:pt x="2033" y="925"/>
                  </a:lnTo>
                  <a:lnTo>
                    <a:pt x="2024" y="916"/>
                  </a:lnTo>
                  <a:lnTo>
                    <a:pt x="2011" y="930"/>
                  </a:lnTo>
                  <a:lnTo>
                    <a:pt x="2006" y="948"/>
                  </a:lnTo>
                  <a:lnTo>
                    <a:pt x="2015" y="952"/>
                  </a:lnTo>
                  <a:lnTo>
                    <a:pt x="2011" y="957"/>
                  </a:lnTo>
                  <a:lnTo>
                    <a:pt x="2006" y="952"/>
                  </a:lnTo>
                  <a:lnTo>
                    <a:pt x="1988" y="961"/>
                  </a:lnTo>
                  <a:lnTo>
                    <a:pt x="1988" y="975"/>
                  </a:lnTo>
                  <a:lnTo>
                    <a:pt x="1961" y="1015"/>
                  </a:lnTo>
                  <a:lnTo>
                    <a:pt x="1953" y="961"/>
                  </a:lnTo>
                  <a:lnTo>
                    <a:pt x="1944" y="903"/>
                  </a:lnTo>
                  <a:lnTo>
                    <a:pt x="1944" y="881"/>
                  </a:lnTo>
                  <a:lnTo>
                    <a:pt x="1953" y="854"/>
                  </a:lnTo>
                  <a:lnTo>
                    <a:pt x="1966" y="845"/>
                  </a:lnTo>
                  <a:lnTo>
                    <a:pt x="1961" y="836"/>
                  </a:lnTo>
                  <a:lnTo>
                    <a:pt x="1984" y="827"/>
                  </a:lnTo>
                  <a:lnTo>
                    <a:pt x="2060" y="747"/>
                  </a:lnTo>
                  <a:lnTo>
                    <a:pt x="2069" y="706"/>
                  </a:lnTo>
                  <a:lnTo>
                    <a:pt x="2082" y="693"/>
                  </a:lnTo>
                  <a:lnTo>
                    <a:pt x="2073" y="689"/>
                  </a:lnTo>
                  <a:lnTo>
                    <a:pt x="2055" y="697"/>
                  </a:lnTo>
                  <a:lnTo>
                    <a:pt x="2055" y="724"/>
                  </a:lnTo>
                  <a:lnTo>
                    <a:pt x="2042" y="724"/>
                  </a:lnTo>
                  <a:lnTo>
                    <a:pt x="2011" y="760"/>
                  </a:lnTo>
                  <a:lnTo>
                    <a:pt x="2006" y="742"/>
                  </a:lnTo>
                  <a:lnTo>
                    <a:pt x="2020" y="715"/>
                  </a:lnTo>
                  <a:lnTo>
                    <a:pt x="2006" y="724"/>
                  </a:lnTo>
                  <a:lnTo>
                    <a:pt x="1997" y="715"/>
                  </a:lnTo>
                  <a:lnTo>
                    <a:pt x="1961" y="729"/>
                  </a:lnTo>
                  <a:lnTo>
                    <a:pt x="1961" y="738"/>
                  </a:lnTo>
                  <a:lnTo>
                    <a:pt x="1935" y="764"/>
                  </a:lnTo>
                  <a:lnTo>
                    <a:pt x="1926" y="791"/>
                  </a:lnTo>
                  <a:lnTo>
                    <a:pt x="1939" y="791"/>
                  </a:lnTo>
                  <a:lnTo>
                    <a:pt x="1944" y="800"/>
                  </a:lnTo>
                  <a:lnTo>
                    <a:pt x="1886" y="809"/>
                  </a:lnTo>
                  <a:lnTo>
                    <a:pt x="1881" y="800"/>
                  </a:lnTo>
                  <a:lnTo>
                    <a:pt x="1899" y="796"/>
                  </a:lnTo>
                  <a:lnTo>
                    <a:pt x="1886" y="787"/>
                  </a:lnTo>
                  <a:lnTo>
                    <a:pt x="1854" y="782"/>
                  </a:lnTo>
                  <a:lnTo>
                    <a:pt x="1850" y="796"/>
                  </a:lnTo>
                  <a:lnTo>
                    <a:pt x="1760" y="796"/>
                  </a:lnTo>
                  <a:lnTo>
                    <a:pt x="1747" y="814"/>
                  </a:lnTo>
                  <a:lnTo>
                    <a:pt x="1734" y="814"/>
                  </a:lnTo>
                  <a:lnTo>
                    <a:pt x="1662" y="912"/>
                  </a:lnTo>
                  <a:lnTo>
                    <a:pt x="1671" y="916"/>
                  </a:lnTo>
                  <a:lnTo>
                    <a:pt x="1680" y="907"/>
                  </a:lnTo>
                  <a:lnTo>
                    <a:pt x="1698" y="907"/>
                  </a:lnTo>
                  <a:lnTo>
                    <a:pt x="1689" y="930"/>
                  </a:lnTo>
                  <a:lnTo>
                    <a:pt x="1689" y="939"/>
                  </a:lnTo>
                  <a:lnTo>
                    <a:pt x="1707" y="921"/>
                  </a:lnTo>
                  <a:lnTo>
                    <a:pt x="1720" y="925"/>
                  </a:lnTo>
                  <a:lnTo>
                    <a:pt x="1743" y="948"/>
                  </a:lnTo>
                  <a:lnTo>
                    <a:pt x="1743" y="983"/>
                  </a:lnTo>
                  <a:lnTo>
                    <a:pt x="1734" y="1001"/>
                  </a:lnTo>
                  <a:lnTo>
                    <a:pt x="1729" y="1064"/>
                  </a:lnTo>
                  <a:lnTo>
                    <a:pt x="1716" y="1091"/>
                  </a:lnTo>
                  <a:lnTo>
                    <a:pt x="1711" y="1091"/>
                  </a:lnTo>
                  <a:lnTo>
                    <a:pt x="1662" y="1158"/>
                  </a:lnTo>
                  <a:lnTo>
                    <a:pt x="1644" y="1176"/>
                  </a:lnTo>
                  <a:lnTo>
                    <a:pt x="1626" y="1180"/>
                  </a:lnTo>
                  <a:lnTo>
                    <a:pt x="1613" y="1180"/>
                  </a:lnTo>
                  <a:lnTo>
                    <a:pt x="1613" y="1171"/>
                  </a:lnTo>
                  <a:lnTo>
                    <a:pt x="1604" y="1180"/>
                  </a:lnTo>
                  <a:lnTo>
                    <a:pt x="1600" y="1180"/>
                  </a:lnTo>
                  <a:lnTo>
                    <a:pt x="1591" y="1185"/>
                  </a:lnTo>
                  <a:lnTo>
                    <a:pt x="1586" y="1176"/>
                  </a:lnTo>
                  <a:lnTo>
                    <a:pt x="1595" y="1167"/>
                  </a:lnTo>
                  <a:lnTo>
                    <a:pt x="1600" y="1162"/>
                  </a:lnTo>
                  <a:lnTo>
                    <a:pt x="1595" y="1140"/>
                  </a:lnTo>
                  <a:lnTo>
                    <a:pt x="1604" y="1131"/>
                  </a:lnTo>
                  <a:lnTo>
                    <a:pt x="1622" y="1131"/>
                  </a:lnTo>
                  <a:lnTo>
                    <a:pt x="1653" y="1082"/>
                  </a:lnTo>
                  <a:lnTo>
                    <a:pt x="1649" y="1068"/>
                  </a:lnTo>
                  <a:lnTo>
                    <a:pt x="1640" y="1064"/>
                  </a:lnTo>
                  <a:lnTo>
                    <a:pt x="1617" y="1082"/>
                  </a:lnTo>
                  <a:lnTo>
                    <a:pt x="1595" y="1073"/>
                  </a:lnTo>
                  <a:lnTo>
                    <a:pt x="1591" y="1055"/>
                  </a:lnTo>
                  <a:lnTo>
                    <a:pt x="1573" y="1042"/>
                  </a:lnTo>
                  <a:lnTo>
                    <a:pt x="1564" y="1042"/>
                  </a:lnTo>
                  <a:lnTo>
                    <a:pt x="1559" y="1037"/>
                  </a:lnTo>
                  <a:lnTo>
                    <a:pt x="1546" y="1037"/>
                  </a:lnTo>
                  <a:lnTo>
                    <a:pt x="1542" y="1015"/>
                  </a:lnTo>
                  <a:lnTo>
                    <a:pt x="1519" y="957"/>
                  </a:lnTo>
                  <a:lnTo>
                    <a:pt x="1492" y="943"/>
                  </a:lnTo>
                  <a:lnTo>
                    <a:pt x="1479" y="939"/>
                  </a:lnTo>
                  <a:lnTo>
                    <a:pt x="1452" y="943"/>
                  </a:lnTo>
                  <a:lnTo>
                    <a:pt x="1439" y="961"/>
                  </a:lnTo>
                  <a:lnTo>
                    <a:pt x="1439" y="966"/>
                  </a:lnTo>
                  <a:lnTo>
                    <a:pt x="1448" y="966"/>
                  </a:lnTo>
                  <a:lnTo>
                    <a:pt x="1448" y="979"/>
                  </a:lnTo>
                  <a:lnTo>
                    <a:pt x="1421" y="1015"/>
                  </a:lnTo>
                  <a:lnTo>
                    <a:pt x="1430" y="1024"/>
                  </a:lnTo>
                  <a:lnTo>
                    <a:pt x="1416" y="1028"/>
                  </a:lnTo>
                  <a:lnTo>
                    <a:pt x="1403" y="1042"/>
                  </a:lnTo>
                  <a:lnTo>
                    <a:pt x="1390" y="1033"/>
                  </a:lnTo>
                  <a:lnTo>
                    <a:pt x="1385" y="1028"/>
                  </a:lnTo>
                  <a:lnTo>
                    <a:pt x="1376" y="1028"/>
                  </a:lnTo>
                  <a:lnTo>
                    <a:pt x="1358" y="1019"/>
                  </a:lnTo>
                  <a:lnTo>
                    <a:pt x="1349" y="1024"/>
                  </a:lnTo>
                  <a:lnTo>
                    <a:pt x="1336" y="1037"/>
                  </a:lnTo>
                  <a:lnTo>
                    <a:pt x="1305" y="1046"/>
                  </a:lnTo>
                  <a:lnTo>
                    <a:pt x="1274" y="1042"/>
                  </a:lnTo>
                  <a:lnTo>
                    <a:pt x="1233" y="1019"/>
                  </a:lnTo>
                  <a:lnTo>
                    <a:pt x="1211" y="1024"/>
                  </a:lnTo>
                  <a:lnTo>
                    <a:pt x="1189" y="1019"/>
                  </a:lnTo>
                  <a:lnTo>
                    <a:pt x="1184" y="992"/>
                  </a:lnTo>
                  <a:lnTo>
                    <a:pt x="1140" y="979"/>
                  </a:lnTo>
                  <a:lnTo>
                    <a:pt x="1126" y="1001"/>
                  </a:lnTo>
                  <a:lnTo>
                    <a:pt x="1131" y="1010"/>
                  </a:lnTo>
                  <a:lnTo>
                    <a:pt x="1126" y="1033"/>
                  </a:lnTo>
                  <a:lnTo>
                    <a:pt x="1086" y="1033"/>
                  </a:lnTo>
                  <a:lnTo>
                    <a:pt x="1068" y="1015"/>
                  </a:lnTo>
                  <a:lnTo>
                    <a:pt x="1055" y="1015"/>
                  </a:lnTo>
                  <a:lnTo>
                    <a:pt x="1050" y="1010"/>
                  </a:lnTo>
                  <a:lnTo>
                    <a:pt x="1023" y="1019"/>
                  </a:lnTo>
                  <a:lnTo>
                    <a:pt x="997" y="1037"/>
                  </a:lnTo>
                  <a:lnTo>
                    <a:pt x="988" y="1037"/>
                  </a:lnTo>
                  <a:lnTo>
                    <a:pt x="983" y="1046"/>
                  </a:lnTo>
                  <a:lnTo>
                    <a:pt x="974" y="1046"/>
                  </a:lnTo>
                  <a:lnTo>
                    <a:pt x="974" y="1042"/>
                  </a:lnTo>
                  <a:lnTo>
                    <a:pt x="952" y="1037"/>
                  </a:lnTo>
                  <a:lnTo>
                    <a:pt x="943" y="1037"/>
                  </a:lnTo>
                  <a:lnTo>
                    <a:pt x="939" y="1024"/>
                  </a:lnTo>
                  <a:lnTo>
                    <a:pt x="934" y="1028"/>
                  </a:lnTo>
                  <a:lnTo>
                    <a:pt x="921" y="1010"/>
                  </a:lnTo>
                  <a:lnTo>
                    <a:pt x="912" y="1006"/>
                  </a:lnTo>
                  <a:lnTo>
                    <a:pt x="907" y="1006"/>
                  </a:lnTo>
                  <a:lnTo>
                    <a:pt x="903" y="1010"/>
                  </a:lnTo>
                  <a:lnTo>
                    <a:pt x="898" y="1015"/>
                  </a:lnTo>
                  <a:lnTo>
                    <a:pt x="889" y="1010"/>
                  </a:lnTo>
                  <a:lnTo>
                    <a:pt x="889" y="1001"/>
                  </a:lnTo>
                  <a:lnTo>
                    <a:pt x="880" y="1001"/>
                  </a:lnTo>
                  <a:lnTo>
                    <a:pt x="876" y="1006"/>
                  </a:lnTo>
                  <a:lnTo>
                    <a:pt x="872" y="1010"/>
                  </a:lnTo>
                  <a:lnTo>
                    <a:pt x="840" y="957"/>
                  </a:lnTo>
                  <a:lnTo>
                    <a:pt x="822" y="934"/>
                  </a:lnTo>
                  <a:lnTo>
                    <a:pt x="827" y="925"/>
                  </a:lnTo>
                  <a:lnTo>
                    <a:pt x="822" y="921"/>
                  </a:lnTo>
                  <a:lnTo>
                    <a:pt x="813" y="925"/>
                  </a:lnTo>
                  <a:lnTo>
                    <a:pt x="805" y="930"/>
                  </a:lnTo>
                  <a:lnTo>
                    <a:pt x="800" y="934"/>
                  </a:lnTo>
                  <a:lnTo>
                    <a:pt x="791" y="943"/>
                  </a:lnTo>
                  <a:lnTo>
                    <a:pt x="782" y="939"/>
                  </a:lnTo>
                  <a:lnTo>
                    <a:pt x="773" y="943"/>
                  </a:lnTo>
                  <a:lnTo>
                    <a:pt x="773" y="939"/>
                  </a:lnTo>
                  <a:lnTo>
                    <a:pt x="778" y="934"/>
                  </a:lnTo>
                  <a:lnTo>
                    <a:pt x="764" y="930"/>
                  </a:lnTo>
                  <a:lnTo>
                    <a:pt x="760" y="934"/>
                  </a:lnTo>
                  <a:lnTo>
                    <a:pt x="760" y="925"/>
                  </a:lnTo>
                  <a:lnTo>
                    <a:pt x="746" y="930"/>
                  </a:lnTo>
                  <a:lnTo>
                    <a:pt x="742" y="925"/>
                  </a:lnTo>
                  <a:lnTo>
                    <a:pt x="742" y="916"/>
                  </a:lnTo>
                  <a:lnTo>
                    <a:pt x="738" y="903"/>
                  </a:lnTo>
                  <a:lnTo>
                    <a:pt x="729" y="903"/>
                  </a:lnTo>
                  <a:lnTo>
                    <a:pt x="711" y="899"/>
                  </a:lnTo>
                  <a:lnTo>
                    <a:pt x="706" y="903"/>
                  </a:lnTo>
                  <a:lnTo>
                    <a:pt x="702" y="894"/>
                  </a:lnTo>
                  <a:lnTo>
                    <a:pt x="697" y="912"/>
                  </a:lnTo>
                  <a:lnTo>
                    <a:pt x="693" y="907"/>
                  </a:lnTo>
                  <a:lnTo>
                    <a:pt x="688" y="912"/>
                  </a:lnTo>
                  <a:lnTo>
                    <a:pt x="666" y="916"/>
                  </a:lnTo>
                  <a:lnTo>
                    <a:pt x="657" y="916"/>
                  </a:lnTo>
                  <a:lnTo>
                    <a:pt x="653" y="921"/>
                  </a:lnTo>
                  <a:lnTo>
                    <a:pt x="653" y="916"/>
                  </a:lnTo>
                  <a:lnTo>
                    <a:pt x="635" y="925"/>
                  </a:lnTo>
                  <a:lnTo>
                    <a:pt x="626" y="930"/>
                  </a:lnTo>
                  <a:lnTo>
                    <a:pt x="604" y="930"/>
                  </a:lnTo>
                  <a:lnTo>
                    <a:pt x="599" y="934"/>
                  </a:lnTo>
                  <a:lnTo>
                    <a:pt x="595" y="943"/>
                  </a:lnTo>
                  <a:lnTo>
                    <a:pt x="608" y="943"/>
                  </a:lnTo>
                  <a:lnTo>
                    <a:pt x="599" y="948"/>
                  </a:lnTo>
                  <a:lnTo>
                    <a:pt x="608" y="948"/>
                  </a:lnTo>
                  <a:lnTo>
                    <a:pt x="612" y="957"/>
                  </a:lnTo>
                  <a:lnTo>
                    <a:pt x="599" y="957"/>
                  </a:lnTo>
                  <a:lnTo>
                    <a:pt x="590" y="961"/>
                  </a:lnTo>
                  <a:lnTo>
                    <a:pt x="595" y="970"/>
                  </a:lnTo>
                  <a:lnTo>
                    <a:pt x="581" y="979"/>
                  </a:lnTo>
                  <a:lnTo>
                    <a:pt x="590" y="988"/>
                  </a:lnTo>
                  <a:lnTo>
                    <a:pt x="595" y="997"/>
                  </a:lnTo>
                  <a:lnTo>
                    <a:pt x="604" y="997"/>
                  </a:lnTo>
                  <a:lnTo>
                    <a:pt x="604" y="1006"/>
                  </a:lnTo>
                  <a:lnTo>
                    <a:pt x="604" y="1010"/>
                  </a:lnTo>
                  <a:lnTo>
                    <a:pt x="590" y="1015"/>
                  </a:lnTo>
                  <a:lnTo>
                    <a:pt x="581" y="1006"/>
                  </a:lnTo>
                  <a:lnTo>
                    <a:pt x="572" y="1019"/>
                  </a:lnTo>
                  <a:lnTo>
                    <a:pt x="572" y="1010"/>
                  </a:lnTo>
                  <a:lnTo>
                    <a:pt x="568" y="1006"/>
                  </a:lnTo>
                  <a:lnTo>
                    <a:pt x="563" y="1001"/>
                  </a:lnTo>
                  <a:lnTo>
                    <a:pt x="554" y="1001"/>
                  </a:lnTo>
                  <a:lnTo>
                    <a:pt x="545" y="1006"/>
                  </a:lnTo>
                  <a:lnTo>
                    <a:pt x="541" y="1001"/>
                  </a:lnTo>
                  <a:lnTo>
                    <a:pt x="532" y="1001"/>
                  </a:lnTo>
                  <a:lnTo>
                    <a:pt x="528" y="1010"/>
                  </a:lnTo>
                  <a:lnTo>
                    <a:pt x="523" y="1015"/>
                  </a:lnTo>
                  <a:lnTo>
                    <a:pt x="514" y="1010"/>
                  </a:lnTo>
                  <a:lnTo>
                    <a:pt x="510" y="1010"/>
                  </a:lnTo>
                  <a:lnTo>
                    <a:pt x="510" y="1015"/>
                  </a:lnTo>
                  <a:lnTo>
                    <a:pt x="505" y="1015"/>
                  </a:lnTo>
                  <a:lnTo>
                    <a:pt x="501" y="1010"/>
                  </a:lnTo>
                  <a:lnTo>
                    <a:pt x="496" y="997"/>
                  </a:lnTo>
                  <a:lnTo>
                    <a:pt x="483" y="992"/>
                  </a:lnTo>
                  <a:lnTo>
                    <a:pt x="478" y="997"/>
                  </a:lnTo>
                  <a:lnTo>
                    <a:pt x="474" y="988"/>
                  </a:lnTo>
                  <a:lnTo>
                    <a:pt x="465" y="992"/>
                  </a:lnTo>
                  <a:lnTo>
                    <a:pt x="461" y="997"/>
                  </a:lnTo>
                  <a:lnTo>
                    <a:pt x="461" y="992"/>
                  </a:lnTo>
                  <a:lnTo>
                    <a:pt x="456" y="988"/>
                  </a:lnTo>
                  <a:lnTo>
                    <a:pt x="452" y="997"/>
                  </a:lnTo>
                  <a:lnTo>
                    <a:pt x="434" y="1010"/>
                  </a:lnTo>
                  <a:lnTo>
                    <a:pt x="425" y="1015"/>
                  </a:lnTo>
                  <a:lnTo>
                    <a:pt x="420" y="1010"/>
                  </a:lnTo>
                  <a:lnTo>
                    <a:pt x="425" y="1028"/>
                  </a:lnTo>
                  <a:lnTo>
                    <a:pt x="420" y="1033"/>
                  </a:lnTo>
                  <a:lnTo>
                    <a:pt x="407" y="1019"/>
                  </a:lnTo>
                  <a:lnTo>
                    <a:pt x="402" y="1019"/>
                  </a:lnTo>
                  <a:lnTo>
                    <a:pt x="402" y="1033"/>
                  </a:lnTo>
                  <a:lnTo>
                    <a:pt x="398" y="1033"/>
                  </a:lnTo>
                  <a:lnTo>
                    <a:pt x="394" y="1046"/>
                  </a:lnTo>
                  <a:lnTo>
                    <a:pt x="394" y="1050"/>
                  </a:lnTo>
                  <a:lnTo>
                    <a:pt x="389" y="1064"/>
                  </a:lnTo>
                  <a:lnTo>
                    <a:pt x="398" y="1068"/>
                  </a:lnTo>
                  <a:lnTo>
                    <a:pt x="398" y="1073"/>
                  </a:lnTo>
                  <a:lnTo>
                    <a:pt x="402" y="1082"/>
                  </a:lnTo>
                  <a:lnTo>
                    <a:pt x="402" y="1073"/>
                  </a:lnTo>
                  <a:lnTo>
                    <a:pt x="411" y="1077"/>
                  </a:lnTo>
                  <a:lnTo>
                    <a:pt x="420" y="1091"/>
                  </a:lnTo>
                  <a:lnTo>
                    <a:pt x="425" y="1095"/>
                  </a:lnTo>
                  <a:lnTo>
                    <a:pt x="420" y="1095"/>
                  </a:lnTo>
                  <a:lnTo>
                    <a:pt x="416" y="1100"/>
                  </a:lnTo>
                  <a:lnTo>
                    <a:pt x="425" y="1100"/>
                  </a:lnTo>
                  <a:lnTo>
                    <a:pt x="425" y="1104"/>
                  </a:lnTo>
                  <a:lnTo>
                    <a:pt x="416" y="1118"/>
                  </a:lnTo>
                  <a:lnTo>
                    <a:pt x="402" y="1118"/>
                  </a:lnTo>
                  <a:lnTo>
                    <a:pt x="394" y="1144"/>
                  </a:lnTo>
                  <a:lnTo>
                    <a:pt x="398" y="1144"/>
                  </a:lnTo>
                  <a:lnTo>
                    <a:pt x="402" y="1158"/>
                  </a:lnTo>
                  <a:lnTo>
                    <a:pt x="407" y="1153"/>
                  </a:lnTo>
                  <a:lnTo>
                    <a:pt x="402" y="1176"/>
                  </a:lnTo>
                  <a:lnTo>
                    <a:pt x="420" y="1198"/>
                  </a:lnTo>
                  <a:lnTo>
                    <a:pt x="425" y="1202"/>
                  </a:lnTo>
                  <a:lnTo>
                    <a:pt x="416" y="1207"/>
                  </a:lnTo>
                  <a:lnTo>
                    <a:pt x="416" y="1207"/>
                  </a:lnTo>
                  <a:lnTo>
                    <a:pt x="411" y="1211"/>
                  </a:lnTo>
                  <a:lnTo>
                    <a:pt x="407" y="1211"/>
                  </a:lnTo>
                  <a:lnTo>
                    <a:pt x="398" y="1198"/>
                  </a:lnTo>
                  <a:lnTo>
                    <a:pt x="394" y="1198"/>
                  </a:lnTo>
                  <a:lnTo>
                    <a:pt x="389" y="1193"/>
                  </a:lnTo>
                  <a:lnTo>
                    <a:pt x="389" y="1193"/>
                  </a:lnTo>
                  <a:lnTo>
                    <a:pt x="380" y="1189"/>
                  </a:lnTo>
                  <a:lnTo>
                    <a:pt x="385" y="1185"/>
                  </a:lnTo>
                  <a:lnTo>
                    <a:pt x="371" y="1185"/>
                  </a:lnTo>
                  <a:lnTo>
                    <a:pt x="371" y="1180"/>
                  </a:lnTo>
                  <a:lnTo>
                    <a:pt x="362" y="1180"/>
                  </a:lnTo>
                  <a:lnTo>
                    <a:pt x="362" y="1185"/>
                  </a:lnTo>
                  <a:lnTo>
                    <a:pt x="358" y="1180"/>
                  </a:lnTo>
                  <a:lnTo>
                    <a:pt x="353" y="1185"/>
                  </a:lnTo>
                  <a:lnTo>
                    <a:pt x="349" y="1176"/>
                  </a:lnTo>
                  <a:lnTo>
                    <a:pt x="344" y="1180"/>
                  </a:lnTo>
                  <a:lnTo>
                    <a:pt x="340" y="1171"/>
                  </a:lnTo>
                  <a:lnTo>
                    <a:pt x="322" y="1171"/>
                  </a:lnTo>
                  <a:lnTo>
                    <a:pt x="313" y="1167"/>
                  </a:lnTo>
                  <a:lnTo>
                    <a:pt x="300" y="1167"/>
                  </a:lnTo>
                  <a:lnTo>
                    <a:pt x="295" y="1167"/>
                  </a:lnTo>
                  <a:lnTo>
                    <a:pt x="291" y="1167"/>
                  </a:lnTo>
                  <a:lnTo>
                    <a:pt x="255" y="1131"/>
                  </a:lnTo>
                  <a:lnTo>
                    <a:pt x="251" y="1126"/>
                  </a:lnTo>
                  <a:lnTo>
                    <a:pt x="251" y="1122"/>
                  </a:lnTo>
                  <a:lnTo>
                    <a:pt x="260" y="1122"/>
                  </a:lnTo>
                  <a:lnTo>
                    <a:pt x="264" y="1122"/>
                  </a:lnTo>
                  <a:lnTo>
                    <a:pt x="264" y="1113"/>
                  </a:lnTo>
                  <a:lnTo>
                    <a:pt x="268" y="1109"/>
                  </a:lnTo>
                  <a:lnTo>
                    <a:pt x="273" y="1109"/>
                  </a:lnTo>
                  <a:lnTo>
                    <a:pt x="268" y="1104"/>
                  </a:lnTo>
                  <a:lnTo>
                    <a:pt x="264" y="1104"/>
                  </a:lnTo>
                  <a:lnTo>
                    <a:pt x="260" y="1100"/>
                  </a:lnTo>
                  <a:lnTo>
                    <a:pt x="268" y="1095"/>
                  </a:lnTo>
                  <a:lnTo>
                    <a:pt x="273" y="1091"/>
                  </a:lnTo>
                  <a:lnTo>
                    <a:pt x="286" y="1086"/>
                  </a:lnTo>
                  <a:lnTo>
                    <a:pt x="282" y="1082"/>
                  </a:lnTo>
                  <a:lnTo>
                    <a:pt x="273" y="1086"/>
                  </a:lnTo>
                  <a:lnTo>
                    <a:pt x="282" y="1073"/>
                  </a:lnTo>
                  <a:lnTo>
                    <a:pt x="291" y="1068"/>
                  </a:lnTo>
                  <a:lnTo>
                    <a:pt x="295" y="1059"/>
                  </a:lnTo>
                  <a:lnTo>
                    <a:pt x="291" y="1055"/>
                  </a:lnTo>
                  <a:lnTo>
                    <a:pt x="295" y="1050"/>
                  </a:lnTo>
                  <a:lnTo>
                    <a:pt x="291" y="1046"/>
                  </a:lnTo>
                  <a:lnTo>
                    <a:pt x="295" y="1042"/>
                  </a:lnTo>
                  <a:lnTo>
                    <a:pt x="282" y="1033"/>
                  </a:lnTo>
                  <a:lnTo>
                    <a:pt x="277" y="1028"/>
                  </a:lnTo>
                  <a:lnTo>
                    <a:pt x="273" y="1033"/>
                  </a:lnTo>
                  <a:lnTo>
                    <a:pt x="273" y="1028"/>
                  </a:lnTo>
                  <a:lnTo>
                    <a:pt x="264" y="1028"/>
                  </a:lnTo>
                  <a:lnTo>
                    <a:pt x="264" y="1024"/>
                  </a:lnTo>
                  <a:lnTo>
                    <a:pt x="260" y="1019"/>
                  </a:lnTo>
                  <a:lnTo>
                    <a:pt x="251" y="1019"/>
                  </a:lnTo>
                  <a:lnTo>
                    <a:pt x="246" y="1024"/>
                  </a:lnTo>
                  <a:lnTo>
                    <a:pt x="242" y="1019"/>
                  </a:lnTo>
                  <a:lnTo>
                    <a:pt x="233" y="1019"/>
                  </a:lnTo>
                  <a:lnTo>
                    <a:pt x="228" y="1006"/>
                  </a:lnTo>
                  <a:lnTo>
                    <a:pt x="228" y="997"/>
                  </a:lnTo>
                  <a:lnTo>
                    <a:pt x="210" y="992"/>
                  </a:lnTo>
                  <a:lnTo>
                    <a:pt x="215" y="983"/>
                  </a:lnTo>
                  <a:lnTo>
                    <a:pt x="210" y="983"/>
                  </a:lnTo>
                  <a:lnTo>
                    <a:pt x="206" y="975"/>
                  </a:lnTo>
                  <a:lnTo>
                    <a:pt x="197" y="975"/>
                  </a:lnTo>
                  <a:lnTo>
                    <a:pt x="188" y="979"/>
                  </a:lnTo>
                  <a:lnTo>
                    <a:pt x="184" y="975"/>
                  </a:lnTo>
                  <a:lnTo>
                    <a:pt x="179" y="979"/>
                  </a:lnTo>
                  <a:lnTo>
                    <a:pt x="175" y="979"/>
                  </a:lnTo>
                  <a:lnTo>
                    <a:pt x="175" y="970"/>
                  </a:lnTo>
                  <a:lnTo>
                    <a:pt x="170" y="957"/>
                  </a:lnTo>
                  <a:lnTo>
                    <a:pt x="175" y="952"/>
                  </a:lnTo>
                  <a:lnTo>
                    <a:pt x="179" y="957"/>
                  </a:lnTo>
                  <a:lnTo>
                    <a:pt x="179" y="957"/>
                  </a:lnTo>
                  <a:lnTo>
                    <a:pt x="184" y="952"/>
                  </a:lnTo>
                  <a:lnTo>
                    <a:pt x="188" y="948"/>
                  </a:lnTo>
                  <a:lnTo>
                    <a:pt x="184" y="948"/>
                  </a:lnTo>
                  <a:lnTo>
                    <a:pt x="179" y="939"/>
                  </a:lnTo>
                  <a:lnTo>
                    <a:pt x="170" y="943"/>
                  </a:lnTo>
                  <a:lnTo>
                    <a:pt x="170" y="930"/>
                  </a:lnTo>
                  <a:lnTo>
                    <a:pt x="166" y="925"/>
                  </a:lnTo>
                  <a:lnTo>
                    <a:pt x="166" y="921"/>
                  </a:lnTo>
                  <a:lnTo>
                    <a:pt x="166" y="912"/>
                  </a:lnTo>
                  <a:lnTo>
                    <a:pt x="166" y="907"/>
                  </a:lnTo>
                  <a:lnTo>
                    <a:pt x="161" y="894"/>
                  </a:lnTo>
                  <a:lnTo>
                    <a:pt x="152" y="885"/>
                  </a:lnTo>
                  <a:lnTo>
                    <a:pt x="143" y="890"/>
                  </a:lnTo>
                  <a:lnTo>
                    <a:pt x="139" y="881"/>
                  </a:lnTo>
                  <a:lnTo>
                    <a:pt x="130" y="881"/>
                  </a:lnTo>
                  <a:lnTo>
                    <a:pt x="130" y="876"/>
                  </a:lnTo>
                  <a:lnTo>
                    <a:pt x="126" y="876"/>
                  </a:lnTo>
                  <a:lnTo>
                    <a:pt x="121" y="876"/>
                  </a:lnTo>
                  <a:lnTo>
                    <a:pt x="121" y="867"/>
                  </a:lnTo>
                  <a:lnTo>
                    <a:pt x="121" y="849"/>
                  </a:lnTo>
                  <a:lnTo>
                    <a:pt x="126" y="845"/>
                  </a:lnTo>
                  <a:lnTo>
                    <a:pt x="121" y="840"/>
                  </a:lnTo>
                  <a:lnTo>
                    <a:pt x="117" y="840"/>
                  </a:lnTo>
                  <a:close/>
                  <a:moveTo>
                    <a:pt x="157" y="724"/>
                  </a:moveTo>
                  <a:lnTo>
                    <a:pt x="166" y="715"/>
                  </a:lnTo>
                  <a:lnTo>
                    <a:pt x="175" y="724"/>
                  </a:lnTo>
                  <a:lnTo>
                    <a:pt x="184" y="724"/>
                  </a:lnTo>
                  <a:lnTo>
                    <a:pt x="188" y="733"/>
                  </a:lnTo>
                  <a:lnTo>
                    <a:pt x="197" y="747"/>
                  </a:lnTo>
                  <a:lnTo>
                    <a:pt x="188" y="751"/>
                  </a:lnTo>
                  <a:lnTo>
                    <a:pt x="188" y="764"/>
                  </a:lnTo>
                  <a:lnTo>
                    <a:pt x="184" y="760"/>
                  </a:lnTo>
                  <a:lnTo>
                    <a:pt x="175" y="760"/>
                  </a:lnTo>
                  <a:lnTo>
                    <a:pt x="175" y="769"/>
                  </a:lnTo>
                  <a:lnTo>
                    <a:pt x="170" y="769"/>
                  </a:lnTo>
                  <a:lnTo>
                    <a:pt x="157" y="738"/>
                  </a:lnTo>
                  <a:lnTo>
                    <a:pt x="152" y="742"/>
                  </a:lnTo>
                  <a:lnTo>
                    <a:pt x="148" y="733"/>
                  </a:lnTo>
                  <a:lnTo>
                    <a:pt x="157" y="733"/>
                  </a:lnTo>
                  <a:lnTo>
                    <a:pt x="157" y="724"/>
                  </a:lnTo>
                  <a:close/>
                  <a:moveTo>
                    <a:pt x="429" y="443"/>
                  </a:moveTo>
                  <a:lnTo>
                    <a:pt x="420" y="447"/>
                  </a:lnTo>
                  <a:lnTo>
                    <a:pt x="416" y="452"/>
                  </a:lnTo>
                  <a:lnTo>
                    <a:pt x="416" y="465"/>
                  </a:lnTo>
                  <a:lnTo>
                    <a:pt x="429" y="470"/>
                  </a:lnTo>
                  <a:lnTo>
                    <a:pt x="434" y="465"/>
                  </a:lnTo>
                  <a:lnTo>
                    <a:pt x="438" y="452"/>
                  </a:lnTo>
                  <a:lnTo>
                    <a:pt x="429" y="443"/>
                  </a:lnTo>
                  <a:close/>
                  <a:moveTo>
                    <a:pt x="532" y="268"/>
                  </a:moveTo>
                  <a:lnTo>
                    <a:pt x="541" y="255"/>
                  </a:lnTo>
                  <a:lnTo>
                    <a:pt x="537" y="251"/>
                  </a:lnTo>
                  <a:lnTo>
                    <a:pt x="545" y="246"/>
                  </a:lnTo>
                  <a:lnTo>
                    <a:pt x="541" y="242"/>
                  </a:lnTo>
                  <a:lnTo>
                    <a:pt x="550" y="237"/>
                  </a:lnTo>
                  <a:lnTo>
                    <a:pt x="563" y="215"/>
                  </a:lnTo>
                  <a:lnTo>
                    <a:pt x="559" y="201"/>
                  </a:lnTo>
                  <a:lnTo>
                    <a:pt x="568" y="197"/>
                  </a:lnTo>
                  <a:lnTo>
                    <a:pt x="568" y="188"/>
                  </a:lnTo>
                  <a:lnTo>
                    <a:pt x="577" y="192"/>
                  </a:lnTo>
                  <a:lnTo>
                    <a:pt x="590" y="184"/>
                  </a:lnTo>
                  <a:lnTo>
                    <a:pt x="590" y="175"/>
                  </a:lnTo>
                  <a:lnTo>
                    <a:pt x="630" y="143"/>
                  </a:lnTo>
                  <a:lnTo>
                    <a:pt x="635" y="148"/>
                  </a:lnTo>
                  <a:lnTo>
                    <a:pt x="702" y="99"/>
                  </a:lnTo>
                  <a:lnTo>
                    <a:pt x="711" y="67"/>
                  </a:lnTo>
                  <a:lnTo>
                    <a:pt x="702" y="54"/>
                  </a:lnTo>
                  <a:lnTo>
                    <a:pt x="688" y="49"/>
                  </a:lnTo>
                  <a:lnTo>
                    <a:pt x="671" y="63"/>
                  </a:lnTo>
                  <a:lnTo>
                    <a:pt x="644" y="85"/>
                  </a:lnTo>
                  <a:lnTo>
                    <a:pt x="612" y="94"/>
                  </a:lnTo>
                  <a:lnTo>
                    <a:pt x="595" y="94"/>
                  </a:lnTo>
                  <a:lnTo>
                    <a:pt x="595" y="108"/>
                  </a:lnTo>
                  <a:lnTo>
                    <a:pt x="586" y="103"/>
                  </a:lnTo>
                  <a:lnTo>
                    <a:pt x="563" y="125"/>
                  </a:lnTo>
                  <a:lnTo>
                    <a:pt x="554" y="143"/>
                  </a:lnTo>
                  <a:lnTo>
                    <a:pt x="528" y="166"/>
                  </a:lnTo>
                  <a:lnTo>
                    <a:pt x="519" y="161"/>
                  </a:lnTo>
                  <a:lnTo>
                    <a:pt x="519" y="179"/>
                  </a:lnTo>
                  <a:lnTo>
                    <a:pt x="523" y="175"/>
                  </a:lnTo>
                  <a:lnTo>
                    <a:pt x="528" y="179"/>
                  </a:lnTo>
                  <a:lnTo>
                    <a:pt x="519" y="188"/>
                  </a:lnTo>
                  <a:lnTo>
                    <a:pt x="528" y="188"/>
                  </a:lnTo>
                  <a:lnTo>
                    <a:pt x="514" y="192"/>
                  </a:lnTo>
                  <a:lnTo>
                    <a:pt x="523" y="201"/>
                  </a:lnTo>
                  <a:lnTo>
                    <a:pt x="514" y="201"/>
                  </a:lnTo>
                  <a:lnTo>
                    <a:pt x="519" y="215"/>
                  </a:lnTo>
                  <a:lnTo>
                    <a:pt x="510" y="215"/>
                  </a:lnTo>
                  <a:lnTo>
                    <a:pt x="505" y="219"/>
                  </a:lnTo>
                  <a:lnTo>
                    <a:pt x="505" y="224"/>
                  </a:lnTo>
                  <a:lnTo>
                    <a:pt x="487" y="237"/>
                  </a:lnTo>
                  <a:lnTo>
                    <a:pt x="496" y="246"/>
                  </a:lnTo>
                  <a:lnTo>
                    <a:pt x="514" y="242"/>
                  </a:lnTo>
                  <a:lnTo>
                    <a:pt x="496" y="260"/>
                  </a:lnTo>
                  <a:lnTo>
                    <a:pt x="501" y="260"/>
                  </a:lnTo>
                  <a:lnTo>
                    <a:pt x="514" y="255"/>
                  </a:lnTo>
                  <a:lnTo>
                    <a:pt x="528" y="264"/>
                  </a:lnTo>
                  <a:lnTo>
                    <a:pt x="532" y="268"/>
                  </a:lnTo>
                  <a:close/>
                  <a:moveTo>
                    <a:pt x="550" y="385"/>
                  </a:moveTo>
                  <a:lnTo>
                    <a:pt x="537" y="376"/>
                  </a:lnTo>
                  <a:lnTo>
                    <a:pt x="519" y="349"/>
                  </a:lnTo>
                  <a:lnTo>
                    <a:pt x="519" y="327"/>
                  </a:lnTo>
                  <a:lnTo>
                    <a:pt x="523" y="300"/>
                  </a:lnTo>
                  <a:lnTo>
                    <a:pt x="528" y="268"/>
                  </a:lnTo>
                  <a:lnTo>
                    <a:pt x="510" y="260"/>
                  </a:lnTo>
                  <a:lnTo>
                    <a:pt x="501" y="264"/>
                  </a:lnTo>
                  <a:lnTo>
                    <a:pt x="487" y="268"/>
                  </a:lnTo>
                  <a:lnTo>
                    <a:pt x="483" y="282"/>
                  </a:lnTo>
                  <a:lnTo>
                    <a:pt x="478" y="282"/>
                  </a:lnTo>
                  <a:lnTo>
                    <a:pt x="470" y="291"/>
                  </a:lnTo>
                  <a:lnTo>
                    <a:pt x="474" y="295"/>
                  </a:lnTo>
                  <a:lnTo>
                    <a:pt x="470" y="322"/>
                  </a:lnTo>
                  <a:lnTo>
                    <a:pt x="461" y="322"/>
                  </a:lnTo>
                  <a:lnTo>
                    <a:pt x="456" y="335"/>
                  </a:lnTo>
                  <a:lnTo>
                    <a:pt x="461" y="344"/>
                  </a:lnTo>
                  <a:lnTo>
                    <a:pt x="465" y="349"/>
                  </a:lnTo>
                  <a:lnTo>
                    <a:pt x="483" y="353"/>
                  </a:lnTo>
                  <a:lnTo>
                    <a:pt x="487" y="358"/>
                  </a:lnTo>
                  <a:lnTo>
                    <a:pt x="474" y="358"/>
                  </a:lnTo>
                  <a:lnTo>
                    <a:pt x="474" y="362"/>
                  </a:lnTo>
                  <a:lnTo>
                    <a:pt x="478" y="362"/>
                  </a:lnTo>
                  <a:lnTo>
                    <a:pt x="483" y="380"/>
                  </a:lnTo>
                  <a:lnTo>
                    <a:pt x="483" y="367"/>
                  </a:lnTo>
                  <a:lnTo>
                    <a:pt x="492" y="367"/>
                  </a:lnTo>
                  <a:lnTo>
                    <a:pt x="501" y="371"/>
                  </a:lnTo>
                  <a:lnTo>
                    <a:pt x="492" y="376"/>
                  </a:lnTo>
                  <a:lnTo>
                    <a:pt x="487" y="389"/>
                  </a:lnTo>
                  <a:lnTo>
                    <a:pt x="501" y="398"/>
                  </a:lnTo>
                  <a:lnTo>
                    <a:pt x="514" y="403"/>
                  </a:lnTo>
                  <a:lnTo>
                    <a:pt x="519" y="394"/>
                  </a:lnTo>
                  <a:lnTo>
                    <a:pt x="532" y="398"/>
                  </a:lnTo>
                  <a:lnTo>
                    <a:pt x="528" y="385"/>
                  </a:lnTo>
                  <a:lnTo>
                    <a:pt x="541" y="394"/>
                  </a:lnTo>
                  <a:lnTo>
                    <a:pt x="550" y="385"/>
                  </a:lnTo>
                  <a:close/>
                  <a:moveTo>
                    <a:pt x="729" y="255"/>
                  </a:moveTo>
                  <a:lnTo>
                    <a:pt x="729" y="277"/>
                  </a:lnTo>
                  <a:lnTo>
                    <a:pt x="733" y="277"/>
                  </a:lnTo>
                  <a:lnTo>
                    <a:pt x="751" y="268"/>
                  </a:lnTo>
                  <a:lnTo>
                    <a:pt x="751" y="260"/>
                  </a:lnTo>
                  <a:lnTo>
                    <a:pt x="738" y="251"/>
                  </a:lnTo>
                  <a:lnTo>
                    <a:pt x="729" y="255"/>
                  </a:lnTo>
                  <a:close/>
                  <a:moveTo>
                    <a:pt x="1224" y="979"/>
                  </a:moveTo>
                  <a:lnTo>
                    <a:pt x="1229" y="979"/>
                  </a:lnTo>
                  <a:lnTo>
                    <a:pt x="1256" y="957"/>
                  </a:lnTo>
                  <a:lnTo>
                    <a:pt x="1265" y="948"/>
                  </a:lnTo>
                  <a:lnTo>
                    <a:pt x="1260" y="943"/>
                  </a:lnTo>
                  <a:lnTo>
                    <a:pt x="1278" y="921"/>
                  </a:lnTo>
                  <a:lnTo>
                    <a:pt x="1282" y="912"/>
                  </a:lnTo>
                  <a:lnTo>
                    <a:pt x="1282" y="894"/>
                  </a:lnTo>
                  <a:lnTo>
                    <a:pt x="1291" y="885"/>
                  </a:lnTo>
                  <a:lnTo>
                    <a:pt x="1296" y="890"/>
                  </a:lnTo>
                  <a:lnTo>
                    <a:pt x="1287" y="925"/>
                  </a:lnTo>
                  <a:lnTo>
                    <a:pt x="1291" y="930"/>
                  </a:lnTo>
                  <a:lnTo>
                    <a:pt x="1287" y="939"/>
                  </a:lnTo>
                  <a:lnTo>
                    <a:pt x="1282" y="934"/>
                  </a:lnTo>
                  <a:lnTo>
                    <a:pt x="1278" y="939"/>
                  </a:lnTo>
                  <a:lnTo>
                    <a:pt x="1278" y="943"/>
                  </a:lnTo>
                  <a:lnTo>
                    <a:pt x="1265" y="961"/>
                  </a:lnTo>
                  <a:lnTo>
                    <a:pt x="1256" y="970"/>
                  </a:lnTo>
                  <a:lnTo>
                    <a:pt x="1251" y="979"/>
                  </a:lnTo>
                  <a:lnTo>
                    <a:pt x="1247" y="975"/>
                  </a:lnTo>
                  <a:lnTo>
                    <a:pt x="1238" y="988"/>
                  </a:lnTo>
                  <a:lnTo>
                    <a:pt x="1224" y="992"/>
                  </a:lnTo>
                  <a:lnTo>
                    <a:pt x="1207" y="988"/>
                  </a:lnTo>
                  <a:lnTo>
                    <a:pt x="1220" y="983"/>
                  </a:lnTo>
                  <a:lnTo>
                    <a:pt x="1224" y="979"/>
                  </a:lnTo>
                  <a:close/>
                  <a:moveTo>
                    <a:pt x="1716" y="108"/>
                  </a:moveTo>
                  <a:lnTo>
                    <a:pt x="1693" y="121"/>
                  </a:lnTo>
                  <a:lnTo>
                    <a:pt x="1680" y="139"/>
                  </a:lnTo>
                  <a:lnTo>
                    <a:pt x="1676" y="166"/>
                  </a:lnTo>
                  <a:lnTo>
                    <a:pt x="1680" y="179"/>
                  </a:lnTo>
                  <a:lnTo>
                    <a:pt x="1698" y="192"/>
                  </a:lnTo>
                  <a:lnTo>
                    <a:pt x="1716" y="201"/>
                  </a:lnTo>
                  <a:lnTo>
                    <a:pt x="1725" y="188"/>
                  </a:lnTo>
                  <a:lnTo>
                    <a:pt x="1729" y="197"/>
                  </a:lnTo>
                  <a:lnTo>
                    <a:pt x="1738" y="192"/>
                  </a:lnTo>
                  <a:lnTo>
                    <a:pt x="1747" y="184"/>
                  </a:lnTo>
                  <a:lnTo>
                    <a:pt x="1751" y="188"/>
                  </a:lnTo>
                  <a:lnTo>
                    <a:pt x="1760" y="184"/>
                  </a:lnTo>
                  <a:lnTo>
                    <a:pt x="1765" y="188"/>
                  </a:lnTo>
                  <a:lnTo>
                    <a:pt x="1769" y="184"/>
                  </a:lnTo>
                  <a:lnTo>
                    <a:pt x="1760" y="179"/>
                  </a:lnTo>
                  <a:lnTo>
                    <a:pt x="1756" y="166"/>
                  </a:lnTo>
                  <a:lnTo>
                    <a:pt x="1756" y="148"/>
                  </a:lnTo>
                  <a:lnTo>
                    <a:pt x="1760" y="130"/>
                  </a:lnTo>
                  <a:lnTo>
                    <a:pt x="1765" y="139"/>
                  </a:lnTo>
                  <a:lnTo>
                    <a:pt x="1760" y="152"/>
                  </a:lnTo>
                  <a:lnTo>
                    <a:pt x="1765" y="175"/>
                  </a:lnTo>
                  <a:lnTo>
                    <a:pt x="1774" y="179"/>
                  </a:lnTo>
                  <a:lnTo>
                    <a:pt x="1783" y="175"/>
                  </a:lnTo>
                  <a:lnTo>
                    <a:pt x="1792" y="161"/>
                  </a:lnTo>
                  <a:lnTo>
                    <a:pt x="1787" y="148"/>
                  </a:lnTo>
                  <a:lnTo>
                    <a:pt x="1796" y="139"/>
                  </a:lnTo>
                  <a:lnTo>
                    <a:pt x="1765" y="121"/>
                  </a:lnTo>
                  <a:lnTo>
                    <a:pt x="1747" y="103"/>
                  </a:lnTo>
                  <a:lnTo>
                    <a:pt x="1738" y="121"/>
                  </a:lnTo>
                  <a:lnTo>
                    <a:pt x="1734" y="134"/>
                  </a:lnTo>
                  <a:lnTo>
                    <a:pt x="1729" y="134"/>
                  </a:lnTo>
                  <a:lnTo>
                    <a:pt x="1716" y="108"/>
                  </a:lnTo>
                  <a:close/>
                  <a:moveTo>
                    <a:pt x="1729" y="219"/>
                  </a:moveTo>
                  <a:lnTo>
                    <a:pt x="1729" y="237"/>
                  </a:lnTo>
                  <a:lnTo>
                    <a:pt x="1734" y="242"/>
                  </a:lnTo>
                  <a:lnTo>
                    <a:pt x="1738" y="233"/>
                  </a:lnTo>
                  <a:lnTo>
                    <a:pt x="1738" y="224"/>
                  </a:lnTo>
                  <a:lnTo>
                    <a:pt x="1729" y="219"/>
                  </a:lnTo>
                  <a:close/>
                  <a:moveTo>
                    <a:pt x="1738" y="242"/>
                  </a:moveTo>
                  <a:lnTo>
                    <a:pt x="1734" y="255"/>
                  </a:lnTo>
                  <a:lnTo>
                    <a:pt x="1720" y="260"/>
                  </a:lnTo>
                  <a:lnTo>
                    <a:pt x="1720" y="264"/>
                  </a:lnTo>
                  <a:lnTo>
                    <a:pt x="1734" y="264"/>
                  </a:lnTo>
                  <a:lnTo>
                    <a:pt x="1774" y="268"/>
                  </a:lnTo>
                  <a:lnTo>
                    <a:pt x="1774" y="251"/>
                  </a:lnTo>
                  <a:lnTo>
                    <a:pt x="1760" y="246"/>
                  </a:lnTo>
                  <a:lnTo>
                    <a:pt x="1760" y="242"/>
                  </a:lnTo>
                  <a:lnTo>
                    <a:pt x="1751" y="237"/>
                  </a:lnTo>
                  <a:lnTo>
                    <a:pt x="1738" y="242"/>
                  </a:lnTo>
                  <a:close/>
                  <a:moveTo>
                    <a:pt x="1765" y="921"/>
                  </a:moveTo>
                  <a:lnTo>
                    <a:pt x="1756" y="921"/>
                  </a:lnTo>
                  <a:lnTo>
                    <a:pt x="1756" y="939"/>
                  </a:lnTo>
                  <a:lnTo>
                    <a:pt x="1747" y="948"/>
                  </a:lnTo>
                  <a:lnTo>
                    <a:pt x="1747" y="988"/>
                  </a:lnTo>
                  <a:lnTo>
                    <a:pt x="1751" y="1006"/>
                  </a:lnTo>
                  <a:lnTo>
                    <a:pt x="1747" y="1055"/>
                  </a:lnTo>
                  <a:lnTo>
                    <a:pt x="1756" y="1068"/>
                  </a:lnTo>
                  <a:lnTo>
                    <a:pt x="1747" y="1082"/>
                  </a:lnTo>
                  <a:lnTo>
                    <a:pt x="1751" y="1091"/>
                  </a:lnTo>
                  <a:lnTo>
                    <a:pt x="1747" y="1104"/>
                  </a:lnTo>
                  <a:lnTo>
                    <a:pt x="1751" y="1118"/>
                  </a:lnTo>
                  <a:lnTo>
                    <a:pt x="1760" y="1100"/>
                  </a:lnTo>
                  <a:lnTo>
                    <a:pt x="1769" y="1104"/>
                  </a:lnTo>
                  <a:lnTo>
                    <a:pt x="1774" y="1113"/>
                  </a:lnTo>
                  <a:lnTo>
                    <a:pt x="1774" y="1095"/>
                  </a:lnTo>
                  <a:lnTo>
                    <a:pt x="1760" y="1077"/>
                  </a:lnTo>
                  <a:lnTo>
                    <a:pt x="1769" y="1046"/>
                  </a:lnTo>
                  <a:lnTo>
                    <a:pt x="1783" y="1046"/>
                  </a:lnTo>
                  <a:lnTo>
                    <a:pt x="1792" y="1055"/>
                  </a:lnTo>
                  <a:lnTo>
                    <a:pt x="1792" y="1055"/>
                  </a:lnTo>
                  <a:lnTo>
                    <a:pt x="1787" y="1046"/>
                  </a:lnTo>
                  <a:lnTo>
                    <a:pt x="1778" y="1019"/>
                  </a:lnTo>
                  <a:lnTo>
                    <a:pt x="1769" y="952"/>
                  </a:lnTo>
                  <a:lnTo>
                    <a:pt x="1765" y="921"/>
                  </a:lnTo>
                  <a:close/>
                  <a:moveTo>
                    <a:pt x="1805" y="1158"/>
                  </a:moveTo>
                  <a:lnTo>
                    <a:pt x="1805" y="1162"/>
                  </a:lnTo>
                  <a:lnTo>
                    <a:pt x="1819" y="1144"/>
                  </a:lnTo>
                  <a:lnTo>
                    <a:pt x="1814" y="1144"/>
                  </a:lnTo>
                  <a:lnTo>
                    <a:pt x="1805" y="1158"/>
                  </a:lnTo>
                  <a:close/>
                  <a:moveTo>
                    <a:pt x="1850" y="1118"/>
                  </a:moveTo>
                  <a:lnTo>
                    <a:pt x="1841" y="1126"/>
                  </a:lnTo>
                  <a:lnTo>
                    <a:pt x="1836" y="1122"/>
                  </a:lnTo>
                  <a:lnTo>
                    <a:pt x="1827" y="1131"/>
                  </a:lnTo>
                  <a:lnTo>
                    <a:pt x="1823" y="1140"/>
                  </a:lnTo>
                  <a:lnTo>
                    <a:pt x="1819" y="1144"/>
                  </a:lnTo>
                  <a:lnTo>
                    <a:pt x="1823" y="1144"/>
                  </a:lnTo>
                  <a:lnTo>
                    <a:pt x="1836" y="1135"/>
                  </a:lnTo>
                  <a:lnTo>
                    <a:pt x="1850" y="1126"/>
                  </a:lnTo>
                  <a:lnTo>
                    <a:pt x="1850" y="1118"/>
                  </a:lnTo>
                  <a:close/>
                  <a:moveTo>
                    <a:pt x="1854" y="161"/>
                  </a:moveTo>
                  <a:lnTo>
                    <a:pt x="1850" y="166"/>
                  </a:lnTo>
                  <a:lnTo>
                    <a:pt x="1845" y="166"/>
                  </a:lnTo>
                  <a:lnTo>
                    <a:pt x="1850" y="152"/>
                  </a:lnTo>
                  <a:lnTo>
                    <a:pt x="1832" y="152"/>
                  </a:lnTo>
                  <a:lnTo>
                    <a:pt x="1827" y="157"/>
                  </a:lnTo>
                  <a:lnTo>
                    <a:pt x="1819" y="157"/>
                  </a:lnTo>
                  <a:lnTo>
                    <a:pt x="1823" y="143"/>
                  </a:lnTo>
                  <a:lnTo>
                    <a:pt x="1814" y="143"/>
                  </a:lnTo>
                  <a:lnTo>
                    <a:pt x="1814" y="157"/>
                  </a:lnTo>
                  <a:lnTo>
                    <a:pt x="1810" y="161"/>
                  </a:lnTo>
                  <a:lnTo>
                    <a:pt x="1810" y="170"/>
                  </a:lnTo>
                  <a:lnTo>
                    <a:pt x="1823" y="184"/>
                  </a:lnTo>
                  <a:lnTo>
                    <a:pt x="1832" y="188"/>
                  </a:lnTo>
                  <a:lnTo>
                    <a:pt x="1841" y="197"/>
                  </a:lnTo>
                  <a:lnTo>
                    <a:pt x="1863" y="197"/>
                  </a:lnTo>
                  <a:lnTo>
                    <a:pt x="1868" y="192"/>
                  </a:lnTo>
                  <a:lnTo>
                    <a:pt x="1877" y="188"/>
                  </a:lnTo>
                  <a:lnTo>
                    <a:pt x="1872" y="184"/>
                  </a:lnTo>
                  <a:lnTo>
                    <a:pt x="1877" y="175"/>
                  </a:lnTo>
                  <a:lnTo>
                    <a:pt x="1872" y="175"/>
                  </a:lnTo>
                  <a:lnTo>
                    <a:pt x="1868" y="175"/>
                  </a:lnTo>
                  <a:lnTo>
                    <a:pt x="1868" y="170"/>
                  </a:lnTo>
                  <a:lnTo>
                    <a:pt x="1854" y="161"/>
                  </a:lnTo>
                  <a:close/>
                  <a:moveTo>
                    <a:pt x="1877" y="1109"/>
                  </a:moveTo>
                  <a:lnTo>
                    <a:pt x="1872" y="1109"/>
                  </a:lnTo>
                  <a:lnTo>
                    <a:pt x="1859" y="1122"/>
                  </a:lnTo>
                  <a:lnTo>
                    <a:pt x="1863" y="1126"/>
                  </a:lnTo>
                  <a:lnTo>
                    <a:pt x="1877" y="1109"/>
                  </a:lnTo>
                  <a:close/>
                  <a:moveTo>
                    <a:pt x="1899" y="1086"/>
                  </a:moveTo>
                  <a:lnTo>
                    <a:pt x="1903" y="1086"/>
                  </a:lnTo>
                  <a:lnTo>
                    <a:pt x="1899" y="1082"/>
                  </a:lnTo>
                  <a:lnTo>
                    <a:pt x="1890" y="1091"/>
                  </a:lnTo>
                  <a:lnTo>
                    <a:pt x="1890" y="1100"/>
                  </a:lnTo>
                  <a:lnTo>
                    <a:pt x="1899" y="1091"/>
                  </a:lnTo>
                  <a:lnTo>
                    <a:pt x="1899" y="1086"/>
                  </a:lnTo>
                  <a:close/>
                  <a:moveTo>
                    <a:pt x="1935" y="1037"/>
                  </a:moveTo>
                  <a:lnTo>
                    <a:pt x="1930" y="1042"/>
                  </a:lnTo>
                  <a:lnTo>
                    <a:pt x="1935" y="1046"/>
                  </a:lnTo>
                  <a:lnTo>
                    <a:pt x="1939" y="1037"/>
                  </a:lnTo>
                  <a:lnTo>
                    <a:pt x="1935" y="1037"/>
                  </a:lnTo>
                  <a:close/>
                  <a:moveTo>
                    <a:pt x="1957" y="1015"/>
                  </a:moveTo>
                  <a:lnTo>
                    <a:pt x="1957" y="1019"/>
                  </a:lnTo>
                  <a:lnTo>
                    <a:pt x="1961" y="1015"/>
                  </a:lnTo>
                  <a:lnTo>
                    <a:pt x="1957" y="1010"/>
                  </a:lnTo>
                  <a:lnTo>
                    <a:pt x="1953" y="1015"/>
                  </a:lnTo>
                  <a:lnTo>
                    <a:pt x="1957" y="1015"/>
                  </a:lnTo>
                  <a:lnTo>
                    <a:pt x="1953" y="1015"/>
                  </a:lnTo>
                  <a:lnTo>
                    <a:pt x="1948" y="1024"/>
                  </a:lnTo>
                  <a:lnTo>
                    <a:pt x="1944" y="1024"/>
                  </a:lnTo>
                  <a:lnTo>
                    <a:pt x="1944" y="1033"/>
                  </a:lnTo>
                  <a:lnTo>
                    <a:pt x="1948" y="1028"/>
                  </a:lnTo>
                  <a:lnTo>
                    <a:pt x="1957" y="1019"/>
                  </a:lnTo>
                  <a:lnTo>
                    <a:pt x="1957" y="1015"/>
                  </a:lnTo>
                  <a:close/>
                  <a:moveTo>
                    <a:pt x="2064" y="800"/>
                  </a:moveTo>
                  <a:lnTo>
                    <a:pt x="2060" y="809"/>
                  </a:lnTo>
                  <a:lnTo>
                    <a:pt x="2055" y="818"/>
                  </a:lnTo>
                  <a:lnTo>
                    <a:pt x="2060" y="823"/>
                  </a:lnTo>
                  <a:lnTo>
                    <a:pt x="2078" y="805"/>
                  </a:lnTo>
                  <a:lnTo>
                    <a:pt x="2073" y="796"/>
                  </a:lnTo>
                  <a:lnTo>
                    <a:pt x="2069" y="796"/>
                  </a:lnTo>
                  <a:lnTo>
                    <a:pt x="2069" y="800"/>
                  </a:lnTo>
                  <a:lnTo>
                    <a:pt x="2064" y="800"/>
                  </a:lnTo>
                  <a:close/>
                  <a:moveTo>
                    <a:pt x="2100" y="903"/>
                  </a:moveTo>
                  <a:lnTo>
                    <a:pt x="2091" y="903"/>
                  </a:lnTo>
                  <a:lnTo>
                    <a:pt x="2095" y="907"/>
                  </a:lnTo>
                  <a:lnTo>
                    <a:pt x="2104" y="921"/>
                  </a:lnTo>
                  <a:lnTo>
                    <a:pt x="2104" y="912"/>
                  </a:lnTo>
                  <a:lnTo>
                    <a:pt x="2100" y="903"/>
                  </a:lnTo>
                  <a:close/>
                  <a:moveTo>
                    <a:pt x="2274" y="371"/>
                  </a:moveTo>
                  <a:lnTo>
                    <a:pt x="2279" y="385"/>
                  </a:lnTo>
                  <a:lnTo>
                    <a:pt x="2288" y="380"/>
                  </a:lnTo>
                  <a:lnTo>
                    <a:pt x="2292" y="380"/>
                  </a:lnTo>
                  <a:lnTo>
                    <a:pt x="2301" y="376"/>
                  </a:lnTo>
                  <a:lnTo>
                    <a:pt x="2305" y="380"/>
                  </a:lnTo>
                  <a:lnTo>
                    <a:pt x="2319" y="380"/>
                  </a:lnTo>
                  <a:lnTo>
                    <a:pt x="2337" y="367"/>
                  </a:lnTo>
                  <a:lnTo>
                    <a:pt x="2328" y="353"/>
                  </a:lnTo>
                  <a:lnTo>
                    <a:pt x="2305" y="349"/>
                  </a:lnTo>
                  <a:lnTo>
                    <a:pt x="2296" y="349"/>
                  </a:lnTo>
                  <a:lnTo>
                    <a:pt x="2274" y="37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18" name="Freeform 10"/>
            <p:cNvSpPr>
              <a:spLocks/>
            </p:cNvSpPr>
            <p:nvPr/>
          </p:nvSpPr>
          <p:spPr bwMode="gray">
            <a:xfrm>
              <a:off x="2850" y="2701"/>
              <a:ext cx="166" cy="126"/>
            </a:xfrm>
            <a:custGeom>
              <a:avLst/>
              <a:gdLst>
                <a:gd name="T0" fmla="*/ 54 w 112"/>
                <a:gd name="T1" fmla="*/ 18 h 85"/>
                <a:gd name="T2" fmla="*/ 50 w 112"/>
                <a:gd name="T3" fmla="*/ 18 h 85"/>
                <a:gd name="T4" fmla="*/ 45 w 112"/>
                <a:gd name="T5" fmla="*/ 18 h 85"/>
                <a:gd name="T6" fmla="*/ 45 w 112"/>
                <a:gd name="T7" fmla="*/ 9 h 85"/>
                <a:gd name="T8" fmla="*/ 45 w 112"/>
                <a:gd name="T9" fmla="*/ 9 h 85"/>
                <a:gd name="T10" fmla="*/ 45 w 112"/>
                <a:gd name="T11" fmla="*/ 0 h 85"/>
                <a:gd name="T12" fmla="*/ 41 w 112"/>
                <a:gd name="T13" fmla="*/ 0 h 85"/>
                <a:gd name="T14" fmla="*/ 41 w 112"/>
                <a:gd name="T15" fmla="*/ 5 h 85"/>
                <a:gd name="T16" fmla="*/ 27 w 112"/>
                <a:gd name="T17" fmla="*/ 5 h 85"/>
                <a:gd name="T18" fmla="*/ 32 w 112"/>
                <a:gd name="T19" fmla="*/ 9 h 85"/>
                <a:gd name="T20" fmla="*/ 23 w 112"/>
                <a:gd name="T21" fmla="*/ 18 h 85"/>
                <a:gd name="T22" fmla="*/ 9 w 112"/>
                <a:gd name="T23" fmla="*/ 27 h 85"/>
                <a:gd name="T24" fmla="*/ 9 w 112"/>
                <a:gd name="T25" fmla="*/ 27 h 85"/>
                <a:gd name="T26" fmla="*/ 5 w 112"/>
                <a:gd name="T27" fmla="*/ 32 h 85"/>
                <a:gd name="T28" fmla="*/ 0 w 112"/>
                <a:gd name="T29" fmla="*/ 36 h 85"/>
                <a:gd name="T30" fmla="*/ 5 w 112"/>
                <a:gd name="T31" fmla="*/ 41 h 85"/>
                <a:gd name="T32" fmla="*/ 5 w 112"/>
                <a:gd name="T33" fmla="*/ 41 h 85"/>
                <a:gd name="T34" fmla="*/ 9 w 112"/>
                <a:gd name="T35" fmla="*/ 45 h 85"/>
                <a:gd name="T36" fmla="*/ 14 w 112"/>
                <a:gd name="T37" fmla="*/ 45 h 85"/>
                <a:gd name="T38" fmla="*/ 9 w 112"/>
                <a:gd name="T39" fmla="*/ 54 h 85"/>
                <a:gd name="T40" fmla="*/ 14 w 112"/>
                <a:gd name="T41" fmla="*/ 58 h 85"/>
                <a:gd name="T42" fmla="*/ 9 w 112"/>
                <a:gd name="T43" fmla="*/ 67 h 85"/>
                <a:gd name="T44" fmla="*/ 5 w 112"/>
                <a:gd name="T45" fmla="*/ 76 h 85"/>
                <a:gd name="T46" fmla="*/ 9 w 112"/>
                <a:gd name="T47" fmla="*/ 76 h 85"/>
                <a:gd name="T48" fmla="*/ 23 w 112"/>
                <a:gd name="T49" fmla="*/ 72 h 85"/>
                <a:gd name="T50" fmla="*/ 36 w 112"/>
                <a:gd name="T51" fmla="*/ 67 h 85"/>
                <a:gd name="T52" fmla="*/ 41 w 112"/>
                <a:gd name="T53" fmla="*/ 67 h 85"/>
                <a:gd name="T54" fmla="*/ 54 w 112"/>
                <a:gd name="T55" fmla="*/ 50 h 85"/>
                <a:gd name="T56" fmla="*/ 58 w 112"/>
                <a:gd name="T57" fmla="*/ 54 h 85"/>
                <a:gd name="T58" fmla="*/ 63 w 112"/>
                <a:gd name="T59" fmla="*/ 67 h 85"/>
                <a:gd name="T60" fmla="*/ 58 w 112"/>
                <a:gd name="T61" fmla="*/ 85 h 85"/>
                <a:gd name="T62" fmla="*/ 81 w 112"/>
                <a:gd name="T63" fmla="*/ 72 h 85"/>
                <a:gd name="T64" fmla="*/ 108 w 112"/>
                <a:gd name="T65" fmla="*/ 76 h 85"/>
                <a:gd name="T66" fmla="*/ 112 w 112"/>
                <a:gd name="T67" fmla="*/ 72 h 85"/>
                <a:gd name="T68" fmla="*/ 112 w 112"/>
                <a:gd name="T69" fmla="*/ 67 h 85"/>
                <a:gd name="T70" fmla="*/ 108 w 112"/>
                <a:gd name="T71" fmla="*/ 67 h 85"/>
                <a:gd name="T72" fmla="*/ 108 w 112"/>
                <a:gd name="T73" fmla="*/ 54 h 85"/>
                <a:gd name="T74" fmla="*/ 90 w 112"/>
                <a:gd name="T75" fmla="*/ 50 h 85"/>
                <a:gd name="T76" fmla="*/ 90 w 112"/>
                <a:gd name="T77" fmla="*/ 32 h 85"/>
                <a:gd name="T78" fmla="*/ 81 w 112"/>
                <a:gd name="T79" fmla="*/ 32 h 85"/>
                <a:gd name="T80" fmla="*/ 76 w 112"/>
                <a:gd name="T81" fmla="*/ 36 h 85"/>
                <a:gd name="T82" fmla="*/ 63 w 112"/>
                <a:gd name="T83" fmla="*/ 36 h 85"/>
                <a:gd name="T84" fmla="*/ 63 w 112"/>
                <a:gd name="T85" fmla="*/ 32 h 85"/>
                <a:gd name="T86" fmla="*/ 58 w 112"/>
                <a:gd name="T87" fmla="*/ 32 h 85"/>
                <a:gd name="T88" fmla="*/ 54 w 112"/>
                <a:gd name="T89" fmla="*/ 36 h 85"/>
                <a:gd name="T90" fmla="*/ 50 w 112"/>
                <a:gd name="T91" fmla="*/ 32 h 85"/>
                <a:gd name="T92" fmla="*/ 45 w 112"/>
                <a:gd name="T93" fmla="*/ 32 h 85"/>
                <a:gd name="T94" fmla="*/ 41 w 112"/>
                <a:gd name="T95" fmla="*/ 32 h 85"/>
                <a:gd name="T96" fmla="*/ 27 w 112"/>
                <a:gd name="T97" fmla="*/ 32 h 85"/>
                <a:gd name="T98" fmla="*/ 27 w 112"/>
                <a:gd name="T99" fmla="*/ 27 h 85"/>
                <a:gd name="T100" fmla="*/ 32 w 112"/>
                <a:gd name="T101" fmla="*/ 23 h 85"/>
                <a:gd name="T102" fmla="*/ 32 w 112"/>
                <a:gd name="T103" fmla="*/ 18 h 85"/>
                <a:gd name="T104" fmla="*/ 41 w 112"/>
                <a:gd name="T105" fmla="*/ 18 h 85"/>
                <a:gd name="T106" fmla="*/ 45 w 112"/>
                <a:gd name="T107" fmla="*/ 23 h 85"/>
                <a:gd name="T108" fmla="*/ 45 w 112"/>
                <a:gd name="T109" fmla="*/ 27 h 85"/>
                <a:gd name="T110" fmla="*/ 50 w 112"/>
                <a:gd name="T111" fmla="*/ 27 h 85"/>
                <a:gd name="T112" fmla="*/ 50 w 112"/>
                <a:gd name="T113" fmla="*/ 23 h 85"/>
                <a:gd name="T114" fmla="*/ 54 w 112"/>
                <a:gd name="T115" fmla="*/ 1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2" h="85">
                  <a:moveTo>
                    <a:pt x="54" y="18"/>
                  </a:moveTo>
                  <a:lnTo>
                    <a:pt x="50" y="18"/>
                  </a:lnTo>
                  <a:lnTo>
                    <a:pt x="45" y="18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0"/>
                  </a:lnTo>
                  <a:lnTo>
                    <a:pt x="41" y="0"/>
                  </a:lnTo>
                  <a:lnTo>
                    <a:pt x="41" y="5"/>
                  </a:lnTo>
                  <a:lnTo>
                    <a:pt x="27" y="5"/>
                  </a:lnTo>
                  <a:lnTo>
                    <a:pt x="32" y="9"/>
                  </a:lnTo>
                  <a:lnTo>
                    <a:pt x="23" y="18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5" y="32"/>
                  </a:lnTo>
                  <a:lnTo>
                    <a:pt x="0" y="36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9" y="45"/>
                  </a:lnTo>
                  <a:lnTo>
                    <a:pt x="14" y="45"/>
                  </a:lnTo>
                  <a:lnTo>
                    <a:pt x="9" y="54"/>
                  </a:lnTo>
                  <a:lnTo>
                    <a:pt x="14" y="58"/>
                  </a:lnTo>
                  <a:lnTo>
                    <a:pt x="9" y="67"/>
                  </a:lnTo>
                  <a:lnTo>
                    <a:pt x="5" y="76"/>
                  </a:lnTo>
                  <a:lnTo>
                    <a:pt x="9" y="76"/>
                  </a:lnTo>
                  <a:lnTo>
                    <a:pt x="23" y="72"/>
                  </a:lnTo>
                  <a:lnTo>
                    <a:pt x="36" y="67"/>
                  </a:lnTo>
                  <a:lnTo>
                    <a:pt x="41" y="67"/>
                  </a:lnTo>
                  <a:lnTo>
                    <a:pt x="54" y="50"/>
                  </a:lnTo>
                  <a:lnTo>
                    <a:pt x="58" y="54"/>
                  </a:lnTo>
                  <a:lnTo>
                    <a:pt x="63" y="67"/>
                  </a:lnTo>
                  <a:lnTo>
                    <a:pt x="58" y="85"/>
                  </a:lnTo>
                  <a:lnTo>
                    <a:pt x="81" y="72"/>
                  </a:lnTo>
                  <a:lnTo>
                    <a:pt x="108" y="76"/>
                  </a:lnTo>
                  <a:lnTo>
                    <a:pt x="112" y="72"/>
                  </a:lnTo>
                  <a:lnTo>
                    <a:pt x="112" y="67"/>
                  </a:lnTo>
                  <a:lnTo>
                    <a:pt x="108" y="67"/>
                  </a:lnTo>
                  <a:lnTo>
                    <a:pt x="108" y="54"/>
                  </a:lnTo>
                  <a:lnTo>
                    <a:pt x="90" y="50"/>
                  </a:lnTo>
                  <a:lnTo>
                    <a:pt x="90" y="32"/>
                  </a:lnTo>
                  <a:lnTo>
                    <a:pt x="81" y="32"/>
                  </a:lnTo>
                  <a:lnTo>
                    <a:pt x="76" y="36"/>
                  </a:lnTo>
                  <a:lnTo>
                    <a:pt x="63" y="36"/>
                  </a:lnTo>
                  <a:lnTo>
                    <a:pt x="63" y="32"/>
                  </a:lnTo>
                  <a:lnTo>
                    <a:pt x="58" y="32"/>
                  </a:lnTo>
                  <a:lnTo>
                    <a:pt x="54" y="36"/>
                  </a:lnTo>
                  <a:lnTo>
                    <a:pt x="50" y="32"/>
                  </a:lnTo>
                  <a:lnTo>
                    <a:pt x="45" y="32"/>
                  </a:lnTo>
                  <a:lnTo>
                    <a:pt x="41" y="32"/>
                  </a:lnTo>
                  <a:lnTo>
                    <a:pt x="27" y="32"/>
                  </a:lnTo>
                  <a:lnTo>
                    <a:pt x="27" y="27"/>
                  </a:lnTo>
                  <a:lnTo>
                    <a:pt x="32" y="23"/>
                  </a:lnTo>
                  <a:lnTo>
                    <a:pt x="32" y="18"/>
                  </a:lnTo>
                  <a:lnTo>
                    <a:pt x="41" y="18"/>
                  </a:lnTo>
                  <a:lnTo>
                    <a:pt x="45" y="23"/>
                  </a:lnTo>
                  <a:lnTo>
                    <a:pt x="45" y="27"/>
                  </a:lnTo>
                  <a:lnTo>
                    <a:pt x="50" y="27"/>
                  </a:lnTo>
                  <a:lnTo>
                    <a:pt x="50" y="23"/>
                  </a:lnTo>
                  <a:lnTo>
                    <a:pt x="54" y="18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19" name="Freeform 11"/>
            <p:cNvSpPr>
              <a:spLocks/>
            </p:cNvSpPr>
            <p:nvPr/>
          </p:nvSpPr>
          <p:spPr bwMode="gray">
            <a:xfrm>
              <a:off x="2540" y="2655"/>
              <a:ext cx="291" cy="212"/>
            </a:xfrm>
            <a:custGeom>
              <a:avLst/>
              <a:gdLst>
                <a:gd name="T0" fmla="*/ 5 w 197"/>
                <a:gd name="T1" fmla="*/ 31 h 143"/>
                <a:gd name="T2" fmla="*/ 18 w 197"/>
                <a:gd name="T3" fmla="*/ 9 h 143"/>
                <a:gd name="T4" fmla="*/ 32 w 197"/>
                <a:gd name="T5" fmla="*/ 31 h 143"/>
                <a:gd name="T6" fmla="*/ 9 w 197"/>
                <a:gd name="T7" fmla="*/ 40 h 143"/>
                <a:gd name="T8" fmla="*/ 0 w 197"/>
                <a:gd name="T9" fmla="*/ 49 h 143"/>
                <a:gd name="T10" fmla="*/ 9 w 197"/>
                <a:gd name="T11" fmla="*/ 54 h 143"/>
                <a:gd name="T12" fmla="*/ 18 w 197"/>
                <a:gd name="T13" fmla="*/ 67 h 143"/>
                <a:gd name="T14" fmla="*/ 5 w 197"/>
                <a:gd name="T15" fmla="*/ 67 h 143"/>
                <a:gd name="T16" fmla="*/ 14 w 197"/>
                <a:gd name="T17" fmla="*/ 72 h 143"/>
                <a:gd name="T18" fmla="*/ 18 w 197"/>
                <a:gd name="T19" fmla="*/ 98 h 143"/>
                <a:gd name="T20" fmla="*/ 32 w 197"/>
                <a:gd name="T21" fmla="*/ 103 h 143"/>
                <a:gd name="T22" fmla="*/ 54 w 197"/>
                <a:gd name="T23" fmla="*/ 94 h 143"/>
                <a:gd name="T24" fmla="*/ 72 w 197"/>
                <a:gd name="T25" fmla="*/ 94 h 143"/>
                <a:gd name="T26" fmla="*/ 108 w 197"/>
                <a:gd name="T27" fmla="*/ 116 h 143"/>
                <a:gd name="T28" fmla="*/ 121 w 197"/>
                <a:gd name="T29" fmla="*/ 134 h 143"/>
                <a:gd name="T30" fmla="*/ 139 w 197"/>
                <a:gd name="T31" fmla="*/ 143 h 143"/>
                <a:gd name="T32" fmla="*/ 170 w 197"/>
                <a:gd name="T33" fmla="*/ 125 h 143"/>
                <a:gd name="T34" fmla="*/ 188 w 197"/>
                <a:gd name="T35" fmla="*/ 103 h 143"/>
                <a:gd name="T36" fmla="*/ 197 w 197"/>
                <a:gd name="T37" fmla="*/ 103 h 143"/>
                <a:gd name="T38" fmla="*/ 188 w 197"/>
                <a:gd name="T39" fmla="*/ 89 h 143"/>
                <a:gd name="T40" fmla="*/ 175 w 197"/>
                <a:gd name="T41" fmla="*/ 81 h 143"/>
                <a:gd name="T42" fmla="*/ 152 w 197"/>
                <a:gd name="T43" fmla="*/ 63 h 143"/>
                <a:gd name="T44" fmla="*/ 134 w 197"/>
                <a:gd name="T45" fmla="*/ 45 h 143"/>
                <a:gd name="T46" fmla="*/ 130 w 197"/>
                <a:gd name="T47" fmla="*/ 27 h 143"/>
                <a:gd name="T48" fmla="*/ 108 w 197"/>
                <a:gd name="T49" fmla="*/ 31 h 143"/>
                <a:gd name="T50" fmla="*/ 108 w 197"/>
                <a:gd name="T51" fmla="*/ 13 h 143"/>
                <a:gd name="T52" fmla="*/ 99 w 197"/>
                <a:gd name="T53" fmla="*/ 5 h 143"/>
                <a:gd name="T54" fmla="*/ 81 w 197"/>
                <a:gd name="T55" fmla="*/ 5 h 143"/>
                <a:gd name="T56" fmla="*/ 81 w 197"/>
                <a:gd name="T57" fmla="*/ 13 h 143"/>
                <a:gd name="T58" fmla="*/ 72 w 197"/>
                <a:gd name="T59" fmla="*/ 9 h 143"/>
                <a:gd name="T60" fmla="*/ 67 w 197"/>
                <a:gd name="T61" fmla="*/ 13 h 143"/>
                <a:gd name="T62" fmla="*/ 63 w 197"/>
                <a:gd name="T63" fmla="*/ 22 h 143"/>
                <a:gd name="T64" fmla="*/ 59 w 197"/>
                <a:gd name="T65" fmla="*/ 27 h 143"/>
                <a:gd name="T66" fmla="*/ 41 w 197"/>
                <a:gd name="T67" fmla="*/ 27 h 143"/>
                <a:gd name="T68" fmla="*/ 32 w 197"/>
                <a:gd name="T69" fmla="*/ 13 h 143"/>
                <a:gd name="T70" fmla="*/ 9 w 197"/>
                <a:gd name="T71" fmla="*/ 9 h 143"/>
                <a:gd name="T72" fmla="*/ 0 w 197"/>
                <a:gd name="T73" fmla="*/ 1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7" h="143">
                  <a:moveTo>
                    <a:pt x="0" y="18"/>
                  </a:moveTo>
                  <a:lnTo>
                    <a:pt x="5" y="31"/>
                  </a:lnTo>
                  <a:lnTo>
                    <a:pt x="5" y="13"/>
                  </a:lnTo>
                  <a:lnTo>
                    <a:pt x="18" y="9"/>
                  </a:lnTo>
                  <a:lnTo>
                    <a:pt x="23" y="22"/>
                  </a:lnTo>
                  <a:lnTo>
                    <a:pt x="32" y="31"/>
                  </a:lnTo>
                  <a:lnTo>
                    <a:pt x="23" y="36"/>
                  </a:lnTo>
                  <a:lnTo>
                    <a:pt x="9" y="40"/>
                  </a:lnTo>
                  <a:lnTo>
                    <a:pt x="5" y="36"/>
                  </a:lnTo>
                  <a:lnTo>
                    <a:pt x="0" y="49"/>
                  </a:lnTo>
                  <a:lnTo>
                    <a:pt x="5" y="58"/>
                  </a:lnTo>
                  <a:lnTo>
                    <a:pt x="9" y="54"/>
                  </a:lnTo>
                  <a:lnTo>
                    <a:pt x="18" y="54"/>
                  </a:lnTo>
                  <a:lnTo>
                    <a:pt x="18" y="67"/>
                  </a:lnTo>
                  <a:lnTo>
                    <a:pt x="9" y="63"/>
                  </a:lnTo>
                  <a:lnTo>
                    <a:pt x="5" y="67"/>
                  </a:lnTo>
                  <a:lnTo>
                    <a:pt x="9" y="72"/>
                  </a:lnTo>
                  <a:lnTo>
                    <a:pt x="14" y="72"/>
                  </a:lnTo>
                  <a:lnTo>
                    <a:pt x="18" y="76"/>
                  </a:lnTo>
                  <a:lnTo>
                    <a:pt x="18" y="98"/>
                  </a:lnTo>
                  <a:lnTo>
                    <a:pt x="23" y="107"/>
                  </a:lnTo>
                  <a:lnTo>
                    <a:pt x="32" y="103"/>
                  </a:lnTo>
                  <a:lnTo>
                    <a:pt x="41" y="94"/>
                  </a:lnTo>
                  <a:lnTo>
                    <a:pt x="54" y="94"/>
                  </a:lnTo>
                  <a:lnTo>
                    <a:pt x="63" y="85"/>
                  </a:lnTo>
                  <a:lnTo>
                    <a:pt x="72" y="94"/>
                  </a:lnTo>
                  <a:lnTo>
                    <a:pt x="94" y="98"/>
                  </a:lnTo>
                  <a:lnTo>
                    <a:pt x="108" y="116"/>
                  </a:lnTo>
                  <a:lnTo>
                    <a:pt x="121" y="116"/>
                  </a:lnTo>
                  <a:lnTo>
                    <a:pt x="121" y="134"/>
                  </a:lnTo>
                  <a:lnTo>
                    <a:pt x="134" y="134"/>
                  </a:lnTo>
                  <a:lnTo>
                    <a:pt x="139" y="143"/>
                  </a:lnTo>
                  <a:lnTo>
                    <a:pt x="152" y="130"/>
                  </a:lnTo>
                  <a:lnTo>
                    <a:pt x="170" y="125"/>
                  </a:lnTo>
                  <a:lnTo>
                    <a:pt x="179" y="107"/>
                  </a:lnTo>
                  <a:lnTo>
                    <a:pt x="188" y="103"/>
                  </a:lnTo>
                  <a:lnTo>
                    <a:pt x="197" y="107"/>
                  </a:lnTo>
                  <a:lnTo>
                    <a:pt x="197" y="103"/>
                  </a:lnTo>
                  <a:lnTo>
                    <a:pt x="197" y="94"/>
                  </a:lnTo>
                  <a:lnTo>
                    <a:pt x="188" y="89"/>
                  </a:lnTo>
                  <a:lnTo>
                    <a:pt x="184" y="89"/>
                  </a:lnTo>
                  <a:lnTo>
                    <a:pt x="175" y="81"/>
                  </a:lnTo>
                  <a:lnTo>
                    <a:pt x="166" y="76"/>
                  </a:lnTo>
                  <a:lnTo>
                    <a:pt x="152" y="63"/>
                  </a:lnTo>
                  <a:lnTo>
                    <a:pt x="143" y="54"/>
                  </a:lnTo>
                  <a:lnTo>
                    <a:pt x="134" y="45"/>
                  </a:lnTo>
                  <a:lnTo>
                    <a:pt x="134" y="36"/>
                  </a:lnTo>
                  <a:lnTo>
                    <a:pt x="130" y="27"/>
                  </a:lnTo>
                  <a:lnTo>
                    <a:pt x="126" y="31"/>
                  </a:lnTo>
                  <a:lnTo>
                    <a:pt x="108" y="31"/>
                  </a:lnTo>
                  <a:lnTo>
                    <a:pt x="103" y="18"/>
                  </a:lnTo>
                  <a:lnTo>
                    <a:pt x="108" y="13"/>
                  </a:lnTo>
                  <a:lnTo>
                    <a:pt x="108" y="9"/>
                  </a:lnTo>
                  <a:lnTo>
                    <a:pt x="99" y="5"/>
                  </a:lnTo>
                  <a:lnTo>
                    <a:pt x="81" y="0"/>
                  </a:lnTo>
                  <a:lnTo>
                    <a:pt x="81" y="5"/>
                  </a:lnTo>
                  <a:lnTo>
                    <a:pt x="85" y="9"/>
                  </a:lnTo>
                  <a:lnTo>
                    <a:pt x="81" y="13"/>
                  </a:lnTo>
                  <a:lnTo>
                    <a:pt x="76" y="5"/>
                  </a:lnTo>
                  <a:lnTo>
                    <a:pt x="72" y="9"/>
                  </a:lnTo>
                  <a:lnTo>
                    <a:pt x="72" y="13"/>
                  </a:lnTo>
                  <a:lnTo>
                    <a:pt x="67" y="13"/>
                  </a:lnTo>
                  <a:lnTo>
                    <a:pt x="63" y="18"/>
                  </a:lnTo>
                  <a:lnTo>
                    <a:pt x="63" y="22"/>
                  </a:lnTo>
                  <a:lnTo>
                    <a:pt x="63" y="27"/>
                  </a:lnTo>
                  <a:lnTo>
                    <a:pt x="59" y="27"/>
                  </a:lnTo>
                  <a:lnTo>
                    <a:pt x="45" y="27"/>
                  </a:lnTo>
                  <a:lnTo>
                    <a:pt x="41" y="27"/>
                  </a:lnTo>
                  <a:lnTo>
                    <a:pt x="36" y="22"/>
                  </a:lnTo>
                  <a:lnTo>
                    <a:pt x="32" y="13"/>
                  </a:lnTo>
                  <a:lnTo>
                    <a:pt x="23" y="5"/>
                  </a:lnTo>
                  <a:lnTo>
                    <a:pt x="9" y="9"/>
                  </a:lnTo>
                  <a:lnTo>
                    <a:pt x="0" y="13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20" name="Freeform 12"/>
            <p:cNvSpPr>
              <a:spLocks/>
            </p:cNvSpPr>
            <p:nvPr/>
          </p:nvSpPr>
          <p:spPr bwMode="gray">
            <a:xfrm>
              <a:off x="2606" y="2570"/>
              <a:ext cx="370" cy="244"/>
            </a:xfrm>
            <a:custGeom>
              <a:avLst/>
              <a:gdLst>
                <a:gd name="T0" fmla="*/ 0 w 250"/>
                <a:gd name="T1" fmla="*/ 13 h 165"/>
                <a:gd name="T2" fmla="*/ 36 w 250"/>
                <a:gd name="T3" fmla="*/ 9 h 165"/>
                <a:gd name="T4" fmla="*/ 45 w 250"/>
                <a:gd name="T5" fmla="*/ 40 h 165"/>
                <a:gd name="T6" fmla="*/ 49 w 250"/>
                <a:gd name="T7" fmla="*/ 40 h 165"/>
                <a:gd name="T8" fmla="*/ 63 w 250"/>
                <a:gd name="T9" fmla="*/ 45 h 165"/>
                <a:gd name="T10" fmla="*/ 76 w 250"/>
                <a:gd name="T11" fmla="*/ 31 h 165"/>
                <a:gd name="T12" fmla="*/ 89 w 250"/>
                <a:gd name="T13" fmla="*/ 40 h 165"/>
                <a:gd name="T14" fmla="*/ 125 w 250"/>
                <a:gd name="T15" fmla="*/ 36 h 165"/>
                <a:gd name="T16" fmla="*/ 139 w 250"/>
                <a:gd name="T17" fmla="*/ 54 h 165"/>
                <a:gd name="T18" fmla="*/ 143 w 250"/>
                <a:gd name="T19" fmla="*/ 67 h 165"/>
                <a:gd name="T20" fmla="*/ 139 w 250"/>
                <a:gd name="T21" fmla="*/ 76 h 165"/>
                <a:gd name="T22" fmla="*/ 152 w 250"/>
                <a:gd name="T23" fmla="*/ 85 h 165"/>
                <a:gd name="T24" fmla="*/ 188 w 250"/>
                <a:gd name="T25" fmla="*/ 85 h 165"/>
                <a:gd name="T26" fmla="*/ 219 w 250"/>
                <a:gd name="T27" fmla="*/ 63 h 165"/>
                <a:gd name="T28" fmla="*/ 223 w 250"/>
                <a:gd name="T29" fmla="*/ 71 h 165"/>
                <a:gd name="T30" fmla="*/ 210 w 250"/>
                <a:gd name="T31" fmla="*/ 85 h 165"/>
                <a:gd name="T32" fmla="*/ 215 w 250"/>
                <a:gd name="T33" fmla="*/ 89 h 165"/>
                <a:gd name="T34" fmla="*/ 232 w 250"/>
                <a:gd name="T35" fmla="*/ 89 h 165"/>
                <a:gd name="T36" fmla="*/ 250 w 250"/>
                <a:gd name="T37" fmla="*/ 94 h 165"/>
                <a:gd name="T38" fmla="*/ 246 w 250"/>
                <a:gd name="T39" fmla="*/ 103 h 165"/>
                <a:gd name="T40" fmla="*/ 237 w 250"/>
                <a:gd name="T41" fmla="*/ 103 h 165"/>
                <a:gd name="T42" fmla="*/ 223 w 250"/>
                <a:gd name="T43" fmla="*/ 103 h 165"/>
                <a:gd name="T44" fmla="*/ 223 w 250"/>
                <a:gd name="T45" fmla="*/ 116 h 165"/>
                <a:gd name="T46" fmla="*/ 219 w 250"/>
                <a:gd name="T47" fmla="*/ 107 h 165"/>
                <a:gd name="T48" fmla="*/ 210 w 250"/>
                <a:gd name="T49" fmla="*/ 107 h 165"/>
                <a:gd name="T50" fmla="*/ 210 w 250"/>
                <a:gd name="T51" fmla="*/ 98 h 165"/>
                <a:gd name="T52" fmla="*/ 206 w 250"/>
                <a:gd name="T53" fmla="*/ 89 h 165"/>
                <a:gd name="T54" fmla="*/ 192 w 250"/>
                <a:gd name="T55" fmla="*/ 94 h 165"/>
                <a:gd name="T56" fmla="*/ 188 w 250"/>
                <a:gd name="T57" fmla="*/ 107 h 165"/>
                <a:gd name="T58" fmla="*/ 174 w 250"/>
                <a:gd name="T59" fmla="*/ 116 h 165"/>
                <a:gd name="T60" fmla="*/ 165 w 250"/>
                <a:gd name="T61" fmla="*/ 125 h 165"/>
                <a:gd name="T62" fmla="*/ 170 w 250"/>
                <a:gd name="T63" fmla="*/ 130 h 165"/>
                <a:gd name="T64" fmla="*/ 179 w 250"/>
                <a:gd name="T65" fmla="*/ 134 h 165"/>
                <a:gd name="T66" fmla="*/ 179 w 250"/>
                <a:gd name="T67" fmla="*/ 147 h 165"/>
                <a:gd name="T68" fmla="*/ 170 w 250"/>
                <a:gd name="T69" fmla="*/ 165 h 165"/>
                <a:gd name="T70" fmla="*/ 152 w 250"/>
                <a:gd name="T71" fmla="*/ 161 h 165"/>
                <a:gd name="T72" fmla="*/ 143 w 250"/>
                <a:gd name="T73" fmla="*/ 147 h 165"/>
                <a:gd name="T74" fmla="*/ 130 w 250"/>
                <a:gd name="T75" fmla="*/ 139 h 165"/>
                <a:gd name="T76" fmla="*/ 107 w 250"/>
                <a:gd name="T77" fmla="*/ 121 h 165"/>
                <a:gd name="T78" fmla="*/ 89 w 250"/>
                <a:gd name="T79" fmla="*/ 103 h 165"/>
                <a:gd name="T80" fmla="*/ 85 w 250"/>
                <a:gd name="T81" fmla="*/ 85 h 165"/>
                <a:gd name="T82" fmla="*/ 63 w 250"/>
                <a:gd name="T83" fmla="*/ 89 h 165"/>
                <a:gd name="T84" fmla="*/ 63 w 250"/>
                <a:gd name="T85" fmla="*/ 71 h 165"/>
                <a:gd name="T86" fmla="*/ 54 w 250"/>
                <a:gd name="T87" fmla="*/ 63 h 165"/>
                <a:gd name="T88" fmla="*/ 36 w 250"/>
                <a:gd name="T89" fmla="*/ 63 h 165"/>
                <a:gd name="T90" fmla="*/ 36 w 250"/>
                <a:gd name="T91" fmla="*/ 71 h 165"/>
                <a:gd name="T92" fmla="*/ 27 w 250"/>
                <a:gd name="T93" fmla="*/ 67 h 165"/>
                <a:gd name="T94" fmla="*/ 22 w 250"/>
                <a:gd name="T95" fmla="*/ 71 h 165"/>
                <a:gd name="T96" fmla="*/ 18 w 250"/>
                <a:gd name="T97" fmla="*/ 80 h 165"/>
                <a:gd name="T98" fmla="*/ 14 w 250"/>
                <a:gd name="T99" fmla="*/ 8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0" h="165">
                  <a:moveTo>
                    <a:pt x="0" y="85"/>
                  </a:moveTo>
                  <a:lnTo>
                    <a:pt x="0" y="13"/>
                  </a:lnTo>
                  <a:lnTo>
                    <a:pt x="40" y="0"/>
                  </a:lnTo>
                  <a:lnTo>
                    <a:pt x="36" y="9"/>
                  </a:lnTo>
                  <a:lnTo>
                    <a:pt x="36" y="40"/>
                  </a:lnTo>
                  <a:lnTo>
                    <a:pt x="45" y="40"/>
                  </a:lnTo>
                  <a:lnTo>
                    <a:pt x="45" y="49"/>
                  </a:lnTo>
                  <a:lnTo>
                    <a:pt x="49" y="40"/>
                  </a:lnTo>
                  <a:lnTo>
                    <a:pt x="58" y="40"/>
                  </a:lnTo>
                  <a:lnTo>
                    <a:pt x="63" y="45"/>
                  </a:lnTo>
                  <a:lnTo>
                    <a:pt x="72" y="31"/>
                  </a:lnTo>
                  <a:lnTo>
                    <a:pt x="76" y="31"/>
                  </a:lnTo>
                  <a:lnTo>
                    <a:pt x="81" y="27"/>
                  </a:lnTo>
                  <a:lnTo>
                    <a:pt x="89" y="40"/>
                  </a:lnTo>
                  <a:lnTo>
                    <a:pt x="121" y="40"/>
                  </a:lnTo>
                  <a:lnTo>
                    <a:pt x="125" y="36"/>
                  </a:lnTo>
                  <a:lnTo>
                    <a:pt x="134" y="45"/>
                  </a:lnTo>
                  <a:lnTo>
                    <a:pt x="139" y="54"/>
                  </a:lnTo>
                  <a:lnTo>
                    <a:pt x="143" y="54"/>
                  </a:lnTo>
                  <a:lnTo>
                    <a:pt x="143" y="67"/>
                  </a:lnTo>
                  <a:lnTo>
                    <a:pt x="139" y="67"/>
                  </a:lnTo>
                  <a:lnTo>
                    <a:pt x="139" y="76"/>
                  </a:lnTo>
                  <a:lnTo>
                    <a:pt x="152" y="76"/>
                  </a:lnTo>
                  <a:lnTo>
                    <a:pt x="152" y="85"/>
                  </a:lnTo>
                  <a:lnTo>
                    <a:pt x="183" y="89"/>
                  </a:lnTo>
                  <a:lnTo>
                    <a:pt x="188" y="85"/>
                  </a:lnTo>
                  <a:lnTo>
                    <a:pt x="206" y="67"/>
                  </a:lnTo>
                  <a:lnTo>
                    <a:pt x="219" y="63"/>
                  </a:lnTo>
                  <a:lnTo>
                    <a:pt x="223" y="67"/>
                  </a:lnTo>
                  <a:lnTo>
                    <a:pt x="223" y="71"/>
                  </a:lnTo>
                  <a:lnTo>
                    <a:pt x="210" y="80"/>
                  </a:lnTo>
                  <a:lnTo>
                    <a:pt x="210" y="85"/>
                  </a:lnTo>
                  <a:lnTo>
                    <a:pt x="215" y="85"/>
                  </a:lnTo>
                  <a:lnTo>
                    <a:pt x="215" y="89"/>
                  </a:lnTo>
                  <a:lnTo>
                    <a:pt x="228" y="85"/>
                  </a:lnTo>
                  <a:lnTo>
                    <a:pt x="232" y="89"/>
                  </a:lnTo>
                  <a:lnTo>
                    <a:pt x="241" y="94"/>
                  </a:lnTo>
                  <a:lnTo>
                    <a:pt x="250" y="94"/>
                  </a:lnTo>
                  <a:lnTo>
                    <a:pt x="250" y="98"/>
                  </a:lnTo>
                  <a:lnTo>
                    <a:pt x="246" y="103"/>
                  </a:lnTo>
                  <a:lnTo>
                    <a:pt x="241" y="98"/>
                  </a:lnTo>
                  <a:lnTo>
                    <a:pt x="237" y="103"/>
                  </a:lnTo>
                  <a:lnTo>
                    <a:pt x="232" y="107"/>
                  </a:lnTo>
                  <a:lnTo>
                    <a:pt x="223" y="103"/>
                  </a:lnTo>
                  <a:lnTo>
                    <a:pt x="223" y="107"/>
                  </a:lnTo>
                  <a:lnTo>
                    <a:pt x="223" y="116"/>
                  </a:lnTo>
                  <a:lnTo>
                    <a:pt x="219" y="116"/>
                  </a:lnTo>
                  <a:lnTo>
                    <a:pt x="219" y="107"/>
                  </a:lnTo>
                  <a:lnTo>
                    <a:pt x="215" y="107"/>
                  </a:lnTo>
                  <a:lnTo>
                    <a:pt x="210" y="107"/>
                  </a:lnTo>
                  <a:lnTo>
                    <a:pt x="210" y="98"/>
                  </a:lnTo>
                  <a:lnTo>
                    <a:pt x="210" y="98"/>
                  </a:lnTo>
                  <a:lnTo>
                    <a:pt x="210" y="89"/>
                  </a:lnTo>
                  <a:lnTo>
                    <a:pt x="206" y="89"/>
                  </a:lnTo>
                  <a:lnTo>
                    <a:pt x="206" y="94"/>
                  </a:lnTo>
                  <a:lnTo>
                    <a:pt x="192" y="94"/>
                  </a:lnTo>
                  <a:lnTo>
                    <a:pt x="197" y="98"/>
                  </a:lnTo>
                  <a:lnTo>
                    <a:pt x="188" y="107"/>
                  </a:lnTo>
                  <a:lnTo>
                    <a:pt x="174" y="116"/>
                  </a:lnTo>
                  <a:lnTo>
                    <a:pt x="174" y="116"/>
                  </a:lnTo>
                  <a:lnTo>
                    <a:pt x="170" y="121"/>
                  </a:lnTo>
                  <a:lnTo>
                    <a:pt x="165" y="125"/>
                  </a:lnTo>
                  <a:lnTo>
                    <a:pt x="170" y="130"/>
                  </a:lnTo>
                  <a:lnTo>
                    <a:pt x="170" y="130"/>
                  </a:lnTo>
                  <a:lnTo>
                    <a:pt x="174" y="134"/>
                  </a:lnTo>
                  <a:lnTo>
                    <a:pt x="179" y="134"/>
                  </a:lnTo>
                  <a:lnTo>
                    <a:pt x="174" y="143"/>
                  </a:lnTo>
                  <a:lnTo>
                    <a:pt x="179" y="147"/>
                  </a:lnTo>
                  <a:lnTo>
                    <a:pt x="174" y="156"/>
                  </a:lnTo>
                  <a:lnTo>
                    <a:pt x="170" y="165"/>
                  </a:lnTo>
                  <a:lnTo>
                    <a:pt x="152" y="165"/>
                  </a:lnTo>
                  <a:lnTo>
                    <a:pt x="152" y="161"/>
                  </a:lnTo>
                  <a:lnTo>
                    <a:pt x="152" y="152"/>
                  </a:lnTo>
                  <a:lnTo>
                    <a:pt x="143" y="147"/>
                  </a:lnTo>
                  <a:lnTo>
                    <a:pt x="139" y="147"/>
                  </a:lnTo>
                  <a:lnTo>
                    <a:pt x="130" y="139"/>
                  </a:lnTo>
                  <a:lnTo>
                    <a:pt x="121" y="134"/>
                  </a:lnTo>
                  <a:lnTo>
                    <a:pt x="107" y="121"/>
                  </a:lnTo>
                  <a:lnTo>
                    <a:pt x="98" y="112"/>
                  </a:lnTo>
                  <a:lnTo>
                    <a:pt x="89" y="103"/>
                  </a:lnTo>
                  <a:lnTo>
                    <a:pt x="89" y="94"/>
                  </a:lnTo>
                  <a:lnTo>
                    <a:pt x="85" y="85"/>
                  </a:lnTo>
                  <a:lnTo>
                    <a:pt x="81" y="89"/>
                  </a:lnTo>
                  <a:lnTo>
                    <a:pt x="63" y="89"/>
                  </a:lnTo>
                  <a:lnTo>
                    <a:pt x="58" y="76"/>
                  </a:lnTo>
                  <a:lnTo>
                    <a:pt x="63" y="71"/>
                  </a:lnTo>
                  <a:lnTo>
                    <a:pt x="63" y="67"/>
                  </a:lnTo>
                  <a:lnTo>
                    <a:pt x="54" y="63"/>
                  </a:lnTo>
                  <a:lnTo>
                    <a:pt x="36" y="58"/>
                  </a:lnTo>
                  <a:lnTo>
                    <a:pt x="36" y="63"/>
                  </a:lnTo>
                  <a:lnTo>
                    <a:pt x="40" y="67"/>
                  </a:lnTo>
                  <a:lnTo>
                    <a:pt x="36" y="71"/>
                  </a:lnTo>
                  <a:lnTo>
                    <a:pt x="31" y="63"/>
                  </a:lnTo>
                  <a:lnTo>
                    <a:pt x="27" y="67"/>
                  </a:lnTo>
                  <a:lnTo>
                    <a:pt x="27" y="71"/>
                  </a:lnTo>
                  <a:lnTo>
                    <a:pt x="22" y="71"/>
                  </a:lnTo>
                  <a:lnTo>
                    <a:pt x="18" y="76"/>
                  </a:lnTo>
                  <a:lnTo>
                    <a:pt x="18" y="80"/>
                  </a:lnTo>
                  <a:lnTo>
                    <a:pt x="18" y="85"/>
                  </a:lnTo>
                  <a:lnTo>
                    <a:pt x="14" y="85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21" name="Freeform 13"/>
            <p:cNvSpPr>
              <a:spLocks/>
            </p:cNvSpPr>
            <p:nvPr/>
          </p:nvSpPr>
          <p:spPr bwMode="gray">
            <a:xfrm>
              <a:off x="1833" y="2656"/>
              <a:ext cx="40" cy="93"/>
            </a:xfrm>
            <a:custGeom>
              <a:avLst/>
              <a:gdLst>
                <a:gd name="T0" fmla="*/ 0 w 27"/>
                <a:gd name="T1" fmla="*/ 13 h 63"/>
                <a:gd name="T2" fmla="*/ 5 w 27"/>
                <a:gd name="T3" fmla="*/ 13 h 63"/>
                <a:gd name="T4" fmla="*/ 0 w 27"/>
                <a:gd name="T5" fmla="*/ 18 h 63"/>
                <a:gd name="T6" fmla="*/ 0 w 27"/>
                <a:gd name="T7" fmla="*/ 36 h 63"/>
                <a:gd name="T8" fmla="*/ 0 w 27"/>
                <a:gd name="T9" fmla="*/ 40 h 63"/>
                <a:gd name="T10" fmla="*/ 0 w 27"/>
                <a:gd name="T11" fmla="*/ 45 h 63"/>
                <a:gd name="T12" fmla="*/ 5 w 27"/>
                <a:gd name="T13" fmla="*/ 54 h 63"/>
                <a:gd name="T14" fmla="*/ 5 w 27"/>
                <a:gd name="T15" fmla="*/ 58 h 63"/>
                <a:gd name="T16" fmla="*/ 9 w 27"/>
                <a:gd name="T17" fmla="*/ 63 h 63"/>
                <a:gd name="T18" fmla="*/ 14 w 27"/>
                <a:gd name="T19" fmla="*/ 63 h 63"/>
                <a:gd name="T20" fmla="*/ 14 w 27"/>
                <a:gd name="T21" fmla="*/ 54 h 63"/>
                <a:gd name="T22" fmla="*/ 27 w 27"/>
                <a:gd name="T23" fmla="*/ 40 h 63"/>
                <a:gd name="T24" fmla="*/ 18 w 27"/>
                <a:gd name="T25" fmla="*/ 36 h 63"/>
                <a:gd name="T26" fmla="*/ 18 w 27"/>
                <a:gd name="T27" fmla="*/ 13 h 63"/>
                <a:gd name="T28" fmla="*/ 14 w 27"/>
                <a:gd name="T29" fmla="*/ 13 h 63"/>
                <a:gd name="T30" fmla="*/ 14 w 27"/>
                <a:gd name="T31" fmla="*/ 5 h 63"/>
                <a:gd name="T32" fmla="*/ 5 w 27"/>
                <a:gd name="T33" fmla="*/ 0 h 63"/>
                <a:gd name="T34" fmla="*/ 0 w 27"/>
                <a:gd name="T35" fmla="*/ 1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63">
                  <a:moveTo>
                    <a:pt x="0" y="13"/>
                  </a:moveTo>
                  <a:lnTo>
                    <a:pt x="5" y="13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5"/>
                  </a:lnTo>
                  <a:lnTo>
                    <a:pt x="5" y="54"/>
                  </a:lnTo>
                  <a:lnTo>
                    <a:pt x="5" y="58"/>
                  </a:lnTo>
                  <a:lnTo>
                    <a:pt x="9" y="63"/>
                  </a:lnTo>
                  <a:lnTo>
                    <a:pt x="14" y="63"/>
                  </a:lnTo>
                  <a:lnTo>
                    <a:pt x="14" y="54"/>
                  </a:lnTo>
                  <a:lnTo>
                    <a:pt x="27" y="40"/>
                  </a:lnTo>
                  <a:lnTo>
                    <a:pt x="18" y="36"/>
                  </a:lnTo>
                  <a:lnTo>
                    <a:pt x="18" y="13"/>
                  </a:lnTo>
                  <a:lnTo>
                    <a:pt x="14" y="13"/>
                  </a:lnTo>
                  <a:lnTo>
                    <a:pt x="14" y="5"/>
                  </a:lnTo>
                  <a:lnTo>
                    <a:pt x="5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22" name="Freeform 14"/>
            <p:cNvSpPr>
              <a:spLocks/>
            </p:cNvSpPr>
            <p:nvPr/>
          </p:nvSpPr>
          <p:spPr bwMode="gray">
            <a:xfrm>
              <a:off x="1629" y="2458"/>
              <a:ext cx="158" cy="85"/>
            </a:xfrm>
            <a:custGeom>
              <a:avLst/>
              <a:gdLst>
                <a:gd name="T0" fmla="*/ 0 w 107"/>
                <a:gd name="T1" fmla="*/ 31 h 58"/>
                <a:gd name="T2" fmla="*/ 0 w 107"/>
                <a:gd name="T3" fmla="*/ 45 h 58"/>
                <a:gd name="T4" fmla="*/ 0 w 107"/>
                <a:gd name="T5" fmla="*/ 49 h 58"/>
                <a:gd name="T6" fmla="*/ 9 w 107"/>
                <a:gd name="T7" fmla="*/ 45 h 58"/>
                <a:gd name="T8" fmla="*/ 9 w 107"/>
                <a:gd name="T9" fmla="*/ 49 h 58"/>
                <a:gd name="T10" fmla="*/ 18 w 107"/>
                <a:gd name="T11" fmla="*/ 49 h 58"/>
                <a:gd name="T12" fmla="*/ 22 w 107"/>
                <a:gd name="T13" fmla="*/ 45 h 58"/>
                <a:gd name="T14" fmla="*/ 36 w 107"/>
                <a:gd name="T15" fmla="*/ 45 h 58"/>
                <a:gd name="T16" fmla="*/ 40 w 107"/>
                <a:gd name="T17" fmla="*/ 54 h 58"/>
                <a:gd name="T18" fmla="*/ 54 w 107"/>
                <a:gd name="T19" fmla="*/ 58 h 58"/>
                <a:gd name="T20" fmla="*/ 67 w 107"/>
                <a:gd name="T21" fmla="*/ 58 h 58"/>
                <a:gd name="T22" fmla="*/ 76 w 107"/>
                <a:gd name="T23" fmla="*/ 54 h 58"/>
                <a:gd name="T24" fmla="*/ 89 w 107"/>
                <a:gd name="T25" fmla="*/ 49 h 58"/>
                <a:gd name="T26" fmla="*/ 94 w 107"/>
                <a:gd name="T27" fmla="*/ 45 h 58"/>
                <a:gd name="T28" fmla="*/ 94 w 107"/>
                <a:gd name="T29" fmla="*/ 40 h 58"/>
                <a:gd name="T30" fmla="*/ 94 w 107"/>
                <a:gd name="T31" fmla="*/ 36 h 58"/>
                <a:gd name="T32" fmla="*/ 94 w 107"/>
                <a:gd name="T33" fmla="*/ 31 h 58"/>
                <a:gd name="T34" fmla="*/ 103 w 107"/>
                <a:gd name="T35" fmla="*/ 31 h 58"/>
                <a:gd name="T36" fmla="*/ 107 w 107"/>
                <a:gd name="T37" fmla="*/ 22 h 58"/>
                <a:gd name="T38" fmla="*/ 107 w 107"/>
                <a:gd name="T39" fmla="*/ 18 h 58"/>
                <a:gd name="T40" fmla="*/ 107 w 107"/>
                <a:gd name="T41" fmla="*/ 13 h 58"/>
                <a:gd name="T42" fmla="*/ 103 w 107"/>
                <a:gd name="T43" fmla="*/ 13 h 58"/>
                <a:gd name="T44" fmla="*/ 98 w 107"/>
                <a:gd name="T45" fmla="*/ 13 h 58"/>
                <a:gd name="T46" fmla="*/ 98 w 107"/>
                <a:gd name="T47" fmla="*/ 4 h 58"/>
                <a:gd name="T48" fmla="*/ 76 w 107"/>
                <a:gd name="T49" fmla="*/ 0 h 58"/>
                <a:gd name="T50" fmla="*/ 67 w 107"/>
                <a:gd name="T51" fmla="*/ 9 h 58"/>
                <a:gd name="T52" fmla="*/ 58 w 107"/>
                <a:gd name="T53" fmla="*/ 9 h 58"/>
                <a:gd name="T54" fmla="*/ 54 w 107"/>
                <a:gd name="T55" fmla="*/ 13 h 58"/>
                <a:gd name="T56" fmla="*/ 45 w 107"/>
                <a:gd name="T57" fmla="*/ 18 h 58"/>
                <a:gd name="T58" fmla="*/ 40 w 107"/>
                <a:gd name="T59" fmla="*/ 22 h 58"/>
                <a:gd name="T60" fmla="*/ 49 w 107"/>
                <a:gd name="T61" fmla="*/ 27 h 58"/>
                <a:gd name="T62" fmla="*/ 45 w 107"/>
                <a:gd name="T63" fmla="*/ 36 h 58"/>
                <a:gd name="T64" fmla="*/ 40 w 107"/>
                <a:gd name="T65" fmla="*/ 31 h 58"/>
                <a:gd name="T66" fmla="*/ 22 w 107"/>
                <a:gd name="T67" fmla="*/ 36 h 58"/>
                <a:gd name="T68" fmla="*/ 0 w 107"/>
                <a:gd name="T69" fmla="*/ 3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" h="58">
                  <a:moveTo>
                    <a:pt x="0" y="31"/>
                  </a:moveTo>
                  <a:lnTo>
                    <a:pt x="0" y="45"/>
                  </a:lnTo>
                  <a:lnTo>
                    <a:pt x="0" y="49"/>
                  </a:lnTo>
                  <a:lnTo>
                    <a:pt x="9" y="45"/>
                  </a:lnTo>
                  <a:lnTo>
                    <a:pt x="9" y="49"/>
                  </a:lnTo>
                  <a:lnTo>
                    <a:pt x="18" y="49"/>
                  </a:lnTo>
                  <a:lnTo>
                    <a:pt x="22" y="45"/>
                  </a:lnTo>
                  <a:lnTo>
                    <a:pt x="36" y="45"/>
                  </a:lnTo>
                  <a:lnTo>
                    <a:pt x="40" y="54"/>
                  </a:lnTo>
                  <a:lnTo>
                    <a:pt x="54" y="58"/>
                  </a:lnTo>
                  <a:lnTo>
                    <a:pt x="67" y="58"/>
                  </a:lnTo>
                  <a:lnTo>
                    <a:pt x="76" y="54"/>
                  </a:lnTo>
                  <a:lnTo>
                    <a:pt x="89" y="49"/>
                  </a:lnTo>
                  <a:lnTo>
                    <a:pt x="94" y="45"/>
                  </a:lnTo>
                  <a:lnTo>
                    <a:pt x="94" y="40"/>
                  </a:lnTo>
                  <a:lnTo>
                    <a:pt x="94" y="36"/>
                  </a:lnTo>
                  <a:lnTo>
                    <a:pt x="94" y="31"/>
                  </a:lnTo>
                  <a:lnTo>
                    <a:pt x="103" y="31"/>
                  </a:lnTo>
                  <a:lnTo>
                    <a:pt x="107" y="22"/>
                  </a:lnTo>
                  <a:lnTo>
                    <a:pt x="107" y="18"/>
                  </a:lnTo>
                  <a:lnTo>
                    <a:pt x="107" y="13"/>
                  </a:lnTo>
                  <a:lnTo>
                    <a:pt x="103" y="13"/>
                  </a:lnTo>
                  <a:lnTo>
                    <a:pt x="98" y="13"/>
                  </a:lnTo>
                  <a:lnTo>
                    <a:pt x="98" y="4"/>
                  </a:lnTo>
                  <a:lnTo>
                    <a:pt x="76" y="0"/>
                  </a:lnTo>
                  <a:lnTo>
                    <a:pt x="67" y="9"/>
                  </a:lnTo>
                  <a:lnTo>
                    <a:pt x="58" y="9"/>
                  </a:lnTo>
                  <a:lnTo>
                    <a:pt x="54" y="13"/>
                  </a:lnTo>
                  <a:lnTo>
                    <a:pt x="45" y="18"/>
                  </a:lnTo>
                  <a:lnTo>
                    <a:pt x="40" y="22"/>
                  </a:lnTo>
                  <a:lnTo>
                    <a:pt x="49" y="27"/>
                  </a:lnTo>
                  <a:lnTo>
                    <a:pt x="45" y="36"/>
                  </a:lnTo>
                  <a:lnTo>
                    <a:pt x="40" y="31"/>
                  </a:lnTo>
                  <a:lnTo>
                    <a:pt x="22" y="36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23" name="Freeform 15"/>
            <p:cNvSpPr>
              <a:spLocks/>
            </p:cNvSpPr>
            <p:nvPr/>
          </p:nvSpPr>
          <p:spPr bwMode="gray">
            <a:xfrm>
              <a:off x="1747" y="2576"/>
              <a:ext cx="86" cy="74"/>
            </a:xfrm>
            <a:custGeom>
              <a:avLst/>
              <a:gdLst>
                <a:gd name="T0" fmla="*/ 32 w 58"/>
                <a:gd name="T1" fmla="*/ 45 h 50"/>
                <a:gd name="T2" fmla="*/ 32 w 58"/>
                <a:gd name="T3" fmla="*/ 45 h 50"/>
                <a:gd name="T4" fmla="*/ 36 w 58"/>
                <a:gd name="T5" fmla="*/ 45 h 50"/>
                <a:gd name="T6" fmla="*/ 45 w 58"/>
                <a:gd name="T7" fmla="*/ 50 h 50"/>
                <a:gd name="T8" fmla="*/ 45 w 58"/>
                <a:gd name="T9" fmla="*/ 50 h 50"/>
                <a:gd name="T10" fmla="*/ 45 w 58"/>
                <a:gd name="T11" fmla="*/ 50 h 50"/>
                <a:gd name="T12" fmla="*/ 45 w 58"/>
                <a:gd name="T13" fmla="*/ 45 h 50"/>
                <a:gd name="T14" fmla="*/ 45 w 58"/>
                <a:gd name="T15" fmla="*/ 45 h 50"/>
                <a:gd name="T16" fmla="*/ 45 w 58"/>
                <a:gd name="T17" fmla="*/ 41 h 50"/>
                <a:gd name="T18" fmla="*/ 50 w 58"/>
                <a:gd name="T19" fmla="*/ 36 h 50"/>
                <a:gd name="T20" fmla="*/ 50 w 58"/>
                <a:gd name="T21" fmla="*/ 36 h 50"/>
                <a:gd name="T22" fmla="*/ 50 w 58"/>
                <a:gd name="T23" fmla="*/ 36 h 50"/>
                <a:gd name="T24" fmla="*/ 50 w 58"/>
                <a:gd name="T25" fmla="*/ 32 h 50"/>
                <a:gd name="T26" fmla="*/ 54 w 58"/>
                <a:gd name="T27" fmla="*/ 32 h 50"/>
                <a:gd name="T28" fmla="*/ 58 w 58"/>
                <a:gd name="T29" fmla="*/ 27 h 50"/>
                <a:gd name="T30" fmla="*/ 54 w 58"/>
                <a:gd name="T31" fmla="*/ 23 h 50"/>
                <a:gd name="T32" fmla="*/ 58 w 58"/>
                <a:gd name="T33" fmla="*/ 23 h 50"/>
                <a:gd name="T34" fmla="*/ 58 w 58"/>
                <a:gd name="T35" fmla="*/ 23 h 50"/>
                <a:gd name="T36" fmla="*/ 50 w 58"/>
                <a:gd name="T37" fmla="*/ 18 h 50"/>
                <a:gd name="T38" fmla="*/ 50 w 58"/>
                <a:gd name="T39" fmla="*/ 14 h 50"/>
                <a:gd name="T40" fmla="*/ 54 w 58"/>
                <a:gd name="T41" fmla="*/ 9 h 50"/>
                <a:gd name="T42" fmla="*/ 54 w 58"/>
                <a:gd name="T43" fmla="*/ 5 h 50"/>
                <a:gd name="T44" fmla="*/ 50 w 58"/>
                <a:gd name="T45" fmla="*/ 5 h 50"/>
                <a:gd name="T46" fmla="*/ 45 w 58"/>
                <a:gd name="T47" fmla="*/ 5 h 50"/>
                <a:gd name="T48" fmla="*/ 45 w 58"/>
                <a:gd name="T49" fmla="*/ 5 h 50"/>
                <a:gd name="T50" fmla="*/ 41 w 58"/>
                <a:gd name="T51" fmla="*/ 0 h 50"/>
                <a:gd name="T52" fmla="*/ 36 w 58"/>
                <a:gd name="T53" fmla="*/ 0 h 50"/>
                <a:gd name="T54" fmla="*/ 32 w 58"/>
                <a:gd name="T55" fmla="*/ 5 h 50"/>
                <a:gd name="T56" fmla="*/ 23 w 58"/>
                <a:gd name="T57" fmla="*/ 0 h 50"/>
                <a:gd name="T58" fmla="*/ 18 w 58"/>
                <a:gd name="T59" fmla="*/ 0 h 50"/>
                <a:gd name="T60" fmla="*/ 18 w 58"/>
                <a:gd name="T61" fmla="*/ 0 h 50"/>
                <a:gd name="T62" fmla="*/ 14 w 58"/>
                <a:gd name="T63" fmla="*/ 0 h 50"/>
                <a:gd name="T64" fmla="*/ 9 w 58"/>
                <a:gd name="T65" fmla="*/ 5 h 50"/>
                <a:gd name="T66" fmla="*/ 5 w 58"/>
                <a:gd name="T67" fmla="*/ 0 h 50"/>
                <a:gd name="T68" fmla="*/ 5 w 58"/>
                <a:gd name="T69" fmla="*/ 0 h 50"/>
                <a:gd name="T70" fmla="*/ 0 w 58"/>
                <a:gd name="T71" fmla="*/ 9 h 50"/>
                <a:gd name="T72" fmla="*/ 5 w 58"/>
                <a:gd name="T73" fmla="*/ 9 h 50"/>
                <a:gd name="T74" fmla="*/ 9 w 58"/>
                <a:gd name="T75" fmla="*/ 18 h 50"/>
                <a:gd name="T76" fmla="*/ 9 w 58"/>
                <a:gd name="T77" fmla="*/ 23 h 50"/>
                <a:gd name="T78" fmla="*/ 23 w 58"/>
                <a:gd name="T79" fmla="*/ 36 h 50"/>
                <a:gd name="T80" fmla="*/ 27 w 58"/>
                <a:gd name="T81" fmla="*/ 36 h 50"/>
                <a:gd name="T82" fmla="*/ 27 w 58"/>
                <a:gd name="T83" fmla="*/ 36 h 50"/>
                <a:gd name="T84" fmla="*/ 32 w 58"/>
                <a:gd name="T85" fmla="*/ 45 h 50"/>
                <a:gd name="T86" fmla="*/ 32 w 58"/>
                <a:gd name="T87" fmla="*/ 4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" h="50">
                  <a:moveTo>
                    <a:pt x="32" y="45"/>
                  </a:moveTo>
                  <a:lnTo>
                    <a:pt x="32" y="45"/>
                  </a:lnTo>
                  <a:lnTo>
                    <a:pt x="36" y="45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1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2"/>
                  </a:lnTo>
                  <a:lnTo>
                    <a:pt x="54" y="32"/>
                  </a:lnTo>
                  <a:lnTo>
                    <a:pt x="58" y="27"/>
                  </a:lnTo>
                  <a:lnTo>
                    <a:pt x="54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0" y="18"/>
                  </a:lnTo>
                  <a:lnTo>
                    <a:pt x="50" y="14"/>
                  </a:lnTo>
                  <a:lnTo>
                    <a:pt x="54" y="9"/>
                  </a:lnTo>
                  <a:lnTo>
                    <a:pt x="54" y="5"/>
                  </a:lnTo>
                  <a:lnTo>
                    <a:pt x="50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1" y="0"/>
                  </a:lnTo>
                  <a:lnTo>
                    <a:pt x="36" y="0"/>
                  </a:lnTo>
                  <a:lnTo>
                    <a:pt x="32" y="5"/>
                  </a:lnTo>
                  <a:lnTo>
                    <a:pt x="23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9"/>
                  </a:lnTo>
                  <a:lnTo>
                    <a:pt x="5" y="9"/>
                  </a:lnTo>
                  <a:lnTo>
                    <a:pt x="9" y="18"/>
                  </a:lnTo>
                  <a:lnTo>
                    <a:pt x="9" y="23"/>
                  </a:lnTo>
                  <a:lnTo>
                    <a:pt x="23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32" y="45"/>
                  </a:lnTo>
                  <a:lnTo>
                    <a:pt x="32" y="4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24" name="Freeform 16"/>
            <p:cNvSpPr>
              <a:spLocks/>
            </p:cNvSpPr>
            <p:nvPr/>
          </p:nvSpPr>
          <p:spPr bwMode="gray">
            <a:xfrm>
              <a:off x="1894" y="2602"/>
              <a:ext cx="132" cy="94"/>
            </a:xfrm>
            <a:custGeom>
              <a:avLst/>
              <a:gdLst>
                <a:gd name="T0" fmla="*/ 4 w 89"/>
                <a:gd name="T1" fmla="*/ 0 h 63"/>
                <a:gd name="T2" fmla="*/ 0 w 89"/>
                <a:gd name="T3" fmla="*/ 18 h 63"/>
                <a:gd name="T4" fmla="*/ 13 w 89"/>
                <a:gd name="T5" fmla="*/ 27 h 63"/>
                <a:gd name="T6" fmla="*/ 13 w 89"/>
                <a:gd name="T7" fmla="*/ 32 h 63"/>
                <a:gd name="T8" fmla="*/ 4 w 89"/>
                <a:gd name="T9" fmla="*/ 36 h 63"/>
                <a:gd name="T10" fmla="*/ 4 w 89"/>
                <a:gd name="T11" fmla="*/ 45 h 63"/>
                <a:gd name="T12" fmla="*/ 13 w 89"/>
                <a:gd name="T13" fmla="*/ 49 h 63"/>
                <a:gd name="T14" fmla="*/ 13 w 89"/>
                <a:gd name="T15" fmla="*/ 63 h 63"/>
                <a:gd name="T16" fmla="*/ 22 w 89"/>
                <a:gd name="T17" fmla="*/ 63 h 63"/>
                <a:gd name="T18" fmla="*/ 31 w 89"/>
                <a:gd name="T19" fmla="*/ 58 h 63"/>
                <a:gd name="T20" fmla="*/ 40 w 89"/>
                <a:gd name="T21" fmla="*/ 63 h 63"/>
                <a:gd name="T22" fmla="*/ 53 w 89"/>
                <a:gd name="T23" fmla="*/ 63 h 63"/>
                <a:gd name="T24" fmla="*/ 53 w 89"/>
                <a:gd name="T25" fmla="*/ 54 h 63"/>
                <a:gd name="T26" fmla="*/ 71 w 89"/>
                <a:gd name="T27" fmla="*/ 45 h 63"/>
                <a:gd name="T28" fmla="*/ 76 w 89"/>
                <a:gd name="T29" fmla="*/ 49 h 63"/>
                <a:gd name="T30" fmla="*/ 85 w 89"/>
                <a:gd name="T31" fmla="*/ 49 h 63"/>
                <a:gd name="T32" fmla="*/ 80 w 89"/>
                <a:gd name="T33" fmla="*/ 36 h 63"/>
                <a:gd name="T34" fmla="*/ 76 w 89"/>
                <a:gd name="T35" fmla="*/ 36 h 63"/>
                <a:gd name="T36" fmla="*/ 80 w 89"/>
                <a:gd name="T37" fmla="*/ 32 h 63"/>
                <a:gd name="T38" fmla="*/ 80 w 89"/>
                <a:gd name="T39" fmla="*/ 18 h 63"/>
                <a:gd name="T40" fmla="*/ 89 w 89"/>
                <a:gd name="T41" fmla="*/ 18 h 63"/>
                <a:gd name="T42" fmla="*/ 89 w 89"/>
                <a:gd name="T43" fmla="*/ 14 h 63"/>
                <a:gd name="T44" fmla="*/ 71 w 89"/>
                <a:gd name="T45" fmla="*/ 5 h 63"/>
                <a:gd name="T46" fmla="*/ 58 w 89"/>
                <a:gd name="T47" fmla="*/ 9 h 63"/>
                <a:gd name="T48" fmla="*/ 49 w 89"/>
                <a:gd name="T49" fmla="*/ 18 h 63"/>
                <a:gd name="T50" fmla="*/ 35 w 89"/>
                <a:gd name="T51" fmla="*/ 18 h 63"/>
                <a:gd name="T52" fmla="*/ 22 w 89"/>
                <a:gd name="T53" fmla="*/ 14 h 63"/>
                <a:gd name="T54" fmla="*/ 9 w 89"/>
                <a:gd name="T55" fmla="*/ 9 h 63"/>
                <a:gd name="T56" fmla="*/ 9 w 89"/>
                <a:gd name="T57" fmla="*/ 0 h 63"/>
                <a:gd name="T58" fmla="*/ 4 w 89"/>
                <a:gd name="T5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9" h="63">
                  <a:moveTo>
                    <a:pt x="4" y="0"/>
                  </a:moveTo>
                  <a:lnTo>
                    <a:pt x="0" y="18"/>
                  </a:lnTo>
                  <a:lnTo>
                    <a:pt x="13" y="27"/>
                  </a:lnTo>
                  <a:lnTo>
                    <a:pt x="13" y="32"/>
                  </a:lnTo>
                  <a:lnTo>
                    <a:pt x="4" y="36"/>
                  </a:lnTo>
                  <a:lnTo>
                    <a:pt x="4" y="45"/>
                  </a:lnTo>
                  <a:lnTo>
                    <a:pt x="13" y="49"/>
                  </a:lnTo>
                  <a:lnTo>
                    <a:pt x="13" y="63"/>
                  </a:lnTo>
                  <a:lnTo>
                    <a:pt x="22" y="63"/>
                  </a:lnTo>
                  <a:lnTo>
                    <a:pt x="31" y="58"/>
                  </a:lnTo>
                  <a:lnTo>
                    <a:pt x="40" y="63"/>
                  </a:lnTo>
                  <a:lnTo>
                    <a:pt x="53" y="63"/>
                  </a:lnTo>
                  <a:lnTo>
                    <a:pt x="53" y="54"/>
                  </a:lnTo>
                  <a:lnTo>
                    <a:pt x="71" y="45"/>
                  </a:lnTo>
                  <a:lnTo>
                    <a:pt x="76" y="49"/>
                  </a:lnTo>
                  <a:lnTo>
                    <a:pt x="85" y="49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80" y="18"/>
                  </a:lnTo>
                  <a:lnTo>
                    <a:pt x="89" y="18"/>
                  </a:lnTo>
                  <a:lnTo>
                    <a:pt x="89" y="14"/>
                  </a:lnTo>
                  <a:lnTo>
                    <a:pt x="71" y="5"/>
                  </a:lnTo>
                  <a:lnTo>
                    <a:pt x="58" y="9"/>
                  </a:lnTo>
                  <a:lnTo>
                    <a:pt x="49" y="18"/>
                  </a:lnTo>
                  <a:lnTo>
                    <a:pt x="35" y="18"/>
                  </a:lnTo>
                  <a:lnTo>
                    <a:pt x="22" y="14"/>
                  </a:lnTo>
                  <a:lnTo>
                    <a:pt x="9" y="9"/>
                  </a:lnTo>
                  <a:lnTo>
                    <a:pt x="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25" name="Freeform 17"/>
            <p:cNvSpPr>
              <a:spLocks/>
            </p:cNvSpPr>
            <p:nvPr/>
          </p:nvSpPr>
          <p:spPr bwMode="gray">
            <a:xfrm>
              <a:off x="1913" y="2206"/>
              <a:ext cx="198" cy="179"/>
            </a:xfrm>
            <a:custGeom>
              <a:avLst/>
              <a:gdLst>
                <a:gd name="T0" fmla="*/ 13 w 134"/>
                <a:gd name="T1" fmla="*/ 116 h 121"/>
                <a:gd name="T2" fmla="*/ 22 w 134"/>
                <a:gd name="T3" fmla="*/ 103 h 121"/>
                <a:gd name="T4" fmla="*/ 45 w 134"/>
                <a:gd name="T5" fmla="*/ 112 h 121"/>
                <a:gd name="T6" fmla="*/ 63 w 134"/>
                <a:gd name="T7" fmla="*/ 112 h 121"/>
                <a:gd name="T8" fmla="*/ 67 w 134"/>
                <a:gd name="T9" fmla="*/ 116 h 121"/>
                <a:gd name="T10" fmla="*/ 76 w 134"/>
                <a:gd name="T11" fmla="*/ 112 h 121"/>
                <a:gd name="T12" fmla="*/ 85 w 134"/>
                <a:gd name="T13" fmla="*/ 112 h 121"/>
                <a:gd name="T14" fmla="*/ 98 w 134"/>
                <a:gd name="T15" fmla="*/ 116 h 121"/>
                <a:gd name="T16" fmla="*/ 107 w 134"/>
                <a:gd name="T17" fmla="*/ 116 h 121"/>
                <a:gd name="T18" fmla="*/ 112 w 134"/>
                <a:gd name="T19" fmla="*/ 99 h 121"/>
                <a:gd name="T20" fmla="*/ 121 w 134"/>
                <a:gd name="T21" fmla="*/ 94 h 121"/>
                <a:gd name="T22" fmla="*/ 121 w 134"/>
                <a:gd name="T23" fmla="*/ 76 h 121"/>
                <a:gd name="T24" fmla="*/ 125 w 134"/>
                <a:gd name="T25" fmla="*/ 81 h 121"/>
                <a:gd name="T26" fmla="*/ 134 w 134"/>
                <a:gd name="T27" fmla="*/ 72 h 121"/>
                <a:gd name="T28" fmla="*/ 125 w 134"/>
                <a:gd name="T29" fmla="*/ 63 h 121"/>
                <a:gd name="T30" fmla="*/ 116 w 134"/>
                <a:gd name="T31" fmla="*/ 54 h 121"/>
                <a:gd name="T32" fmla="*/ 112 w 134"/>
                <a:gd name="T33" fmla="*/ 45 h 121"/>
                <a:gd name="T34" fmla="*/ 112 w 134"/>
                <a:gd name="T35" fmla="*/ 31 h 121"/>
                <a:gd name="T36" fmla="*/ 98 w 134"/>
                <a:gd name="T37" fmla="*/ 9 h 121"/>
                <a:gd name="T38" fmla="*/ 85 w 134"/>
                <a:gd name="T39" fmla="*/ 5 h 121"/>
                <a:gd name="T40" fmla="*/ 76 w 134"/>
                <a:gd name="T41" fmla="*/ 0 h 121"/>
                <a:gd name="T42" fmla="*/ 67 w 134"/>
                <a:gd name="T43" fmla="*/ 0 h 121"/>
                <a:gd name="T44" fmla="*/ 63 w 134"/>
                <a:gd name="T45" fmla="*/ 9 h 121"/>
                <a:gd name="T46" fmla="*/ 45 w 134"/>
                <a:gd name="T47" fmla="*/ 18 h 121"/>
                <a:gd name="T48" fmla="*/ 45 w 134"/>
                <a:gd name="T49" fmla="*/ 23 h 121"/>
                <a:gd name="T50" fmla="*/ 45 w 134"/>
                <a:gd name="T51" fmla="*/ 27 h 121"/>
                <a:gd name="T52" fmla="*/ 40 w 134"/>
                <a:gd name="T53" fmla="*/ 31 h 121"/>
                <a:gd name="T54" fmla="*/ 31 w 134"/>
                <a:gd name="T55" fmla="*/ 45 h 121"/>
                <a:gd name="T56" fmla="*/ 27 w 134"/>
                <a:gd name="T57" fmla="*/ 49 h 121"/>
                <a:gd name="T58" fmla="*/ 13 w 134"/>
                <a:gd name="T59" fmla="*/ 49 h 121"/>
                <a:gd name="T60" fmla="*/ 9 w 134"/>
                <a:gd name="T61" fmla="*/ 72 h 121"/>
                <a:gd name="T62" fmla="*/ 13 w 134"/>
                <a:gd name="T63" fmla="*/ 90 h 121"/>
                <a:gd name="T64" fmla="*/ 5 w 134"/>
                <a:gd name="T65" fmla="*/ 10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4" h="121">
                  <a:moveTo>
                    <a:pt x="5" y="112"/>
                  </a:moveTo>
                  <a:lnTo>
                    <a:pt x="13" y="116"/>
                  </a:lnTo>
                  <a:lnTo>
                    <a:pt x="18" y="107"/>
                  </a:lnTo>
                  <a:lnTo>
                    <a:pt x="22" y="103"/>
                  </a:lnTo>
                  <a:lnTo>
                    <a:pt x="36" y="107"/>
                  </a:lnTo>
                  <a:lnTo>
                    <a:pt x="45" y="112"/>
                  </a:lnTo>
                  <a:lnTo>
                    <a:pt x="58" y="107"/>
                  </a:lnTo>
                  <a:lnTo>
                    <a:pt x="63" y="112"/>
                  </a:lnTo>
                  <a:lnTo>
                    <a:pt x="67" y="121"/>
                  </a:lnTo>
                  <a:lnTo>
                    <a:pt x="67" y="116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5" y="112"/>
                  </a:lnTo>
                  <a:lnTo>
                    <a:pt x="89" y="121"/>
                  </a:lnTo>
                  <a:lnTo>
                    <a:pt x="98" y="116"/>
                  </a:lnTo>
                  <a:lnTo>
                    <a:pt x="107" y="121"/>
                  </a:lnTo>
                  <a:lnTo>
                    <a:pt x="107" y="116"/>
                  </a:lnTo>
                  <a:lnTo>
                    <a:pt x="107" y="112"/>
                  </a:lnTo>
                  <a:lnTo>
                    <a:pt x="112" y="99"/>
                  </a:lnTo>
                  <a:lnTo>
                    <a:pt x="121" y="103"/>
                  </a:lnTo>
                  <a:lnTo>
                    <a:pt x="121" y="94"/>
                  </a:lnTo>
                  <a:lnTo>
                    <a:pt x="116" y="81"/>
                  </a:lnTo>
                  <a:lnTo>
                    <a:pt x="121" y="76"/>
                  </a:lnTo>
                  <a:lnTo>
                    <a:pt x="125" y="81"/>
                  </a:lnTo>
                  <a:lnTo>
                    <a:pt x="125" y="81"/>
                  </a:lnTo>
                  <a:lnTo>
                    <a:pt x="130" y="76"/>
                  </a:lnTo>
                  <a:lnTo>
                    <a:pt x="134" y="72"/>
                  </a:lnTo>
                  <a:lnTo>
                    <a:pt x="130" y="72"/>
                  </a:lnTo>
                  <a:lnTo>
                    <a:pt x="125" y="63"/>
                  </a:lnTo>
                  <a:lnTo>
                    <a:pt x="116" y="67"/>
                  </a:lnTo>
                  <a:lnTo>
                    <a:pt x="116" y="54"/>
                  </a:lnTo>
                  <a:lnTo>
                    <a:pt x="112" y="49"/>
                  </a:lnTo>
                  <a:lnTo>
                    <a:pt x="112" y="45"/>
                  </a:lnTo>
                  <a:lnTo>
                    <a:pt x="112" y="36"/>
                  </a:lnTo>
                  <a:lnTo>
                    <a:pt x="112" y="31"/>
                  </a:lnTo>
                  <a:lnTo>
                    <a:pt x="107" y="18"/>
                  </a:lnTo>
                  <a:lnTo>
                    <a:pt x="98" y="9"/>
                  </a:lnTo>
                  <a:lnTo>
                    <a:pt x="89" y="14"/>
                  </a:lnTo>
                  <a:lnTo>
                    <a:pt x="85" y="5"/>
                  </a:lnTo>
                  <a:lnTo>
                    <a:pt x="76" y="5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3" y="9"/>
                  </a:lnTo>
                  <a:lnTo>
                    <a:pt x="58" y="14"/>
                  </a:lnTo>
                  <a:lnTo>
                    <a:pt x="45" y="18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9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0" y="31"/>
                  </a:lnTo>
                  <a:lnTo>
                    <a:pt x="36" y="40"/>
                  </a:lnTo>
                  <a:lnTo>
                    <a:pt x="31" y="45"/>
                  </a:lnTo>
                  <a:lnTo>
                    <a:pt x="31" y="54"/>
                  </a:lnTo>
                  <a:lnTo>
                    <a:pt x="27" y="49"/>
                  </a:lnTo>
                  <a:lnTo>
                    <a:pt x="22" y="54"/>
                  </a:lnTo>
                  <a:lnTo>
                    <a:pt x="13" y="49"/>
                  </a:lnTo>
                  <a:lnTo>
                    <a:pt x="5" y="58"/>
                  </a:lnTo>
                  <a:lnTo>
                    <a:pt x="9" y="72"/>
                  </a:lnTo>
                  <a:lnTo>
                    <a:pt x="13" y="81"/>
                  </a:lnTo>
                  <a:lnTo>
                    <a:pt x="13" y="90"/>
                  </a:lnTo>
                  <a:lnTo>
                    <a:pt x="0" y="94"/>
                  </a:lnTo>
                  <a:lnTo>
                    <a:pt x="5" y="103"/>
                  </a:lnTo>
                  <a:lnTo>
                    <a:pt x="5" y="11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26" name="Freeform 18"/>
            <p:cNvSpPr>
              <a:spLocks noEditPoints="1"/>
            </p:cNvSpPr>
            <p:nvPr/>
          </p:nvSpPr>
          <p:spPr bwMode="gray">
            <a:xfrm>
              <a:off x="1702" y="2537"/>
              <a:ext cx="125" cy="119"/>
            </a:xfrm>
            <a:custGeom>
              <a:avLst/>
              <a:gdLst>
                <a:gd name="T0" fmla="*/ 0 w 85"/>
                <a:gd name="T1" fmla="*/ 22 h 80"/>
                <a:gd name="T2" fmla="*/ 9 w 85"/>
                <a:gd name="T3" fmla="*/ 35 h 80"/>
                <a:gd name="T4" fmla="*/ 22 w 85"/>
                <a:gd name="T5" fmla="*/ 31 h 80"/>
                <a:gd name="T6" fmla="*/ 27 w 85"/>
                <a:gd name="T7" fmla="*/ 44 h 80"/>
                <a:gd name="T8" fmla="*/ 22 w 85"/>
                <a:gd name="T9" fmla="*/ 53 h 80"/>
                <a:gd name="T10" fmla="*/ 36 w 85"/>
                <a:gd name="T11" fmla="*/ 62 h 80"/>
                <a:gd name="T12" fmla="*/ 45 w 85"/>
                <a:gd name="T13" fmla="*/ 67 h 80"/>
                <a:gd name="T14" fmla="*/ 45 w 85"/>
                <a:gd name="T15" fmla="*/ 62 h 80"/>
                <a:gd name="T16" fmla="*/ 54 w 85"/>
                <a:gd name="T17" fmla="*/ 67 h 80"/>
                <a:gd name="T18" fmla="*/ 63 w 85"/>
                <a:gd name="T19" fmla="*/ 71 h 80"/>
                <a:gd name="T20" fmla="*/ 58 w 85"/>
                <a:gd name="T21" fmla="*/ 62 h 80"/>
                <a:gd name="T22" fmla="*/ 54 w 85"/>
                <a:gd name="T23" fmla="*/ 62 h 80"/>
                <a:gd name="T24" fmla="*/ 40 w 85"/>
                <a:gd name="T25" fmla="*/ 44 h 80"/>
                <a:gd name="T26" fmla="*/ 31 w 85"/>
                <a:gd name="T27" fmla="*/ 35 h 80"/>
                <a:gd name="T28" fmla="*/ 36 w 85"/>
                <a:gd name="T29" fmla="*/ 26 h 80"/>
                <a:gd name="T30" fmla="*/ 45 w 85"/>
                <a:gd name="T31" fmla="*/ 26 h 80"/>
                <a:gd name="T32" fmla="*/ 49 w 85"/>
                <a:gd name="T33" fmla="*/ 26 h 80"/>
                <a:gd name="T34" fmla="*/ 63 w 85"/>
                <a:gd name="T35" fmla="*/ 31 h 80"/>
                <a:gd name="T36" fmla="*/ 72 w 85"/>
                <a:gd name="T37" fmla="*/ 26 h 80"/>
                <a:gd name="T38" fmla="*/ 76 w 85"/>
                <a:gd name="T39" fmla="*/ 31 h 80"/>
                <a:gd name="T40" fmla="*/ 81 w 85"/>
                <a:gd name="T41" fmla="*/ 26 h 80"/>
                <a:gd name="T42" fmla="*/ 85 w 85"/>
                <a:gd name="T43" fmla="*/ 22 h 80"/>
                <a:gd name="T44" fmla="*/ 81 w 85"/>
                <a:gd name="T45" fmla="*/ 22 h 80"/>
                <a:gd name="T46" fmla="*/ 81 w 85"/>
                <a:gd name="T47" fmla="*/ 18 h 80"/>
                <a:gd name="T48" fmla="*/ 76 w 85"/>
                <a:gd name="T49" fmla="*/ 13 h 80"/>
                <a:gd name="T50" fmla="*/ 49 w 85"/>
                <a:gd name="T51" fmla="*/ 13 h 80"/>
                <a:gd name="T52" fmla="*/ 45 w 85"/>
                <a:gd name="T53" fmla="*/ 4 h 80"/>
                <a:gd name="T54" fmla="*/ 40 w 85"/>
                <a:gd name="T55" fmla="*/ 0 h 80"/>
                <a:gd name="T56" fmla="*/ 40 w 85"/>
                <a:gd name="T57" fmla="*/ 4 h 80"/>
                <a:gd name="T58" fmla="*/ 36 w 85"/>
                <a:gd name="T59" fmla="*/ 9 h 80"/>
                <a:gd name="T60" fmla="*/ 31 w 85"/>
                <a:gd name="T61" fmla="*/ 9 h 80"/>
                <a:gd name="T62" fmla="*/ 31 w 85"/>
                <a:gd name="T63" fmla="*/ 13 h 80"/>
                <a:gd name="T64" fmla="*/ 27 w 85"/>
                <a:gd name="T65" fmla="*/ 22 h 80"/>
                <a:gd name="T66" fmla="*/ 22 w 85"/>
                <a:gd name="T67" fmla="*/ 22 h 80"/>
                <a:gd name="T68" fmla="*/ 14 w 85"/>
                <a:gd name="T69" fmla="*/ 22 h 80"/>
                <a:gd name="T70" fmla="*/ 5 w 85"/>
                <a:gd name="T71" fmla="*/ 22 h 80"/>
                <a:gd name="T72" fmla="*/ 63 w 85"/>
                <a:gd name="T73" fmla="*/ 71 h 80"/>
                <a:gd name="T74" fmla="*/ 72 w 85"/>
                <a:gd name="T75" fmla="*/ 80 h 80"/>
                <a:gd name="T76" fmla="*/ 76 w 85"/>
                <a:gd name="T77" fmla="*/ 76 h 80"/>
                <a:gd name="T78" fmla="*/ 63 w 85"/>
                <a:gd name="T79" fmla="*/ 7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5" h="80">
                  <a:moveTo>
                    <a:pt x="5" y="22"/>
                  </a:moveTo>
                  <a:lnTo>
                    <a:pt x="0" y="22"/>
                  </a:lnTo>
                  <a:lnTo>
                    <a:pt x="5" y="35"/>
                  </a:lnTo>
                  <a:lnTo>
                    <a:pt x="9" y="35"/>
                  </a:lnTo>
                  <a:lnTo>
                    <a:pt x="14" y="26"/>
                  </a:lnTo>
                  <a:lnTo>
                    <a:pt x="22" y="31"/>
                  </a:lnTo>
                  <a:lnTo>
                    <a:pt x="18" y="35"/>
                  </a:lnTo>
                  <a:lnTo>
                    <a:pt x="27" y="44"/>
                  </a:lnTo>
                  <a:lnTo>
                    <a:pt x="22" y="44"/>
                  </a:lnTo>
                  <a:lnTo>
                    <a:pt x="22" y="53"/>
                  </a:lnTo>
                  <a:lnTo>
                    <a:pt x="31" y="49"/>
                  </a:lnTo>
                  <a:lnTo>
                    <a:pt x="36" y="62"/>
                  </a:lnTo>
                  <a:lnTo>
                    <a:pt x="45" y="62"/>
                  </a:lnTo>
                  <a:lnTo>
                    <a:pt x="45" y="67"/>
                  </a:lnTo>
                  <a:lnTo>
                    <a:pt x="54" y="67"/>
                  </a:lnTo>
                  <a:lnTo>
                    <a:pt x="45" y="62"/>
                  </a:lnTo>
                  <a:lnTo>
                    <a:pt x="49" y="62"/>
                  </a:lnTo>
                  <a:lnTo>
                    <a:pt x="54" y="67"/>
                  </a:lnTo>
                  <a:lnTo>
                    <a:pt x="54" y="71"/>
                  </a:lnTo>
                  <a:lnTo>
                    <a:pt x="63" y="71"/>
                  </a:lnTo>
                  <a:lnTo>
                    <a:pt x="63" y="71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4" y="62"/>
                  </a:lnTo>
                  <a:lnTo>
                    <a:pt x="40" y="49"/>
                  </a:lnTo>
                  <a:lnTo>
                    <a:pt x="40" y="44"/>
                  </a:lnTo>
                  <a:lnTo>
                    <a:pt x="36" y="35"/>
                  </a:lnTo>
                  <a:lnTo>
                    <a:pt x="31" y="35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40" y="31"/>
                  </a:lnTo>
                  <a:lnTo>
                    <a:pt x="45" y="26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4" y="26"/>
                  </a:lnTo>
                  <a:lnTo>
                    <a:pt x="63" y="31"/>
                  </a:lnTo>
                  <a:lnTo>
                    <a:pt x="67" y="26"/>
                  </a:lnTo>
                  <a:lnTo>
                    <a:pt x="72" y="26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81" y="31"/>
                  </a:lnTo>
                  <a:lnTo>
                    <a:pt x="81" y="26"/>
                  </a:lnTo>
                  <a:lnTo>
                    <a:pt x="85" y="26"/>
                  </a:lnTo>
                  <a:lnTo>
                    <a:pt x="85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3"/>
                  </a:lnTo>
                  <a:lnTo>
                    <a:pt x="76" y="13"/>
                  </a:lnTo>
                  <a:lnTo>
                    <a:pt x="67" y="18"/>
                  </a:lnTo>
                  <a:lnTo>
                    <a:pt x="49" y="13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27" y="18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2" y="22"/>
                  </a:lnTo>
                  <a:lnTo>
                    <a:pt x="18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5" y="22"/>
                  </a:lnTo>
                  <a:lnTo>
                    <a:pt x="5" y="22"/>
                  </a:lnTo>
                  <a:close/>
                  <a:moveTo>
                    <a:pt x="63" y="71"/>
                  </a:moveTo>
                  <a:lnTo>
                    <a:pt x="72" y="80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76" y="76"/>
                  </a:lnTo>
                  <a:lnTo>
                    <a:pt x="67" y="71"/>
                  </a:lnTo>
                  <a:lnTo>
                    <a:pt x="63" y="7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27" name="Freeform 19"/>
            <p:cNvSpPr>
              <a:spLocks/>
            </p:cNvSpPr>
            <p:nvPr/>
          </p:nvSpPr>
          <p:spPr bwMode="gray">
            <a:xfrm>
              <a:off x="2105" y="2848"/>
              <a:ext cx="52" cy="27"/>
            </a:xfrm>
            <a:custGeom>
              <a:avLst/>
              <a:gdLst>
                <a:gd name="T0" fmla="*/ 9 w 35"/>
                <a:gd name="T1" fmla="*/ 9 h 18"/>
                <a:gd name="T2" fmla="*/ 9 w 35"/>
                <a:gd name="T3" fmla="*/ 9 h 18"/>
                <a:gd name="T4" fmla="*/ 0 w 35"/>
                <a:gd name="T5" fmla="*/ 13 h 18"/>
                <a:gd name="T6" fmla="*/ 4 w 35"/>
                <a:gd name="T7" fmla="*/ 18 h 18"/>
                <a:gd name="T8" fmla="*/ 13 w 35"/>
                <a:gd name="T9" fmla="*/ 18 h 18"/>
                <a:gd name="T10" fmla="*/ 22 w 35"/>
                <a:gd name="T11" fmla="*/ 13 h 18"/>
                <a:gd name="T12" fmla="*/ 22 w 35"/>
                <a:gd name="T13" fmla="*/ 9 h 18"/>
                <a:gd name="T14" fmla="*/ 35 w 35"/>
                <a:gd name="T15" fmla="*/ 0 h 18"/>
                <a:gd name="T16" fmla="*/ 31 w 35"/>
                <a:gd name="T17" fmla="*/ 0 h 18"/>
                <a:gd name="T18" fmla="*/ 26 w 35"/>
                <a:gd name="T19" fmla="*/ 0 h 18"/>
                <a:gd name="T20" fmla="*/ 17 w 35"/>
                <a:gd name="T21" fmla="*/ 9 h 18"/>
                <a:gd name="T22" fmla="*/ 9 w 35"/>
                <a:gd name="T2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18">
                  <a:moveTo>
                    <a:pt x="9" y="9"/>
                  </a:moveTo>
                  <a:lnTo>
                    <a:pt x="9" y="9"/>
                  </a:lnTo>
                  <a:lnTo>
                    <a:pt x="0" y="13"/>
                  </a:lnTo>
                  <a:lnTo>
                    <a:pt x="4" y="18"/>
                  </a:lnTo>
                  <a:lnTo>
                    <a:pt x="13" y="18"/>
                  </a:lnTo>
                  <a:lnTo>
                    <a:pt x="22" y="13"/>
                  </a:lnTo>
                  <a:lnTo>
                    <a:pt x="22" y="9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17" y="9"/>
                  </a:lnTo>
                  <a:lnTo>
                    <a:pt x="9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28" name="Freeform 20"/>
            <p:cNvSpPr>
              <a:spLocks/>
            </p:cNvSpPr>
            <p:nvPr/>
          </p:nvSpPr>
          <p:spPr bwMode="gray">
            <a:xfrm>
              <a:off x="1675" y="2398"/>
              <a:ext cx="139" cy="79"/>
            </a:xfrm>
            <a:custGeom>
              <a:avLst/>
              <a:gdLst>
                <a:gd name="T0" fmla="*/ 40 w 94"/>
                <a:gd name="T1" fmla="*/ 0 h 53"/>
                <a:gd name="T2" fmla="*/ 36 w 94"/>
                <a:gd name="T3" fmla="*/ 0 h 53"/>
                <a:gd name="T4" fmla="*/ 32 w 94"/>
                <a:gd name="T5" fmla="*/ 9 h 53"/>
                <a:gd name="T6" fmla="*/ 18 w 94"/>
                <a:gd name="T7" fmla="*/ 9 h 53"/>
                <a:gd name="T8" fmla="*/ 9 w 94"/>
                <a:gd name="T9" fmla="*/ 18 h 53"/>
                <a:gd name="T10" fmla="*/ 5 w 94"/>
                <a:gd name="T11" fmla="*/ 18 h 53"/>
                <a:gd name="T12" fmla="*/ 0 w 94"/>
                <a:gd name="T13" fmla="*/ 18 h 53"/>
                <a:gd name="T14" fmla="*/ 5 w 94"/>
                <a:gd name="T15" fmla="*/ 27 h 53"/>
                <a:gd name="T16" fmla="*/ 9 w 94"/>
                <a:gd name="T17" fmla="*/ 36 h 53"/>
                <a:gd name="T18" fmla="*/ 18 w 94"/>
                <a:gd name="T19" fmla="*/ 36 h 53"/>
                <a:gd name="T20" fmla="*/ 27 w 94"/>
                <a:gd name="T21" fmla="*/ 44 h 53"/>
                <a:gd name="T22" fmla="*/ 27 w 94"/>
                <a:gd name="T23" fmla="*/ 49 h 53"/>
                <a:gd name="T24" fmla="*/ 36 w 94"/>
                <a:gd name="T25" fmla="*/ 49 h 53"/>
                <a:gd name="T26" fmla="*/ 45 w 94"/>
                <a:gd name="T27" fmla="*/ 40 h 53"/>
                <a:gd name="T28" fmla="*/ 67 w 94"/>
                <a:gd name="T29" fmla="*/ 44 h 53"/>
                <a:gd name="T30" fmla="*/ 67 w 94"/>
                <a:gd name="T31" fmla="*/ 53 h 53"/>
                <a:gd name="T32" fmla="*/ 72 w 94"/>
                <a:gd name="T33" fmla="*/ 49 h 53"/>
                <a:gd name="T34" fmla="*/ 81 w 94"/>
                <a:gd name="T35" fmla="*/ 49 h 53"/>
                <a:gd name="T36" fmla="*/ 85 w 94"/>
                <a:gd name="T37" fmla="*/ 44 h 53"/>
                <a:gd name="T38" fmla="*/ 90 w 94"/>
                <a:gd name="T39" fmla="*/ 36 h 53"/>
                <a:gd name="T40" fmla="*/ 94 w 94"/>
                <a:gd name="T41" fmla="*/ 31 h 53"/>
                <a:gd name="T42" fmla="*/ 94 w 94"/>
                <a:gd name="T43" fmla="*/ 22 h 53"/>
                <a:gd name="T44" fmla="*/ 85 w 94"/>
                <a:gd name="T45" fmla="*/ 22 h 53"/>
                <a:gd name="T46" fmla="*/ 81 w 94"/>
                <a:gd name="T47" fmla="*/ 13 h 53"/>
                <a:gd name="T48" fmla="*/ 72 w 94"/>
                <a:gd name="T49" fmla="*/ 9 h 53"/>
                <a:gd name="T50" fmla="*/ 67 w 94"/>
                <a:gd name="T51" fmla="*/ 18 h 53"/>
                <a:gd name="T52" fmla="*/ 58 w 94"/>
                <a:gd name="T53" fmla="*/ 13 h 53"/>
                <a:gd name="T54" fmla="*/ 63 w 94"/>
                <a:gd name="T55" fmla="*/ 9 h 53"/>
                <a:gd name="T56" fmla="*/ 54 w 94"/>
                <a:gd name="T57" fmla="*/ 9 h 53"/>
                <a:gd name="T58" fmla="*/ 49 w 94"/>
                <a:gd name="T59" fmla="*/ 0 h 53"/>
                <a:gd name="T60" fmla="*/ 45 w 94"/>
                <a:gd name="T61" fmla="*/ 4 h 53"/>
                <a:gd name="T62" fmla="*/ 40 w 94"/>
                <a:gd name="T63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4" h="53">
                  <a:moveTo>
                    <a:pt x="40" y="0"/>
                  </a:moveTo>
                  <a:lnTo>
                    <a:pt x="36" y="0"/>
                  </a:lnTo>
                  <a:lnTo>
                    <a:pt x="32" y="9"/>
                  </a:lnTo>
                  <a:lnTo>
                    <a:pt x="18" y="9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0" y="18"/>
                  </a:lnTo>
                  <a:lnTo>
                    <a:pt x="5" y="27"/>
                  </a:lnTo>
                  <a:lnTo>
                    <a:pt x="9" y="36"/>
                  </a:lnTo>
                  <a:lnTo>
                    <a:pt x="18" y="36"/>
                  </a:lnTo>
                  <a:lnTo>
                    <a:pt x="27" y="44"/>
                  </a:lnTo>
                  <a:lnTo>
                    <a:pt x="27" y="49"/>
                  </a:lnTo>
                  <a:lnTo>
                    <a:pt x="36" y="49"/>
                  </a:lnTo>
                  <a:lnTo>
                    <a:pt x="45" y="40"/>
                  </a:lnTo>
                  <a:lnTo>
                    <a:pt x="67" y="44"/>
                  </a:lnTo>
                  <a:lnTo>
                    <a:pt x="67" y="53"/>
                  </a:lnTo>
                  <a:lnTo>
                    <a:pt x="72" y="49"/>
                  </a:lnTo>
                  <a:lnTo>
                    <a:pt x="81" y="49"/>
                  </a:lnTo>
                  <a:lnTo>
                    <a:pt x="85" y="44"/>
                  </a:lnTo>
                  <a:lnTo>
                    <a:pt x="90" y="36"/>
                  </a:lnTo>
                  <a:lnTo>
                    <a:pt x="94" y="31"/>
                  </a:lnTo>
                  <a:lnTo>
                    <a:pt x="94" y="22"/>
                  </a:lnTo>
                  <a:lnTo>
                    <a:pt x="85" y="22"/>
                  </a:lnTo>
                  <a:lnTo>
                    <a:pt x="81" y="13"/>
                  </a:lnTo>
                  <a:lnTo>
                    <a:pt x="72" y="9"/>
                  </a:lnTo>
                  <a:lnTo>
                    <a:pt x="67" y="18"/>
                  </a:lnTo>
                  <a:lnTo>
                    <a:pt x="58" y="13"/>
                  </a:lnTo>
                  <a:lnTo>
                    <a:pt x="63" y="9"/>
                  </a:lnTo>
                  <a:lnTo>
                    <a:pt x="54" y="9"/>
                  </a:lnTo>
                  <a:lnTo>
                    <a:pt x="49" y="0"/>
                  </a:lnTo>
                  <a:lnTo>
                    <a:pt x="45" y="4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29" name="Freeform 21"/>
            <p:cNvSpPr>
              <a:spLocks noEditPoints="1"/>
            </p:cNvSpPr>
            <p:nvPr/>
          </p:nvSpPr>
          <p:spPr bwMode="gray">
            <a:xfrm>
              <a:off x="1881" y="2061"/>
              <a:ext cx="145" cy="92"/>
            </a:xfrm>
            <a:custGeom>
              <a:avLst/>
              <a:gdLst>
                <a:gd name="T0" fmla="*/ 4 w 98"/>
                <a:gd name="T1" fmla="*/ 31 h 62"/>
                <a:gd name="T2" fmla="*/ 0 w 98"/>
                <a:gd name="T3" fmla="*/ 36 h 62"/>
                <a:gd name="T4" fmla="*/ 4 w 98"/>
                <a:gd name="T5" fmla="*/ 40 h 62"/>
                <a:gd name="T6" fmla="*/ 0 w 98"/>
                <a:gd name="T7" fmla="*/ 45 h 62"/>
                <a:gd name="T8" fmla="*/ 4 w 98"/>
                <a:gd name="T9" fmla="*/ 49 h 62"/>
                <a:gd name="T10" fmla="*/ 9 w 98"/>
                <a:gd name="T11" fmla="*/ 40 h 62"/>
                <a:gd name="T12" fmla="*/ 13 w 98"/>
                <a:gd name="T13" fmla="*/ 40 h 62"/>
                <a:gd name="T14" fmla="*/ 22 w 98"/>
                <a:gd name="T15" fmla="*/ 31 h 62"/>
                <a:gd name="T16" fmla="*/ 22 w 98"/>
                <a:gd name="T17" fmla="*/ 27 h 62"/>
                <a:gd name="T18" fmla="*/ 18 w 98"/>
                <a:gd name="T19" fmla="*/ 27 h 62"/>
                <a:gd name="T20" fmla="*/ 13 w 98"/>
                <a:gd name="T21" fmla="*/ 27 h 62"/>
                <a:gd name="T22" fmla="*/ 22 w 98"/>
                <a:gd name="T23" fmla="*/ 22 h 62"/>
                <a:gd name="T24" fmla="*/ 13 w 98"/>
                <a:gd name="T25" fmla="*/ 18 h 62"/>
                <a:gd name="T26" fmla="*/ 9 w 98"/>
                <a:gd name="T27" fmla="*/ 22 h 62"/>
                <a:gd name="T28" fmla="*/ 13 w 98"/>
                <a:gd name="T29" fmla="*/ 27 h 62"/>
                <a:gd name="T30" fmla="*/ 13 w 98"/>
                <a:gd name="T31" fmla="*/ 27 h 62"/>
                <a:gd name="T32" fmla="*/ 4 w 98"/>
                <a:gd name="T33" fmla="*/ 31 h 62"/>
                <a:gd name="T34" fmla="*/ 40 w 98"/>
                <a:gd name="T35" fmla="*/ 54 h 62"/>
                <a:gd name="T36" fmla="*/ 53 w 98"/>
                <a:gd name="T37" fmla="*/ 49 h 62"/>
                <a:gd name="T38" fmla="*/ 62 w 98"/>
                <a:gd name="T39" fmla="*/ 54 h 62"/>
                <a:gd name="T40" fmla="*/ 71 w 98"/>
                <a:gd name="T41" fmla="*/ 58 h 62"/>
                <a:gd name="T42" fmla="*/ 76 w 98"/>
                <a:gd name="T43" fmla="*/ 58 h 62"/>
                <a:gd name="T44" fmla="*/ 85 w 98"/>
                <a:gd name="T45" fmla="*/ 62 h 62"/>
                <a:gd name="T46" fmla="*/ 94 w 98"/>
                <a:gd name="T47" fmla="*/ 58 h 62"/>
                <a:gd name="T48" fmla="*/ 98 w 98"/>
                <a:gd name="T49" fmla="*/ 54 h 62"/>
                <a:gd name="T50" fmla="*/ 89 w 98"/>
                <a:gd name="T51" fmla="*/ 45 h 62"/>
                <a:gd name="T52" fmla="*/ 85 w 98"/>
                <a:gd name="T53" fmla="*/ 36 h 62"/>
                <a:gd name="T54" fmla="*/ 85 w 98"/>
                <a:gd name="T55" fmla="*/ 31 h 62"/>
                <a:gd name="T56" fmla="*/ 85 w 98"/>
                <a:gd name="T57" fmla="*/ 22 h 62"/>
                <a:gd name="T58" fmla="*/ 94 w 98"/>
                <a:gd name="T59" fmla="*/ 18 h 62"/>
                <a:gd name="T60" fmla="*/ 98 w 98"/>
                <a:gd name="T61" fmla="*/ 9 h 62"/>
                <a:gd name="T62" fmla="*/ 94 w 98"/>
                <a:gd name="T63" fmla="*/ 0 h 62"/>
                <a:gd name="T64" fmla="*/ 89 w 98"/>
                <a:gd name="T65" fmla="*/ 4 h 62"/>
                <a:gd name="T66" fmla="*/ 71 w 98"/>
                <a:gd name="T67" fmla="*/ 0 h 62"/>
                <a:gd name="T68" fmla="*/ 40 w 98"/>
                <a:gd name="T69" fmla="*/ 9 h 62"/>
                <a:gd name="T70" fmla="*/ 27 w 98"/>
                <a:gd name="T71" fmla="*/ 18 h 62"/>
                <a:gd name="T72" fmla="*/ 27 w 98"/>
                <a:gd name="T73" fmla="*/ 31 h 62"/>
                <a:gd name="T74" fmla="*/ 35 w 98"/>
                <a:gd name="T75" fmla="*/ 40 h 62"/>
                <a:gd name="T76" fmla="*/ 40 w 98"/>
                <a:gd name="T77" fmla="*/ 36 h 62"/>
                <a:gd name="T78" fmla="*/ 40 w 98"/>
                <a:gd name="T79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8" h="62">
                  <a:moveTo>
                    <a:pt x="4" y="31"/>
                  </a:moveTo>
                  <a:lnTo>
                    <a:pt x="0" y="36"/>
                  </a:lnTo>
                  <a:lnTo>
                    <a:pt x="4" y="40"/>
                  </a:lnTo>
                  <a:lnTo>
                    <a:pt x="0" y="45"/>
                  </a:lnTo>
                  <a:lnTo>
                    <a:pt x="4" y="49"/>
                  </a:lnTo>
                  <a:lnTo>
                    <a:pt x="9" y="40"/>
                  </a:lnTo>
                  <a:lnTo>
                    <a:pt x="13" y="40"/>
                  </a:lnTo>
                  <a:lnTo>
                    <a:pt x="22" y="31"/>
                  </a:lnTo>
                  <a:lnTo>
                    <a:pt x="22" y="27"/>
                  </a:lnTo>
                  <a:lnTo>
                    <a:pt x="18" y="27"/>
                  </a:lnTo>
                  <a:lnTo>
                    <a:pt x="13" y="27"/>
                  </a:lnTo>
                  <a:lnTo>
                    <a:pt x="22" y="22"/>
                  </a:lnTo>
                  <a:lnTo>
                    <a:pt x="13" y="18"/>
                  </a:lnTo>
                  <a:lnTo>
                    <a:pt x="9" y="22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4" y="31"/>
                  </a:lnTo>
                  <a:close/>
                  <a:moveTo>
                    <a:pt x="40" y="54"/>
                  </a:moveTo>
                  <a:lnTo>
                    <a:pt x="53" y="49"/>
                  </a:lnTo>
                  <a:lnTo>
                    <a:pt x="62" y="54"/>
                  </a:lnTo>
                  <a:lnTo>
                    <a:pt x="71" y="58"/>
                  </a:lnTo>
                  <a:lnTo>
                    <a:pt x="76" y="58"/>
                  </a:lnTo>
                  <a:lnTo>
                    <a:pt x="85" y="62"/>
                  </a:lnTo>
                  <a:lnTo>
                    <a:pt x="94" y="58"/>
                  </a:lnTo>
                  <a:lnTo>
                    <a:pt x="98" y="54"/>
                  </a:lnTo>
                  <a:lnTo>
                    <a:pt x="89" y="45"/>
                  </a:lnTo>
                  <a:lnTo>
                    <a:pt x="85" y="36"/>
                  </a:lnTo>
                  <a:lnTo>
                    <a:pt x="85" y="31"/>
                  </a:lnTo>
                  <a:lnTo>
                    <a:pt x="85" y="22"/>
                  </a:lnTo>
                  <a:lnTo>
                    <a:pt x="94" y="18"/>
                  </a:lnTo>
                  <a:lnTo>
                    <a:pt x="98" y="9"/>
                  </a:lnTo>
                  <a:lnTo>
                    <a:pt x="94" y="0"/>
                  </a:lnTo>
                  <a:lnTo>
                    <a:pt x="89" y="4"/>
                  </a:lnTo>
                  <a:lnTo>
                    <a:pt x="71" y="0"/>
                  </a:lnTo>
                  <a:lnTo>
                    <a:pt x="40" y="9"/>
                  </a:lnTo>
                  <a:lnTo>
                    <a:pt x="27" y="18"/>
                  </a:lnTo>
                  <a:lnTo>
                    <a:pt x="27" y="31"/>
                  </a:lnTo>
                  <a:lnTo>
                    <a:pt x="35" y="40"/>
                  </a:lnTo>
                  <a:lnTo>
                    <a:pt x="40" y="36"/>
                  </a:lnTo>
                  <a:lnTo>
                    <a:pt x="40" y="5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30" name="Freeform 22"/>
            <p:cNvSpPr>
              <a:spLocks/>
            </p:cNvSpPr>
            <p:nvPr/>
          </p:nvSpPr>
          <p:spPr bwMode="gray">
            <a:xfrm>
              <a:off x="1854" y="1526"/>
              <a:ext cx="244" cy="535"/>
            </a:xfrm>
            <a:custGeom>
              <a:avLst/>
              <a:gdLst>
                <a:gd name="T0" fmla="*/ 18 w 165"/>
                <a:gd name="T1" fmla="*/ 54 h 362"/>
                <a:gd name="T2" fmla="*/ 45 w 165"/>
                <a:gd name="T3" fmla="*/ 76 h 362"/>
                <a:gd name="T4" fmla="*/ 53 w 165"/>
                <a:gd name="T5" fmla="*/ 121 h 362"/>
                <a:gd name="T6" fmla="*/ 49 w 165"/>
                <a:gd name="T7" fmla="*/ 152 h 362"/>
                <a:gd name="T8" fmla="*/ 58 w 165"/>
                <a:gd name="T9" fmla="*/ 165 h 362"/>
                <a:gd name="T10" fmla="*/ 67 w 165"/>
                <a:gd name="T11" fmla="*/ 192 h 362"/>
                <a:gd name="T12" fmla="*/ 45 w 165"/>
                <a:gd name="T13" fmla="*/ 219 h 362"/>
                <a:gd name="T14" fmla="*/ 22 w 165"/>
                <a:gd name="T15" fmla="*/ 250 h 362"/>
                <a:gd name="T16" fmla="*/ 9 w 165"/>
                <a:gd name="T17" fmla="*/ 264 h 362"/>
                <a:gd name="T18" fmla="*/ 13 w 165"/>
                <a:gd name="T19" fmla="*/ 277 h 362"/>
                <a:gd name="T20" fmla="*/ 13 w 165"/>
                <a:gd name="T21" fmla="*/ 313 h 362"/>
                <a:gd name="T22" fmla="*/ 27 w 165"/>
                <a:gd name="T23" fmla="*/ 335 h 362"/>
                <a:gd name="T24" fmla="*/ 36 w 165"/>
                <a:gd name="T25" fmla="*/ 340 h 362"/>
                <a:gd name="T26" fmla="*/ 36 w 165"/>
                <a:gd name="T27" fmla="*/ 348 h 362"/>
                <a:gd name="T28" fmla="*/ 40 w 165"/>
                <a:gd name="T29" fmla="*/ 353 h 362"/>
                <a:gd name="T30" fmla="*/ 40 w 165"/>
                <a:gd name="T31" fmla="*/ 362 h 362"/>
                <a:gd name="T32" fmla="*/ 58 w 165"/>
                <a:gd name="T33" fmla="*/ 348 h 362"/>
                <a:gd name="T34" fmla="*/ 62 w 165"/>
                <a:gd name="T35" fmla="*/ 353 h 362"/>
                <a:gd name="T36" fmla="*/ 76 w 165"/>
                <a:gd name="T37" fmla="*/ 348 h 362"/>
                <a:gd name="T38" fmla="*/ 85 w 165"/>
                <a:gd name="T39" fmla="*/ 344 h 362"/>
                <a:gd name="T40" fmla="*/ 98 w 165"/>
                <a:gd name="T41" fmla="*/ 340 h 362"/>
                <a:gd name="T42" fmla="*/ 112 w 165"/>
                <a:gd name="T43" fmla="*/ 340 h 362"/>
                <a:gd name="T44" fmla="*/ 129 w 165"/>
                <a:gd name="T45" fmla="*/ 322 h 362"/>
                <a:gd name="T46" fmla="*/ 161 w 165"/>
                <a:gd name="T47" fmla="*/ 281 h 362"/>
                <a:gd name="T48" fmla="*/ 147 w 165"/>
                <a:gd name="T49" fmla="*/ 255 h 362"/>
                <a:gd name="T50" fmla="*/ 147 w 165"/>
                <a:gd name="T51" fmla="*/ 228 h 362"/>
                <a:gd name="T52" fmla="*/ 143 w 165"/>
                <a:gd name="T53" fmla="*/ 214 h 362"/>
                <a:gd name="T54" fmla="*/ 134 w 165"/>
                <a:gd name="T55" fmla="*/ 165 h 362"/>
                <a:gd name="T56" fmla="*/ 134 w 165"/>
                <a:gd name="T57" fmla="*/ 147 h 362"/>
                <a:gd name="T58" fmla="*/ 120 w 165"/>
                <a:gd name="T59" fmla="*/ 116 h 362"/>
                <a:gd name="T60" fmla="*/ 134 w 165"/>
                <a:gd name="T61" fmla="*/ 80 h 362"/>
                <a:gd name="T62" fmla="*/ 116 w 165"/>
                <a:gd name="T63" fmla="*/ 54 h 362"/>
                <a:gd name="T64" fmla="*/ 112 w 165"/>
                <a:gd name="T65" fmla="*/ 40 h 362"/>
                <a:gd name="T66" fmla="*/ 116 w 165"/>
                <a:gd name="T67" fmla="*/ 31 h 362"/>
                <a:gd name="T68" fmla="*/ 120 w 165"/>
                <a:gd name="T69" fmla="*/ 9 h 362"/>
                <a:gd name="T70" fmla="*/ 107 w 165"/>
                <a:gd name="T71" fmla="*/ 0 h 362"/>
                <a:gd name="T72" fmla="*/ 76 w 165"/>
                <a:gd name="T73" fmla="*/ 22 h 362"/>
                <a:gd name="T74" fmla="*/ 62 w 165"/>
                <a:gd name="T75" fmla="*/ 58 h 362"/>
                <a:gd name="T76" fmla="*/ 31 w 165"/>
                <a:gd name="T77" fmla="*/ 54 h 362"/>
                <a:gd name="T78" fmla="*/ 9 w 165"/>
                <a:gd name="T79" fmla="*/ 31 h 362"/>
                <a:gd name="T80" fmla="*/ 0 w 165"/>
                <a:gd name="T81" fmla="*/ 36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5" h="362">
                  <a:moveTo>
                    <a:pt x="4" y="40"/>
                  </a:moveTo>
                  <a:lnTo>
                    <a:pt x="18" y="54"/>
                  </a:lnTo>
                  <a:lnTo>
                    <a:pt x="40" y="62"/>
                  </a:lnTo>
                  <a:lnTo>
                    <a:pt x="45" y="76"/>
                  </a:lnTo>
                  <a:lnTo>
                    <a:pt x="49" y="98"/>
                  </a:lnTo>
                  <a:lnTo>
                    <a:pt x="53" y="121"/>
                  </a:lnTo>
                  <a:lnTo>
                    <a:pt x="49" y="138"/>
                  </a:lnTo>
                  <a:lnTo>
                    <a:pt x="49" y="152"/>
                  </a:lnTo>
                  <a:lnTo>
                    <a:pt x="53" y="165"/>
                  </a:lnTo>
                  <a:lnTo>
                    <a:pt x="58" y="165"/>
                  </a:lnTo>
                  <a:lnTo>
                    <a:pt x="71" y="183"/>
                  </a:lnTo>
                  <a:lnTo>
                    <a:pt x="67" y="192"/>
                  </a:lnTo>
                  <a:lnTo>
                    <a:pt x="71" y="197"/>
                  </a:lnTo>
                  <a:lnTo>
                    <a:pt x="45" y="219"/>
                  </a:lnTo>
                  <a:lnTo>
                    <a:pt x="31" y="237"/>
                  </a:lnTo>
                  <a:lnTo>
                    <a:pt x="22" y="250"/>
                  </a:lnTo>
                  <a:lnTo>
                    <a:pt x="13" y="250"/>
                  </a:lnTo>
                  <a:lnTo>
                    <a:pt x="9" y="264"/>
                  </a:lnTo>
                  <a:lnTo>
                    <a:pt x="9" y="277"/>
                  </a:lnTo>
                  <a:lnTo>
                    <a:pt x="13" y="277"/>
                  </a:lnTo>
                  <a:lnTo>
                    <a:pt x="18" y="299"/>
                  </a:lnTo>
                  <a:lnTo>
                    <a:pt x="13" y="313"/>
                  </a:lnTo>
                  <a:lnTo>
                    <a:pt x="18" y="331"/>
                  </a:lnTo>
                  <a:lnTo>
                    <a:pt x="27" y="335"/>
                  </a:lnTo>
                  <a:lnTo>
                    <a:pt x="31" y="344"/>
                  </a:lnTo>
                  <a:lnTo>
                    <a:pt x="36" y="340"/>
                  </a:lnTo>
                  <a:lnTo>
                    <a:pt x="36" y="344"/>
                  </a:lnTo>
                  <a:lnTo>
                    <a:pt x="36" y="348"/>
                  </a:lnTo>
                  <a:lnTo>
                    <a:pt x="36" y="353"/>
                  </a:lnTo>
                  <a:lnTo>
                    <a:pt x="40" y="353"/>
                  </a:lnTo>
                  <a:lnTo>
                    <a:pt x="36" y="362"/>
                  </a:lnTo>
                  <a:lnTo>
                    <a:pt x="40" y="362"/>
                  </a:lnTo>
                  <a:lnTo>
                    <a:pt x="45" y="353"/>
                  </a:lnTo>
                  <a:lnTo>
                    <a:pt x="58" y="348"/>
                  </a:lnTo>
                  <a:lnTo>
                    <a:pt x="58" y="353"/>
                  </a:lnTo>
                  <a:lnTo>
                    <a:pt x="62" y="353"/>
                  </a:lnTo>
                  <a:lnTo>
                    <a:pt x="67" y="344"/>
                  </a:lnTo>
                  <a:lnTo>
                    <a:pt x="76" y="348"/>
                  </a:lnTo>
                  <a:lnTo>
                    <a:pt x="80" y="344"/>
                  </a:lnTo>
                  <a:lnTo>
                    <a:pt x="85" y="344"/>
                  </a:lnTo>
                  <a:lnTo>
                    <a:pt x="94" y="344"/>
                  </a:lnTo>
                  <a:lnTo>
                    <a:pt x="98" y="340"/>
                  </a:lnTo>
                  <a:lnTo>
                    <a:pt x="107" y="344"/>
                  </a:lnTo>
                  <a:lnTo>
                    <a:pt x="112" y="340"/>
                  </a:lnTo>
                  <a:lnTo>
                    <a:pt x="120" y="331"/>
                  </a:lnTo>
                  <a:lnTo>
                    <a:pt x="129" y="322"/>
                  </a:lnTo>
                  <a:lnTo>
                    <a:pt x="134" y="308"/>
                  </a:lnTo>
                  <a:lnTo>
                    <a:pt x="161" y="281"/>
                  </a:lnTo>
                  <a:lnTo>
                    <a:pt x="165" y="273"/>
                  </a:lnTo>
                  <a:lnTo>
                    <a:pt x="147" y="255"/>
                  </a:lnTo>
                  <a:lnTo>
                    <a:pt x="134" y="241"/>
                  </a:lnTo>
                  <a:lnTo>
                    <a:pt x="147" y="228"/>
                  </a:lnTo>
                  <a:lnTo>
                    <a:pt x="134" y="219"/>
                  </a:lnTo>
                  <a:lnTo>
                    <a:pt x="143" y="214"/>
                  </a:lnTo>
                  <a:lnTo>
                    <a:pt x="134" y="210"/>
                  </a:lnTo>
                  <a:lnTo>
                    <a:pt x="134" y="165"/>
                  </a:lnTo>
                  <a:lnTo>
                    <a:pt x="143" y="161"/>
                  </a:lnTo>
                  <a:lnTo>
                    <a:pt x="134" y="147"/>
                  </a:lnTo>
                  <a:lnTo>
                    <a:pt x="129" y="130"/>
                  </a:lnTo>
                  <a:lnTo>
                    <a:pt x="120" y="116"/>
                  </a:lnTo>
                  <a:lnTo>
                    <a:pt x="134" y="89"/>
                  </a:lnTo>
                  <a:lnTo>
                    <a:pt x="134" y="80"/>
                  </a:lnTo>
                  <a:lnTo>
                    <a:pt x="120" y="71"/>
                  </a:lnTo>
                  <a:lnTo>
                    <a:pt x="116" y="54"/>
                  </a:lnTo>
                  <a:lnTo>
                    <a:pt x="125" y="36"/>
                  </a:lnTo>
                  <a:lnTo>
                    <a:pt x="112" y="40"/>
                  </a:lnTo>
                  <a:lnTo>
                    <a:pt x="112" y="36"/>
                  </a:lnTo>
                  <a:lnTo>
                    <a:pt x="116" y="31"/>
                  </a:lnTo>
                  <a:lnTo>
                    <a:pt x="120" y="13"/>
                  </a:lnTo>
                  <a:lnTo>
                    <a:pt x="120" y="9"/>
                  </a:lnTo>
                  <a:lnTo>
                    <a:pt x="112" y="9"/>
                  </a:lnTo>
                  <a:lnTo>
                    <a:pt x="107" y="0"/>
                  </a:lnTo>
                  <a:lnTo>
                    <a:pt x="89" y="4"/>
                  </a:lnTo>
                  <a:lnTo>
                    <a:pt x="76" y="22"/>
                  </a:lnTo>
                  <a:lnTo>
                    <a:pt x="76" y="45"/>
                  </a:lnTo>
                  <a:lnTo>
                    <a:pt x="62" y="58"/>
                  </a:lnTo>
                  <a:lnTo>
                    <a:pt x="53" y="54"/>
                  </a:lnTo>
                  <a:lnTo>
                    <a:pt x="31" y="54"/>
                  </a:lnTo>
                  <a:lnTo>
                    <a:pt x="18" y="31"/>
                  </a:lnTo>
                  <a:lnTo>
                    <a:pt x="9" y="31"/>
                  </a:lnTo>
                  <a:lnTo>
                    <a:pt x="9" y="36"/>
                  </a:lnTo>
                  <a:lnTo>
                    <a:pt x="0" y="36"/>
                  </a:lnTo>
                  <a:lnTo>
                    <a:pt x="4" y="4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31" name="Freeform 23"/>
            <p:cNvSpPr>
              <a:spLocks noEditPoints="1"/>
            </p:cNvSpPr>
            <p:nvPr/>
          </p:nvSpPr>
          <p:spPr bwMode="gray">
            <a:xfrm>
              <a:off x="1847" y="2688"/>
              <a:ext cx="173" cy="187"/>
            </a:xfrm>
            <a:custGeom>
              <a:avLst/>
              <a:gdLst>
                <a:gd name="T0" fmla="*/ 9 w 117"/>
                <a:gd name="T1" fmla="*/ 45 h 126"/>
                <a:gd name="T2" fmla="*/ 14 w 117"/>
                <a:gd name="T3" fmla="*/ 63 h 126"/>
                <a:gd name="T4" fmla="*/ 41 w 117"/>
                <a:gd name="T5" fmla="*/ 63 h 126"/>
                <a:gd name="T6" fmla="*/ 41 w 117"/>
                <a:gd name="T7" fmla="*/ 72 h 126"/>
                <a:gd name="T8" fmla="*/ 14 w 117"/>
                <a:gd name="T9" fmla="*/ 67 h 126"/>
                <a:gd name="T10" fmla="*/ 23 w 117"/>
                <a:gd name="T11" fmla="*/ 94 h 126"/>
                <a:gd name="T12" fmla="*/ 36 w 117"/>
                <a:gd name="T13" fmla="*/ 94 h 126"/>
                <a:gd name="T14" fmla="*/ 41 w 117"/>
                <a:gd name="T15" fmla="*/ 99 h 126"/>
                <a:gd name="T16" fmla="*/ 41 w 117"/>
                <a:gd name="T17" fmla="*/ 81 h 126"/>
                <a:gd name="T18" fmla="*/ 50 w 117"/>
                <a:gd name="T19" fmla="*/ 81 h 126"/>
                <a:gd name="T20" fmla="*/ 54 w 117"/>
                <a:gd name="T21" fmla="*/ 76 h 126"/>
                <a:gd name="T22" fmla="*/ 45 w 117"/>
                <a:gd name="T23" fmla="*/ 59 h 126"/>
                <a:gd name="T24" fmla="*/ 36 w 117"/>
                <a:gd name="T25" fmla="*/ 50 h 126"/>
                <a:gd name="T26" fmla="*/ 36 w 117"/>
                <a:gd name="T27" fmla="*/ 27 h 126"/>
                <a:gd name="T28" fmla="*/ 45 w 117"/>
                <a:gd name="T29" fmla="*/ 32 h 126"/>
                <a:gd name="T30" fmla="*/ 58 w 117"/>
                <a:gd name="T31" fmla="*/ 27 h 126"/>
                <a:gd name="T32" fmla="*/ 72 w 117"/>
                <a:gd name="T33" fmla="*/ 9 h 126"/>
                <a:gd name="T34" fmla="*/ 72 w 117"/>
                <a:gd name="T35" fmla="*/ 5 h 126"/>
                <a:gd name="T36" fmla="*/ 45 w 117"/>
                <a:gd name="T37" fmla="*/ 5 h 126"/>
                <a:gd name="T38" fmla="*/ 27 w 117"/>
                <a:gd name="T39" fmla="*/ 14 h 126"/>
                <a:gd name="T40" fmla="*/ 5 w 117"/>
                <a:gd name="T41" fmla="*/ 41 h 126"/>
                <a:gd name="T42" fmla="*/ 54 w 117"/>
                <a:gd name="T43" fmla="*/ 59 h 126"/>
                <a:gd name="T44" fmla="*/ 67 w 117"/>
                <a:gd name="T45" fmla="*/ 72 h 126"/>
                <a:gd name="T46" fmla="*/ 58 w 117"/>
                <a:gd name="T47" fmla="*/ 54 h 126"/>
                <a:gd name="T48" fmla="*/ 41 w 117"/>
                <a:gd name="T49" fmla="*/ 50 h 126"/>
                <a:gd name="T50" fmla="*/ 50 w 117"/>
                <a:gd name="T51" fmla="*/ 112 h 126"/>
                <a:gd name="T52" fmla="*/ 63 w 117"/>
                <a:gd name="T53" fmla="*/ 126 h 126"/>
                <a:gd name="T54" fmla="*/ 81 w 117"/>
                <a:gd name="T55" fmla="*/ 117 h 126"/>
                <a:gd name="T56" fmla="*/ 63 w 117"/>
                <a:gd name="T57" fmla="*/ 112 h 126"/>
                <a:gd name="T58" fmla="*/ 58 w 117"/>
                <a:gd name="T59" fmla="*/ 90 h 126"/>
                <a:gd name="T60" fmla="*/ 58 w 117"/>
                <a:gd name="T61" fmla="*/ 90 h 126"/>
                <a:gd name="T62" fmla="*/ 72 w 117"/>
                <a:gd name="T63" fmla="*/ 85 h 126"/>
                <a:gd name="T64" fmla="*/ 76 w 117"/>
                <a:gd name="T65" fmla="*/ 81 h 126"/>
                <a:gd name="T66" fmla="*/ 81 w 117"/>
                <a:gd name="T67" fmla="*/ 90 h 126"/>
                <a:gd name="T68" fmla="*/ 81 w 117"/>
                <a:gd name="T69" fmla="*/ 90 h 126"/>
                <a:gd name="T70" fmla="*/ 85 w 117"/>
                <a:gd name="T71" fmla="*/ 45 h 126"/>
                <a:gd name="T72" fmla="*/ 90 w 117"/>
                <a:gd name="T73" fmla="*/ 45 h 126"/>
                <a:gd name="T74" fmla="*/ 81 w 117"/>
                <a:gd name="T75" fmla="*/ 76 h 126"/>
                <a:gd name="T76" fmla="*/ 81 w 117"/>
                <a:gd name="T77" fmla="*/ 76 h 126"/>
                <a:gd name="T78" fmla="*/ 85 w 117"/>
                <a:gd name="T79" fmla="*/ 63 h 126"/>
                <a:gd name="T80" fmla="*/ 112 w 117"/>
                <a:gd name="T81" fmla="*/ 99 h 126"/>
                <a:gd name="T82" fmla="*/ 112 w 117"/>
                <a:gd name="T83" fmla="*/ 108 h 126"/>
                <a:gd name="T84" fmla="*/ 112 w 117"/>
                <a:gd name="T85" fmla="*/ 9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7" h="126">
                  <a:moveTo>
                    <a:pt x="0" y="41"/>
                  </a:moveTo>
                  <a:lnTo>
                    <a:pt x="5" y="45"/>
                  </a:lnTo>
                  <a:lnTo>
                    <a:pt x="9" y="45"/>
                  </a:lnTo>
                  <a:lnTo>
                    <a:pt x="14" y="50"/>
                  </a:lnTo>
                  <a:lnTo>
                    <a:pt x="9" y="50"/>
                  </a:lnTo>
                  <a:lnTo>
                    <a:pt x="14" y="63"/>
                  </a:lnTo>
                  <a:lnTo>
                    <a:pt x="18" y="59"/>
                  </a:lnTo>
                  <a:lnTo>
                    <a:pt x="36" y="59"/>
                  </a:lnTo>
                  <a:lnTo>
                    <a:pt x="41" y="63"/>
                  </a:lnTo>
                  <a:lnTo>
                    <a:pt x="41" y="67"/>
                  </a:lnTo>
                  <a:lnTo>
                    <a:pt x="45" y="72"/>
                  </a:lnTo>
                  <a:lnTo>
                    <a:pt x="41" y="72"/>
                  </a:lnTo>
                  <a:lnTo>
                    <a:pt x="27" y="63"/>
                  </a:lnTo>
                  <a:lnTo>
                    <a:pt x="23" y="63"/>
                  </a:lnTo>
                  <a:lnTo>
                    <a:pt x="14" y="67"/>
                  </a:lnTo>
                  <a:lnTo>
                    <a:pt x="18" y="76"/>
                  </a:lnTo>
                  <a:lnTo>
                    <a:pt x="23" y="85"/>
                  </a:lnTo>
                  <a:lnTo>
                    <a:pt x="23" y="94"/>
                  </a:lnTo>
                  <a:lnTo>
                    <a:pt x="27" y="85"/>
                  </a:lnTo>
                  <a:lnTo>
                    <a:pt x="32" y="99"/>
                  </a:lnTo>
                  <a:lnTo>
                    <a:pt x="36" y="94"/>
                  </a:lnTo>
                  <a:lnTo>
                    <a:pt x="36" y="90"/>
                  </a:lnTo>
                  <a:lnTo>
                    <a:pt x="41" y="94"/>
                  </a:lnTo>
                  <a:lnTo>
                    <a:pt x="41" y="99"/>
                  </a:lnTo>
                  <a:lnTo>
                    <a:pt x="45" y="94"/>
                  </a:lnTo>
                  <a:lnTo>
                    <a:pt x="45" y="90"/>
                  </a:lnTo>
                  <a:lnTo>
                    <a:pt x="41" y="81"/>
                  </a:lnTo>
                  <a:lnTo>
                    <a:pt x="41" y="76"/>
                  </a:lnTo>
                  <a:lnTo>
                    <a:pt x="45" y="81"/>
                  </a:lnTo>
                  <a:lnTo>
                    <a:pt x="50" y="81"/>
                  </a:lnTo>
                  <a:lnTo>
                    <a:pt x="45" y="76"/>
                  </a:lnTo>
                  <a:lnTo>
                    <a:pt x="50" y="72"/>
                  </a:lnTo>
                  <a:lnTo>
                    <a:pt x="54" y="76"/>
                  </a:lnTo>
                  <a:lnTo>
                    <a:pt x="58" y="72"/>
                  </a:lnTo>
                  <a:lnTo>
                    <a:pt x="54" y="63"/>
                  </a:lnTo>
                  <a:lnTo>
                    <a:pt x="45" y="59"/>
                  </a:lnTo>
                  <a:lnTo>
                    <a:pt x="41" y="54"/>
                  </a:lnTo>
                  <a:lnTo>
                    <a:pt x="32" y="50"/>
                  </a:lnTo>
                  <a:lnTo>
                    <a:pt x="36" y="50"/>
                  </a:lnTo>
                  <a:lnTo>
                    <a:pt x="41" y="45"/>
                  </a:lnTo>
                  <a:lnTo>
                    <a:pt x="45" y="45"/>
                  </a:lnTo>
                  <a:lnTo>
                    <a:pt x="36" y="27"/>
                  </a:lnTo>
                  <a:lnTo>
                    <a:pt x="36" y="18"/>
                  </a:lnTo>
                  <a:lnTo>
                    <a:pt x="41" y="27"/>
                  </a:lnTo>
                  <a:lnTo>
                    <a:pt x="45" y="32"/>
                  </a:lnTo>
                  <a:lnTo>
                    <a:pt x="54" y="32"/>
                  </a:lnTo>
                  <a:lnTo>
                    <a:pt x="54" y="23"/>
                  </a:lnTo>
                  <a:lnTo>
                    <a:pt x="58" y="27"/>
                  </a:lnTo>
                  <a:lnTo>
                    <a:pt x="50" y="18"/>
                  </a:lnTo>
                  <a:lnTo>
                    <a:pt x="58" y="9"/>
                  </a:lnTo>
                  <a:lnTo>
                    <a:pt x="72" y="9"/>
                  </a:lnTo>
                  <a:lnTo>
                    <a:pt x="85" y="9"/>
                  </a:lnTo>
                  <a:lnTo>
                    <a:pt x="85" y="5"/>
                  </a:lnTo>
                  <a:lnTo>
                    <a:pt x="72" y="5"/>
                  </a:lnTo>
                  <a:lnTo>
                    <a:pt x="63" y="0"/>
                  </a:lnTo>
                  <a:lnTo>
                    <a:pt x="54" y="5"/>
                  </a:lnTo>
                  <a:lnTo>
                    <a:pt x="45" y="5"/>
                  </a:lnTo>
                  <a:lnTo>
                    <a:pt x="36" y="9"/>
                  </a:lnTo>
                  <a:lnTo>
                    <a:pt x="32" y="9"/>
                  </a:lnTo>
                  <a:lnTo>
                    <a:pt x="27" y="14"/>
                  </a:lnTo>
                  <a:lnTo>
                    <a:pt x="18" y="18"/>
                  </a:lnTo>
                  <a:lnTo>
                    <a:pt x="5" y="32"/>
                  </a:lnTo>
                  <a:lnTo>
                    <a:pt x="5" y="41"/>
                  </a:lnTo>
                  <a:lnTo>
                    <a:pt x="0" y="41"/>
                  </a:lnTo>
                  <a:close/>
                  <a:moveTo>
                    <a:pt x="41" y="50"/>
                  </a:moveTo>
                  <a:lnTo>
                    <a:pt x="54" y="59"/>
                  </a:lnTo>
                  <a:lnTo>
                    <a:pt x="58" y="67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58" y="63"/>
                  </a:lnTo>
                  <a:lnTo>
                    <a:pt x="58" y="59"/>
                  </a:lnTo>
                  <a:lnTo>
                    <a:pt x="58" y="54"/>
                  </a:lnTo>
                  <a:lnTo>
                    <a:pt x="50" y="54"/>
                  </a:lnTo>
                  <a:lnTo>
                    <a:pt x="45" y="50"/>
                  </a:lnTo>
                  <a:lnTo>
                    <a:pt x="41" y="50"/>
                  </a:lnTo>
                  <a:close/>
                  <a:moveTo>
                    <a:pt x="58" y="108"/>
                  </a:moveTo>
                  <a:lnTo>
                    <a:pt x="54" y="108"/>
                  </a:lnTo>
                  <a:lnTo>
                    <a:pt x="50" y="112"/>
                  </a:lnTo>
                  <a:lnTo>
                    <a:pt x="50" y="117"/>
                  </a:lnTo>
                  <a:lnTo>
                    <a:pt x="63" y="117"/>
                  </a:lnTo>
                  <a:lnTo>
                    <a:pt x="63" y="126"/>
                  </a:lnTo>
                  <a:lnTo>
                    <a:pt x="90" y="121"/>
                  </a:lnTo>
                  <a:lnTo>
                    <a:pt x="90" y="112"/>
                  </a:lnTo>
                  <a:lnTo>
                    <a:pt x="81" y="117"/>
                  </a:lnTo>
                  <a:lnTo>
                    <a:pt x="81" y="112"/>
                  </a:lnTo>
                  <a:lnTo>
                    <a:pt x="67" y="112"/>
                  </a:lnTo>
                  <a:lnTo>
                    <a:pt x="63" y="112"/>
                  </a:lnTo>
                  <a:lnTo>
                    <a:pt x="58" y="108"/>
                  </a:lnTo>
                  <a:close/>
                  <a:moveTo>
                    <a:pt x="58" y="90"/>
                  </a:moveTo>
                  <a:lnTo>
                    <a:pt x="58" y="90"/>
                  </a:lnTo>
                  <a:lnTo>
                    <a:pt x="58" y="94"/>
                  </a:lnTo>
                  <a:lnTo>
                    <a:pt x="63" y="90"/>
                  </a:lnTo>
                  <a:lnTo>
                    <a:pt x="58" y="90"/>
                  </a:lnTo>
                  <a:close/>
                  <a:moveTo>
                    <a:pt x="72" y="81"/>
                  </a:moveTo>
                  <a:lnTo>
                    <a:pt x="72" y="85"/>
                  </a:lnTo>
                  <a:lnTo>
                    <a:pt x="72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6" y="81"/>
                  </a:lnTo>
                  <a:lnTo>
                    <a:pt x="72" y="85"/>
                  </a:lnTo>
                  <a:lnTo>
                    <a:pt x="72" y="81"/>
                  </a:lnTo>
                  <a:close/>
                  <a:moveTo>
                    <a:pt x="81" y="90"/>
                  </a:moveTo>
                  <a:lnTo>
                    <a:pt x="81" y="90"/>
                  </a:lnTo>
                  <a:lnTo>
                    <a:pt x="85" y="85"/>
                  </a:lnTo>
                  <a:lnTo>
                    <a:pt x="81" y="90"/>
                  </a:lnTo>
                  <a:close/>
                  <a:moveTo>
                    <a:pt x="81" y="41"/>
                  </a:moveTo>
                  <a:lnTo>
                    <a:pt x="81" y="41"/>
                  </a:lnTo>
                  <a:lnTo>
                    <a:pt x="85" y="45"/>
                  </a:lnTo>
                  <a:lnTo>
                    <a:pt x="90" y="45"/>
                  </a:lnTo>
                  <a:lnTo>
                    <a:pt x="90" y="50"/>
                  </a:lnTo>
                  <a:lnTo>
                    <a:pt x="90" y="45"/>
                  </a:lnTo>
                  <a:lnTo>
                    <a:pt x="90" y="41"/>
                  </a:lnTo>
                  <a:lnTo>
                    <a:pt x="81" y="41"/>
                  </a:lnTo>
                  <a:close/>
                  <a:moveTo>
                    <a:pt x="81" y="76"/>
                  </a:moveTo>
                  <a:lnTo>
                    <a:pt x="85" y="76"/>
                  </a:lnTo>
                  <a:lnTo>
                    <a:pt x="90" y="76"/>
                  </a:lnTo>
                  <a:lnTo>
                    <a:pt x="81" y="76"/>
                  </a:lnTo>
                  <a:close/>
                  <a:moveTo>
                    <a:pt x="85" y="54"/>
                  </a:moveTo>
                  <a:lnTo>
                    <a:pt x="81" y="59"/>
                  </a:lnTo>
                  <a:lnTo>
                    <a:pt x="85" y="63"/>
                  </a:lnTo>
                  <a:lnTo>
                    <a:pt x="85" y="59"/>
                  </a:lnTo>
                  <a:lnTo>
                    <a:pt x="85" y="54"/>
                  </a:lnTo>
                  <a:close/>
                  <a:moveTo>
                    <a:pt x="112" y="99"/>
                  </a:moveTo>
                  <a:lnTo>
                    <a:pt x="108" y="103"/>
                  </a:lnTo>
                  <a:lnTo>
                    <a:pt x="108" y="112"/>
                  </a:lnTo>
                  <a:lnTo>
                    <a:pt x="112" y="108"/>
                  </a:lnTo>
                  <a:lnTo>
                    <a:pt x="117" y="108"/>
                  </a:lnTo>
                  <a:lnTo>
                    <a:pt x="117" y="99"/>
                  </a:lnTo>
                  <a:lnTo>
                    <a:pt x="112" y="9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32" name="Freeform 24"/>
            <p:cNvSpPr>
              <a:spLocks/>
            </p:cNvSpPr>
            <p:nvPr/>
          </p:nvSpPr>
          <p:spPr bwMode="gray">
            <a:xfrm>
              <a:off x="1761" y="2471"/>
              <a:ext cx="146" cy="93"/>
            </a:xfrm>
            <a:custGeom>
              <a:avLst/>
              <a:gdLst>
                <a:gd name="T0" fmla="*/ 0 w 99"/>
                <a:gd name="T1" fmla="*/ 40 h 63"/>
                <a:gd name="T2" fmla="*/ 5 w 99"/>
                <a:gd name="T3" fmla="*/ 36 h 63"/>
                <a:gd name="T4" fmla="*/ 5 w 99"/>
                <a:gd name="T5" fmla="*/ 31 h 63"/>
                <a:gd name="T6" fmla="*/ 5 w 99"/>
                <a:gd name="T7" fmla="*/ 27 h 63"/>
                <a:gd name="T8" fmla="*/ 5 w 99"/>
                <a:gd name="T9" fmla="*/ 22 h 63"/>
                <a:gd name="T10" fmla="*/ 14 w 99"/>
                <a:gd name="T11" fmla="*/ 22 h 63"/>
                <a:gd name="T12" fmla="*/ 18 w 99"/>
                <a:gd name="T13" fmla="*/ 13 h 63"/>
                <a:gd name="T14" fmla="*/ 18 w 99"/>
                <a:gd name="T15" fmla="*/ 9 h 63"/>
                <a:gd name="T16" fmla="*/ 23 w 99"/>
                <a:gd name="T17" fmla="*/ 13 h 63"/>
                <a:gd name="T18" fmla="*/ 41 w 99"/>
                <a:gd name="T19" fmla="*/ 13 h 63"/>
                <a:gd name="T20" fmla="*/ 45 w 99"/>
                <a:gd name="T21" fmla="*/ 9 h 63"/>
                <a:gd name="T22" fmla="*/ 54 w 99"/>
                <a:gd name="T23" fmla="*/ 9 h 63"/>
                <a:gd name="T24" fmla="*/ 63 w 99"/>
                <a:gd name="T25" fmla="*/ 0 h 63"/>
                <a:gd name="T26" fmla="*/ 72 w 99"/>
                <a:gd name="T27" fmla="*/ 4 h 63"/>
                <a:gd name="T28" fmla="*/ 76 w 99"/>
                <a:gd name="T29" fmla="*/ 0 h 63"/>
                <a:gd name="T30" fmla="*/ 81 w 99"/>
                <a:gd name="T31" fmla="*/ 4 h 63"/>
                <a:gd name="T32" fmla="*/ 90 w 99"/>
                <a:gd name="T33" fmla="*/ 4 h 63"/>
                <a:gd name="T34" fmla="*/ 99 w 99"/>
                <a:gd name="T35" fmla="*/ 18 h 63"/>
                <a:gd name="T36" fmla="*/ 99 w 99"/>
                <a:gd name="T37" fmla="*/ 22 h 63"/>
                <a:gd name="T38" fmla="*/ 85 w 99"/>
                <a:gd name="T39" fmla="*/ 27 h 63"/>
                <a:gd name="T40" fmla="*/ 76 w 99"/>
                <a:gd name="T41" fmla="*/ 45 h 63"/>
                <a:gd name="T42" fmla="*/ 76 w 99"/>
                <a:gd name="T43" fmla="*/ 49 h 63"/>
                <a:gd name="T44" fmla="*/ 67 w 99"/>
                <a:gd name="T45" fmla="*/ 54 h 63"/>
                <a:gd name="T46" fmla="*/ 63 w 99"/>
                <a:gd name="T47" fmla="*/ 54 h 63"/>
                <a:gd name="T48" fmla="*/ 49 w 99"/>
                <a:gd name="T49" fmla="*/ 54 h 63"/>
                <a:gd name="T50" fmla="*/ 36 w 99"/>
                <a:gd name="T51" fmla="*/ 58 h 63"/>
                <a:gd name="T52" fmla="*/ 27 w 99"/>
                <a:gd name="T53" fmla="*/ 63 h 63"/>
                <a:gd name="T54" fmla="*/ 9 w 99"/>
                <a:gd name="T55" fmla="*/ 58 h 63"/>
                <a:gd name="T56" fmla="*/ 5 w 99"/>
                <a:gd name="T57" fmla="*/ 49 h 63"/>
                <a:gd name="T58" fmla="*/ 5 w 99"/>
                <a:gd name="T59" fmla="*/ 49 h 63"/>
                <a:gd name="T60" fmla="*/ 0 w 99"/>
                <a:gd name="T61" fmla="*/ 4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9" h="63">
                  <a:moveTo>
                    <a:pt x="0" y="40"/>
                  </a:moveTo>
                  <a:lnTo>
                    <a:pt x="5" y="36"/>
                  </a:lnTo>
                  <a:lnTo>
                    <a:pt x="5" y="31"/>
                  </a:lnTo>
                  <a:lnTo>
                    <a:pt x="5" y="27"/>
                  </a:lnTo>
                  <a:lnTo>
                    <a:pt x="5" y="22"/>
                  </a:lnTo>
                  <a:lnTo>
                    <a:pt x="14" y="22"/>
                  </a:lnTo>
                  <a:lnTo>
                    <a:pt x="18" y="13"/>
                  </a:lnTo>
                  <a:lnTo>
                    <a:pt x="18" y="9"/>
                  </a:lnTo>
                  <a:lnTo>
                    <a:pt x="23" y="13"/>
                  </a:lnTo>
                  <a:lnTo>
                    <a:pt x="41" y="13"/>
                  </a:lnTo>
                  <a:lnTo>
                    <a:pt x="45" y="9"/>
                  </a:lnTo>
                  <a:lnTo>
                    <a:pt x="54" y="9"/>
                  </a:lnTo>
                  <a:lnTo>
                    <a:pt x="63" y="0"/>
                  </a:lnTo>
                  <a:lnTo>
                    <a:pt x="72" y="4"/>
                  </a:lnTo>
                  <a:lnTo>
                    <a:pt x="76" y="0"/>
                  </a:lnTo>
                  <a:lnTo>
                    <a:pt x="81" y="4"/>
                  </a:lnTo>
                  <a:lnTo>
                    <a:pt x="90" y="4"/>
                  </a:lnTo>
                  <a:lnTo>
                    <a:pt x="99" y="18"/>
                  </a:lnTo>
                  <a:lnTo>
                    <a:pt x="99" y="22"/>
                  </a:lnTo>
                  <a:lnTo>
                    <a:pt x="85" y="27"/>
                  </a:lnTo>
                  <a:lnTo>
                    <a:pt x="76" y="45"/>
                  </a:lnTo>
                  <a:lnTo>
                    <a:pt x="76" y="49"/>
                  </a:lnTo>
                  <a:lnTo>
                    <a:pt x="67" y="54"/>
                  </a:lnTo>
                  <a:lnTo>
                    <a:pt x="63" y="54"/>
                  </a:lnTo>
                  <a:lnTo>
                    <a:pt x="49" y="54"/>
                  </a:lnTo>
                  <a:lnTo>
                    <a:pt x="36" y="58"/>
                  </a:lnTo>
                  <a:lnTo>
                    <a:pt x="27" y="63"/>
                  </a:lnTo>
                  <a:lnTo>
                    <a:pt x="9" y="58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33" name="Freeform 25"/>
            <p:cNvSpPr>
              <a:spLocks/>
            </p:cNvSpPr>
            <p:nvPr/>
          </p:nvSpPr>
          <p:spPr bwMode="gray">
            <a:xfrm>
              <a:off x="1860" y="2134"/>
              <a:ext cx="160" cy="99"/>
            </a:xfrm>
            <a:custGeom>
              <a:avLst/>
              <a:gdLst>
                <a:gd name="T0" fmla="*/ 5 w 108"/>
                <a:gd name="T1" fmla="*/ 49 h 67"/>
                <a:gd name="T2" fmla="*/ 9 w 108"/>
                <a:gd name="T3" fmla="*/ 49 h 67"/>
                <a:gd name="T4" fmla="*/ 18 w 108"/>
                <a:gd name="T5" fmla="*/ 45 h 67"/>
                <a:gd name="T6" fmla="*/ 23 w 108"/>
                <a:gd name="T7" fmla="*/ 49 h 67"/>
                <a:gd name="T8" fmla="*/ 32 w 108"/>
                <a:gd name="T9" fmla="*/ 45 h 67"/>
                <a:gd name="T10" fmla="*/ 49 w 108"/>
                <a:gd name="T11" fmla="*/ 49 h 67"/>
                <a:gd name="T12" fmla="*/ 58 w 108"/>
                <a:gd name="T13" fmla="*/ 45 h 67"/>
                <a:gd name="T14" fmla="*/ 63 w 108"/>
                <a:gd name="T15" fmla="*/ 49 h 67"/>
                <a:gd name="T16" fmla="*/ 67 w 108"/>
                <a:gd name="T17" fmla="*/ 54 h 67"/>
                <a:gd name="T18" fmla="*/ 81 w 108"/>
                <a:gd name="T19" fmla="*/ 67 h 67"/>
                <a:gd name="T20" fmla="*/ 94 w 108"/>
                <a:gd name="T21" fmla="*/ 63 h 67"/>
                <a:gd name="T22" fmla="*/ 99 w 108"/>
                <a:gd name="T23" fmla="*/ 58 h 67"/>
                <a:gd name="T24" fmla="*/ 103 w 108"/>
                <a:gd name="T25" fmla="*/ 49 h 67"/>
                <a:gd name="T26" fmla="*/ 103 w 108"/>
                <a:gd name="T27" fmla="*/ 49 h 67"/>
                <a:gd name="T28" fmla="*/ 103 w 108"/>
                <a:gd name="T29" fmla="*/ 40 h 67"/>
                <a:gd name="T30" fmla="*/ 103 w 108"/>
                <a:gd name="T31" fmla="*/ 22 h 67"/>
                <a:gd name="T32" fmla="*/ 108 w 108"/>
                <a:gd name="T33" fmla="*/ 18 h 67"/>
                <a:gd name="T34" fmla="*/ 103 w 108"/>
                <a:gd name="T35" fmla="*/ 13 h 67"/>
                <a:gd name="T36" fmla="*/ 99 w 108"/>
                <a:gd name="T37" fmla="*/ 13 h 67"/>
                <a:gd name="T38" fmla="*/ 90 w 108"/>
                <a:gd name="T39" fmla="*/ 9 h 67"/>
                <a:gd name="T40" fmla="*/ 85 w 108"/>
                <a:gd name="T41" fmla="*/ 9 h 67"/>
                <a:gd name="T42" fmla="*/ 76 w 108"/>
                <a:gd name="T43" fmla="*/ 5 h 67"/>
                <a:gd name="T44" fmla="*/ 67 w 108"/>
                <a:gd name="T45" fmla="*/ 0 h 67"/>
                <a:gd name="T46" fmla="*/ 54 w 108"/>
                <a:gd name="T47" fmla="*/ 5 h 67"/>
                <a:gd name="T48" fmla="*/ 54 w 108"/>
                <a:gd name="T49" fmla="*/ 18 h 67"/>
                <a:gd name="T50" fmla="*/ 49 w 108"/>
                <a:gd name="T51" fmla="*/ 22 h 67"/>
                <a:gd name="T52" fmla="*/ 41 w 108"/>
                <a:gd name="T53" fmla="*/ 27 h 67"/>
                <a:gd name="T54" fmla="*/ 32 w 108"/>
                <a:gd name="T55" fmla="*/ 22 h 67"/>
                <a:gd name="T56" fmla="*/ 32 w 108"/>
                <a:gd name="T57" fmla="*/ 18 h 67"/>
                <a:gd name="T58" fmla="*/ 27 w 108"/>
                <a:gd name="T59" fmla="*/ 9 h 67"/>
                <a:gd name="T60" fmla="*/ 23 w 108"/>
                <a:gd name="T61" fmla="*/ 5 h 67"/>
                <a:gd name="T62" fmla="*/ 14 w 108"/>
                <a:gd name="T63" fmla="*/ 9 h 67"/>
                <a:gd name="T64" fmla="*/ 9 w 108"/>
                <a:gd name="T65" fmla="*/ 13 h 67"/>
                <a:gd name="T66" fmla="*/ 9 w 108"/>
                <a:gd name="T67" fmla="*/ 22 h 67"/>
                <a:gd name="T68" fmla="*/ 0 w 108"/>
                <a:gd name="T69" fmla="*/ 31 h 67"/>
                <a:gd name="T70" fmla="*/ 5 w 108"/>
                <a:gd name="T71" fmla="*/ 49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8" h="67">
                  <a:moveTo>
                    <a:pt x="5" y="49"/>
                  </a:moveTo>
                  <a:lnTo>
                    <a:pt x="9" y="49"/>
                  </a:lnTo>
                  <a:lnTo>
                    <a:pt x="18" y="45"/>
                  </a:lnTo>
                  <a:lnTo>
                    <a:pt x="23" y="49"/>
                  </a:lnTo>
                  <a:lnTo>
                    <a:pt x="32" y="45"/>
                  </a:lnTo>
                  <a:lnTo>
                    <a:pt x="49" y="49"/>
                  </a:lnTo>
                  <a:lnTo>
                    <a:pt x="58" y="45"/>
                  </a:lnTo>
                  <a:lnTo>
                    <a:pt x="63" y="49"/>
                  </a:lnTo>
                  <a:lnTo>
                    <a:pt x="67" y="54"/>
                  </a:lnTo>
                  <a:lnTo>
                    <a:pt x="81" y="67"/>
                  </a:lnTo>
                  <a:lnTo>
                    <a:pt x="94" y="63"/>
                  </a:lnTo>
                  <a:lnTo>
                    <a:pt x="99" y="58"/>
                  </a:lnTo>
                  <a:lnTo>
                    <a:pt x="103" y="49"/>
                  </a:lnTo>
                  <a:lnTo>
                    <a:pt x="103" y="49"/>
                  </a:lnTo>
                  <a:lnTo>
                    <a:pt x="103" y="40"/>
                  </a:lnTo>
                  <a:lnTo>
                    <a:pt x="103" y="22"/>
                  </a:lnTo>
                  <a:lnTo>
                    <a:pt x="108" y="18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0" y="9"/>
                  </a:lnTo>
                  <a:lnTo>
                    <a:pt x="85" y="9"/>
                  </a:lnTo>
                  <a:lnTo>
                    <a:pt x="76" y="5"/>
                  </a:lnTo>
                  <a:lnTo>
                    <a:pt x="67" y="0"/>
                  </a:lnTo>
                  <a:lnTo>
                    <a:pt x="54" y="5"/>
                  </a:lnTo>
                  <a:lnTo>
                    <a:pt x="54" y="18"/>
                  </a:lnTo>
                  <a:lnTo>
                    <a:pt x="49" y="22"/>
                  </a:lnTo>
                  <a:lnTo>
                    <a:pt x="41" y="27"/>
                  </a:lnTo>
                  <a:lnTo>
                    <a:pt x="32" y="22"/>
                  </a:lnTo>
                  <a:lnTo>
                    <a:pt x="32" y="18"/>
                  </a:lnTo>
                  <a:lnTo>
                    <a:pt x="27" y="9"/>
                  </a:lnTo>
                  <a:lnTo>
                    <a:pt x="23" y="5"/>
                  </a:lnTo>
                  <a:lnTo>
                    <a:pt x="14" y="9"/>
                  </a:lnTo>
                  <a:lnTo>
                    <a:pt x="9" y="13"/>
                  </a:lnTo>
                  <a:lnTo>
                    <a:pt x="9" y="22"/>
                  </a:lnTo>
                  <a:lnTo>
                    <a:pt x="0" y="31"/>
                  </a:lnTo>
                  <a:lnTo>
                    <a:pt x="5" y="4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34" name="Freeform 26"/>
            <p:cNvSpPr>
              <a:spLocks/>
            </p:cNvSpPr>
            <p:nvPr/>
          </p:nvSpPr>
          <p:spPr bwMode="gray">
            <a:xfrm>
              <a:off x="1860" y="2200"/>
              <a:ext cx="126" cy="92"/>
            </a:xfrm>
            <a:custGeom>
              <a:avLst/>
              <a:gdLst>
                <a:gd name="T0" fmla="*/ 5 w 85"/>
                <a:gd name="T1" fmla="*/ 4 h 62"/>
                <a:gd name="T2" fmla="*/ 0 w 85"/>
                <a:gd name="T3" fmla="*/ 4 h 62"/>
                <a:gd name="T4" fmla="*/ 5 w 85"/>
                <a:gd name="T5" fmla="*/ 18 h 62"/>
                <a:gd name="T6" fmla="*/ 5 w 85"/>
                <a:gd name="T7" fmla="*/ 22 h 62"/>
                <a:gd name="T8" fmla="*/ 9 w 85"/>
                <a:gd name="T9" fmla="*/ 22 h 62"/>
                <a:gd name="T10" fmla="*/ 9 w 85"/>
                <a:gd name="T11" fmla="*/ 27 h 62"/>
                <a:gd name="T12" fmla="*/ 23 w 85"/>
                <a:gd name="T13" fmla="*/ 31 h 62"/>
                <a:gd name="T14" fmla="*/ 32 w 85"/>
                <a:gd name="T15" fmla="*/ 31 h 62"/>
                <a:gd name="T16" fmla="*/ 32 w 85"/>
                <a:gd name="T17" fmla="*/ 35 h 62"/>
                <a:gd name="T18" fmla="*/ 32 w 85"/>
                <a:gd name="T19" fmla="*/ 49 h 62"/>
                <a:gd name="T20" fmla="*/ 41 w 85"/>
                <a:gd name="T21" fmla="*/ 58 h 62"/>
                <a:gd name="T22" fmla="*/ 41 w 85"/>
                <a:gd name="T23" fmla="*/ 62 h 62"/>
                <a:gd name="T24" fmla="*/ 49 w 85"/>
                <a:gd name="T25" fmla="*/ 53 h 62"/>
                <a:gd name="T26" fmla="*/ 58 w 85"/>
                <a:gd name="T27" fmla="*/ 58 h 62"/>
                <a:gd name="T28" fmla="*/ 63 w 85"/>
                <a:gd name="T29" fmla="*/ 53 h 62"/>
                <a:gd name="T30" fmla="*/ 67 w 85"/>
                <a:gd name="T31" fmla="*/ 58 h 62"/>
                <a:gd name="T32" fmla="*/ 67 w 85"/>
                <a:gd name="T33" fmla="*/ 49 h 62"/>
                <a:gd name="T34" fmla="*/ 72 w 85"/>
                <a:gd name="T35" fmla="*/ 44 h 62"/>
                <a:gd name="T36" fmla="*/ 76 w 85"/>
                <a:gd name="T37" fmla="*/ 35 h 62"/>
                <a:gd name="T38" fmla="*/ 81 w 85"/>
                <a:gd name="T39" fmla="*/ 31 h 62"/>
                <a:gd name="T40" fmla="*/ 81 w 85"/>
                <a:gd name="T41" fmla="*/ 31 h 62"/>
                <a:gd name="T42" fmla="*/ 85 w 85"/>
                <a:gd name="T43" fmla="*/ 31 h 62"/>
                <a:gd name="T44" fmla="*/ 81 w 85"/>
                <a:gd name="T45" fmla="*/ 27 h 62"/>
                <a:gd name="T46" fmla="*/ 81 w 85"/>
                <a:gd name="T47" fmla="*/ 27 h 62"/>
                <a:gd name="T48" fmla="*/ 81 w 85"/>
                <a:gd name="T49" fmla="*/ 22 h 62"/>
                <a:gd name="T50" fmla="*/ 67 w 85"/>
                <a:gd name="T51" fmla="*/ 9 h 62"/>
                <a:gd name="T52" fmla="*/ 63 w 85"/>
                <a:gd name="T53" fmla="*/ 4 h 62"/>
                <a:gd name="T54" fmla="*/ 58 w 85"/>
                <a:gd name="T55" fmla="*/ 0 h 62"/>
                <a:gd name="T56" fmla="*/ 49 w 85"/>
                <a:gd name="T57" fmla="*/ 4 h 62"/>
                <a:gd name="T58" fmla="*/ 32 w 85"/>
                <a:gd name="T59" fmla="*/ 0 h 62"/>
                <a:gd name="T60" fmla="*/ 23 w 85"/>
                <a:gd name="T61" fmla="*/ 4 h 62"/>
                <a:gd name="T62" fmla="*/ 18 w 85"/>
                <a:gd name="T63" fmla="*/ 0 h 62"/>
                <a:gd name="T64" fmla="*/ 9 w 85"/>
                <a:gd name="T65" fmla="*/ 4 h 62"/>
                <a:gd name="T66" fmla="*/ 5 w 85"/>
                <a:gd name="T67" fmla="*/ 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5" h="62">
                  <a:moveTo>
                    <a:pt x="5" y="4"/>
                  </a:moveTo>
                  <a:lnTo>
                    <a:pt x="0" y="4"/>
                  </a:lnTo>
                  <a:lnTo>
                    <a:pt x="5" y="18"/>
                  </a:lnTo>
                  <a:lnTo>
                    <a:pt x="5" y="22"/>
                  </a:lnTo>
                  <a:lnTo>
                    <a:pt x="9" y="22"/>
                  </a:lnTo>
                  <a:lnTo>
                    <a:pt x="9" y="27"/>
                  </a:lnTo>
                  <a:lnTo>
                    <a:pt x="23" y="31"/>
                  </a:lnTo>
                  <a:lnTo>
                    <a:pt x="32" y="31"/>
                  </a:lnTo>
                  <a:lnTo>
                    <a:pt x="32" y="35"/>
                  </a:lnTo>
                  <a:lnTo>
                    <a:pt x="32" y="49"/>
                  </a:lnTo>
                  <a:lnTo>
                    <a:pt x="41" y="58"/>
                  </a:lnTo>
                  <a:lnTo>
                    <a:pt x="41" y="62"/>
                  </a:lnTo>
                  <a:lnTo>
                    <a:pt x="49" y="53"/>
                  </a:lnTo>
                  <a:lnTo>
                    <a:pt x="58" y="58"/>
                  </a:lnTo>
                  <a:lnTo>
                    <a:pt x="63" y="53"/>
                  </a:lnTo>
                  <a:lnTo>
                    <a:pt x="67" y="58"/>
                  </a:lnTo>
                  <a:lnTo>
                    <a:pt x="67" y="49"/>
                  </a:lnTo>
                  <a:lnTo>
                    <a:pt x="72" y="44"/>
                  </a:lnTo>
                  <a:lnTo>
                    <a:pt x="76" y="35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5" y="31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2"/>
                  </a:lnTo>
                  <a:lnTo>
                    <a:pt x="67" y="9"/>
                  </a:lnTo>
                  <a:lnTo>
                    <a:pt x="63" y="4"/>
                  </a:lnTo>
                  <a:lnTo>
                    <a:pt x="58" y="0"/>
                  </a:lnTo>
                  <a:lnTo>
                    <a:pt x="49" y="4"/>
                  </a:lnTo>
                  <a:lnTo>
                    <a:pt x="32" y="0"/>
                  </a:lnTo>
                  <a:lnTo>
                    <a:pt x="23" y="4"/>
                  </a:lnTo>
                  <a:lnTo>
                    <a:pt x="18" y="0"/>
                  </a:lnTo>
                  <a:lnTo>
                    <a:pt x="9" y="4"/>
                  </a:lnTo>
                  <a:lnTo>
                    <a:pt x="5" y="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35" name="Freeform 27"/>
            <p:cNvSpPr>
              <a:spLocks/>
            </p:cNvSpPr>
            <p:nvPr/>
          </p:nvSpPr>
          <p:spPr bwMode="gray">
            <a:xfrm>
              <a:off x="1986" y="2484"/>
              <a:ext cx="66" cy="86"/>
            </a:xfrm>
            <a:custGeom>
              <a:avLst/>
              <a:gdLst>
                <a:gd name="T0" fmla="*/ 0 w 45"/>
                <a:gd name="T1" fmla="*/ 0 h 58"/>
                <a:gd name="T2" fmla="*/ 14 w 45"/>
                <a:gd name="T3" fmla="*/ 18 h 58"/>
                <a:gd name="T4" fmla="*/ 18 w 45"/>
                <a:gd name="T5" fmla="*/ 27 h 58"/>
                <a:gd name="T6" fmla="*/ 23 w 45"/>
                <a:gd name="T7" fmla="*/ 40 h 58"/>
                <a:gd name="T8" fmla="*/ 18 w 45"/>
                <a:gd name="T9" fmla="*/ 58 h 58"/>
                <a:gd name="T10" fmla="*/ 27 w 45"/>
                <a:gd name="T11" fmla="*/ 58 h 58"/>
                <a:gd name="T12" fmla="*/ 31 w 45"/>
                <a:gd name="T13" fmla="*/ 54 h 58"/>
                <a:gd name="T14" fmla="*/ 31 w 45"/>
                <a:gd name="T15" fmla="*/ 49 h 58"/>
                <a:gd name="T16" fmla="*/ 31 w 45"/>
                <a:gd name="T17" fmla="*/ 40 h 58"/>
                <a:gd name="T18" fmla="*/ 36 w 45"/>
                <a:gd name="T19" fmla="*/ 45 h 58"/>
                <a:gd name="T20" fmla="*/ 36 w 45"/>
                <a:gd name="T21" fmla="*/ 40 h 58"/>
                <a:gd name="T22" fmla="*/ 40 w 45"/>
                <a:gd name="T23" fmla="*/ 40 h 58"/>
                <a:gd name="T24" fmla="*/ 45 w 45"/>
                <a:gd name="T25" fmla="*/ 40 h 58"/>
                <a:gd name="T26" fmla="*/ 45 w 45"/>
                <a:gd name="T27" fmla="*/ 31 h 58"/>
                <a:gd name="T28" fmla="*/ 40 w 45"/>
                <a:gd name="T29" fmla="*/ 22 h 58"/>
                <a:gd name="T30" fmla="*/ 40 w 45"/>
                <a:gd name="T31" fmla="*/ 13 h 58"/>
                <a:gd name="T32" fmla="*/ 27 w 45"/>
                <a:gd name="T33" fmla="*/ 4 h 58"/>
                <a:gd name="T34" fmla="*/ 23 w 45"/>
                <a:gd name="T35" fmla="*/ 4 h 58"/>
                <a:gd name="T36" fmla="*/ 18 w 45"/>
                <a:gd name="T37" fmla="*/ 0 h 58"/>
                <a:gd name="T38" fmla="*/ 14 w 45"/>
                <a:gd name="T39" fmla="*/ 4 h 58"/>
                <a:gd name="T40" fmla="*/ 14 w 45"/>
                <a:gd name="T41" fmla="*/ 0 h 58"/>
                <a:gd name="T42" fmla="*/ 0 w 45"/>
                <a:gd name="T4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5" h="58">
                  <a:moveTo>
                    <a:pt x="0" y="0"/>
                  </a:moveTo>
                  <a:lnTo>
                    <a:pt x="14" y="18"/>
                  </a:lnTo>
                  <a:lnTo>
                    <a:pt x="18" y="27"/>
                  </a:lnTo>
                  <a:lnTo>
                    <a:pt x="23" y="40"/>
                  </a:lnTo>
                  <a:lnTo>
                    <a:pt x="18" y="58"/>
                  </a:lnTo>
                  <a:lnTo>
                    <a:pt x="27" y="58"/>
                  </a:lnTo>
                  <a:lnTo>
                    <a:pt x="31" y="54"/>
                  </a:lnTo>
                  <a:lnTo>
                    <a:pt x="31" y="49"/>
                  </a:lnTo>
                  <a:lnTo>
                    <a:pt x="31" y="40"/>
                  </a:lnTo>
                  <a:lnTo>
                    <a:pt x="36" y="45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5" y="40"/>
                  </a:lnTo>
                  <a:lnTo>
                    <a:pt x="45" y="31"/>
                  </a:lnTo>
                  <a:lnTo>
                    <a:pt x="40" y="22"/>
                  </a:lnTo>
                  <a:lnTo>
                    <a:pt x="40" y="13"/>
                  </a:lnTo>
                  <a:lnTo>
                    <a:pt x="27" y="4"/>
                  </a:lnTo>
                  <a:lnTo>
                    <a:pt x="23" y="4"/>
                  </a:lnTo>
                  <a:lnTo>
                    <a:pt x="18" y="0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36" name="Freeform 28"/>
            <p:cNvSpPr>
              <a:spLocks/>
            </p:cNvSpPr>
            <p:nvPr/>
          </p:nvSpPr>
          <p:spPr bwMode="gray">
            <a:xfrm>
              <a:off x="1715" y="2252"/>
              <a:ext cx="217" cy="206"/>
            </a:xfrm>
            <a:custGeom>
              <a:avLst/>
              <a:gdLst>
                <a:gd name="T0" fmla="*/ 13 w 147"/>
                <a:gd name="T1" fmla="*/ 99 h 139"/>
                <a:gd name="T2" fmla="*/ 13 w 147"/>
                <a:gd name="T3" fmla="*/ 90 h 139"/>
                <a:gd name="T4" fmla="*/ 9 w 147"/>
                <a:gd name="T5" fmla="*/ 85 h 139"/>
                <a:gd name="T6" fmla="*/ 9 w 147"/>
                <a:gd name="T7" fmla="*/ 72 h 139"/>
                <a:gd name="T8" fmla="*/ 9 w 147"/>
                <a:gd name="T9" fmla="*/ 59 h 139"/>
                <a:gd name="T10" fmla="*/ 0 w 147"/>
                <a:gd name="T11" fmla="*/ 50 h 139"/>
                <a:gd name="T12" fmla="*/ 0 w 147"/>
                <a:gd name="T13" fmla="*/ 36 h 139"/>
                <a:gd name="T14" fmla="*/ 0 w 147"/>
                <a:gd name="T15" fmla="*/ 27 h 139"/>
                <a:gd name="T16" fmla="*/ 5 w 147"/>
                <a:gd name="T17" fmla="*/ 27 h 139"/>
                <a:gd name="T18" fmla="*/ 9 w 147"/>
                <a:gd name="T19" fmla="*/ 36 h 139"/>
                <a:gd name="T20" fmla="*/ 9 w 147"/>
                <a:gd name="T21" fmla="*/ 27 h 139"/>
                <a:gd name="T22" fmla="*/ 13 w 147"/>
                <a:gd name="T23" fmla="*/ 23 h 139"/>
                <a:gd name="T24" fmla="*/ 22 w 147"/>
                <a:gd name="T25" fmla="*/ 14 h 139"/>
                <a:gd name="T26" fmla="*/ 36 w 147"/>
                <a:gd name="T27" fmla="*/ 14 h 139"/>
                <a:gd name="T28" fmla="*/ 40 w 147"/>
                <a:gd name="T29" fmla="*/ 5 h 139"/>
                <a:gd name="T30" fmla="*/ 49 w 147"/>
                <a:gd name="T31" fmla="*/ 0 h 139"/>
                <a:gd name="T32" fmla="*/ 58 w 147"/>
                <a:gd name="T33" fmla="*/ 0 h 139"/>
                <a:gd name="T34" fmla="*/ 72 w 147"/>
                <a:gd name="T35" fmla="*/ 0 h 139"/>
                <a:gd name="T36" fmla="*/ 72 w 147"/>
                <a:gd name="T37" fmla="*/ 5 h 139"/>
                <a:gd name="T38" fmla="*/ 63 w 147"/>
                <a:gd name="T39" fmla="*/ 5 h 139"/>
                <a:gd name="T40" fmla="*/ 67 w 147"/>
                <a:gd name="T41" fmla="*/ 9 h 139"/>
                <a:gd name="T42" fmla="*/ 76 w 147"/>
                <a:gd name="T43" fmla="*/ 5 h 139"/>
                <a:gd name="T44" fmla="*/ 76 w 147"/>
                <a:gd name="T45" fmla="*/ 14 h 139"/>
                <a:gd name="T46" fmla="*/ 80 w 147"/>
                <a:gd name="T47" fmla="*/ 9 h 139"/>
                <a:gd name="T48" fmla="*/ 89 w 147"/>
                <a:gd name="T49" fmla="*/ 9 h 139"/>
                <a:gd name="T50" fmla="*/ 107 w 147"/>
                <a:gd name="T51" fmla="*/ 14 h 139"/>
                <a:gd name="T52" fmla="*/ 130 w 147"/>
                <a:gd name="T53" fmla="*/ 14 h 139"/>
                <a:gd name="T54" fmla="*/ 139 w 147"/>
                <a:gd name="T55" fmla="*/ 23 h 139"/>
                <a:gd name="T56" fmla="*/ 139 w 147"/>
                <a:gd name="T57" fmla="*/ 27 h 139"/>
                <a:gd name="T58" fmla="*/ 143 w 147"/>
                <a:gd name="T59" fmla="*/ 41 h 139"/>
                <a:gd name="T60" fmla="*/ 147 w 147"/>
                <a:gd name="T61" fmla="*/ 50 h 139"/>
                <a:gd name="T62" fmla="*/ 147 w 147"/>
                <a:gd name="T63" fmla="*/ 59 h 139"/>
                <a:gd name="T64" fmla="*/ 134 w 147"/>
                <a:gd name="T65" fmla="*/ 63 h 139"/>
                <a:gd name="T66" fmla="*/ 139 w 147"/>
                <a:gd name="T67" fmla="*/ 72 h 139"/>
                <a:gd name="T68" fmla="*/ 139 w 147"/>
                <a:gd name="T69" fmla="*/ 81 h 139"/>
                <a:gd name="T70" fmla="*/ 139 w 147"/>
                <a:gd name="T71" fmla="*/ 85 h 139"/>
                <a:gd name="T72" fmla="*/ 143 w 147"/>
                <a:gd name="T73" fmla="*/ 99 h 139"/>
                <a:gd name="T74" fmla="*/ 143 w 147"/>
                <a:gd name="T75" fmla="*/ 108 h 139"/>
                <a:gd name="T76" fmla="*/ 147 w 147"/>
                <a:gd name="T77" fmla="*/ 112 h 139"/>
                <a:gd name="T78" fmla="*/ 143 w 147"/>
                <a:gd name="T79" fmla="*/ 117 h 139"/>
                <a:gd name="T80" fmla="*/ 134 w 147"/>
                <a:gd name="T81" fmla="*/ 121 h 139"/>
                <a:gd name="T82" fmla="*/ 125 w 147"/>
                <a:gd name="T83" fmla="*/ 135 h 139"/>
                <a:gd name="T84" fmla="*/ 130 w 147"/>
                <a:gd name="T85" fmla="*/ 139 h 139"/>
                <a:gd name="T86" fmla="*/ 125 w 147"/>
                <a:gd name="T87" fmla="*/ 139 h 139"/>
                <a:gd name="T88" fmla="*/ 112 w 147"/>
                <a:gd name="T89" fmla="*/ 130 h 139"/>
                <a:gd name="T90" fmla="*/ 98 w 147"/>
                <a:gd name="T91" fmla="*/ 135 h 139"/>
                <a:gd name="T92" fmla="*/ 94 w 147"/>
                <a:gd name="T93" fmla="*/ 130 h 139"/>
                <a:gd name="T94" fmla="*/ 89 w 147"/>
                <a:gd name="T95" fmla="*/ 139 h 139"/>
                <a:gd name="T96" fmla="*/ 80 w 147"/>
                <a:gd name="T97" fmla="*/ 130 h 139"/>
                <a:gd name="T98" fmla="*/ 72 w 147"/>
                <a:gd name="T99" fmla="*/ 135 h 139"/>
                <a:gd name="T100" fmla="*/ 67 w 147"/>
                <a:gd name="T101" fmla="*/ 130 h 139"/>
                <a:gd name="T102" fmla="*/ 67 w 147"/>
                <a:gd name="T103" fmla="*/ 121 h 139"/>
                <a:gd name="T104" fmla="*/ 58 w 147"/>
                <a:gd name="T105" fmla="*/ 121 h 139"/>
                <a:gd name="T106" fmla="*/ 54 w 147"/>
                <a:gd name="T107" fmla="*/ 112 h 139"/>
                <a:gd name="T108" fmla="*/ 45 w 147"/>
                <a:gd name="T109" fmla="*/ 108 h 139"/>
                <a:gd name="T110" fmla="*/ 40 w 147"/>
                <a:gd name="T111" fmla="*/ 117 h 139"/>
                <a:gd name="T112" fmla="*/ 31 w 147"/>
                <a:gd name="T113" fmla="*/ 112 h 139"/>
                <a:gd name="T114" fmla="*/ 36 w 147"/>
                <a:gd name="T115" fmla="*/ 108 h 139"/>
                <a:gd name="T116" fmla="*/ 27 w 147"/>
                <a:gd name="T117" fmla="*/ 108 h 139"/>
                <a:gd name="T118" fmla="*/ 22 w 147"/>
                <a:gd name="T119" fmla="*/ 99 h 139"/>
                <a:gd name="T120" fmla="*/ 18 w 147"/>
                <a:gd name="T121" fmla="*/ 103 h 139"/>
                <a:gd name="T122" fmla="*/ 13 w 147"/>
                <a:gd name="T123" fmla="*/ 9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7" h="139">
                  <a:moveTo>
                    <a:pt x="13" y="99"/>
                  </a:moveTo>
                  <a:lnTo>
                    <a:pt x="13" y="90"/>
                  </a:lnTo>
                  <a:lnTo>
                    <a:pt x="9" y="85"/>
                  </a:lnTo>
                  <a:lnTo>
                    <a:pt x="9" y="72"/>
                  </a:lnTo>
                  <a:lnTo>
                    <a:pt x="9" y="59"/>
                  </a:lnTo>
                  <a:lnTo>
                    <a:pt x="0" y="50"/>
                  </a:lnTo>
                  <a:lnTo>
                    <a:pt x="0" y="36"/>
                  </a:lnTo>
                  <a:lnTo>
                    <a:pt x="0" y="27"/>
                  </a:lnTo>
                  <a:lnTo>
                    <a:pt x="5" y="27"/>
                  </a:lnTo>
                  <a:lnTo>
                    <a:pt x="9" y="36"/>
                  </a:lnTo>
                  <a:lnTo>
                    <a:pt x="9" y="27"/>
                  </a:lnTo>
                  <a:lnTo>
                    <a:pt x="13" y="23"/>
                  </a:lnTo>
                  <a:lnTo>
                    <a:pt x="22" y="14"/>
                  </a:lnTo>
                  <a:lnTo>
                    <a:pt x="36" y="14"/>
                  </a:lnTo>
                  <a:lnTo>
                    <a:pt x="40" y="5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72" y="0"/>
                  </a:lnTo>
                  <a:lnTo>
                    <a:pt x="72" y="5"/>
                  </a:lnTo>
                  <a:lnTo>
                    <a:pt x="63" y="5"/>
                  </a:lnTo>
                  <a:lnTo>
                    <a:pt x="67" y="9"/>
                  </a:lnTo>
                  <a:lnTo>
                    <a:pt x="76" y="5"/>
                  </a:lnTo>
                  <a:lnTo>
                    <a:pt x="76" y="14"/>
                  </a:lnTo>
                  <a:lnTo>
                    <a:pt x="80" y="9"/>
                  </a:lnTo>
                  <a:lnTo>
                    <a:pt x="89" y="9"/>
                  </a:lnTo>
                  <a:lnTo>
                    <a:pt x="107" y="14"/>
                  </a:lnTo>
                  <a:lnTo>
                    <a:pt x="130" y="14"/>
                  </a:lnTo>
                  <a:lnTo>
                    <a:pt x="139" y="23"/>
                  </a:lnTo>
                  <a:lnTo>
                    <a:pt x="139" y="27"/>
                  </a:lnTo>
                  <a:lnTo>
                    <a:pt x="143" y="41"/>
                  </a:lnTo>
                  <a:lnTo>
                    <a:pt x="147" y="50"/>
                  </a:lnTo>
                  <a:lnTo>
                    <a:pt x="147" y="59"/>
                  </a:lnTo>
                  <a:lnTo>
                    <a:pt x="134" y="63"/>
                  </a:lnTo>
                  <a:lnTo>
                    <a:pt x="139" y="72"/>
                  </a:lnTo>
                  <a:lnTo>
                    <a:pt x="139" y="81"/>
                  </a:lnTo>
                  <a:lnTo>
                    <a:pt x="139" y="85"/>
                  </a:lnTo>
                  <a:lnTo>
                    <a:pt x="143" y="99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3" y="117"/>
                  </a:lnTo>
                  <a:lnTo>
                    <a:pt x="134" y="121"/>
                  </a:lnTo>
                  <a:lnTo>
                    <a:pt x="125" y="135"/>
                  </a:lnTo>
                  <a:lnTo>
                    <a:pt x="130" y="139"/>
                  </a:lnTo>
                  <a:lnTo>
                    <a:pt x="125" y="139"/>
                  </a:lnTo>
                  <a:lnTo>
                    <a:pt x="112" y="130"/>
                  </a:lnTo>
                  <a:lnTo>
                    <a:pt x="98" y="135"/>
                  </a:lnTo>
                  <a:lnTo>
                    <a:pt x="94" y="130"/>
                  </a:lnTo>
                  <a:lnTo>
                    <a:pt x="89" y="139"/>
                  </a:lnTo>
                  <a:lnTo>
                    <a:pt x="80" y="130"/>
                  </a:lnTo>
                  <a:lnTo>
                    <a:pt x="72" y="135"/>
                  </a:lnTo>
                  <a:lnTo>
                    <a:pt x="67" y="130"/>
                  </a:lnTo>
                  <a:lnTo>
                    <a:pt x="67" y="121"/>
                  </a:lnTo>
                  <a:lnTo>
                    <a:pt x="58" y="121"/>
                  </a:lnTo>
                  <a:lnTo>
                    <a:pt x="54" y="112"/>
                  </a:lnTo>
                  <a:lnTo>
                    <a:pt x="45" y="108"/>
                  </a:lnTo>
                  <a:lnTo>
                    <a:pt x="40" y="117"/>
                  </a:lnTo>
                  <a:lnTo>
                    <a:pt x="31" y="112"/>
                  </a:lnTo>
                  <a:lnTo>
                    <a:pt x="36" y="108"/>
                  </a:lnTo>
                  <a:lnTo>
                    <a:pt x="27" y="108"/>
                  </a:lnTo>
                  <a:lnTo>
                    <a:pt x="22" y="99"/>
                  </a:lnTo>
                  <a:lnTo>
                    <a:pt x="18" y="103"/>
                  </a:lnTo>
                  <a:lnTo>
                    <a:pt x="13" y="9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37" name="Freeform 29"/>
            <p:cNvSpPr>
              <a:spLocks/>
            </p:cNvSpPr>
            <p:nvPr/>
          </p:nvSpPr>
          <p:spPr bwMode="gray">
            <a:xfrm>
              <a:off x="1854" y="2484"/>
              <a:ext cx="191" cy="145"/>
            </a:xfrm>
            <a:custGeom>
              <a:avLst/>
              <a:gdLst>
                <a:gd name="T0" fmla="*/ 0 w 129"/>
                <a:gd name="T1" fmla="*/ 45 h 98"/>
                <a:gd name="T2" fmla="*/ 4 w 129"/>
                <a:gd name="T3" fmla="*/ 54 h 98"/>
                <a:gd name="T4" fmla="*/ 4 w 129"/>
                <a:gd name="T5" fmla="*/ 62 h 98"/>
                <a:gd name="T6" fmla="*/ 13 w 129"/>
                <a:gd name="T7" fmla="*/ 71 h 98"/>
                <a:gd name="T8" fmla="*/ 22 w 129"/>
                <a:gd name="T9" fmla="*/ 76 h 98"/>
                <a:gd name="T10" fmla="*/ 27 w 129"/>
                <a:gd name="T11" fmla="*/ 76 h 98"/>
                <a:gd name="T12" fmla="*/ 27 w 129"/>
                <a:gd name="T13" fmla="*/ 80 h 98"/>
                <a:gd name="T14" fmla="*/ 31 w 129"/>
                <a:gd name="T15" fmla="*/ 80 h 98"/>
                <a:gd name="T16" fmla="*/ 36 w 129"/>
                <a:gd name="T17" fmla="*/ 80 h 98"/>
                <a:gd name="T18" fmla="*/ 36 w 129"/>
                <a:gd name="T19" fmla="*/ 89 h 98"/>
                <a:gd name="T20" fmla="*/ 49 w 129"/>
                <a:gd name="T21" fmla="*/ 94 h 98"/>
                <a:gd name="T22" fmla="*/ 62 w 129"/>
                <a:gd name="T23" fmla="*/ 98 h 98"/>
                <a:gd name="T24" fmla="*/ 76 w 129"/>
                <a:gd name="T25" fmla="*/ 98 h 98"/>
                <a:gd name="T26" fmla="*/ 85 w 129"/>
                <a:gd name="T27" fmla="*/ 89 h 98"/>
                <a:gd name="T28" fmla="*/ 98 w 129"/>
                <a:gd name="T29" fmla="*/ 85 h 98"/>
                <a:gd name="T30" fmla="*/ 116 w 129"/>
                <a:gd name="T31" fmla="*/ 94 h 98"/>
                <a:gd name="T32" fmla="*/ 116 w 129"/>
                <a:gd name="T33" fmla="*/ 85 h 98"/>
                <a:gd name="T34" fmla="*/ 120 w 129"/>
                <a:gd name="T35" fmla="*/ 80 h 98"/>
                <a:gd name="T36" fmla="*/ 120 w 129"/>
                <a:gd name="T37" fmla="*/ 67 h 98"/>
                <a:gd name="T38" fmla="*/ 120 w 129"/>
                <a:gd name="T39" fmla="*/ 71 h 98"/>
                <a:gd name="T40" fmla="*/ 129 w 129"/>
                <a:gd name="T41" fmla="*/ 71 h 98"/>
                <a:gd name="T42" fmla="*/ 129 w 129"/>
                <a:gd name="T43" fmla="*/ 62 h 98"/>
                <a:gd name="T44" fmla="*/ 125 w 129"/>
                <a:gd name="T45" fmla="*/ 62 h 98"/>
                <a:gd name="T46" fmla="*/ 116 w 129"/>
                <a:gd name="T47" fmla="*/ 67 h 98"/>
                <a:gd name="T48" fmla="*/ 112 w 129"/>
                <a:gd name="T49" fmla="*/ 62 h 98"/>
                <a:gd name="T50" fmla="*/ 107 w 129"/>
                <a:gd name="T51" fmla="*/ 58 h 98"/>
                <a:gd name="T52" fmla="*/ 112 w 129"/>
                <a:gd name="T53" fmla="*/ 40 h 98"/>
                <a:gd name="T54" fmla="*/ 107 w 129"/>
                <a:gd name="T55" fmla="*/ 27 h 98"/>
                <a:gd name="T56" fmla="*/ 103 w 129"/>
                <a:gd name="T57" fmla="*/ 18 h 98"/>
                <a:gd name="T58" fmla="*/ 89 w 129"/>
                <a:gd name="T59" fmla="*/ 0 h 98"/>
                <a:gd name="T60" fmla="*/ 67 w 129"/>
                <a:gd name="T61" fmla="*/ 9 h 98"/>
                <a:gd name="T62" fmla="*/ 40 w 129"/>
                <a:gd name="T63" fmla="*/ 4 h 98"/>
                <a:gd name="T64" fmla="*/ 36 w 129"/>
                <a:gd name="T65" fmla="*/ 9 h 98"/>
                <a:gd name="T66" fmla="*/ 36 w 129"/>
                <a:gd name="T67" fmla="*/ 13 h 98"/>
                <a:gd name="T68" fmla="*/ 22 w 129"/>
                <a:gd name="T69" fmla="*/ 18 h 98"/>
                <a:gd name="T70" fmla="*/ 13 w 129"/>
                <a:gd name="T71" fmla="*/ 36 h 98"/>
                <a:gd name="T72" fmla="*/ 13 w 129"/>
                <a:gd name="T73" fmla="*/ 40 h 98"/>
                <a:gd name="T74" fmla="*/ 4 w 129"/>
                <a:gd name="T75" fmla="*/ 45 h 98"/>
                <a:gd name="T76" fmla="*/ 0 w 129"/>
                <a:gd name="T77" fmla="*/ 4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9" h="98">
                  <a:moveTo>
                    <a:pt x="0" y="45"/>
                  </a:moveTo>
                  <a:lnTo>
                    <a:pt x="4" y="54"/>
                  </a:lnTo>
                  <a:lnTo>
                    <a:pt x="4" y="62"/>
                  </a:lnTo>
                  <a:lnTo>
                    <a:pt x="13" y="71"/>
                  </a:lnTo>
                  <a:lnTo>
                    <a:pt x="22" y="76"/>
                  </a:lnTo>
                  <a:lnTo>
                    <a:pt x="27" y="76"/>
                  </a:lnTo>
                  <a:lnTo>
                    <a:pt x="27" y="80"/>
                  </a:lnTo>
                  <a:lnTo>
                    <a:pt x="31" y="80"/>
                  </a:lnTo>
                  <a:lnTo>
                    <a:pt x="36" y="80"/>
                  </a:lnTo>
                  <a:lnTo>
                    <a:pt x="36" y="89"/>
                  </a:lnTo>
                  <a:lnTo>
                    <a:pt x="49" y="94"/>
                  </a:lnTo>
                  <a:lnTo>
                    <a:pt x="62" y="98"/>
                  </a:lnTo>
                  <a:lnTo>
                    <a:pt x="76" y="98"/>
                  </a:lnTo>
                  <a:lnTo>
                    <a:pt x="85" y="89"/>
                  </a:lnTo>
                  <a:lnTo>
                    <a:pt x="98" y="85"/>
                  </a:lnTo>
                  <a:lnTo>
                    <a:pt x="116" y="94"/>
                  </a:lnTo>
                  <a:lnTo>
                    <a:pt x="116" y="85"/>
                  </a:lnTo>
                  <a:lnTo>
                    <a:pt x="120" y="80"/>
                  </a:lnTo>
                  <a:lnTo>
                    <a:pt x="120" y="67"/>
                  </a:lnTo>
                  <a:lnTo>
                    <a:pt x="120" y="71"/>
                  </a:lnTo>
                  <a:lnTo>
                    <a:pt x="129" y="71"/>
                  </a:lnTo>
                  <a:lnTo>
                    <a:pt x="129" y="62"/>
                  </a:lnTo>
                  <a:lnTo>
                    <a:pt x="125" y="62"/>
                  </a:lnTo>
                  <a:lnTo>
                    <a:pt x="116" y="67"/>
                  </a:lnTo>
                  <a:lnTo>
                    <a:pt x="112" y="62"/>
                  </a:lnTo>
                  <a:lnTo>
                    <a:pt x="107" y="58"/>
                  </a:lnTo>
                  <a:lnTo>
                    <a:pt x="112" y="40"/>
                  </a:lnTo>
                  <a:lnTo>
                    <a:pt x="107" y="27"/>
                  </a:lnTo>
                  <a:lnTo>
                    <a:pt x="103" y="18"/>
                  </a:lnTo>
                  <a:lnTo>
                    <a:pt x="89" y="0"/>
                  </a:lnTo>
                  <a:lnTo>
                    <a:pt x="67" y="9"/>
                  </a:lnTo>
                  <a:lnTo>
                    <a:pt x="40" y="4"/>
                  </a:lnTo>
                  <a:lnTo>
                    <a:pt x="36" y="9"/>
                  </a:lnTo>
                  <a:lnTo>
                    <a:pt x="36" y="13"/>
                  </a:lnTo>
                  <a:lnTo>
                    <a:pt x="22" y="18"/>
                  </a:lnTo>
                  <a:lnTo>
                    <a:pt x="13" y="36"/>
                  </a:lnTo>
                  <a:lnTo>
                    <a:pt x="13" y="40"/>
                  </a:lnTo>
                  <a:lnTo>
                    <a:pt x="4" y="45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38" name="Freeform 30"/>
            <p:cNvSpPr>
              <a:spLocks/>
            </p:cNvSpPr>
            <p:nvPr/>
          </p:nvSpPr>
          <p:spPr bwMode="gray">
            <a:xfrm>
              <a:off x="1774" y="2444"/>
              <a:ext cx="126" cy="46"/>
            </a:xfrm>
            <a:custGeom>
              <a:avLst/>
              <a:gdLst>
                <a:gd name="T0" fmla="*/ 0 w 85"/>
                <a:gd name="T1" fmla="*/ 22 h 31"/>
                <a:gd name="T2" fmla="*/ 5 w 85"/>
                <a:gd name="T3" fmla="*/ 18 h 31"/>
                <a:gd name="T4" fmla="*/ 14 w 85"/>
                <a:gd name="T5" fmla="*/ 18 h 31"/>
                <a:gd name="T6" fmla="*/ 18 w 85"/>
                <a:gd name="T7" fmla="*/ 13 h 31"/>
                <a:gd name="T8" fmla="*/ 23 w 85"/>
                <a:gd name="T9" fmla="*/ 5 h 31"/>
                <a:gd name="T10" fmla="*/ 27 w 85"/>
                <a:gd name="T11" fmla="*/ 0 h 31"/>
                <a:gd name="T12" fmla="*/ 32 w 85"/>
                <a:gd name="T13" fmla="*/ 5 h 31"/>
                <a:gd name="T14" fmla="*/ 40 w 85"/>
                <a:gd name="T15" fmla="*/ 0 h 31"/>
                <a:gd name="T16" fmla="*/ 49 w 85"/>
                <a:gd name="T17" fmla="*/ 9 h 31"/>
                <a:gd name="T18" fmla="*/ 54 w 85"/>
                <a:gd name="T19" fmla="*/ 0 h 31"/>
                <a:gd name="T20" fmla="*/ 58 w 85"/>
                <a:gd name="T21" fmla="*/ 5 h 31"/>
                <a:gd name="T22" fmla="*/ 72 w 85"/>
                <a:gd name="T23" fmla="*/ 0 h 31"/>
                <a:gd name="T24" fmla="*/ 85 w 85"/>
                <a:gd name="T25" fmla="*/ 9 h 31"/>
                <a:gd name="T26" fmla="*/ 81 w 85"/>
                <a:gd name="T27" fmla="*/ 22 h 31"/>
                <a:gd name="T28" fmla="*/ 72 w 85"/>
                <a:gd name="T29" fmla="*/ 22 h 31"/>
                <a:gd name="T30" fmla="*/ 67 w 85"/>
                <a:gd name="T31" fmla="*/ 18 h 31"/>
                <a:gd name="T32" fmla="*/ 63 w 85"/>
                <a:gd name="T33" fmla="*/ 22 h 31"/>
                <a:gd name="T34" fmla="*/ 54 w 85"/>
                <a:gd name="T35" fmla="*/ 18 h 31"/>
                <a:gd name="T36" fmla="*/ 45 w 85"/>
                <a:gd name="T37" fmla="*/ 27 h 31"/>
                <a:gd name="T38" fmla="*/ 36 w 85"/>
                <a:gd name="T39" fmla="*/ 27 h 31"/>
                <a:gd name="T40" fmla="*/ 32 w 85"/>
                <a:gd name="T41" fmla="*/ 31 h 31"/>
                <a:gd name="T42" fmla="*/ 14 w 85"/>
                <a:gd name="T43" fmla="*/ 31 h 31"/>
                <a:gd name="T44" fmla="*/ 9 w 85"/>
                <a:gd name="T45" fmla="*/ 27 h 31"/>
                <a:gd name="T46" fmla="*/ 9 w 85"/>
                <a:gd name="T47" fmla="*/ 22 h 31"/>
                <a:gd name="T48" fmla="*/ 5 w 85"/>
                <a:gd name="T49" fmla="*/ 22 h 31"/>
                <a:gd name="T50" fmla="*/ 0 w 85"/>
                <a:gd name="T51" fmla="*/ 2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5" h="31">
                  <a:moveTo>
                    <a:pt x="0" y="22"/>
                  </a:moveTo>
                  <a:lnTo>
                    <a:pt x="5" y="18"/>
                  </a:lnTo>
                  <a:lnTo>
                    <a:pt x="14" y="18"/>
                  </a:lnTo>
                  <a:lnTo>
                    <a:pt x="18" y="13"/>
                  </a:lnTo>
                  <a:lnTo>
                    <a:pt x="23" y="5"/>
                  </a:lnTo>
                  <a:lnTo>
                    <a:pt x="27" y="0"/>
                  </a:lnTo>
                  <a:lnTo>
                    <a:pt x="32" y="5"/>
                  </a:lnTo>
                  <a:lnTo>
                    <a:pt x="40" y="0"/>
                  </a:lnTo>
                  <a:lnTo>
                    <a:pt x="49" y="9"/>
                  </a:lnTo>
                  <a:lnTo>
                    <a:pt x="54" y="0"/>
                  </a:lnTo>
                  <a:lnTo>
                    <a:pt x="58" y="5"/>
                  </a:lnTo>
                  <a:lnTo>
                    <a:pt x="72" y="0"/>
                  </a:lnTo>
                  <a:lnTo>
                    <a:pt x="85" y="9"/>
                  </a:lnTo>
                  <a:lnTo>
                    <a:pt x="81" y="22"/>
                  </a:lnTo>
                  <a:lnTo>
                    <a:pt x="72" y="22"/>
                  </a:lnTo>
                  <a:lnTo>
                    <a:pt x="67" y="18"/>
                  </a:lnTo>
                  <a:lnTo>
                    <a:pt x="63" y="22"/>
                  </a:lnTo>
                  <a:lnTo>
                    <a:pt x="54" y="18"/>
                  </a:lnTo>
                  <a:lnTo>
                    <a:pt x="45" y="27"/>
                  </a:lnTo>
                  <a:lnTo>
                    <a:pt x="36" y="27"/>
                  </a:lnTo>
                  <a:lnTo>
                    <a:pt x="32" y="31"/>
                  </a:lnTo>
                  <a:lnTo>
                    <a:pt x="14" y="31"/>
                  </a:lnTo>
                  <a:lnTo>
                    <a:pt x="9" y="27"/>
                  </a:lnTo>
                  <a:lnTo>
                    <a:pt x="9" y="22"/>
                  </a:lnTo>
                  <a:lnTo>
                    <a:pt x="5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39" name="Freeform 31"/>
            <p:cNvSpPr>
              <a:spLocks/>
            </p:cNvSpPr>
            <p:nvPr/>
          </p:nvSpPr>
          <p:spPr bwMode="gray">
            <a:xfrm>
              <a:off x="1702" y="2530"/>
              <a:ext cx="66" cy="40"/>
            </a:xfrm>
            <a:custGeom>
              <a:avLst/>
              <a:gdLst>
                <a:gd name="T0" fmla="*/ 5 w 45"/>
                <a:gd name="T1" fmla="*/ 27 h 27"/>
                <a:gd name="T2" fmla="*/ 5 w 45"/>
                <a:gd name="T3" fmla="*/ 27 h 27"/>
                <a:gd name="T4" fmla="*/ 5 w 45"/>
                <a:gd name="T5" fmla="*/ 27 h 27"/>
                <a:gd name="T6" fmla="*/ 14 w 45"/>
                <a:gd name="T7" fmla="*/ 27 h 27"/>
                <a:gd name="T8" fmla="*/ 14 w 45"/>
                <a:gd name="T9" fmla="*/ 27 h 27"/>
                <a:gd name="T10" fmla="*/ 18 w 45"/>
                <a:gd name="T11" fmla="*/ 23 h 27"/>
                <a:gd name="T12" fmla="*/ 22 w 45"/>
                <a:gd name="T13" fmla="*/ 27 h 27"/>
                <a:gd name="T14" fmla="*/ 27 w 45"/>
                <a:gd name="T15" fmla="*/ 27 h 27"/>
                <a:gd name="T16" fmla="*/ 27 w 45"/>
                <a:gd name="T17" fmla="*/ 27 h 27"/>
                <a:gd name="T18" fmla="*/ 27 w 45"/>
                <a:gd name="T19" fmla="*/ 23 h 27"/>
                <a:gd name="T20" fmla="*/ 31 w 45"/>
                <a:gd name="T21" fmla="*/ 18 h 27"/>
                <a:gd name="T22" fmla="*/ 31 w 45"/>
                <a:gd name="T23" fmla="*/ 18 h 27"/>
                <a:gd name="T24" fmla="*/ 31 w 45"/>
                <a:gd name="T25" fmla="*/ 14 h 27"/>
                <a:gd name="T26" fmla="*/ 31 w 45"/>
                <a:gd name="T27" fmla="*/ 14 h 27"/>
                <a:gd name="T28" fmla="*/ 36 w 45"/>
                <a:gd name="T29" fmla="*/ 14 h 27"/>
                <a:gd name="T30" fmla="*/ 36 w 45"/>
                <a:gd name="T31" fmla="*/ 9 h 27"/>
                <a:gd name="T32" fmla="*/ 40 w 45"/>
                <a:gd name="T33" fmla="*/ 9 h 27"/>
                <a:gd name="T34" fmla="*/ 40 w 45"/>
                <a:gd name="T35" fmla="*/ 9 h 27"/>
                <a:gd name="T36" fmla="*/ 40 w 45"/>
                <a:gd name="T37" fmla="*/ 5 h 27"/>
                <a:gd name="T38" fmla="*/ 45 w 45"/>
                <a:gd name="T39" fmla="*/ 9 h 27"/>
                <a:gd name="T40" fmla="*/ 45 w 45"/>
                <a:gd name="T41" fmla="*/ 9 h 27"/>
                <a:gd name="T42" fmla="*/ 40 w 45"/>
                <a:gd name="T43" fmla="*/ 0 h 27"/>
                <a:gd name="T44" fmla="*/ 27 w 45"/>
                <a:gd name="T45" fmla="*/ 5 h 27"/>
                <a:gd name="T46" fmla="*/ 18 w 45"/>
                <a:gd name="T47" fmla="*/ 9 h 27"/>
                <a:gd name="T48" fmla="*/ 5 w 45"/>
                <a:gd name="T49" fmla="*/ 9 h 27"/>
                <a:gd name="T50" fmla="*/ 0 w 45"/>
                <a:gd name="T51" fmla="*/ 9 h 27"/>
                <a:gd name="T52" fmla="*/ 5 w 45"/>
                <a:gd name="T53" fmla="*/ 14 h 27"/>
                <a:gd name="T54" fmla="*/ 5 w 45"/>
                <a:gd name="T55" fmla="*/ 18 h 27"/>
                <a:gd name="T56" fmla="*/ 9 w 45"/>
                <a:gd name="T57" fmla="*/ 27 h 27"/>
                <a:gd name="T58" fmla="*/ 5 w 45"/>
                <a:gd name="T5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5" h="27">
                  <a:moveTo>
                    <a:pt x="5" y="27"/>
                  </a:moveTo>
                  <a:lnTo>
                    <a:pt x="5" y="27"/>
                  </a:lnTo>
                  <a:lnTo>
                    <a:pt x="5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8" y="23"/>
                  </a:lnTo>
                  <a:lnTo>
                    <a:pt x="22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3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6" y="14"/>
                  </a:lnTo>
                  <a:lnTo>
                    <a:pt x="36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5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0" y="0"/>
                  </a:lnTo>
                  <a:lnTo>
                    <a:pt x="27" y="5"/>
                  </a:lnTo>
                  <a:lnTo>
                    <a:pt x="18" y="9"/>
                  </a:lnTo>
                  <a:lnTo>
                    <a:pt x="5" y="9"/>
                  </a:lnTo>
                  <a:lnTo>
                    <a:pt x="0" y="9"/>
                  </a:lnTo>
                  <a:lnTo>
                    <a:pt x="5" y="14"/>
                  </a:lnTo>
                  <a:lnTo>
                    <a:pt x="5" y="18"/>
                  </a:lnTo>
                  <a:lnTo>
                    <a:pt x="9" y="27"/>
                  </a:lnTo>
                  <a:lnTo>
                    <a:pt x="5" y="27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40" name="Freeform 32"/>
            <p:cNvSpPr>
              <a:spLocks noEditPoints="1"/>
            </p:cNvSpPr>
            <p:nvPr/>
          </p:nvSpPr>
          <p:spPr bwMode="gray">
            <a:xfrm>
              <a:off x="1972" y="2669"/>
              <a:ext cx="404" cy="185"/>
            </a:xfrm>
            <a:custGeom>
              <a:avLst/>
              <a:gdLst>
                <a:gd name="T0" fmla="*/ 0 w 273"/>
                <a:gd name="T1" fmla="*/ 18 h 125"/>
                <a:gd name="T2" fmla="*/ 18 w 273"/>
                <a:gd name="T3" fmla="*/ 0 h 125"/>
                <a:gd name="T4" fmla="*/ 32 w 273"/>
                <a:gd name="T5" fmla="*/ 4 h 125"/>
                <a:gd name="T6" fmla="*/ 45 w 273"/>
                <a:gd name="T7" fmla="*/ 18 h 125"/>
                <a:gd name="T8" fmla="*/ 32 w 273"/>
                <a:gd name="T9" fmla="*/ 22 h 125"/>
                <a:gd name="T10" fmla="*/ 14 w 273"/>
                <a:gd name="T11" fmla="*/ 31 h 125"/>
                <a:gd name="T12" fmla="*/ 0 w 273"/>
                <a:gd name="T13" fmla="*/ 40 h 125"/>
                <a:gd name="T14" fmla="*/ 9 w 273"/>
                <a:gd name="T15" fmla="*/ 27 h 125"/>
                <a:gd name="T16" fmla="*/ 63 w 273"/>
                <a:gd name="T17" fmla="*/ 112 h 125"/>
                <a:gd name="T18" fmla="*/ 85 w 273"/>
                <a:gd name="T19" fmla="*/ 107 h 125"/>
                <a:gd name="T20" fmla="*/ 99 w 273"/>
                <a:gd name="T21" fmla="*/ 116 h 125"/>
                <a:gd name="T22" fmla="*/ 121 w 273"/>
                <a:gd name="T23" fmla="*/ 107 h 125"/>
                <a:gd name="T24" fmla="*/ 139 w 273"/>
                <a:gd name="T25" fmla="*/ 112 h 125"/>
                <a:gd name="T26" fmla="*/ 148 w 273"/>
                <a:gd name="T27" fmla="*/ 107 h 125"/>
                <a:gd name="T28" fmla="*/ 143 w 273"/>
                <a:gd name="T29" fmla="*/ 116 h 125"/>
                <a:gd name="T30" fmla="*/ 139 w 273"/>
                <a:gd name="T31" fmla="*/ 125 h 125"/>
                <a:gd name="T32" fmla="*/ 157 w 273"/>
                <a:gd name="T33" fmla="*/ 116 h 125"/>
                <a:gd name="T34" fmla="*/ 179 w 273"/>
                <a:gd name="T35" fmla="*/ 103 h 125"/>
                <a:gd name="T36" fmla="*/ 210 w 273"/>
                <a:gd name="T37" fmla="*/ 103 h 125"/>
                <a:gd name="T38" fmla="*/ 241 w 273"/>
                <a:gd name="T39" fmla="*/ 103 h 125"/>
                <a:gd name="T40" fmla="*/ 264 w 273"/>
                <a:gd name="T41" fmla="*/ 103 h 125"/>
                <a:gd name="T42" fmla="*/ 273 w 273"/>
                <a:gd name="T43" fmla="*/ 94 h 125"/>
                <a:gd name="T44" fmla="*/ 259 w 273"/>
                <a:gd name="T45" fmla="*/ 63 h 125"/>
                <a:gd name="T46" fmla="*/ 264 w 273"/>
                <a:gd name="T47" fmla="*/ 45 h 125"/>
                <a:gd name="T48" fmla="*/ 250 w 273"/>
                <a:gd name="T49" fmla="*/ 22 h 125"/>
                <a:gd name="T50" fmla="*/ 219 w 273"/>
                <a:gd name="T51" fmla="*/ 13 h 125"/>
                <a:gd name="T52" fmla="*/ 206 w 273"/>
                <a:gd name="T53" fmla="*/ 22 h 125"/>
                <a:gd name="T54" fmla="*/ 183 w 273"/>
                <a:gd name="T55" fmla="*/ 22 h 125"/>
                <a:gd name="T56" fmla="*/ 148 w 273"/>
                <a:gd name="T57" fmla="*/ 18 h 125"/>
                <a:gd name="T58" fmla="*/ 134 w 273"/>
                <a:gd name="T59" fmla="*/ 9 h 125"/>
                <a:gd name="T60" fmla="*/ 130 w 273"/>
                <a:gd name="T61" fmla="*/ 0 h 125"/>
                <a:gd name="T62" fmla="*/ 103 w 273"/>
                <a:gd name="T63" fmla="*/ 0 h 125"/>
                <a:gd name="T64" fmla="*/ 76 w 273"/>
                <a:gd name="T65" fmla="*/ 18 h 125"/>
                <a:gd name="T66" fmla="*/ 54 w 273"/>
                <a:gd name="T67" fmla="*/ 18 h 125"/>
                <a:gd name="T68" fmla="*/ 45 w 273"/>
                <a:gd name="T69" fmla="*/ 22 h 125"/>
                <a:gd name="T70" fmla="*/ 40 w 273"/>
                <a:gd name="T71" fmla="*/ 27 h 125"/>
                <a:gd name="T72" fmla="*/ 36 w 273"/>
                <a:gd name="T73" fmla="*/ 31 h 125"/>
                <a:gd name="T74" fmla="*/ 23 w 273"/>
                <a:gd name="T75" fmla="*/ 40 h 125"/>
                <a:gd name="T76" fmla="*/ 9 w 273"/>
                <a:gd name="T77" fmla="*/ 36 h 125"/>
                <a:gd name="T78" fmla="*/ 0 w 273"/>
                <a:gd name="T79" fmla="*/ 49 h 125"/>
                <a:gd name="T80" fmla="*/ 9 w 273"/>
                <a:gd name="T81" fmla="*/ 54 h 125"/>
                <a:gd name="T82" fmla="*/ 14 w 273"/>
                <a:gd name="T83" fmla="*/ 72 h 125"/>
                <a:gd name="T84" fmla="*/ 5 w 273"/>
                <a:gd name="T85" fmla="*/ 67 h 125"/>
                <a:gd name="T86" fmla="*/ 9 w 273"/>
                <a:gd name="T87" fmla="*/ 76 h 125"/>
                <a:gd name="T88" fmla="*/ 14 w 273"/>
                <a:gd name="T89" fmla="*/ 85 h 125"/>
                <a:gd name="T90" fmla="*/ 23 w 273"/>
                <a:gd name="T91" fmla="*/ 94 h 125"/>
                <a:gd name="T92" fmla="*/ 27 w 273"/>
                <a:gd name="T93" fmla="*/ 98 h 125"/>
                <a:gd name="T94" fmla="*/ 23 w 273"/>
                <a:gd name="T95" fmla="*/ 107 h 125"/>
                <a:gd name="T96" fmla="*/ 32 w 273"/>
                <a:gd name="T97" fmla="*/ 107 h 125"/>
                <a:gd name="T98" fmla="*/ 45 w 273"/>
                <a:gd name="T99" fmla="*/ 103 h 125"/>
                <a:gd name="T100" fmla="*/ 54 w 273"/>
                <a:gd name="T101" fmla="*/ 116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3" h="125">
                  <a:moveTo>
                    <a:pt x="0" y="22"/>
                  </a:moveTo>
                  <a:lnTo>
                    <a:pt x="0" y="18"/>
                  </a:lnTo>
                  <a:lnTo>
                    <a:pt x="0" y="9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32" y="4"/>
                  </a:lnTo>
                  <a:lnTo>
                    <a:pt x="32" y="13"/>
                  </a:lnTo>
                  <a:lnTo>
                    <a:pt x="45" y="18"/>
                  </a:lnTo>
                  <a:lnTo>
                    <a:pt x="36" y="22"/>
                  </a:lnTo>
                  <a:lnTo>
                    <a:pt x="32" y="22"/>
                  </a:lnTo>
                  <a:lnTo>
                    <a:pt x="18" y="22"/>
                  </a:lnTo>
                  <a:lnTo>
                    <a:pt x="14" y="31"/>
                  </a:lnTo>
                  <a:lnTo>
                    <a:pt x="9" y="31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9" y="27"/>
                  </a:lnTo>
                  <a:lnTo>
                    <a:pt x="0" y="22"/>
                  </a:lnTo>
                  <a:close/>
                  <a:moveTo>
                    <a:pt x="63" y="112"/>
                  </a:moveTo>
                  <a:lnTo>
                    <a:pt x="67" y="103"/>
                  </a:lnTo>
                  <a:lnTo>
                    <a:pt x="85" y="107"/>
                  </a:lnTo>
                  <a:lnTo>
                    <a:pt x="90" y="116"/>
                  </a:lnTo>
                  <a:lnTo>
                    <a:pt x="99" y="116"/>
                  </a:lnTo>
                  <a:lnTo>
                    <a:pt x="116" y="112"/>
                  </a:lnTo>
                  <a:lnTo>
                    <a:pt x="121" y="107"/>
                  </a:lnTo>
                  <a:lnTo>
                    <a:pt x="125" y="107"/>
                  </a:lnTo>
                  <a:lnTo>
                    <a:pt x="139" y="112"/>
                  </a:lnTo>
                  <a:lnTo>
                    <a:pt x="143" y="103"/>
                  </a:lnTo>
                  <a:lnTo>
                    <a:pt x="148" y="107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21"/>
                  </a:lnTo>
                  <a:lnTo>
                    <a:pt x="139" y="125"/>
                  </a:lnTo>
                  <a:lnTo>
                    <a:pt x="148" y="125"/>
                  </a:lnTo>
                  <a:lnTo>
                    <a:pt x="157" y="116"/>
                  </a:lnTo>
                  <a:lnTo>
                    <a:pt x="157" y="107"/>
                  </a:lnTo>
                  <a:lnTo>
                    <a:pt x="179" y="103"/>
                  </a:lnTo>
                  <a:lnTo>
                    <a:pt x="197" y="107"/>
                  </a:lnTo>
                  <a:lnTo>
                    <a:pt x="210" y="103"/>
                  </a:lnTo>
                  <a:lnTo>
                    <a:pt x="233" y="98"/>
                  </a:lnTo>
                  <a:lnTo>
                    <a:pt x="241" y="103"/>
                  </a:lnTo>
                  <a:lnTo>
                    <a:pt x="246" y="98"/>
                  </a:lnTo>
                  <a:lnTo>
                    <a:pt x="264" y="103"/>
                  </a:lnTo>
                  <a:lnTo>
                    <a:pt x="273" y="98"/>
                  </a:lnTo>
                  <a:lnTo>
                    <a:pt x="273" y="94"/>
                  </a:lnTo>
                  <a:lnTo>
                    <a:pt x="264" y="89"/>
                  </a:lnTo>
                  <a:lnTo>
                    <a:pt x="259" y="63"/>
                  </a:lnTo>
                  <a:lnTo>
                    <a:pt x="268" y="54"/>
                  </a:lnTo>
                  <a:lnTo>
                    <a:pt x="264" y="45"/>
                  </a:lnTo>
                  <a:lnTo>
                    <a:pt x="255" y="40"/>
                  </a:lnTo>
                  <a:lnTo>
                    <a:pt x="250" y="22"/>
                  </a:lnTo>
                  <a:lnTo>
                    <a:pt x="241" y="18"/>
                  </a:lnTo>
                  <a:lnTo>
                    <a:pt x="219" y="13"/>
                  </a:lnTo>
                  <a:lnTo>
                    <a:pt x="210" y="18"/>
                  </a:lnTo>
                  <a:lnTo>
                    <a:pt x="206" y="22"/>
                  </a:lnTo>
                  <a:lnTo>
                    <a:pt x="192" y="18"/>
                  </a:lnTo>
                  <a:lnTo>
                    <a:pt x="183" y="22"/>
                  </a:lnTo>
                  <a:lnTo>
                    <a:pt x="170" y="22"/>
                  </a:lnTo>
                  <a:lnTo>
                    <a:pt x="148" y="18"/>
                  </a:lnTo>
                  <a:lnTo>
                    <a:pt x="143" y="9"/>
                  </a:lnTo>
                  <a:lnTo>
                    <a:pt x="134" y="9"/>
                  </a:lnTo>
                  <a:lnTo>
                    <a:pt x="134" y="0"/>
                  </a:lnTo>
                  <a:lnTo>
                    <a:pt x="130" y="0"/>
                  </a:lnTo>
                  <a:lnTo>
                    <a:pt x="125" y="4"/>
                  </a:lnTo>
                  <a:lnTo>
                    <a:pt x="103" y="0"/>
                  </a:lnTo>
                  <a:lnTo>
                    <a:pt x="76" y="13"/>
                  </a:lnTo>
                  <a:lnTo>
                    <a:pt x="76" y="18"/>
                  </a:lnTo>
                  <a:lnTo>
                    <a:pt x="63" y="18"/>
                  </a:lnTo>
                  <a:lnTo>
                    <a:pt x="54" y="18"/>
                  </a:lnTo>
                  <a:lnTo>
                    <a:pt x="45" y="18"/>
                  </a:lnTo>
                  <a:lnTo>
                    <a:pt x="45" y="22"/>
                  </a:lnTo>
                  <a:lnTo>
                    <a:pt x="45" y="27"/>
                  </a:lnTo>
                  <a:lnTo>
                    <a:pt x="40" y="27"/>
                  </a:lnTo>
                  <a:lnTo>
                    <a:pt x="45" y="31"/>
                  </a:lnTo>
                  <a:lnTo>
                    <a:pt x="36" y="31"/>
                  </a:lnTo>
                  <a:lnTo>
                    <a:pt x="27" y="31"/>
                  </a:lnTo>
                  <a:lnTo>
                    <a:pt x="23" y="40"/>
                  </a:lnTo>
                  <a:lnTo>
                    <a:pt x="14" y="36"/>
                  </a:lnTo>
                  <a:lnTo>
                    <a:pt x="9" y="36"/>
                  </a:lnTo>
                  <a:lnTo>
                    <a:pt x="0" y="40"/>
                  </a:lnTo>
                  <a:lnTo>
                    <a:pt x="0" y="49"/>
                  </a:lnTo>
                  <a:lnTo>
                    <a:pt x="14" y="49"/>
                  </a:lnTo>
                  <a:lnTo>
                    <a:pt x="9" y="54"/>
                  </a:lnTo>
                  <a:lnTo>
                    <a:pt x="14" y="67"/>
                  </a:lnTo>
                  <a:lnTo>
                    <a:pt x="14" y="72"/>
                  </a:lnTo>
                  <a:lnTo>
                    <a:pt x="9" y="72"/>
                  </a:lnTo>
                  <a:lnTo>
                    <a:pt x="5" y="67"/>
                  </a:lnTo>
                  <a:lnTo>
                    <a:pt x="5" y="76"/>
                  </a:lnTo>
                  <a:lnTo>
                    <a:pt x="9" y="76"/>
                  </a:lnTo>
                  <a:lnTo>
                    <a:pt x="14" y="80"/>
                  </a:lnTo>
                  <a:lnTo>
                    <a:pt x="14" y="85"/>
                  </a:lnTo>
                  <a:lnTo>
                    <a:pt x="14" y="94"/>
                  </a:lnTo>
                  <a:lnTo>
                    <a:pt x="23" y="94"/>
                  </a:lnTo>
                  <a:lnTo>
                    <a:pt x="14" y="98"/>
                  </a:lnTo>
                  <a:lnTo>
                    <a:pt x="27" y="98"/>
                  </a:lnTo>
                  <a:lnTo>
                    <a:pt x="27" y="103"/>
                  </a:lnTo>
                  <a:lnTo>
                    <a:pt x="23" y="107"/>
                  </a:lnTo>
                  <a:lnTo>
                    <a:pt x="27" y="103"/>
                  </a:lnTo>
                  <a:lnTo>
                    <a:pt x="32" y="107"/>
                  </a:lnTo>
                  <a:lnTo>
                    <a:pt x="36" y="98"/>
                  </a:lnTo>
                  <a:lnTo>
                    <a:pt x="45" y="103"/>
                  </a:lnTo>
                  <a:lnTo>
                    <a:pt x="49" y="112"/>
                  </a:lnTo>
                  <a:lnTo>
                    <a:pt x="54" y="116"/>
                  </a:lnTo>
                  <a:lnTo>
                    <a:pt x="63" y="11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41" name="Freeform 33"/>
            <p:cNvSpPr>
              <a:spLocks/>
            </p:cNvSpPr>
            <p:nvPr/>
          </p:nvSpPr>
          <p:spPr bwMode="gray">
            <a:xfrm>
              <a:off x="1894" y="2353"/>
              <a:ext cx="376" cy="249"/>
            </a:xfrm>
            <a:custGeom>
              <a:avLst/>
              <a:gdLst>
                <a:gd name="T0" fmla="*/ 4 w 254"/>
                <a:gd name="T1" fmla="*/ 71 h 169"/>
                <a:gd name="T2" fmla="*/ 4 w 254"/>
                <a:gd name="T3" fmla="*/ 67 h 169"/>
                <a:gd name="T4" fmla="*/ 22 w 254"/>
                <a:gd name="T5" fmla="*/ 49 h 169"/>
                <a:gd name="T6" fmla="*/ 22 w 254"/>
                <a:gd name="T7" fmla="*/ 40 h 169"/>
                <a:gd name="T8" fmla="*/ 18 w 254"/>
                <a:gd name="T9" fmla="*/ 17 h 169"/>
                <a:gd name="T10" fmla="*/ 26 w 254"/>
                <a:gd name="T11" fmla="*/ 17 h 169"/>
                <a:gd name="T12" fmla="*/ 35 w 254"/>
                <a:gd name="T13" fmla="*/ 4 h 169"/>
                <a:gd name="T14" fmla="*/ 58 w 254"/>
                <a:gd name="T15" fmla="*/ 13 h 169"/>
                <a:gd name="T16" fmla="*/ 76 w 254"/>
                <a:gd name="T17" fmla="*/ 13 h 169"/>
                <a:gd name="T18" fmla="*/ 80 w 254"/>
                <a:gd name="T19" fmla="*/ 17 h 169"/>
                <a:gd name="T20" fmla="*/ 89 w 254"/>
                <a:gd name="T21" fmla="*/ 13 h 169"/>
                <a:gd name="T22" fmla="*/ 98 w 254"/>
                <a:gd name="T23" fmla="*/ 13 h 169"/>
                <a:gd name="T24" fmla="*/ 111 w 254"/>
                <a:gd name="T25" fmla="*/ 17 h 169"/>
                <a:gd name="T26" fmla="*/ 120 w 254"/>
                <a:gd name="T27" fmla="*/ 17 h 169"/>
                <a:gd name="T28" fmla="*/ 125 w 254"/>
                <a:gd name="T29" fmla="*/ 0 h 169"/>
                <a:gd name="T30" fmla="*/ 138 w 254"/>
                <a:gd name="T31" fmla="*/ 4 h 169"/>
                <a:gd name="T32" fmla="*/ 147 w 254"/>
                <a:gd name="T33" fmla="*/ 4 h 169"/>
                <a:gd name="T34" fmla="*/ 165 w 254"/>
                <a:gd name="T35" fmla="*/ 0 h 169"/>
                <a:gd name="T36" fmla="*/ 174 w 254"/>
                <a:gd name="T37" fmla="*/ 8 h 169"/>
                <a:gd name="T38" fmla="*/ 187 w 254"/>
                <a:gd name="T39" fmla="*/ 22 h 169"/>
                <a:gd name="T40" fmla="*/ 192 w 254"/>
                <a:gd name="T41" fmla="*/ 44 h 169"/>
                <a:gd name="T42" fmla="*/ 205 w 254"/>
                <a:gd name="T43" fmla="*/ 49 h 169"/>
                <a:gd name="T44" fmla="*/ 219 w 254"/>
                <a:gd name="T45" fmla="*/ 44 h 169"/>
                <a:gd name="T46" fmla="*/ 223 w 254"/>
                <a:gd name="T47" fmla="*/ 53 h 169"/>
                <a:gd name="T48" fmla="*/ 232 w 254"/>
                <a:gd name="T49" fmla="*/ 58 h 169"/>
                <a:gd name="T50" fmla="*/ 241 w 254"/>
                <a:gd name="T51" fmla="*/ 58 h 169"/>
                <a:gd name="T52" fmla="*/ 250 w 254"/>
                <a:gd name="T53" fmla="*/ 71 h 169"/>
                <a:gd name="T54" fmla="*/ 250 w 254"/>
                <a:gd name="T55" fmla="*/ 80 h 169"/>
                <a:gd name="T56" fmla="*/ 250 w 254"/>
                <a:gd name="T57" fmla="*/ 93 h 169"/>
                <a:gd name="T58" fmla="*/ 232 w 254"/>
                <a:gd name="T59" fmla="*/ 111 h 169"/>
                <a:gd name="T60" fmla="*/ 205 w 254"/>
                <a:gd name="T61" fmla="*/ 120 h 169"/>
                <a:gd name="T62" fmla="*/ 192 w 254"/>
                <a:gd name="T63" fmla="*/ 125 h 169"/>
                <a:gd name="T64" fmla="*/ 183 w 254"/>
                <a:gd name="T65" fmla="*/ 125 h 169"/>
                <a:gd name="T66" fmla="*/ 192 w 254"/>
                <a:gd name="T67" fmla="*/ 147 h 169"/>
                <a:gd name="T68" fmla="*/ 201 w 254"/>
                <a:gd name="T69" fmla="*/ 156 h 169"/>
                <a:gd name="T70" fmla="*/ 192 w 254"/>
                <a:gd name="T71" fmla="*/ 156 h 169"/>
                <a:gd name="T72" fmla="*/ 178 w 254"/>
                <a:gd name="T73" fmla="*/ 160 h 169"/>
                <a:gd name="T74" fmla="*/ 156 w 254"/>
                <a:gd name="T75" fmla="*/ 165 h 169"/>
                <a:gd name="T76" fmla="*/ 160 w 254"/>
                <a:gd name="T77" fmla="*/ 151 h 169"/>
                <a:gd name="T78" fmla="*/ 147 w 254"/>
                <a:gd name="T79" fmla="*/ 147 h 169"/>
                <a:gd name="T80" fmla="*/ 165 w 254"/>
                <a:gd name="T81" fmla="*/ 138 h 169"/>
                <a:gd name="T82" fmla="*/ 156 w 254"/>
                <a:gd name="T83" fmla="*/ 129 h 169"/>
                <a:gd name="T84" fmla="*/ 138 w 254"/>
                <a:gd name="T85" fmla="*/ 129 h 169"/>
                <a:gd name="T86" fmla="*/ 138 w 254"/>
                <a:gd name="T87" fmla="*/ 120 h 169"/>
                <a:gd name="T88" fmla="*/ 116 w 254"/>
                <a:gd name="T89" fmla="*/ 129 h 169"/>
                <a:gd name="T90" fmla="*/ 111 w 254"/>
                <a:gd name="T91" fmla="*/ 129 h 169"/>
                <a:gd name="T92" fmla="*/ 111 w 254"/>
                <a:gd name="T93" fmla="*/ 143 h 169"/>
                <a:gd name="T94" fmla="*/ 102 w 254"/>
                <a:gd name="T95" fmla="*/ 151 h 169"/>
                <a:gd name="T96" fmla="*/ 89 w 254"/>
                <a:gd name="T97" fmla="*/ 156 h 169"/>
                <a:gd name="T98" fmla="*/ 80 w 254"/>
                <a:gd name="T99" fmla="*/ 147 h 169"/>
                <a:gd name="T100" fmla="*/ 93 w 254"/>
                <a:gd name="T101" fmla="*/ 143 h 169"/>
                <a:gd name="T102" fmla="*/ 93 w 254"/>
                <a:gd name="T103" fmla="*/ 129 h 169"/>
                <a:gd name="T104" fmla="*/ 98 w 254"/>
                <a:gd name="T105" fmla="*/ 129 h 169"/>
                <a:gd name="T106" fmla="*/ 107 w 254"/>
                <a:gd name="T107" fmla="*/ 129 h 169"/>
                <a:gd name="T108" fmla="*/ 102 w 254"/>
                <a:gd name="T109" fmla="*/ 111 h 169"/>
                <a:gd name="T110" fmla="*/ 89 w 254"/>
                <a:gd name="T111" fmla="*/ 93 h 169"/>
                <a:gd name="T112" fmla="*/ 80 w 254"/>
                <a:gd name="T113" fmla="*/ 89 h 169"/>
                <a:gd name="T114" fmla="*/ 76 w 254"/>
                <a:gd name="T115" fmla="*/ 89 h 169"/>
                <a:gd name="T116" fmla="*/ 40 w 254"/>
                <a:gd name="T117" fmla="*/ 98 h 169"/>
                <a:gd name="T118" fmla="*/ 9 w 254"/>
                <a:gd name="T119" fmla="*/ 98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4" h="169">
                  <a:moveTo>
                    <a:pt x="0" y="84"/>
                  </a:moveTo>
                  <a:lnTo>
                    <a:pt x="4" y="71"/>
                  </a:lnTo>
                  <a:lnTo>
                    <a:pt x="9" y="71"/>
                  </a:lnTo>
                  <a:lnTo>
                    <a:pt x="4" y="67"/>
                  </a:lnTo>
                  <a:lnTo>
                    <a:pt x="13" y="53"/>
                  </a:lnTo>
                  <a:lnTo>
                    <a:pt x="22" y="49"/>
                  </a:lnTo>
                  <a:lnTo>
                    <a:pt x="26" y="44"/>
                  </a:lnTo>
                  <a:lnTo>
                    <a:pt x="22" y="40"/>
                  </a:lnTo>
                  <a:lnTo>
                    <a:pt x="22" y="31"/>
                  </a:lnTo>
                  <a:lnTo>
                    <a:pt x="18" y="17"/>
                  </a:lnTo>
                  <a:lnTo>
                    <a:pt x="18" y="13"/>
                  </a:lnTo>
                  <a:lnTo>
                    <a:pt x="26" y="17"/>
                  </a:lnTo>
                  <a:lnTo>
                    <a:pt x="31" y="8"/>
                  </a:lnTo>
                  <a:lnTo>
                    <a:pt x="35" y="4"/>
                  </a:lnTo>
                  <a:lnTo>
                    <a:pt x="49" y="8"/>
                  </a:lnTo>
                  <a:lnTo>
                    <a:pt x="58" y="13"/>
                  </a:lnTo>
                  <a:lnTo>
                    <a:pt x="71" y="8"/>
                  </a:lnTo>
                  <a:lnTo>
                    <a:pt x="76" y="13"/>
                  </a:lnTo>
                  <a:lnTo>
                    <a:pt x="80" y="22"/>
                  </a:lnTo>
                  <a:lnTo>
                    <a:pt x="80" y="17"/>
                  </a:lnTo>
                  <a:lnTo>
                    <a:pt x="89" y="17"/>
                  </a:lnTo>
                  <a:lnTo>
                    <a:pt x="89" y="13"/>
                  </a:lnTo>
                  <a:lnTo>
                    <a:pt x="93" y="17"/>
                  </a:lnTo>
                  <a:lnTo>
                    <a:pt x="98" y="13"/>
                  </a:lnTo>
                  <a:lnTo>
                    <a:pt x="102" y="22"/>
                  </a:lnTo>
                  <a:lnTo>
                    <a:pt x="111" y="17"/>
                  </a:lnTo>
                  <a:lnTo>
                    <a:pt x="120" y="22"/>
                  </a:lnTo>
                  <a:lnTo>
                    <a:pt x="120" y="17"/>
                  </a:lnTo>
                  <a:lnTo>
                    <a:pt x="120" y="13"/>
                  </a:lnTo>
                  <a:lnTo>
                    <a:pt x="125" y="0"/>
                  </a:lnTo>
                  <a:lnTo>
                    <a:pt x="134" y="4"/>
                  </a:lnTo>
                  <a:lnTo>
                    <a:pt x="138" y="4"/>
                  </a:lnTo>
                  <a:lnTo>
                    <a:pt x="143" y="0"/>
                  </a:lnTo>
                  <a:lnTo>
                    <a:pt x="147" y="4"/>
                  </a:lnTo>
                  <a:lnTo>
                    <a:pt x="156" y="0"/>
                  </a:lnTo>
                  <a:lnTo>
                    <a:pt x="165" y="0"/>
                  </a:lnTo>
                  <a:lnTo>
                    <a:pt x="169" y="8"/>
                  </a:lnTo>
                  <a:lnTo>
                    <a:pt x="174" y="8"/>
                  </a:lnTo>
                  <a:lnTo>
                    <a:pt x="169" y="17"/>
                  </a:lnTo>
                  <a:lnTo>
                    <a:pt x="187" y="22"/>
                  </a:lnTo>
                  <a:lnTo>
                    <a:pt x="187" y="31"/>
                  </a:lnTo>
                  <a:lnTo>
                    <a:pt x="192" y="44"/>
                  </a:lnTo>
                  <a:lnTo>
                    <a:pt x="201" y="44"/>
                  </a:lnTo>
                  <a:lnTo>
                    <a:pt x="205" y="49"/>
                  </a:lnTo>
                  <a:lnTo>
                    <a:pt x="210" y="44"/>
                  </a:lnTo>
                  <a:lnTo>
                    <a:pt x="219" y="44"/>
                  </a:lnTo>
                  <a:lnTo>
                    <a:pt x="223" y="49"/>
                  </a:lnTo>
                  <a:lnTo>
                    <a:pt x="223" y="53"/>
                  </a:lnTo>
                  <a:lnTo>
                    <a:pt x="232" y="53"/>
                  </a:lnTo>
                  <a:lnTo>
                    <a:pt x="232" y="58"/>
                  </a:lnTo>
                  <a:lnTo>
                    <a:pt x="236" y="53"/>
                  </a:lnTo>
                  <a:lnTo>
                    <a:pt x="241" y="58"/>
                  </a:lnTo>
                  <a:lnTo>
                    <a:pt x="254" y="67"/>
                  </a:lnTo>
                  <a:lnTo>
                    <a:pt x="250" y="71"/>
                  </a:lnTo>
                  <a:lnTo>
                    <a:pt x="254" y="75"/>
                  </a:lnTo>
                  <a:lnTo>
                    <a:pt x="250" y="80"/>
                  </a:lnTo>
                  <a:lnTo>
                    <a:pt x="254" y="84"/>
                  </a:lnTo>
                  <a:lnTo>
                    <a:pt x="250" y="93"/>
                  </a:lnTo>
                  <a:lnTo>
                    <a:pt x="241" y="98"/>
                  </a:lnTo>
                  <a:lnTo>
                    <a:pt x="232" y="111"/>
                  </a:lnTo>
                  <a:lnTo>
                    <a:pt x="223" y="111"/>
                  </a:lnTo>
                  <a:lnTo>
                    <a:pt x="205" y="120"/>
                  </a:lnTo>
                  <a:lnTo>
                    <a:pt x="196" y="125"/>
                  </a:lnTo>
                  <a:lnTo>
                    <a:pt x="192" y="125"/>
                  </a:lnTo>
                  <a:lnTo>
                    <a:pt x="187" y="129"/>
                  </a:lnTo>
                  <a:lnTo>
                    <a:pt x="183" y="125"/>
                  </a:lnTo>
                  <a:lnTo>
                    <a:pt x="174" y="134"/>
                  </a:lnTo>
                  <a:lnTo>
                    <a:pt x="192" y="147"/>
                  </a:lnTo>
                  <a:lnTo>
                    <a:pt x="205" y="147"/>
                  </a:lnTo>
                  <a:lnTo>
                    <a:pt x="201" y="156"/>
                  </a:lnTo>
                  <a:lnTo>
                    <a:pt x="196" y="156"/>
                  </a:lnTo>
                  <a:lnTo>
                    <a:pt x="192" y="156"/>
                  </a:lnTo>
                  <a:lnTo>
                    <a:pt x="183" y="160"/>
                  </a:lnTo>
                  <a:lnTo>
                    <a:pt x="178" y="160"/>
                  </a:lnTo>
                  <a:lnTo>
                    <a:pt x="169" y="169"/>
                  </a:lnTo>
                  <a:lnTo>
                    <a:pt x="156" y="165"/>
                  </a:lnTo>
                  <a:lnTo>
                    <a:pt x="160" y="160"/>
                  </a:lnTo>
                  <a:lnTo>
                    <a:pt x="160" y="151"/>
                  </a:lnTo>
                  <a:lnTo>
                    <a:pt x="156" y="151"/>
                  </a:lnTo>
                  <a:lnTo>
                    <a:pt x="147" y="147"/>
                  </a:lnTo>
                  <a:lnTo>
                    <a:pt x="156" y="138"/>
                  </a:lnTo>
                  <a:lnTo>
                    <a:pt x="165" y="138"/>
                  </a:lnTo>
                  <a:lnTo>
                    <a:pt x="160" y="134"/>
                  </a:lnTo>
                  <a:lnTo>
                    <a:pt x="156" y="129"/>
                  </a:lnTo>
                  <a:lnTo>
                    <a:pt x="134" y="134"/>
                  </a:lnTo>
                  <a:lnTo>
                    <a:pt x="138" y="129"/>
                  </a:lnTo>
                  <a:lnTo>
                    <a:pt x="129" y="125"/>
                  </a:lnTo>
                  <a:lnTo>
                    <a:pt x="138" y="120"/>
                  </a:lnTo>
                  <a:lnTo>
                    <a:pt x="125" y="125"/>
                  </a:lnTo>
                  <a:lnTo>
                    <a:pt x="116" y="129"/>
                  </a:lnTo>
                  <a:lnTo>
                    <a:pt x="111" y="125"/>
                  </a:lnTo>
                  <a:lnTo>
                    <a:pt x="111" y="129"/>
                  </a:lnTo>
                  <a:lnTo>
                    <a:pt x="116" y="134"/>
                  </a:lnTo>
                  <a:lnTo>
                    <a:pt x="111" y="143"/>
                  </a:lnTo>
                  <a:lnTo>
                    <a:pt x="102" y="147"/>
                  </a:lnTo>
                  <a:lnTo>
                    <a:pt x="102" y="151"/>
                  </a:lnTo>
                  <a:lnTo>
                    <a:pt x="98" y="151"/>
                  </a:lnTo>
                  <a:lnTo>
                    <a:pt x="89" y="156"/>
                  </a:lnTo>
                  <a:lnTo>
                    <a:pt x="85" y="151"/>
                  </a:lnTo>
                  <a:lnTo>
                    <a:pt x="80" y="147"/>
                  </a:lnTo>
                  <a:lnTo>
                    <a:pt x="89" y="147"/>
                  </a:lnTo>
                  <a:lnTo>
                    <a:pt x="93" y="143"/>
                  </a:lnTo>
                  <a:lnTo>
                    <a:pt x="93" y="138"/>
                  </a:lnTo>
                  <a:lnTo>
                    <a:pt x="93" y="129"/>
                  </a:lnTo>
                  <a:lnTo>
                    <a:pt x="98" y="134"/>
                  </a:lnTo>
                  <a:lnTo>
                    <a:pt x="98" y="129"/>
                  </a:lnTo>
                  <a:lnTo>
                    <a:pt x="102" y="129"/>
                  </a:lnTo>
                  <a:lnTo>
                    <a:pt x="107" y="129"/>
                  </a:lnTo>
                  <a:lnTo>
                    <a:pt x="107" y="120"/>
                  </a:lnTo>
                  <a:lnTo>
                    <a:pt x="102" y="111"/>
                  </a:lnTo>
                  <a:lnTo>
                    <a:pt x="102" y="102"/>
                  </a:lnTo>
                  <a:lnTo>
                    <a:pt x="89" y="93"/>
                  </a:lnTo>
                  <a:lnTo>
                    <a:pt x="85" y="93"/>
                  </a:lnTo>
                  <a:lnTo>
                    <a:pt x="80" y="89"/>
                  </a:lnTo>
                  <a:lnTo>
                    <a:pt x="76" y="93"/>
                  </a:lnTo>
                  <a:lnTo>
                    <a:pt x="76" y="89"/>
                  </a:lnTo>
                  <a:lnTo>
                    <a:pt x="62" y="89"/>
                  </a:lnTo>
                  <a:lnTo>
                    <a:pt x="40" y="98"/>
                  </a:lnTo>
                  <a:lnTo>
                    <a:pt x="13" y="93"/>
                  </a:lnTo>
                  <a:lnTo>
                    <a:pt x="9" y="98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42" name="Freeform 34"/>
            <p:cNvSpPr>
              <a:spLocks/>
            </p:cNvSpPr>
            <p:nvPr/>
          </p:nvSpPr>
          <p:spPr bwMode="gray">
            <a:xfrm>
              <a:off x="1860" y="2663"/>
              <a:ext cx="53" cy="52"/>
            </a:xfrm>
            <a:custGeom>
              <a:avLst/>
              <a:gdLst>
                <a:gd name="T0" fmla="*/ 9 w 36"/>
                <a:gd name="T1" fmla="*/ 35 h 35"/>
                <a:gd name="T2" fmla="*/ 0 w 36"/>
                <a:gd name="T3" fmla="*/ 31 h 35"/>
                <a:gd name="T4" fmla="*/ 0 w 36"/>
                <a:gd name="T5" fmla="*/ 8 h 35"/>
                <a:gd name="T6" fmla="*/ 9 w 36"/>
                <a:gd name="T7" fmla="*/ 4 h 35"/>
                <a:gd name="T8" fmla="*/ 9 w 36"/>
                <a:gd name="T9" fmla="*/ 4 h 35"/>
                <a:gd name="T10" fmla="*/ 23 w 36"/>
                <a:gd name="T11" fmla="*/ 0 h 35"/>
                <a:gd name="T12" fmla="*/ 27 w 36"/>
                <a:gd name="T13" fmla="*/ 4 h 35"/>
                <a:gd name="T14" fmla="*/ 36 w 36"/>
                <a:gd name="T15" fmla="*/ 8 h 35"/>
                <a:gd name="T16" fmla="*/ 36 w 36"/>
                <a:gd name="T17" fmla="*/ 22 h 35"/>
                <a:gd name="T18" fmla="*/ 27 w 36"/>
                <a:gd name="T19" fmla="*/ 26 h 35"/>
                <a:gd name="T20" fmla="*/ 23 w 36"/>
                <a:gd name="T21" fmla="*/ 26 h 35"/>
                <a:gd name="T22" fmla="*/ 18 w 36"/>
                <a:gd name="T23" fmla="*/ 31 h 35"/>
                <a:gd name="T24" fmla="*/ 9 w 36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35">
                  <a:moveTo>
                    <a:pt x="9" y="35"/>
                  </a:moveTo>
                  <a:lnTo>
                    <a:pt x="0" y="31"/>
                  </a:lnTo>
                  <a:lnTo>
                    <a:pt x="0" y="8"/>
                  </a:lnTo>
                  <a:lnTo>
                    <a:pt x="9" y="4"/>
                  </a:lnTo>
                  <a:lnTo>
                    <a:pt x="9" y="4"/>
                  </a:lnTo>
                  <a:lnTo>
                    <a:pt x="23" y="0"/>
                  </a:lnTo>
                  <a:lnTo>
                    <a:pt x="27" y="4"/>
                  </a:lnTo>
                  <a:lnTo>
                    <a:pt x="36" y="8"/>
                  </a:lnTo>
                  <a:lnTo>
                    <a:pt x="36" y="22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18" y="31"/>
                  </a:lnTo>
                  <a:lnTo>
                    <a:pt x="9" y="3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43" name="Freeform 35"/>
            <p:cNvSpPr>
              <a:spLocks/>
            </p:cNvSpPr>
            <p:nvPr/>
          </p:nvSpPr>
          <p:spPr bwMode="gray">
            <a:xfrm>
              <a:off x="1814" y="2551"/>
              <a:ext cx="99" cy="124"/>
            </a:xfrm>
            <a:custGeom>
              <a:avLst/>
              <a:gdLst>
                <a:gd name="T0" fmla="*/ 0 w 67"/>
                <a:gd name="T1" fmla="*/ 67 h 84"/>
                <a:gd name="T2" fmla="*/ 0 w 67"/>
                <a:gd name="T3" fmla="*/ 67 h 84"/>
                <a:gd name="T4" fmla="*/ 0 w 67"/>
                <a:gd name="T5" fmla="*/ 67 h 84"/>
                <a:gd name="T6" fmla="*/ 0 w 67"/>
                <a:gd name="T7" fmla="*/ 62 h 84"/>
                <a:gd name="T8" fmla="*/ 0 w 67"/>
                <a:gd name="T9" fmla="*/ 62 h 84"/>
                <a:gd name="T10" fmla="*/ 0 w 67"/>
                <a:gd name="T11" fmla="*/ 58 h 84"/>
                <a:gd name="T12" fmla="*/ 5 w 67"/>
                <a:gd name="T13" fmla="*/ 53 h 84"/>
                <a:gd name="T14" fmla="*/ 5 w 67"/>
                <a:gd name="T15" fmla="*/ 53 h 84"/>
                <a:gd name="T16" fmla="*/ 5 w 67"/>
                <a:gd name="T17" fmla="*/ 53 h 84"/>
                <a:gd name="T18" fmla="*/ 5 w 67"/>
                <a:gd name="T19" fmla="*/ 49 h 84"/>
                <a:gd name="T20" fmla="*/ 9 w 67"/>
                <a:gd name="T21" fmla="*/ 49 h 84"/>
                <a:gd name="T22" fmla="*/ 13 w 67"/>
                <a:gd name="T23" fmla="*/ 44 h 84"/>
                <a:gd name="T24" fmla="*/ 9 w 67"/>
                <a:gd name="T25" fmla="*/ 40 h 84"/>
                <a:gd name="T26" fmla="*/ 13 w 67"/>
                <a:gd name="T27" fmla="*/ 40 h 84"/>
                <a:gd name="T28" fmla="*/ 13 w 67"/>
                <a:gd name="T29" fmla="*/ 40 h 84"/>
                <a:gd name="T30" fmla="*/ 5 w 67"/>
                <a:gd name="T31" fmla="*/ 35 h 84"/>
                <a:gd name="T32" fmla="*/ 5 w 67"/>
                <a:gd name="T33" fmla="*/ 31 h 84"/>
                <a:gd name="T34" fmla="*/ 9 w 67"/>
                <a:gd name="T35" fmla="*/ 26 h 84"/>
                <a:gd name="T36" fmla="*/ 9 w 67"/>
                <a:gd name="T37" fmla="*/ 22 h 84"/>
                <a:gd name="T38" fmla="*/ 5 w 67"/>
                <a:gd name="T39" fmla="*/ 22 h 84"/>
                <a:gd name="T40" fmla="*/ 5 w 67"/>
                <a:gd name="T41" fmla="*/ 17 h 84"/>
                <a:gd name="T42" fmla="*/ 9 w 67"/>
                <a:gd name="T43" fmla="*/ 17 h 84"/>
                <a:gd name="T44" fmla="*/ 9 w 67"/>
                <a:gd name="T45" fmla="*/ 13 h 84"/>
                <a:gd name="T46" fmla="*/ 5 w 67"/>
                <a:gd name="T47" fmla="*/ 13 h 84"/>
                <a:gd name="T48" fmla="*/ 5 w 67"/>
                <a:gd name="T49" fmla="*/ 13 h 84"/>
                <a:gd name="T50" fmla="*/ 5 w 67"/>
                <a:gd name="T51" fmla="*/ 9 h 84"/>
                <a:gd name="T52" fmla="*/ 5 w 67"/>
                <a:gd name="T53" fmla="*/ 9 h 84"/>
                <a:gd name="T54" fmla="*/ 5 w 67"/>
                <a:gd name="T55" fmla="*/ 4 h 84"/>
                <a:gd name="T56" fmla="*/ 0 w 67"/>
                <a:gd name="T57" fmla="*/ 4 h 84"/>
                <a:gd name="T58" fmla="*/ 13 w 67"/>
                <a:gd name="T59" fmla="*/ 0 h 84"/>
                <a:gd name="T60" fmla="*/ 27 w 67"/>
                <a:gd name="T61" fmla="*/ 0 h 84"/>
                <a:gd name="T62" fmla="*/ 31 w 67"/>
                <a:gd name="T63" fmla="*/ 9 h 84"/>
                <a:gd name="T64" fmla="*/ 31 w 67"/>
                <a:gd name="T65" fmla="*/ 17 h 84"/>
                <a:gd name="T66" fmla="*/ 40 w 67"/>
                <a:gd name="T67" fmla="*/ 26 h 84"/>
                <a:gd name="T68" fmla="*/ 49 w 67"/>
                <a:gd name="T69" fmla="*/ 31 h 84"/>
                <a:gd name="T70" fmla="*/ 54 w 67"/>
                <a:gd name="T71" fmla="*/ 31 h 84"/>
                <a:gd name="T72" fmla="*/ 54 w 67"/>
                <a:gd name="T73" fmla="*/ 35 h 84"/>
                <a:gd name="T74" fmla="*/ 58 w 67"/>
                <a:gd name="T75" fmla="*/ 35 h 84"/>
                <a:gd name="T76" fmla="*/ 54 w 67"/>
                <a:gd name="T77" fmla="*/ 53 h 84"/>
                <a:gd name="T78" fmla="*/ 67 w 67"/>
                <a:gd name="T79" fmla="*/ 62 h 84"/>
                <a:gd name="T80" fmla="*/ 67 w 67"/>
                <a:gd name="T81" fmla="*/ 67 h 84"/>
                <a:gd name="T82" fmla="*/ 58 w 67"/>
                <a:gd name="T83" fmla="*/ 71 h 84"/>
                <a:gd name="T84" fmla="*/ 58 w 67"/>
                <a:gd name="T85" fmla="*/ 80 h 84"/>
                <a:gd name="T86" fmla="*/ 54 w 67"/>
                <a:gd name="T87" fmla="*/ 76 h 84"/>
                <a:gd name="T88" fmla="*/ 40 w 67"/>
                <a:gd name="T89" fmla="*/ 80 h 84"/>
                <a:gd name="T90" fmla="*/ 40 w 67"/>
                <a:gd name="T91" fmla="*/ 80 h 84"/>
                <a:gd name="T92" fmla="*/ 31 w 67"/>
                <a:gd name="T93" fmla="*/ 84 h 84"/>
                <a:gd name="T94" fmla="*/ 27 w 67"/>
                <a:gd name="T95" fmla="*/ 84 h 84"/>
                <a:gd name="T96" fmla="*/ 27 w 67"/>
                <a:gd name="T97" fmla="*/ 76 h 84"/>
                <a:gd name="T98" fmla="*/ 18 w 67"/>
                <a:gd name="T99" fmla="*/ 71 h 84"/>
                <a:gd name="T100" fmla="*/ 13 w 67"/>
                <a:gd name="T101" fmla="*/ 84 h 84"/>
                <a:gd name="T102" fmla="*/ 9 w 67"/>
                <a:gd name="T103" fmla="*/ 84 h 84"/>
                <a:gd name="T104" fmla="*/ 0 w 67"/>
                <a:gd name="T105" fmla="*/ 71 h 84"/>
                <a:gd name="T106" fmla="*/ 0 w 67"/>
                <a:gd name="T107" fmla="*/ 71 h 84"/>
                <a:gd name="T108" fmla="*/ 0 w 67"/>
                <a:gd name="T109" fmla="*/ 6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7" h="84">
                  <a:moveTo>
                    <a:pt x="0" y="67"/>
                  </a:moveTo>
                  <a:lnTo>
                    <a:pt x="0" y="67"/>
                  </a:lnTo>
                  <a:lnTo>
                    <a:pt x="0" y="67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58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49"/>
                  </a:lnTo>
                  <a:lnTo>
                    <a:pt x="9" y="49"/>
                  </a:lnTo>
                  <a:lnTo>
                    <a:pt x="13" y="44"/>
                  </a:lnTo>
                  <a:lnTo>
                    <a:pt x="9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5" y="35"/>
                  </a:lnTo>
                  <a:lnTo>
                    <a:pt x="5" y="31"/>
                  </a:lnTo>
                  <a:lnTo>
                    <a:pt x="9" y="26"/>
                  </a:lnTo>
                  <a:lnTo>
                    <a:pt x="9" y="22"/>
                  </a:lnTo>
                  <a:lnTo>
                    <a:pt x="5" y="22"/>
                  </a:lnTo>
                  <a:lnTo>
                    <a:pt x="5" y="17"/>
                  </a:lnTo>
                  <a:lnTo>
                    <a:pt x="9" y="17"/>
                  </a:lnTo>
                  <a:lnTo>
                    <a:pt x="9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4"/>
                  </a:lnTo>
                  <a:lnTo>
                    <a:pt x="0" y="4"/>
                  </a:lnTo>
                  <a:lnTo>
                    <a:pt x="13" y="0"/>
                  </a:lnTo>
                  <a:lnTo>
                    <a:pt x="27" y="0"/>
                  </a:lnTo>
                  <a:lnTo>
                    <a:pt x="31" y="9"/>
                  </a:lnTo>
                  <a:lnTo>
                    <a:pt x="31" y="17"/>
                  </a:lnTo>
                  <a:lnTo>
                    <a:pt x="40" y="26"/>
                  </a:lnTo>
                  <a:lnTo>
                    <a:pt x="49" y="31"/>
                  </a:lnTo>
                  <a:lnTo>
                    <a:pt x="54" y="31"/>
                  </a:lnTo>
                  <a:lnTo>
                    <a:pt x="54" y="35"/>
                  </a:lnTo>
                  <a:lnTo>
                    <a:pt x="58" y="35"/>
                  </a:lnTo>
                  <a:lnTo>
                    <a:pt x="54" y="53"/>
                  </a:lnTo>
                  <a:lnTo>
                    <a:pt x="67" y="62"/>
                  </a:lnTo>
                  <a:lnTo>
                    <a:pt x="67" y="67"/>
                  </a:lnTo>
                  <a:lnTo>
                    <a:pt x="58" y="71"/>
                  </a:lnTo>
                  <a:lnTo>
                    <a:pt x="58" y="80"/>
                  </a:lnTo>
                  <a:lnTo>
                    <a:pt x="54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31" y="84"/>
                  </a:lnTo>
                  <a:lnTo>
                    <a:pt x="27" y="84"/>
                  </a:lnTo>
                  <a:lnTo>
                    <a:pt x="27" y="76"/>
                  </a:lnTo>
                  <a:lnTo>
                    <a:pt x="18" y="71"/>
                  </a:lnTo>
                  <a:lnTo>
                    <a:pt x="13" y="84"/>
                  </a:lnTo>
                  <a:lnTo>
                    <a:pt x="9" y="84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2244" name="Freeform 36"/>
            <p:cNvSpPr>
              <a:spLocks/>
            </p:cNvSpPr>
            <p:nvPr/>
          </p:nvSpPr>
          <p:spPr bwMode="gray">
            <a:xfrm>
              <a:off x="1814" y="2656"/>
              <a:ext cx="19" cy="19"/>
            </a:xfrm>
            <a:custGeom>
              <a:avLst/>
              <a:gdLst>
                <a:gd name="T0" fmla="*/ 0 w 13"/>
                <a:gd name="T1" fmla="*/ 0 h 13"/>
                <a:gd name="T2" fmla="*/ 0 w 13"/>
                <a:gd name="T3" fmla="*/ 0 h 13"/>
                <a:gd name="T4" fmla="*/ 9 w 13"/>
                <a:gd name="T5" fmla="*/ 13 h 13"/>
                <a:gd name="T6" fmla="*/ 13 w 13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3">
                  <a:moveTo>
                    <a:pt x="0" y="0"/>
                  </a:moveTo>
                  <a:lnTo>
                    <a:pt x="0" y="0"/>
                  </a:lnTo>
                  <a:lnTo>
                    <a:pt x="9" y="13"/>
                  </a:lnTo>
                  <a:lnTo>
                    <a:pt x="13" y="13"/>
                  </a:lnTo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0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035158"/>
      </p:ext>
    </p:extLst>
  </p:cSld>
  <p:clrMapOvr>
    <a:masterClrMapping/>
  </p:clrMapOvr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83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frica</a:t>
            </a:r>
          </a:p>
        </p:txBody>
      </p:sp>
      <p:grpSp>
        <p:nvGrpSpPr>
          <p:cNvPr id="2788355" name="Group 3"/>
          <p:cNvGrpSpPr>
            <a:grpSpLocks/>
          </p:cNvGrpSpPr>
          <p:nvPr/>
        </p:nvGrpSpPr>
        <p:grpSpPr bwMode="auto">
          <a:xfrm>
            <a:off x="3503614" y="1465264"/>
            <a:ext cx="4897437" cy="4695825"/>
            <a:chOff x="2334" y="2189"/>
            <a:chExt cx="1184" cy="1135"/>
          </a:xfrm>
        </p:grpSpPr>
        <p:sp>
          <p:nvSpPr>
            <p:cNvPr id="2788356" name="Freeform 4"/>
            <p:cNvSpPr>
              <a:spLocks/>
            </p:cNvSpPr>
            <p:nvPr/>
          </p:nvSpPr>
          <p:spPr bwMode="gray">
            <a:xfrm>
              <a:off x="2557" y="2194"/>
              <a:ext cx="300" cy="308"/>
            </a:xfrm>
            <a:custGeom>
              <a:avLst/>
              <a:gdLst>
                <a:gd name="T0" fmla="*/ 0 w 300"/>
                <a:gd name="T1" fmla="*/ 170 h 308"/>
                <a:gd name="T2" fmla="*/ 0 w 300"/>
                <a:gd name="T3" fmla="*/ 179 h 308"/>
                <a:gd name="T4" fmla="*/ 54 w 300"/>
                <a:gd name="T5" fmla="*/ 214 h 308"/>
                <a:gd name="T6" fmla="*/ 139 w 300"/>
                <a:gd name="T7" fmla="*/ 272 h 308"/>
                <a:gd name="T8" fmla="*/ 139 w 300"/>
                <a:gd name="T9" fmla="*/ 281 h 308"/>
                <a:gd name="T10" fmla="*/ 152 w 300"/>
                <a:gd name="T11" fmla="*/ 281 h 308"/>
                <a:gd name="T12" fmla="*/ 157 w 300"/>
                <a:gd name="T13" fmla="*/ 290 h 308"/>
                <a:gd name="T14" fmla="*/ 161 w 300"/>
                <a:gd name="T15" fmla="*/ 286 h 308"/>
                <a:gd name="T16" fmla="*/ 175 w 300"/>
                <a:gd name="T17" fmla="*/ 290 h 308"/>
                <a:gd name="T18" fmla="*/ 170 w 300"/>
                <a:gd name="T19" fmla="*/ 304 h 308"/>
                <a:gd name="T20" fmla="*/ 175 w 300"/>
                <a:gd name="T21" fmla="*/ 308 h 308"/>
                <a:gd name="T22" fmla="*/ 188 w 300"/>
                <a:gd name="T23" fmla="*/ 299 h 308"/>
                <a:gd name="T24" fmla="*/ 224 w 300"/>
                <a:gd name="T25" fmla="*/ 290 h 308"/>
                <a:gd name="T26" fmla="*/ 300 w 300"/>
                <a:gd name="T27" fmla="*/ 237 h 308"/>
                <a:gd name="T28" fmla="*/ 300 w 300"/>
                <a:gd name="T29" fmla="*/ 232 h 308"/>
                <a:gd name="T30" fmla="*/ 282 w 300"/>
                <a:gd name="T31" fmla="*/ 219 h 308"/>
                <a:gd name="T32" fmla="*/ 273 w 300"/>
                <a:gd name="T33" fmla="*/ 219 h 308"/>
                <a:gd name="T34" fmla="*/ 264 w 300"/>
                <a:gd name="T35" fmla="*/ 214 h 308"/>
                <a:gd name="T36" fmla="*/ 268 w 300"/>
                <a:gd name="T37" fmla="*/ 210 h 308"/>
                <a:gd name="T38" fmla="*/ 255 w 300"/>
                <a:gd name="T39" fmla="*/ 192 h 308"/>
                <a:gd name="T40" fmla="*/ 260 w 300"/>
                <a:gd name="T41" fmla="*/ 183 h 308"/>
                <a:gd name="T42" fmla="*/ 264 w 300"/>
                <a:gd name="T43" fmla="*/ 170 h 308"/>
                <a:gd name="T44" fmla="*/ 260 w 300"/>
                <a:gd name="T45" fmla="*/ 156 h 308"/>
                <a:gd name="T46" fmla="*/ 260 w 300"/>
                <a:gd name="T47" fmla="*/ 138 h 308"/>
                <a:gd name="T48" fmla="*/ 255 w 300"/>
                <a:gd name="T49" fmla="*/ 129 h 308"/>
                <a:gd name="T50" fmla="*/ 255 w 300"/>
                <a:gd name="T51" fmla="*/ 94 h 308"/>
                <a:gd name="T52" fmla="*/ 246 w 300"/>
                <a:gd name="T53" fmla="*/ 89 h 308"/>
                <a:gd name="T54" fmla="*/ 237 w 300"/>
                <a:gd name="T55" fmla="*/ 76 h 308"/>
                <a:gd name="T56" fmla="*/ 233 w 300"/>
                <a:gd name="T57" fmla="*/ 58 h 308"/>
                <a:gd name="T58" fmla="*/ 246 w 300"/>
                <a:gd name="T59" fmla="*/ 40 h 308"/>
                <a:gd name="T60" fmla="*/ 242 w 300"/>
                <a:gd name="T61" fmla="*/ 13 h 308"/>
                <a:gd name="T62" fmla="*/ 251 w 300"/>
                <a:gd name="T63" fmla="*/ 4 h 308"/>
                <a:gd name="T64" fmla="*/ 228 w 300"/>
                <a:gd name="T65" fmla="*/ 0 h 308"/>
                <a:gd name="T66" fmla="*/ 228 w 300"/>
                <a:gd name="T67" fmla="*/ 4 h 308"/>
                <a:gd name="T68" fmla="*/ 219 w 300"/>
                <a:gd name="T69" fmla="*/ 4 h 308"/>
                <a:gd name="T70" fmla="*/ 201 w 300"/>
                <a:gd name="T71" fmla="*/ 9 h 308"/>
                <a:gd name="T72" fmla="*/ 184 w 300"/>
                <a:gd name="T73" fmla="*/ 4 h 308"/>
                <a:gd name="T74" fmla="*/ 170 w 300"/>
                <a:gd name="T75" fmla="*/ 9 h 308"/>
                <a:gd name="T76" fmla="*/ 170 w 300"/>
                <a:gd name="T77" fmla="*/ 13 h 308"/>
                <a:gd name="T78" fmla="*/ 166 w 300"/>
                <a:gd name="T79" fmla="*/ 9 h 308"/>
                <a:gd name="T80" fmla="*/ 139 w 300"/>
                <a:gd name="T81" fmla="*/ 13 h 308"/>
                <a:gd name="T82" fmla="*/ 126 w 300"/>
                <a:gd name="T83" fmla="*/ 27 h 308"/>
                <a:gd name="T84" fmla="*/ 121 w 300"/>
                <a:gd name="T85" fmla="*/ 27 h 308"/>
                <a:gd name="T86" fmla="*/ 99 w 300"/>
                <a:gd name="T87" fmla="*/ 36 h 308"/>
                <a:gd name="T88" fmla="*/ 94 w 300"/>
                <a:gd name="T89" fmla="*/ 40 h 308"/>
                <a:gd name="T90" fmla="*/ 99 w 300"/>
                <a:gd name="T91" fmla="*/ 53 h 308"/>
                <a:gd name="T92" fmla="*/ 99 w 300"/>
                <a:gd name="T93" fmla="*/ 67 h 308"/>
                <a:gd name="T94" fmla="*/ 103 w 300"/>
                <a:gd name="T95" fmla="*/ 85 h 308"/>
                <a:gd name="T96" fmla="*/ 112 w 300"/>
                <a:gd name="T97" fmla="*/ 89 h 308"/>
                <a:gd name="T98" fmla="*/ 108 w 300"/>
                <a:gd name="T99" fmla="*/ 98 h 308"/>
                <a:gd name="T100" fmla="*/ 90 w 300"/>
                <a:gd name="T101" fmla="*/ 94 h 308"/>
                <a:gd name="T102" fmla="*/ 81 w 300"/>
                <a:gd name="T103" fmla="*/ 107 h 308"/>
                <a:gd name="T104" fmla="*/ 41 w 300"/>
                <a:gd name="T105" fmla="*/ 138 h 308"/>
                <a:gd name="T106" fmla="*/ 32 w 300"/>
                <a:gd name="T107" fmla="*/ 138 h 308"/>
                <a:gd name="T108" fmla="*/ 14 w 300"/>
                <a:gd name="T109" fmla="*/ 143 h 308"/>
                <a:gd name="T110" fmla="*/ 5 w 300"/>
                <a:gd name="T111" fmla="*/ 156 h 308"/>
                <a:gd name="T112" fmla="*/ 0 w 300"/>
                <a:gd name="T113" fmla="*/ 17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0" h="308">
                  <a:moveTo>
                    <a:pt x="0" y="170"/>
                  </a:moveTo>
                  <a:lnTo>
                    <a:pt x="0" y="179"/>
                  </a:lnTo>
                  <a:lnTo>
                    <a:pt x="54" y="214"/>
                  </a:lnTo>
                  <a:lnTo>
                    <a:pt x="139" y="272"/>
                  </a:lnTo>
                  <a:lnTo>
                    <a:pt x="139" y="281"/>
                  </a:lnTo>
                  <a:lnTo>
                    <a:pt x="152" y="281"/>
                  </a:lnTo>
                  <a:lnTo>
                    <a:pt x="157" y="290"/>
                  </a:lnTo>
                  <a:lnTo>
                    <a:pt x="161" y="286"/>
                  </a:lnTo>
                  <a:lnTo>
                    <a:pt x="175" y="290"/>
                  </a:lnTo>
                  <a:lnTo>
                    <a:pt x="170" y="304"/>
                  </a:lnTo>
                  <a:lnTo>
                    <a:pt x="175" y="308"/>
                  </a:lnTo>
                  <a:lnTo>
                    <a:pt x="188" y="299"/>
                  </a:lnTo>
                  <a:lnTo>
                    <a:pt x="224" y="290"/>
                  </a:lnTo>
                  <a:lnTo>
                    <a:pt x="300" y="237"/>
                  </a:lnTo>
                  <a:lnTo>
                    <a:pt x="300" y="232"/>
                  </a:lnTo>
                  <a:lnTo>
                    <a:pt x="282" y="219"/>
                  </a:lnTo>
                  <a:lnTo>
                    <a:pt x="273" y="219"/>
                  </a:lnTo>
                  <a:lnTo>
                    <a:pt x="264" y="214"/>
                  </a:lnTo>
                  <a:lnTo>
                    <a:pt x="268" y="210"/>
                  </a:lnTo>
                  <a:lnTo>
                    <a:pt x="255" y="192"/>
                  </a:lnTo>
                  <a:lnTo>
                    <a:pt x="260" y="183"/>
                  </a:lnTo>
                  <a:lnTo>
                    <a:pt x="264" y="170"/>
                  </a:lnTo>
                  <a:lnTo>
                    <a:pt x="260" y="156"/>
                  </a:lnTo>
                  <a:lnTo>
                    <a:pt x="260" y="138"/>
                  </a:lnTo>
                  <a:lnTo>
                    <a:pt x="255" y="129"/>
                  </a:lnTo>
                  <a:lnTo>
                    <a:pt x="255" y="94"/>
                  </a:lnTo>
                  <a:lnTo>
                    <a:pt x="246" y="89"/>
                  </a:lnTo>
                  <a:lnTo>
                    <a:pt x="237" y="76"/>
                  </a:lnTo>
                  <a:lnTo>
                    <a:pt x="233" y="58"/>
                  </a:lnTo>
                  <a:lnTo>
                    <a:pt x="246" y="40"/>
                  </a:lnTo>
                  <a:lnTo>
                    <a:pt x="242" y="13"/>
                  </a:lnTo>
                  <a:lnTo>
                    <a:pt x="251" y="4"/>
                  </a:lnTo>
                  <a:lnTo>
                    <a:pt x="228" y="0"/>
                  </a:lnTo>
                  <a:lnTo>
                    <a:pt x="228" y="4"/>
                  </a:lnTo>
                  <a:lnTo>
                    <a:pt x="219" y="4"/>
                  </a:lnTo>
                  <a:lnTo>
                    <a:pt x="201" y="9"/>
                  </a:lnTo>
                  <a:lnTo>
                    <a:pt x="184" y="4"/>
                  </a:lnTo>
                  <a:lnTo>
                    <a:pt x="170" y="9"/>
                  </a:lnTo>
                  <a:lnTo>
                    <a:pt x="170" y="13"/>
                  </a:lnTo>
                  <a:lnTo>
                    <a:pt x="166" y="9"/>
                  </a:lnTo>
                  <a:lnTo>
                    <a:pt x="139" y="13"/>
                  </a:lnTo>
                  <a:lnTo>
                    <a:pt x="126" y="27"/>
                  </a:lnTo>
                  <a:lnTo>
                    <a:pt x="121" y="27"/>
                  </a:lnTo>
                  <a:lnTo>
                    <a:pt x="99" y="36"/>
                  </a:lnTo>
                  <a:lnTo>
                    <a:pt x="94" y="40"/>
                  </a:lnTo>
                  <a:lnTo>
                    <a:pt x="99" y="53"/>
                  </a:lnTo>
                  <a:lnTo>
                    <a:pt x="99" y="67"/>
                  </a:lnTo>
                  <a:lnTo>
                    <a:pt x="103" y="85"/>
                  </a:lnTo>
                  <a:lnTo>
                    <a:pt x="112" y="89"/>
                  </a:lnTo>
                  <a:lnTo>
                    <a:pt x="108" y="98"/>
                  </a:lnTo>
                  <a:lnTo>
                    <a:pt x="90" y="94"/>
                  </a:lnTo>
                  <a:lnTo>
                    <a:pt x="81" y="107"/>
                  </a:lnTo>
                  <a:lnTo>
                    <a:pt x="41" y="138"/>
                  </a:lnTo>
                  <a:lnTo>
                    <a:pt x="32" y="138"/>
                  </a:lnTo>
                  <a:lnTo>
                    <a:pt x="14" y="143"/>
                  </a:lnTo>
                  <a:lnTo>
                    <a:pt x="5" y="156"/>
                  </a:lnTo>
                  <a:lnTo>
                    <a:pt x="0" y="17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57" name="Freeform 5"/>
            <p:cNvSpPr>
              <a:spLocks/>
            </p:cNvSpPr>
            <p:nvPr/>
          </p:nvSpPr>
          <p:spPr bwMode="gray">
            <a:xfrm>
              <a:off x="2848" y="2846"/>
              <a:ext cx="178" cy="201"/>
            </a:xfrm>
            <a:custGeom>
              <a:avLst/>
              <a:gdLst>
                <a:gd name="T0" fmla="*/ 4 w 178"/>
                <a:gd name="T1" fmla="*/ 188 h 201"/>
                <a:gd name="T2" fmla="*/ 9 w 178"/>
                <a:gd name="T3" fmla="*/ 184 h 201"/>
                <a:gd name="T4" fmla="*/ 27 w 178"/>
                <a:gd name="T5" fmla="*/ 184 h 201"/>
                <a:gd name="T6" fmla="*/ 40 w 178"/>
                <a:gd name="T7" fmla="*/ 192 h 201"/>
                <a:gd name="T8" fmla="*/ 49 w 178"/>
                <a:gd name="T9" fmla="*/ 188 h 201"/>
                <a:gd name="T10" fmla="*/ 103 w 178"/>
                <a:gd name="T11" fmla="*/ 188 h 201"/>
                <a:gd name="T12" fmla="*/ 116 w 178"/>
                <a:gd name="T13" fmla="*/ 201 h 201"/>
                <a:gd name="T14" fmla="*/ 134 w 178"/>
                <a:gd name="T15" fmla="*/ 201 h 201"/>
                <a:gd name="T16" fmla="*/ 170 w 178"/>
                <a:gd name="T17" fmla="*/ 192 h 201"/>
                <a:gd name="T18" fmla="*/ 147 w 178"/>
                <a:gd name="T19" fmla="*/ 170 h 201"/>
                <a:gd name="T20" fmla="*/ 152 w 178"/>
                <a:gd name="T21" fmla="*/ 125 h 201"/>
                <a:gd name="T22" fmla="*/ 174 w 178"/>
                <a:gd name="T23" fmla="*/ 121 h 201"/>
                <a:gd name="T24" fmla="*/ 178 w 178"/>
                <a:gd name="T25" fmla="*/ 112 h 201"/>
                <a:gd name="T26" fmla="*/ 178 w 178"/>
                <a:gd name="T27" fmla="*/ 90 h 201"/>
                <a:gd name="T28" fmla="*/ 152 w 178"/>
                <a:gd name="T29" fmla="*/ 94 h 201"/>
                <a:gd name="T30" fmla="*/ 143 w 178"/>
                <a:gd name="T31" fmla="*/ 41 h 201"/>
                <a:gd name="T32" fmla="*/ 134 w 178"/>
                <a:gd name="T33" fmla="*/ 41 h 201"/>
                <a:gd name="T34" fmla="*/ 129 w 178"/>
                <a:gd name="T35" fmla="*/ 36 h 201"/>
                <a:gd name="T36" fmla="*/ 116 w 178"/>
                <a:gd name="T37" fmla="*/ 36 h 201"/>
                <a:gd name="T38" fmla="*/ 111 w 178"/>
                <a:gd name="T39" fmla="*/ 54 h 201"/>
                <a:gd name="T40" fmla="*/ 89 w 178"/>
                <a:gd name="T41" fmla="*/ 54 h 201"/>
                <a:gd name="T42" fmla="*/ 80 w 178"/>
                <a:gd name="T43" fmla="*/ 41 h 201"/>
                <a:gd name="T44" fmla="*/ 80 w 178"/>
                <a:gd name="T45" fmla="*/ 36 h 201"/>
                <a:gd name="T46" fmla="*/ 76 w 178"/>
                <a:gd name="T47" fmla="*/ 23 h 201"/>
                <a:gd name="T48" fmla="*/ 22 w 178"/>
                <a:gd name="T49" fmla="*/ 23 h 201"/>
                <a:gd name="T50" fmla="*/ 9 w 178"/>
                <a:gd name="T51" fmla="*/ 18 h 201"/>
                <a:gd name="T52" fmla="*/ 9 w 178"/>
                <a:gd name="T53" fmla="*/ 18 h 201"/>
                <a:gd name="T54" fmla="*/ 18 w 178"/>
                <a:gd name="T55" fmla="*/ 0 h 201"/>
                <a:gd name="T56" fmla="*/ 13 w 178"/>
                <a:gd name="T57" fmla="*/ 0 h 201"/>
                <a:gd name="T58" fmla="*/ 4 w 178"/>
                <a:gd name="T59" fmla="*/ 9 h 201"/>
                <a:gd name="T60" fmla="*/ 4 w 178"/>
                <a:gd name="T61" fmla="*/ 14 h 201"/>
                <a:gd name="T62" fmla="*/ 27 w 178"/>
                <a:gd name="T63" fmla="*/ 54 h 201"/>
                <a:gd name="T64" fmla="*/ 27 w 178"/>
                <a:gd name="T65" fmla="*/ 63 h 201"/>
                <a:gd name="T66" fmla="*/ 22 w 178"/>
                <a:gd name="T67" fmla="*/ 63 h 201"/>
                <a:gd name="T68" fmla="*/ 18 w 178"/>
                <a:gd name="T69" fmla="*/ 67 h 201"/>
                <a:gd name="T70" fmla="*/ 31 w 178"/>
                <a:gd name="T71" fmla="*/ 90 h 201"/>
                <a:gd name="T72" fmla="*/ 36 w 178"/>
                <a:gd name="T73" fmla="*/ 103 h 201"/>
                <a:gd name="T74" fmla="*/ 27 w 178"/>
                <a:gd name="T75" fmla="*/ 112 h 201"/>
                <a:gd name="T76" fmla="*/ 22 w 178"/>
                <a:gd name="T77" fmla="*/ 116 h 201"/>
                <a:gd name="T78" fmla="*/ 13 w 178"/>
                <a:gd name="T79" fmla="*/ 130 h 201"/>
                <a:gd name="T80" fmla="*/ 4 w 178"/>
                <a:gd name="T81" fmla="*/ 148 h 201"/>
                <a:gd name="T82" fmla="*/ 0 w 178"/>
                <a:gd name="T83" fmla="*/ 161 h 201"/>
                <a:gd name="T84" fmla="*/ 4 w 178"/>
                <a:gd name="T85" fmla="*/ 179 h 201"/>
                <a:gd name="T86" fmla="*/ 0 w 178"/>
                <a:gd name="T87" fmla="*/ 179 h 201"/>
                <a:gd name="T88" fmla="*/ 4 w 178"/>
                <a:gd name="T89" fmla="*/ 188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8" h="201">
                  <a:moveTo>
                    <a:pt x="4" y="188"/>
                  </a:moveTo>
                  <a:lnTo>
                    <a:pt x="9" y="184"/>
                  </a:lnTo>
                  <a:lnTo>
                    <a:pt x="27" y="184"/>
                  </a:lnTo>
                  <a:lnTo>
                    <a:pt x="40" y="192"/>
                  </a:lnTo>
                  <a:lnTo>
                    <a:pt x="49" y="188"/>
                  </a:lnTo>
                  <a:lnTo>
                    <a:pt x="103" y="188"/>
                  </a:lnTo>
                  <a:lnTo>
                    <a:pt x="116" y="201"/>
                  </a:lnTo>
                  <a:lnTo>
                    <a:pt x="134" y="201"/>
                  </a:lnTo>
                  <a:lnTo>
                    <a:pt x="170" y="192"/>
                  </a:lnTo>
                  <a:lnTo>
                    <a:pt x="147" y="170"/>
                  </a:lnTo>
                  <a:lnTo>
                    <a:pt x="152" y="125"/>
                  </a:lnTo>
                  <a:lnTo>
                    <a:pt x="174" y="121"/>
                  </a:lnTo>
                  <a:lnTo>
                    <a:pt x="178" y="112"/>
                  </a:lnTo>
                  <a:lnTo>
                    <a:pt x="178" y="90"/>
                  </a:lnTo>
                  <a:lnTo>
                    <a:pt x="152" y="94"/>
                  </a:lnTo>
                  <a:lnTo>
                    <a:pt x="143" y="41"/>
                  </a:lnTo>
                  <a:lnTo>
                    <a:pt x="134" y="41"/>
                  </a:lnTo>
                  <a:lnTo>
                    <a:pt x="129" y="36"/>
                  </a:lnTo>
                  <a:lnTo>
                    <a:pt x="116" y="36"/>
                  </a:lnTo>
                  <a:lnTo>
                    <a:pt x="111" y="54"/>
                  </a:lnTo>
                  <a:lnTo>
                    <a:pt x="89" y="54"/>
                  </a:lnTo>
                  <a:lnTo>
                    <a:pt x="80" y="41"/>
                  </a:lnTo>
                  <a:lnTo>
                    <a:pt x="80" y="36"/>
                  </a:lnTo>
                  <a:lnTo>
                    <a:pt x="76" y="23"/>
                  </a:lnTo>
                  <a:lnTo>
                    <a:pt x="22" y="23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4" y="9"/>
                  </a:lnTo>
                  <a:lnTo>
                    <a:pt x="4" y="14"/>
                  </a:lnTo>
                  <a:lnTo>
                    <a:pt x="27" y="54"/>
                  </a:lnTo>
                  <a:lnTo>
                    <a:pt x="27" y="63"/>
                  </a:lnTo>
                  <a:lnTo>
                    <a:pt x="22" y="63"/>
                  </a:lnTo>
                  <a:lnTo>
                    <a:pt x="18" y="67"/>
                  </a:lnTo>
                  <a:lnTo>
                    <a:pt x="31" y="90"/>
                  </a:lnTo>
                  <a:lnTo>
                    <a:pt x="36" y="103"/>
                  </a:lnTo>
                  <a:lnTo>
                    <a:pt x="27" y="112"/>
                  </a:lnTo>
                  <a:lnTo>
                    <a:pt x="22" y="116"/>
                  </a:lnTo>
                  <a:lnTo>
                    <a:pt x="13" y="130"/>
                  </a:lnTo>
                  <a:lnTo>
                    <a:pt x="4" y="148"/>
                  </a:lnTo>
                  <a:lnTo>
                    <a:pt x="0" y="161"/>
                  </a:lnTo>
                  <a:lnTo>
                    <a:pt x="4" y="179"/>
                  </a:lnTo>
                  <a:lnTo>
                    <a:pt x="0" y="179"/>
                  </a:lnTo>
                  <a:lnTo>
                    <a:pt x="4" y="188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58" name="Freeform 6"/>
            <p:cNvSpPr>
              <a:spLocks/>
            </p:cNvSpPr>
            <p:nvPr/>
          </p:nvSpPr>
          <p:spPr bwMode="gray">
            <a:xfrm>
              <a:off x="2968" y="3043"/>
              <a:ext cx="139" cy="147"/>
            </a:xfrm>
            <a:custGeom>
              <a:avLst/>
              <a:gdLst>
                <a:gd name="T0" fmla="*/ 0 w 139"/>
                <a:gd name="T1" fmla="*/ 112 h 147"/>
                <a:gd name="T2" fmla="*/ 9 w 139"/>
                <a:gd name="T3" fmla="*/ 130 h 147"/>
                <a:gd name="T4" fmla="*/ 9 w 139"/>
                <a:gd name="T5" fmla="*/ 138 h 147"/>
                <a:gd name="T6" fmla="*/ 9 w 139"/>
                <a:gd name="T7" fmla="*/ 147 h 147"/>
                <a:gd name="T8" fmla="*/ 32 w 139"/>
                <a:gd name="T9" fmla="*/ 143 h 147"/>
                <a:gd name="T10" fmla="*/ 45 w 139"/>
                <a:gd name="T11" fmla="*/ 121 h 147"/>
                <a:gd name="T12" fmla="*/ 50 w 139"/>
                <a:gd name="T13" fmla="*/ 121 h 147"/>
                <a:gd name="T14" fmla="*/ 54 w 139"/>
                <a:gd name="T15" fmla="*/ 125 h 147"/>
                <a:gd name="T16" fmla="*/ 58 w 139"/>
                <a:gd name="T17" fmla="*/ 130 h 147"/>
                <a:gd name="T18" fmla="*/ 81 w 139"/>
                <a:gd name="T19" fmla="*/ 125 h 147"/>
                <a:gd name="T20" fmla="*/ 85 w 139"/>
                <a:gd name="T21" fmla="*/ 112 h 147"/>
                <a:gd name="T22" fmla="*/ 99 w 139"/>
                <a:gd name="T23" fmla="*/ 103 h 147"/>
                <a:gd name="T24" fmla="*/ 99 w 139"/>
                <a:gd name="T25" fmla="*/ 98 h 147"/>
                <a:gd name="T26" fmla="*/ 121 w 139"/>
                <a:gd name="T27" fmla="*/ 76 h 147"/>
                <a:gd name="T28" fmla="*/ 134 w 139"/>
                <a:gd name="T29" fmla="*/ 71 h 147"/>
                <a:gd name="T30" fmla="*/ 139 w 139"/>
                <a:gd name="T31" fmla="*/ 67 h 147"/>
                <a:gd name="T32" fmla="*/ 139 w 139"/>
                <a:gd name="T33" fmla="*/ 62 h 147"/>
                <a:gd name="T34" fmla="*/ 125 w 139"/>
                <a:gd name="T35" fmla="*/ 62 h 147"/>
                <a:gd name="T36" fmla="*/ 112 w 139"/>
                <a:gd name="T37" fmla="*/ 45 h 147"/>
                <a:gd name="T38" fmla="*/ 85 w 139"/>
                <a:gd name="T39" fmla="*/ 22 h 147"/>
                <a:gd name="T40" fmla="*/ 72 w 139"/>
                <a:gd name="T41" fmla="*/ 0 h 147"/>
                <a:gd name="T42" fmla="*/ 58 w 139"/>
                <a:gd name="T43" fmla="*/ 4 h 147"/>
                <a:gd name="T44" fmla="*/ 54 w 139"/>
                <a:gd name="T45" fmla="*/ 13 h 147"/>
                <a:gd name="T46" fmla="*/ 45 w 139"/>
                <a:gd name="T47" fmla="*/ 4 h 147"/>
                <a:gd name="T48" fmla="*/ 27 w 139"/>
                <a:gd name="T49" fmla="*/ 9 h 147"/>
                <a:gd name="T50" fmla="*/ 18 w 139"/>
                <a:gd name="T51" fmla="*/ 9 h 147"/>
                <a:gd name="T52" fmla="*/ 18 w 139"/>
                <a:gd name="T53" fmla="*/ 67 h 147"/>
                <a:gd name="T54" fmla="*/ 5 w 139"/>
                <a:gd name="T55" fmla="*/ 67 h 147"/>
                <a:gd name="T56" fmla="*/ 0 w 139"/>
                <a:gd name="T57" fmla="*/ 11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9" h="147">
                  <a:moveTo>
                    <a:pt x="0" y="112"/>
                  </a:moveTo>
                  <a:lnTo>
                    <a:pt x="9" y="130"/>
                  </a:lnTo>
                  <a:lnTo>
                    <a:pt x="9" y="138"/>
                  </a:lnTo>
                  <a:lnTo>
                    <a:pt x="9" y="147"/>
                  </a:lnTo>
                  <a:lnTo>
                    <a:pt x="32" y="143"/>
                  </a:lnTo>
                  <a:lnTo>
                    <a:pt x="45" y="121"/>
                  </a:lnTo>
                  <a:lnTo>
                    <a:pt x="50" y="121"/>
                  </a:lnTo>
                  <a:lnTo>
                    <a:pt x="54" y="125"/>
                  </a:lnTo>
                  <a:lnTo>
                    <a:pt x="58" y="130"/>
                  </a:lnTo>
                  <a:lnTo>
                    <a:pt x="81" y="125"/>
                  </a:lnTo>
                  <a:lnTo>
                    <a:pt x="85" y="112"/>
                  </a:lnTo>
                  <a:lnTo>
                    <a:pt x="99" y="103"/>
                  </a:lnTo>
                  <a:lnTo>
                    <a:pt x="99" y="98"/>
                  </a:lnTo>
                  <a:lnTo>
                    <a:pt x="121" y="76"/>
                  </a:lnTo>
                  <a:lnTo>
                    <a:pt x="134" y="71"/>
                  </a:lnTo>
                  <a:lnTo>
                    <a:pt x="139" y="67"/>
                  </a:lnTo>
                  <a:lnTo>
                    <a:pt x="139" y="62"/>
                  </a:lnTo>
                  <a:lnTo>
                    <a:pt x="125" y="62"/>
                  </a:lnTo>
                  <a:lnTo>
                    <a:pt x="112" y="45"/>
                  </a:lnTo>
                  <a:lnTo>
                    <a:pt x="85" y="22"/>
                  </a:lnTo>
                  <a:lnTo>
                    <a:pt x="72" y="0"/>
                  </a:lnTo>
                  <a:lnTo>
                    <a:pt x="58" y="4"/>
                  </a:lnTo>
                  <a:lnTo>
                    <a:pt x="54" y="13"/>
                  </a:lnTo>
                  <a:lnTo>
                    <a:pt x="45" y="4"/>
                  </a:lnTo>
                  <a:lnTo>
                    <a:pt x="27" y="9"/>
                  </a:lnTo>
                  <a:lnTo>
                    <a:pt x="18" y="9"/>
                  </a:lnTo>
                  <a:lnTo>
                    <a:pt x="18" y="67"/>
                  </a:lnTo>
                  <a:lnTo>
                    <a:pt x="5" y="67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59" name="Freeform 7"/>
            <p:cNvSpPr>
              <a:spLocks/>
            </p:cNvSpPr>
            <p:nvPr/>
          </p:nvSpPr>
          <p:spPr bwMode="gray">
            <a:xfrm>
              <a:off x="3102" y="2815"/>
              <a:ext cx="27" cy="31"/>
            </a:xfrm>
            <a:custGeom>
              <a:avLst/>
              <a:gdLst>
                <a:gd name="T0" fmla="*/ 0 w 27"/>
                <a:gd name="T1" fmla="*/ 4 h 31"/>
                <a:gd name="T2" fmla="*/ 5 w 27"/>
                <a:gd name="T3" fmla="*/ 18 h 31"/>
                <a:gd name="T4" fmla="*/ 5 w 27"/>
                <a:gd name="T5" fmla="*/ 31 h 31"/>
                <a:gd name="T6" fmla="*/ 9 w 27"/>
                <a:gd name="T7" fmla="*/ 31 h 31"/>
                <a:gd name="T8" fmla="*/ 27 w 27"/>
                <a:gd name="T9" fmla="*/ 18 h 31"/>
                <a:gd name="T10" fmla="*/ 27 w 27"/>
                <a:gd name="T11" fmla="*/ 9 h 31"/>
                <a:gd name="T12" fmla="*/ 23 w 27"/>
                <a:gd name="T13" fmla="*/ 9 h 31"/>
                <a:gd name="T14" fmla="*/ 23 w 27"/>
                <a:gd name="T15" fmla="*/ 0 h 31"/>
                <a:gd name="T16" fmla="*/ 14 w 27"/>
                <a:gd name="T17" fmla="*/ 0 h 31"/>
                <a:gd name="T18" fmla="*/ 9 w 27"/>
                <a:gd name="T19" fmla="*/ 4 h 31"/>
                <a:gd name="T20" fmla="*/ 0 w 27"/>
                <a:gd name="T21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31">
                  <a:moveTo>
                    <a:pt x="0" y="4"/>
                  </a:moveTo>
                  <a:lnTo>
                    <a:pt x="5" y="18"/>
                  </a:lnTo>
                  <a:lnTo>
                    <a:pt x="5" y="31"/>
                  </a:lnTo>
                  <a:lnTo>
                    <a:pt x="9" y="31"/>
                  </a:lnTo>
                  <a:lnTo>
                    <a:pt x="27" y="18"/>
                  </a:lnTo>
                  <a:lnTo>
                    <a:pt x="27" y="9"/>
                  </a:lnTo>
                  <a:lnTo>
                    <a:pt x="23" y="9"/>
                  </a:lnTo>
                  <a:lnTo>
                    <a:pt x="23" y="0"/>
                  </a:lnTo>
                  <a:lnTo>
                    <a:pt x="14" y="0"/>
                  </a:lnTo>
                  <a:lnTo>
                    <a:pt x="9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60" name="Freeform 8"/>
            <p:cNvSpPr>
              <a:spLocks/>
            </p:cNvSpPr>
            <p:nvPr/>
          </p:nvSpPr>
          <p:spPr bwMode="gray">
            <a:xfrm>
              <a:off x="2812" y="2592"/>
              <a:ext cx="103" cy="160"/>
            </a:xfrm>
            <a:custGeom>
              <a:avLst/>
              <a:gdLst>
                <a:gd name="T0" fmla="*/ 0 w 103"/>
                <a:gd name="T1" fmla="*/ 116 h 160"/>
                <a:gd name="T2" fmla="*/ 0 w 103"/>
                <a:gd name="T3" fmla="*/ 125 h 160"/>
                <a:gd name="T4" fmla="*/ 5 w 103"/>
                <a:gd name="T5" fmla="*/ 129 h 160"/>
                <a:gd name="T6" fmla="*/ 13 w 103"/>
                <a:gd name="T7" fmla="*/ 129 h 160"/>
                <a:gd name="T8" fmla="*/ 9 w 103"/>
                <a:gd name="T9" fmla="*/ 138 h 160"/>
                <a:gd name="T10" fmla="*/ 9 w 103"/>
                <a:gd name="T11" fmla="*/ 143 h 160"/>
                <a:gd name="T12" fmla="*/ 9 w 103"/>
                <a:gd name="T13" fmla="*/ 156 h 160"/>
                <a:gd name="T14" fmla="*/ 31 w 103"/>
                <a:gd name="T15" fmla="*/ 160 h 160"/>
                <a:gd name="T16" fmla="*/ 49 w 103"/>
                <a:gd name="T17" fmla="*/ 156 h 160"/>
                <a:gd name="T18" fmla="*/ 63 w 103"/>
                <a:gd name="T19" fmla="*/ 156 h 160"/>
                <a:gd name="T20" fmla="*/ 85 w 103"/>
                <a:gd name="T21" fmla="*/ 156 h 160"/>
                <a:gd name="T22" fmla="*/ 98 w 103"/>
                <a:gd name="T23" fmla="*/ 160 h 160"/>
                <a:gd name="T24" fmla="*/ 103 w 103"/>
                <a:gd name="T25" fmla="*/ 143 h 160"/>
                <a:gd name="T26" fmla="*/ 94 w 103"/>
                <a:gd name="T27" fmla="*/ 138 h 160"/>
                <a:gd name="T28" fmla="*/ 80 w 103"/>
                <a:gd name="T29" fmla="*/ 125 h 160"/>
                <a:gd name="T30" fmla="*/ 76 w 103"/>
                <a:gd name="T31" fmla="*/ 98 h 160"/>
                <a:gd name="T32" fmla="*/ 94 w 103"/>
                <a:gd name="T33" fmla="*/ 80 h 160"/>
                <a:gd name="T34" fmla="*/ 89 w 103"/>
                <a:gd name="T35" fmla="*/ 71 h 160"/>
                <a:gd name="T36" fmla="*/ 72 w 103"/>
                <a:gd name="T37" fmla="*/ 49 h 160"/>
                <a:gd name="T38" fmla="*/ 72 w 103"/>
                <a:gd name="T39" fmla="*/ 40 h 160"/>
                <a:gd name="T40" fmla="*/ 89 w 103"/>
                <a:gd name="T41" fmla="*/ 44 h 160"/>
                <a:gd name="T42" fmla="*/ 85 w 103"/>
                <a:gd name="T43" fmla="*/ 31 h 160"/>
                <a:gd name="T44" fmla="*/ 85 w 103"/>
                <a:gd name="T45" fmla="*/ 17 h 160"/>
                <a:gd name="T46" fmla="*/ 80 w 103"/>
                <a:gd name="T47" fmla="*/ 0 h 160"/>
                <a:gd name="T48" fmla="*/ 76 w 103"/>
                <a:gd name="T49" fmla="*/ 4 h 160"/>
                <a:gd name="T50" fmla="*/ 76 w 103"/>
                <a:gd name="T51" fmla="*/ 17 h 160"/>
                <a:gd name="T52" fmla="*/ 67 w 103"/>
                <a:gd name="T53" fmla="*/ 22 h 160"/>
                <a:gd name="T54" fmla="*/ 63 w 103"/>
                <a:gd name="T55" fmla="*/ 49 h 160"/>
                <a:gd name="T56" fmla="*/ 58 w 103"/>
                <a:gd name="T57" fmla="*/ 49 h 160"/>
                <a:gd name="T58" fmla="*/ 54 w 103"/>
                <a:gd name="T59" fmla="*/ 62 h 160"/>
                <a:gd name="T60" fmla="*/ 45 w 103"/>
                <a:gd name="T61" fmla="*/ 67 h 160"/>
                <a:gd name="T62" fmla="*/ 31 w 103"/>
                <a:gd name="T63" fmla="*/ 89 h 160"/>
                <a:gd name="T64" fmla="*/ 22 w 103"/>
                <a:gd name="T65" fmla="*/ 84 h 160"/>
                <a:gd name="T66" fmla="*/ 13 w 103"/>
                <a:gd name="T67" fmla="*/ 84 h 160"/>
                <a:gd name="T68" fmla="*/ 5 w 103"/>
                <a:gd name="T69" fmla="*/ 111 h 160"/>
                <a:gd name="T70" fmla="*/ 0 w 103"/>
                <a:gd name="T71" fmla="*/ 116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3" h="160">
                  <a:moveTo>
                    <a:pt x="0" y="116"/>
                  </a:moveTo>
                  <a:lnTo>
                    <a:pt x="0" y="125"/>
                  </a:lnTo>
                  <a:lnTo>
                    <a:pt x="5" y="129"/>
                  </a:lnTo>
                  <a:lnTo>
                    <a:pt x="13" y="129"/>
                  </a:lnTo>
                  <a:lnTo>
                    <a:pt x="9" y="138"/>
                  </a:lnTo>
                  <a:lnTo>
                    <a:pt x="9" y="143"/>
                  </a:lnTo>
                  <a:lnTo>
                    <a:pt x="9" y="156"/>
                  </a:lnTo>
                  <a:lnTo>
                    <a:pt x="31" y="160"/>
                  </a:lnTo>
                  <a:lnTo>
                    <a:pt x="49" y="156"/>
                  </a:lnTo>
                  <a:lnTo>
                    <a:pt x="63" y="156"/>
                  </a:lnTo>
                  <a:lnTo>
                    <a:pt x="85" y="156"/>
                  </a:lnTo>
                  <a:lnTo>
                    <a:pt x="98" y="160"/>
                  </a:lnTo>
                  <a:lnTo>
                    <a:pt x="103" y="143"/>
                  </a:lnTo>
                  <a:lnTo>
                    <a:pt x="94" y="138"/>
                  </a:lnTo>
                  <a:lnTo>
                    <a:pt x="80" y="125"/>
                  </a:lnTo>
                  <a:lnTo>
                    <a:pt x="76" y="98"/>
                  </a:lnTo>
                  <a:lnTo>
                    <a:pt x="94" y="80"/>
                  </a:lnTo>
                  <a:lnTo>
                    <a:pt x="89" y="71"/>
                  </a:lnTo>
                  <a:lnTo>
                    <a:pt x="72" y="49"/>
                  </a:lnTo>
                  <a:lnTo>
                    <a:pt x="72" y="40"/>
                  </a:lnTo>
                  <a:lnTo>
                    <a:pt x="89" y="44"/>
                  </a:lnTo>
                  <a:lnTo>
                    <a:pt x="85" y="31"/>
                  </a:lnTo>
                  <a:lnTo>
                    <a:pt x="85" y="17"/>
                  </a:lnTo>
                  <a:lnTo>
                    <a:pt x="80" y="0"/>
                  </a:lnTo>
                  <a:lnTo>
                    <a:pt x="76" y="4"/>
                  </a:lnTo>
                  <a:lnTo>
                    <a:pt x="76" y="17"/>
                  </a:lnTo>
                  <a:lnTo>
                    <a:pt x="67" y="22"/>
                  </a:lnTo>
                  <a:lnTo>
                    <a:pt x="63" y="49"/>
                  </a:lnTo>
                  <a:lnTo>
                    <a:pt x="58" y="49"/>
                  </a:lnTo>
                  <a:lnTo>
                    <a:pt x="54" y="62"/>
                  </a:lnTo>
                  <a:lnTo>
                    <a:pt x="45" y="67"/>
                  </a:lnTo>
                  <a:lnTo>
                    <a:pt x="31" y="89"/>
                  </a:lnTo>
                  <a:lnTo>
                    <a:pt x="22" y="84"/>
                  </a:lnTo>
                  <a:lnTo>
                    <a:pt x="13" y="84"/>
                  </a:lnTo>
                  <a:lnTo>
                    <a:pt x="5" y="111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61" name="Freeform 9"/>
            <p:cNvSpPr>
              <a:spLocks noEditPoints="1"/>
            </p:cNvSpPr>
            <p:nvPr/>
          </p:nvSpPr>
          <p:spPr bwMode="gray">
            <a:xfrm>
              <a:off x="2334" y="2529"/>
              <a:ext cx="27" cy="36"/>
            </a:xfrm>
            <a:custGeom>
              <a:avLst/>
              <a:gdLst>
                <a:gd name="T0" fmla="*/ 0 w 27"/>
                <a:gd name="T1" fmla="*/ 0 h 36"/>
                <a:gd name="T2" fmla="*/ 5 w 27"/>
                <a:gd name="T3" fmla="*/ 4 h 36"/>
                <a:gd name="T4" fmla="*/ 5 w 27"/>
                <a:gd name="T5" fmla="*/ 0 h 36"/>
                <a:gd name="T6" fmla="*/ 0 w 27"/>
                <a:gd name="T7" fmla="*/ 0 h 36"/>
                <a:gd name="T8" fmla="*/ 9 w 27"/>
                <a:gd name="T9" fmla="*/ 22 h 36"/>
                <a:gd name="T10" fmla="*/ 5 w 27"/>
                <a:gd name="T11" fmla="*/ 31 h 36"/>
                <a:gd name="T12" fmla="*/ 9 w 27"/>
                <a:gd name="T13" fmla="*/ 36 h 36"/>
                <a:gd name="T14" fmla="*/ 14 w 27"/>
                <a:gd name="T15" fmla="*/ 31 h 36"/>
                <a:gd name="T16" fmla="*/ 9 w 27"/>
                <a:gd name="T17" fmla="*/ 22 h 36"/>
                <a:gd name="T18" fmla="*/ 22 w 27"/>
                <a:gd name="T19" fmla="*/ 9 h 36"/>
                <a:gd name="T20" fmla="*/ 22 w 27"/>
                <a:gd name="T21" fmla="*/ 13 h 36"/>
                <a:gd name="T22" fmla="*/ 22 w 27"/>
                <a:gd name="T23" fmla="*/ 18 h 36"/>
                <a:gd name="T24" fmla="*/ 27 w 27"/>
                <a:gd name="T25" fmla="*/ 13 h 36"/>
                <a:gd name="T26" fmla="*/ 22 w 27"/>
                <a:gd name="T27" fmla="*/ 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36">
                  <a:moveTo>
                    <a:pt x="0" y="0"/>
                  </a:moveTo>
                  <a:lnTo>
                    <a:pt x="5" y="4"/>
                  </a:lnTo>
                  <a:lnTo>
                    <a:pt x="5" y="0"/>
                  </a:lnTo>
                  <a:lnTo>
                    <a:pt x="0" y="0"/>
                  </a:lnTo>
                  <a:close/>
                  <a:moveTo>
                    <a:pt x="9" y="22"/>
                  </a:moveTo>
                  <a:lnTo>
                    <a:pt x="5" y="31"/>
                  </a:lnTo>
                  <a:lnTo>
                    <a:pt x="9" y="36"/>
                  </a:lnTo>
                  <a:lnTo>
                    <a:pt x="14" y="31"/>
                  </a:lnTo>
                  <a:lnTo>
                    <a:pt x="9" y="22"/>
                  </a:lnTo>
                  <a:close/>
                  <a:moveTo>
                    <a:pt x="22" y="9"/>
                  </a:moveTo>
                  <a:lnTo>
                    <a:pt x="22" y="13"/>
                  </a:lnTo>
                  <a:lnTo>
                    <a:pt x="22" y="18"/>
                  </a:lnTo>
                  <a:lnTo>
                    <a:pt x="27" y="13"/>
                  </a:lnTo>
                  <a:lnTo>
                    <a:pt x="22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62" name="Freeform 10"/>
            <p:cNvSpPr>
              <a:spLocks/>
            </p:cNvSpPr>
            <p:nvPr/>
          </p:nvSpPr>
          <p:spPr bwMode="gray">
            <a:xfrm>
              <a:off x="2888" y="2618"/>
              <a:ext cx="188" cy="117"/>
            </a:xfrm>
            <a:custGeom>
              <a:avLst/>
              <a:gdLst>
                <a:gd name="T0" fmla="*/ 27 w 188"/>
                <a:gd name="T1" fmla="*/ 117 h 117"/>
                <a:gd name="T2" fmla="*/ 45 w 188"/>
                <a:gd name="T3" fmla="*/ 103 h 117"/>
                <a:gd name="T4" fmla="*/ 63 w 188"/>
                <a:gd name="T5" fmla="*/ 103 h 117"/>
                <a:gd name="T6" fmla="*/ 63 w 188"/>
                <a:gd name="T7" fmla="*/ 99 h 117"/>
                <a:gd name="T8" fmla="*/ 76 w 188"/>
                <a:gd name="T9" fmla="*/ 85 h 117"/>
                <a:gd name="T10" fmla="*/ 85 w 188"/>
                <a:gd name="T11" fmla="*/ 94 h 117"/>
                <a:gd name="T12" fmla="*/ 116 w 188"/>
                <a:gd name="T13" fmla="*/ 99 h 117"/>
                <a:gd name="T14" fmla="*/ 121 w 188"/>
                <a:gd name="T15" fmla="*/ 90 h 117"/>
                <a:gd name="T16" fmla="*/ 130 w 188"/>
                <a:gd name="T17" fmla="*/ 94 h 117"/>
                <a:gd name="T18" fmla="*/ 147 w 188"/>
                <a:gd name="T19" fmla="*/ 85 h 117"/>
                <a:gd name="T20" fmla="*/ 152 w 188"/>
                <a:gd name="T21" fmla="*/ 90 h 117"/>
                <a:gd name="T22" fmla="*/ 161 w 188"/>
                <a:gd name="T23" fmla="*/ 85 h 117"/>
                <a:gd name="T24" fmla="*/ 188 w 188"/>
                <a:gd name="T25" fmla="*/ 90 h 117"/>
                <a:gd name="T26" fmla="*/ 188 w 188"/>
                <a:gd name="T27" fmla="*/ 76 h 117"/>
                <a:gd name="T28" fmla="*/ 174 w 188"/>
                <a:gd name="T29" fmla="*/ 72 h 117"/>
                <a:gd name="T30" fmla="*/ 161 w 188"/>
                <a:gd name="T31" fmla="*/ 45 h 117"/>
                <a:gd name="T32" fmla="*/ 147 w 188"/>
                <a:gd name="T33" fmla="*/ 41 h 117"/>
                <a:gd name="T34" fmla="*/ 143 w 188"/>
                <a:gd name="T35" fmla="*/ 36 h 117"/>
                <a:gd name="T36" fmla="*/ 130 w 188"/>
                <a:gd name="T37" fmla="*/ 32 h 117"/>
                <a:gd name="T38" fmla="*/ 125 w 188"/>
                <a:gd name="T39" fmla="*/ 18 h 117"/>
                <a:gd name="T40" fmla="*/ 121 w 188"/>
                <a:gd name="T41" fmla="*/ 0 h 117"/>
                <a:gd name="T42" fmla="*/ 112 w 188"/>
                <a:gd name="T43" fmla="*/ 0 h 117"/>
                <a:gd name="T44" fmla="*/ 103 w 188"/>
                <a:gd name="T45" fmla="*/ 5 h 117"/>
                <a:gd name="T46" fmla="*/ 89 w 188"/>
                <a:gd name="T47" fmla="*/ 27 h 117"/>
                <a:gd name="T48" fmla="*/ 71 w 188"/>
                <a:gd name="T49" fmla="*/ 32 h 117"/>
                <a:gd name="T50" fmla="*/ 67 w 188"/>
                <a:gd name="T51" fmla="*/ 41 h 117"/>
                <a:gd name="T52" fmla="*/ 49 w 188"/>
                <a:gd name="T53" fmla="*/ 45 h 117"/>
                <a:gd name="T54" fmla="*/ 36 w 188"/>
                <a:gd name="T55" fmla="*/ 54 h 117"/>
                <a:gd name="T56" fmla="*/ 27 w 188"/>
                <a:gd name="T57" fmla="*/ 50 h 117"/>
                <a:gd name="T58" fmla="*/ 18 w 188"/>
                <a:gd name="T59" fmla="*/ 54 h 117"/>
                <a:gd name="T60" fmla="*/ 0 w 188"/>
                <a:gd name="T61" fmla="*/ 72 h 117"/>
                <a:gd name="T62" fmla="*/ 4 w 188"/>
                <a:gd name="T63" fmla="*/ 99 h 117"/>
                <a:gd name="T64" fmla="*/ 18 w 188"/>
                <a:gd name="T65" fmla="*/ 112 h 117"/>
                <a:gd name="T66" fmla="*/ 27 w 188"/>
                <a:gd name="T6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8" h="117">
                  <a:moveTo>
                    <a:pt x="27" y="117"/>
                  </a:moveTo>
                  <a:lnTo>
                    <a:pt x="45" y="103"/>
                  </a:lnTo>
                  <a:lnTo>
                    <a:pt x="63" y="103"/>
                  </a:lnTo>
                  <a:lnTo>
                    <a:pt x="63" y="99"/>
                  </a:lnTo>
                  <a:lnTo>
                    <a:pt x="76" y="85"/>
                  </a:lnTo>
                  <a:lnTo>
                    <a:pt x="85" y="94"/>
                  </a:lnTo>
                  <a:lnTo>
                    <a:pt x="116" y="99"/>
                  </a:lnTo>
                  <a:lnTo>
                    <a:pt x="121" y="90"/>
                  </a:lnTo>
                  <a:lnTo>
                    <a:pt x="130" y="94"/>
                  </a:lnTo>
                  <a:lnTo>
                    <a:pt x="147" y="85"/>
                  </a:lnTo>
                  <a:lnTo>
                    <a:pt x="152" y="90"/>
                  </a:lnTo>
                  <a:lnTo>
                    <a:pt x="161" y="85"/>
                  </a:lnTo>
                  <a:lnTo>
                    <a:pt x="188" y="90"/>
                  </a:lnTo>
                  <a:lnTo>
                    <a:pt x="188" y="76"/>
                  </a:lnTo>
                  <a:lnTo>
                    <a:pt x="174" y="72"/>
                  </a:lnTo>
                  <a:lnTo>
                    <a:pt x="161" y="45"/>
                  </a:lnTo>
                  <a:lnTo>
                    <a:pt x="147" y="41"/>
                  </a:lnTo>
                  <a:lnTo>
                    <a:pt x="143" y="36"/>
                  </a:lnTo>
                  <a:lnTo>
                    <a:pt x="130" y="32"/>
                  </a:lnTo>
                  <a:lnTo>
                    <a:pt x="125" y="18"/>
                  </a:lnTo>
                  <a:lnTo>
                    <a:pt x="121" y="0"/>
                  </a:lnTo>
                  <a:lnTo>
                    <a:pt x="112" y="0"/>
                  </a:lnTo>
                  <a:lnTo>
                    <a:pt x="103" y="5"/>
                  </a:lnTo>
                  <a:lnTo>
                    <a:pt x="89" y="27"/>
                  </a:lnTo>
                  <a:lnTo>
                    <a:pt x="71" y="32"/>
                  </a:lnTo>
                  <a:lnTo>
                    <a:pt x="67" y="41"/>
                  </a:lnTo>
                  <a:lnTo>
                    <a:pt x="49" y="45"/>
                  </a:lnTo>
                  <a:lnTo>
                    <a:pt x="36" y="54"/>
                  </a:lnTo>
                  <a:lnTo>
                    <a:pt x="27" y="50"/>
                  </a:lnTo>
                  <a:lnTo>
                    <a:pt x="18" y="54"/>
                  </a:lnTo>
                  <a:lnTo>
                    <a:pt x="0" y="72"/>
                  </a:lnTo>
                  <a:lnTo>
                    <a:pt x="4" y="99"/>
                  </a:lnTo>
                  <a:lnTo>
                    <a:pt x="18" y="112"/>
                  </a:lnTo>
                  <a:lnTo>
                    <a:pt x="27" y="117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63" name="Freeform 11"/>
            <p:cNvSpPr>
              <a:spLocks/>
            </p:cNvSpPr>
            <p:nvPr/>
          </p:nvSpPr>
          <p:spPr bwMode="gray">
            <a:xfrm>
              <a:off x="2875" y="2426"/>
              <a:ext cx="147" cy="246"/>
            </a:xfrm>
            <a:custGeom>
              <a:avLst/>
              <a:gdLst>
                <a:gd name="T0" fmla="*/ 0 w 147"/>
                <a:gd name="T1" fmla="*/ 152 h 246"/>
                <a:gd name="T2" fmla="*/ 4 w 147"/>
                <a:gd name="T3" fmla="*/ 157 h 246"/>
                <a:gd name="T4" fmla="*/ 13 w 147"/>
                <a:gd name="T5" fmla="*/ 170 h 246"/>
                <a:gd name="T6" fmla="*/ 17 w 147"/>
                <a:gd name="T7" fmla="*/ 166 h 246"/>
                <a:gd name="T8" fmla="*/ 22 w 147"/>
                <a:gd name="T9" fmla="*/ 183 h 246"/>
                <a:gd name="T10" fmla="*/ 22 w 147"/>
                <a:gd name="T11" fmla="*/ 197 h 246"/>
                <a:gd name="T12" fmla="*/ 26 w 147"/>
                <a:gd name="T13" fmla="*/ 210 h 246"/>
                <a:gd name="T14" fmla="*/ 9 w 147"/>
                <a:gd name="T15" fmla="*/ 206 h 246"/>
                <a:gd name="T16" fmla="*/ 9 w 147"/>
                <a:gd name="T17" fmla="*/ 215 h 246"/>
                <a:gd name="T18" fmla="*/ 26 w 147"/>
                <a:gd name="T19" fmla="*/ 237 h 246"/>
                <a:gd name="T20" fmla="*/ 31 w 147"/>
                <a:gd name="T21" fmla="*/ 246 h 246"/>
                <a:gd name="T22" fmla="*/ 40 w 147"/>
                <a:gd name="T23" fmla="*/ 242 h 246"/>
                <a:gd name="T24" fmla="*/ 49 w 147"/>
                <a:gd name="T25" fmla="*/ 246 h 246"/>
                <a:gd name="T26" fmla="*/ 62 w 147"/>
                <a:gd name="T27" fmla="*/ 237 h 246"/>
                <a:gd name="T28" fmla="*/ 80 w 147"/>
                <a:gd name="T29" fmla="*/ 233 h 246"/>
                <a:gd name="T30" fmla="*/ 84 w 147"/>
                <a:gd name="T31" fmla="*/ 224 h 246"/>
                <a:gd name="T32" fmla="*/ 102 w 147"/>
                <a:gd name="T33" fmla="*/ 219 h 246"/>
                <a:gd name="T34" fmla="*/ 116 w 147"/>
                <a:gd name="T35" fmla="*/ 197 h 246"/>
                <a:gd name="T36" fmla="*/ 125 w 147"/>
                <a:gd name="T37" fmla="*/ 192 h 246"/>
                <a:gd name="T38" fmla="*/ 134 w 147"/>
                <a:gd name="T39" fmla="*/ 192 h 246"/>
                <a:gd name="T40" fmla="*/ 129 w 147"/>
                <a:gd name="T41" fmla="*/ 183 h 246"/>
                <a:gd name="T42" fmla="*/ 129 w 147"/>
                <a:gd name="T43" fmla="*/ 179 h 246"/>
                <a:gd name="T44" fmla="*/ 120 w 147"/>
                <a:gd name="T45" fmla="*/ 166 h 246"/>
                <a:gd name="T46" fmla="*/ 125 w 147"/>
                <a:gd name="T47" fmla="*/ 152 h 246"/>
                <a:gd name="T48" fmla="*/ 134 w 147"/>
                <a:gd name="T49" fmla="*/ 148 h 246"/>
                <a:gd name="T50" fmla="*/ 129 w 147"/>
                <a:gd name="T51" fmla="*/ 143 h 246"/>
                <a:gd name="T52" fmla="*/ 134 w 147"/>
                <a:gd name="T53" fmla="*/ 139 h 246"/>
                <a:gd name="T54" fmla="*/ 134 w 147"/>
                <a:gd name="T55" fmla="*/ 130 h 246"/>
                <a:gd name="T56" fmla="*/ 147 w 147"/>
                <a:gd name="T57" fmla="*/ 125 h 246"/>
                <a:gd name="T58" fmla="*/ 147 w 147"/>
                <a:gd name="T59" fmla="*/ 67 h 246"/>
                <a:gd name="T60" fmla="*/ 35 w 147"/>
                <a:gd name="T61" fmla="*/ 0 h 246"/>
                <a:gd name="T62" fmla="*/ 22 w 147"/>
                <a:gd name="T63" fmla="*/ 9 h 246"/>
                <a:gd name="T64" fmla="*/ 31 w 147"/>
                <a:gd name="T65" fmla="*/ 27 h 246"/>
                <a:gd name="T66" fmla="*/ 31 w 147"/>
                <a:gd name="T67" fmla="*/ 40 h 246"/>
                <a:gd name="T68" fmla="*/ 40 w 147"/>
                <a:gd name="T69" fmla="*/ 49 h 246"/>
                <a:gd name="T70" fmla="*/ 31 w 147"/>
                <a:gd name="T71" fmla="*/ 67 h 246"/>
                <a:gd name="T72" fmla="*/ 26 w 147"/>
                <a:gd name="T73" fmla="*/ 112 h 246"/>
                <a:gd name="T74" fmla="*/ 4 w 147"/>
                <a:gd name="T75" fmla="*/ 130 h 246"/>
                <a:gd name="T76" fmla="*/ 0 w 147"/>
                <a:gd name="T77" fmla="*/ 139 h 246"/>
                <a:gd name="T78" fmla="*/ 0 w 147"/>
                <a:gd name="T79" fmla="*/ 15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7" h="246">
                  <a:moveTo>
                    <a:pt x="0" y="152"/>
                  </a:moveTo>
                  <a:lnTo>
                    <a:pt x="4" y="157"/>
                  </a:lnTo>
                  <a:lnTo>
                    <a:pt x="13" y="170"/>
                  </a:lnTo>
                  <a:lnTo>
                    <a:pt x="17" y="166"/>
                  </a:lnTo>
                  <a:lnTo>
                    <a:pt x="22" y="183"/>
                  </a:lnTo>
                  <a:lnTo>
                    <a:pt x="22" y="197"/>
                  </a:lnTo>
                  <a:lnTo>
                    <a:pt x="26" y="210"/>
                  </a:lnTo>
                  <a:lnTo>
                    <a:pt x="9" y="206"/>
                  </a:lnTo>
                  <a:lnTo>
                    <a:pt x="9" y="215"/>
                  </a:lnTo>
                  <a:lnTo>
                    <a:pt x="26" y="237"/>
                  </a:lnTo>
                  <a:lnTo>
                    <a:pt x="31" y="246"/>
                  </a:lnTo>
                  <a:lnTo>
                    <a:pt x="40" y="242"/>
                  </a:lnTo>
                  <a:lnTo>
                    <a:pt x="49" y="246"/>
                  </a:lnTo>
                  <a:lnTo>
                    <a:pt x="62" y="237"/>
                  </a:lnTo>
                  <a:lnTo>
                    <a:pt x="80" y="233"/>
                  </a:lnTo>
                  <a:lnTo>
                    <a:pt x="84" y="224"/>
                  </a:lnTo>
                  <a:lnTo>
                    <a:pt x="102" y="219"/>
                  </a:lnTo>
                  <a:lnTo>
                    <a:pt x="116" y="197"/>
                  </a:lnTo>
                  <a:lnTo>
                    <a:pt x="125" y="192"/>
                  </a:lnTo>
                  <a:lnTo>
                    <a:pt x="134" y="192"/>
                  </a:lnTo>
                  <a:lnTo>
                    <a:pt x="129" y="183"/>
                  </a:lnTo>
                  <a:lnTo>
                    <a:pt x="129" y="179"/>
                  </a:lnTo>
                  <a:lnTo>
                    <a:pt x="120" y="166"/>
                  </a:lnTo>
                  <a:lnTo>
                    <a:pt x="125" y="152"/>
                  </a:lnTo>
                  <a:lnTo>
                    <a:pt x="134" y="148"/>
                  </a:lnTo>
                  <a:lnTo>
                    <a:pt x="129" y="143"/>
                  </a:lnTo>
                  <a:lnTo>
                    <a:pt x="134" y="139"/>
                  </a:lnTo>
                  <a:lnTo>
                    <a:pt x="134" y="130"/>
                  </a:lnTo>
                  <a:lnTo>
                    <a:pt x="147" y="125"/>
                  </a:lnTo>
                  <a:lnTo>
                    <a:pt x="147" y="67"/>
                  </a:lnTo>
                  <a:lnTo>
                    <a:pt x="35" y="0"/>
                  </a:lnTo>
                  <a:lnTo>
                    <a:pt x="22" y="9"/>
                  </a:lnTo>
                  <a:lnTo>
                    <a:pt x="31" y="27"/>
                  </a:lnTo>
                  <a:lnTo>
                    <a:pt x="31" y="40"/>
                  </a:lnTo>
                  <a:lnTo>
                    <a:pt x="40" y="49"/>
                  </a:lnTo>
                  <a:lnTo>
                    <a:pt x="31" y="67"/>
                  </a:lnTo>
                  <a:lnTo>
                    <a:pt x="26" y="112"/>
                  </a:lnTo>
                  <a:lnTo>
                    <a:pt x="4" y="130"/>
                  </a:lnTo>
                  <a:lnTo>
                    <a:pt x="0" y="139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64" name="Freeform 12"/>
            <p:cNvSpPr>
              <a:spLocks noEditPoints="1"/>
            </p:cNvSpPr>
            <p:nvPr/>
          </p:nvSpPr>
          <p:spPr bwMode="gray">
            <a:xfrm>
              <a:off x="3303" y="2945"/>
              <a:ext cx="18" cy="17"/>
            </a:xfrm>
            <a:custGeom>
              <a:avLst/>
              <a:gdLst>
                <a:gd name="T0" fmla="*/ 5 w 18"/>
                <a:gd name="T1" fmla="*/ 9 h 17"/>
                <a:gd name="T2" fmla="*/ 5 w 18"/>
                <a:gd name="T3" fmla="*/ 4 h 17"/>
                <a:gd name="T4" fmla="*/ 5 w 18"/>
                <a:gd name="T5" fmla="*/ 0 h 17"/>
                <a:gd name="T6" fmla="*/ 0 w 18"/>
                <a:gd name="T7" fmla="*/ 4 h 17"/>
                <a:gd name="T8" fmla="*/ 0 w 18"/>
                <a:gd name="T9" fmla="*/ 9 h 17"/>
                <a:gd name="T10" fmla="*/ 5 w 18"/>
                <a:gd name="T11" fmla="*/ 9 h 17"/>
                <a:gd name="T12" fmla="*/ 18 w 18"/>
                <a:gd name="T13" fmla="*/ 13 h 17"/>
                <a:gd name="T14" fmla="*/ 18 w 18"/>
                <a:gd name="T15" fmla="*/ 17 h 17"/>
                <a:gd name="T16" fmla="*/ 18 w 18"/>
                <a:gd name="T17" fmla="*/ 13 h 17"/>
                <a:gd name="T18" fmla="*/ 18 w 18"/>
                <a:gd name="T19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7">
                  <a:moveTo>
                    <a:pt x="5" y="9"/>
                  </a:moveTo>
                  <a:lnTo>
                    <a:pt x="5" y="4"/>
                  </a:lnTo>
                  <a:lnTo>
                    <a:pt x="5" y="0"/>
                  </a:lnTo>
                  <a:lnTo>
                    <a:pt x="0" y="4"/>
                  </a:lnTo>
                  <a:lnTo>
                    <a:pt x="0" y="9"/>
                  </a:lnTo>
                  <a:lnTo>
                    <a:pt x="5" y="9"/>
                  </a:lnTo>
                  <a:close/>
                  <a:moveTo>
                    <a:pt x="18" y="13"/>
                  </a:moveTo>
                  <a:lnTo>
                    <a:pt x="18" y="17"/>
                  </a:lnTo>
                  <a:lnTo>
                    <a:pt x="18" y="13"/>
                  </a:lnTo>
                  <a:lnTo>
                    <a:pt x="18" y="1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65" name="Freeform 13"/>
            <p:cNvSpPr>
              <a:spLocks/>
            </p:cNvSpPr>
            <p:nvPr/>
          </p:nvSpPr>
          <p:spPr bwMode="gray">
            <a:xfrm>
              <a:off x="3326" y="2962"/>
              <a:ext cx="9" cy="9"/>
            </a:xfrm>
            <a:custGeom>
              <a:avLst/>
              <a:gdLst>
                <a:gd name="T0" fmla="*/ 9 w 9"/>
                <a:gd name="T1" fmla="*/ 9 h 9"/>
                <a:gd name="T2" fmla="*/ 9 w 9"/>
                <a:gd name="T3" fmla="*/ 9 h 9"/>
                <a:gd name="T4" fmla="*/ 9 w 9"/>
                <a:gd name="T5" fmla="*/ 5 h 9"/>
                <a:gd name="T6" fmla="*/ 4 w 9"/>
                <a:gd name="T7" fmla="*/ 5 h 9"/>
                <a:gd name="T8" fmla="*/ 0 w 9"/>
                <a:gd name="T9" fmla="*/ 0 h 9"/>
                <a:gd name="T10" fmla="*/ 4 w 9"/>
                <a:gd name="T11" fmla="*/ 9 h 9"/>
                <a:gd name="T12" fmla="*/ 9 w 9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9">
                  <a:moveTo>
                    <a:pt x="9" y="9"/>
                  </a:moveTo>
                  <a:lnTo>
                    <a:pt x="9" y="9"/>
                  </a:lnTo>
                  <a:lnTo>
                    <a:pt x="9" y="5"/>
                  </a:lnTo>
                  <a:lnTo>
                    <a:pt x="4" y="5"/>
                  </a:lnTo>
                  <a:lnTo>
                    <a:pt x="0" y="0"/>
                  </a:lnTo>
                  <a:lnTo>
                    <a:pt x="4" y="9"/>
                  </a:lnTo>
                  <a:lnTo>
                    <a:pt x="9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66" name="Freeform 14"/>
            <p:cNvSpPr>
              <a:spLocks/>
            </p:cNvSpPr>
            <p:nvPr/>
          </p:nvSpPr>
          <p:spPr bwMode="gray">
            <a:xfrm>
              <a:off x="2839" y="2721"/>
              <a:ext cx="112" cy="134"/>
            </a:xfrm>
            <a:custGeom>
              <a:avLst/>
              <a:gdLst>
                <a:gd name="T0" fmla="*/ 0 w 112"/>
                <a:gd name="T1" fmla="*/ 112 h 134"/>
                <a:gd name="T2" fmla="*/ 9 w 112"/>
                <a:gd name="T3" fmla="*/ 125 h 134"/>
                <a:gd name="T4" fmla="*/ 13 w 112"/>
                <a:gd name="T5" fmla="*/ 134 h 134"/>
                <a:gd name="T6" fmla="*/ 22 w 112"/>
                <a:gd name="T7" fmla="*/ 125 h 134"/>
                <a:gd name="T8" fmla="*/ 27 w 112"/>
                <a:gd name="T9" fmla="*/ 125 h 134"/>
                <a:gd name="T10" fmla="*/ 36 w 112"/>
                <a:gd name="T11" fmla="*/ 130 h 134"/>
                <a:gd name="T12" fmla="*/ 40 w 112"/>
                <a:gd name="T13" fmla="*/ 125 h 134"/>
                <a:gd name="T14" fmla="*/ 49 w 112"/>
                <a:gd name="T15" fmla="*/ 125 h 134"/>
                <a:gd name="T16" fmla="*/ 58 w 112"/>
                <a:gd name="T17" fmla="*/ 130 h 134"/>
                <a:gd name="T18" fmla="*/ 71 w 112"/>
                <a:gd name="T19" fmla="*/ 121 h 134"/>
                <a:gd name="T20" fmla="*/ 76 w 112"/>
                <a:gd name="T21" fmla="*/ 107 h 134"/>
                <a:gd name="T22" fmla="*/ 76 w 112"/>
                <a:gd name="T23" fmla="*/ 90 h 134"/>
                <a:gd name="T24" fmla="*/ 98 w 112"/>
                <a:gd name="T25" fmla="*/ 72 h 134"/>
                <a:gd name="T26" fmla="*/ 103 w 112"/>
                <a:gd name="T27" fmla="*/ 40 h 134"/>
                <a:gd name="T28" fmla="*/ 112 w 112"/>
                <a:gd name="T29" fmla="*/ 9 h 134"/>
                <a:gd name="T30" fmla="*/ 112 w 112"/>
                <a:gd name="T31" fmla="*/ 0 h 134"/>
                <a:gd name="T32" fmla="*/ 94 w 112"/>
                <a:gd name="T33" fmla="*/ 0 h 134"/>
                <a:gd name="T34" fmla="*/ 76 w 112"/>
                <a:gd name="T35" fmla="*/ 14 h 134"/>
                <a:gd name="T36" fmla="*/ 71 w 112"/>
                <a:gd name="T37" fmla="*/ 31 h 134"/>
                <a:gd name="T38" fmla="*/ 58 w 112"/>
                <a:gd name="T39" fmla="*/ 27 h 134"/>
                <a:gd name="T40" fmla="*/ 36 w 112"/>
                <a:gd name="T41" fmla="*/ 27 h 134"/>
                <a:gd name="T42" fmla="*/ 31 w 112"/>
                <a:gd name="T43" fmla="*/ 40 h 134"/>
                <a:gd name="T44" fmla="*/ 49 w 112"/>
                <a:gd name="T45" fmla="*/ 40 h 134"/>
                <a:gd name="T46" fmla="*/ 49 w 112"/>
                <a:gd name="T47" fmla="*/ 49 h 134"/>
                <a:gd name="T48" fmla="*/ 45 w 112"/>
                <a:gd name="T49" fmla="*/ 54 h 134"/>
                <a:gd name="T50" fmla="*/ 49 w 112"/>
                <a:gd name="T51" fmla="*/ 76 h 134"/>
                <a:gd name="T52" fmla="*/ 49 w 112"/>
                <a:gd name="T53" fmla="*/ 90 h 134"/>
                <a:gd name="T54" fmla="*/ 31 w 112"/>
                <a:gd name="T55" fmla="*/ 94 h 134"/>
                <a:gd name="T56" fmla="*/ 22 w 112"/>
                <a:gd name="T57" fmla="*/ 85 h 134"/>
                <a:gd name="T58" fmla="*/ 13 w 112"/>
                <a:gd name="T59" fmla="*/ 94 h 134"/>
                <a:gd name="T60" fmla="*/ 4 w 112"/>
                <a:gd name="T61" fmla="*/ 94 h 134"/>
                <a:gd name="T62" fmla="*/ 9 w 112"/>
                <a:gd name="T63" fmla="*/ 98 h 134"/>
                <a:gd name="T64" fmla="*/ 9 w 112"/>
                <a:gd name="T65" fmla="*/ 107 h 134"/>
                <a:gd name="T66" fmla="*/ 4 w 112"/>
                <a:gd name="T67" fmla="*/ 107 h 134"/>
                <a:gd name="T68" fmla="*/ 0 w 112"/>
                <a:gd name="T69" fmla="*/ 1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2" h="134">
                  <a:moveTo>
                    <a:pt x="0" y="112"/>
                  </a:moveTo>
                  <a:lnTo>
                    <a:pt x="9" y="125"/>
                  </a:lnTo>
                  <a:lnTo>
                    <a:pt x="13" y="134"/>
                  </a:lnTo>
                  <a:lnTo>
                    <a:pt x="22" y="125"/>
                  </a:lnTo>
                  <a:lnTo>
                    <a:pt x="27" y="125"/>
                  </a:lnTo>
                  <a:lnTo>
                    <a:pt x="36" y="130"/>
                  </a:lnTo>
                  <a:lnTo>
                    <a:pt x="40" y="125"/>
                  </a:lnTo>
                  <a:lnTo>
                    <a:pt x="49" y="125"/>
                  </a:lnTo>
                  <a:lnTo>
                    <a:pt x="58" y="130"/>
                  </a:lnTo>
                  <a:lnTo>
                    <a:pt x="71" y="121"/>
                  </a:lnTo>
                  <a:lnTo>
                    <a:pt x="76" y="107"/>
                  </a:lnTo>
                  <a:lnTo>
                    <a:pt x="76" y="90"/>
                  </a:lnTo>
                  <a:lnTo>
                    <a:pt x="98" y="72"/>
                  </a:lnTo>
                  <a:lnTo>
                    <a:pt x="103" y="40"/>
                  </a:lnTo>
                  <a:lnTo>
                    <a:pt x="112" y="9"/>
                  </a:lnTo>
                  <a:lnTo>
                    <a:pt x="112" y="0"/>
                  </a:lnTo>
                  <a:lnTo>
                    <a:pt x="94" y="0"/>
                  </a:lnTo>
                  <a:lnTo>
                    <a:pt x="76" y="14"/>
                  </a:lnTo>
                  <a:lnTo>
                    <a:pt x="71" y="31"/>
                  </a:lnTo>
                  <a:lnTo>
                    <a:pt x="58" y="27"/>
                  </a:lnTo>
                  <a:lnTo>
                    <a:pt x="36" y="27"/>
                  </a:lnTo>
                  <a:lnTo>
                    <a:pt x="31" y="40"/>
                  </a:lnTo>
                  <a:lnTo>
                    <a:pt x="49" y="40"/>
                  </a:lnTo>
                  <a:lnTo>
                    <a:pt x="49" y="49"/>
                  </a:lnTo>
                  <a:lnTo>
                    <a:pt x="45" y="54"/>
                  </a:lnTo>
                  <a:lnTo>
                    <a:pt x="49" y="76"/>
                  </a:lnTo>
                  <a:lnTo>
                    <a:pt x="49" y="90"/>
                  </a:lnTo>
                  <a:lnTo>
                    <a:pt x="31" y="94"/>
                  </a:lnTo>
                  <a:lnTo>
                    <a:pt x="22" y="85"/>
                  </a:lnTo>
                  <a:lnTo>
                    <a:pt x="13" y="94"/>
                  </a:lnTo>
                  <a:lnTo>
                    <a:pt x="4" y="94"/>
                  </a:lnTo>
                  <a:lnTo>
                    <a:pt x="9" y="98"/>
                  </a:lnTo>
                  <a:lnTo>
                    <a:pt x="9" y="107"/>
                  </a:lnTo>
                  <a:lnTo>
                    <a:pt x="4" y="107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67" name="Freeform 15"/>
            <p:cNvSpPr>
              <a:spLocks/>
            </p:cNvSpPr>
            <p:nvPr/>
          </p:nvSpPr>
          <p:spPr bwMode="gray">
            <a:xfrm>
              <a:off x="2857" y="2703"/>
              <a:ext cx="272" cy="268"/>
            </a:xfrm>
            <a:custGeom>
              <a:avLst/>
              <a:gdLst>
                <a:gd name="T0" fmla="*/ 18 w 272"/>
                <a:gd name="T1" fmla="*/ 148 h 268"/>
                <a:gd name="T2" fmla="*/ 31 w 272"/>
                <a:gd name="T3" fmla="*/ 143 h 268"/>
                <a:gd name="T4" fmla="*/ 53 w 272"/>
                <a:gd name="T5" fmla="*/ 139 h 268"/>
                <a:gd name="T6" fmla="*/ 58 w 272"/>
                <a:gd name="T7" fmla="*/ 108 h 268"/>
                <a:gd name="T8" fmla="*/ 85 w 272"/>
                <a:gd name="T9" fmla="*/ 58 h 268"/>
                <a:gd name="T10" fmla="*/ 94 w 272"/>
                <a:gd name="T11" fmla="*/ 18 h 268"/>
                <a:gd name="T12" fmla="*/ 107 w 272"/>
                <a:gd name="T13" fmla="*/ 0 h 268"/>
                <a:gd name="T14" fmla="*/ 147 w 272"/>
                <a:gd name="T15" fmla="*/ 14 h 268"/>
                <a:gd name="T16" fmla="*/ 161 w 272"/>
                <a:gd name="T17" fmla="*/ 9 h 268"/>
                <a:gd name="T18" fmla="*/ 183 w 272"/>
                <a:gd name="T19" fmla="*/ 5 h 268"/>
                <a:gd name="T20" fmla="*/ 219 w 272"/>
                <a:gd name="T21" fmla="*/ 5 h 268"/>
                <a:gd name="T22" fmla="*/ 254 w 272"/>
                <a:gd name="T23" fmla="*/ 9 h 268"/>
                <a:gd name="T24" fmla="*/ 268 w 272"/>
                <a:gd name="T25" fmla="*/ 41 h 268"/>
                <a:gd name="T26" fmla="*/ 254 w 272"/>
                <a:gd name="T27" fmla="*/ 67 h 268"/>
                <a:gd name="T28" fmla="*/ 245 w 272"/>
                <a:gd name="T29" fmla="*/ 103 h 268"/>
                <a:gd name="T30" fmla="*/ 245 w 272"/>
                <a:gd name="T31" fmla="*/ 116 h 268"/>
                <a:gd name="T32" fmla="*/ 245 w 272"/>
                <a:gd name="T33" fmla="*/ 130 h 268"/>
                <a:gd name="T34" fmla="*/ 245 w 272"/>
                <a:gd name="T35" fmla="*/ 139 h 268"/>
                <a:gd name="T36" fmla="*/ 245 w 272"/>
                <a:gd name="T37" fmla="*/ 166 h 268"/>
                <a:gd name="T38" fmla="*/ 263 w 272"/>
                <a:gd name="T39" fmla="*/ 201 h 268"/>
                <a:gd name="T40" fmla="*/ 236 w 272"/>
                <a:gd name="T41" fmla="*/ 219 h 268"/>
                <a:gd name="T42" fmla="*/ 245 w 272"/>
                <a:gd name="T43" fmla="*/ 259 h 268"/>
                <a:gd name="T44" fmla="*/ 259 w 272"/>
                <a:gd name="T45" fmla="*/ 268 h 268"/>
                <a:gd name="T46" fmla="*/ 232 w 272"/>
                <a:gd name="T47" fmla="*/ 259 h 268"/>
                <a:gd name="T48" fmla="*/ 219 w 272"/>
                <a:gd name="T49" fmla="*/ 246 h 268"/>
                <a:gd name="T50" fmla="*/ 187 w 272"/>
                <a:gd name="T51" fmla="*/ 237 h 268"/>
                <a:gd name="T52" fmla="*/ 169 w 272"/>
                <a:gd name="T53" fmla="*/ 233 h 268"/>
                <a:gd name="T54" fmla="*/ 134 w 272"/>
                <a:gd name="T55" fmla="*/ 184 h 268"/>
                <a:gd name="T56" fmla="*/ 120 w 272"/>
                <a:gd name="T57" fmla="*/ 179 h 268"/>
                <a:gd name="T58" fmla="*/ 102 w 272"/>
                <a:gd name="T59" fmla="*/ 197 h 268"/>
                <a:gd name="T60" fmla="*/ 71 w 272"/>
                <a:gd name="T61" fmla="*/ 184 h 268"/>
                <a:gd name="T62" fmla="*/ 67 w 272"/>
                <a:gd name="T63" fmla="*/ 166 h 268"/>
                <a:gd name="T64" fmla="*/ 0 w 272"/>
                <a:gd name="T65" fmla="*/ 161 h 268"/>
                <a:gd name="T66" fmla="*/ 9 w 272"/>
                <a:gd name="T67" fmla="*/ 143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2" h="268">
                  <a:moveTo>
                    <a:pt x="9" y="143"/>
                  </a:moveTo>
                  <a:lnTo>
                    <a:pt x="18" y="148"/>
                  </a:lnTo>
                  <a:lnTo>
                    <a:pt x="22" y="143"/>
                  </a:lnTo>
                  <a:lnTo>
                    <a:pt x="31" y="143"/>
                  </a:lnTo>
                  <a:lnTo>
                    <a:pt x="40" y="148"/>
                  </a:lnTo>
                  <a:lnTo>
                    <a:pt x="53" y="139"/>
                  </a:lnTo>
                  <a:lnTo>
                    <a:pt x="58" y="125"/>
                  </a:lnTo>
                  <a:lnTo>
                    <a:pt x="58" y="108"/>
                  </a:lnTo>
                  <a:lnTo>
                    <a:pt x="80" y="90"/>
                  </a:lnTo>
                  <a:lnTo>
                    <a:pt x="85" y="58"/>
                  </a:lnTo>
                  <a:lnTo>
                    <a:pt x="94" y="27"/>
                  </a:lnTo>
                  <a:lnTo>
                    <a:pt x="94" y="18"/>
                  </a:lnTo>
                  <a:lnTo>
                    <a:pt x="94" y="14"/>
                  </a:lnTo>
                  <a:lnTo>
                    <a:pt x="107" y="0"/>
                  </a:lnTo>
                  <a:lnTo>
                    <a:pt x="116" y="9"/>
                  </a:lnTo>
                  <a:lnTo>
                    <a:pt x="147" y="14"/>
                  </a:lnTo>
                  <a:lnTo>
                    <a:pt x="152" y="5"/>
                  </a:lnTo>
                  <a:lnTo>
                    <a:pt x="161" y="9"/>
                  </a:lnTo>
                  <a:lnTo>
                    <a:pt x="178" y="0"/>
                  </a:lnTo>
                  <a:lnTo>
                    <a:pt x="183" y="5"/>
                  </a:lnTo>
                  <a:lnTo>
                    <a:pt x="192" y="0"/>
                  </a:lnTo>
                  <a:lnTo>
                    <a:pt x="219" y="5"/>
                  </a:lnTo>
                  <a:lnTo>
                    <a:pt x="232" y="14"/>
                  </a:lnTo>
                  <a:lnTo>
                    <a:pt x="254" y="9"/>
                  </a:lnTo>
                  <a:lnTo>
                    <a:pt x="268" y="23"/>
                  </a:lnTo>
                  <a:lnTo>
                    <a:pt x="268" y="41"/>
                  </a:lnTo>
                  <a:lnTo>
                    <a:pt x="272" y="45"/>
                  </a:lnTo>
                  <a:lnTo>
                    <a:pt x="254" y="67"/>
                  </a:lnTo>
                  <a:lnTo>
                    <a:pt x="254" y="99"/>
                  </a:lnTo>
                  <a:lnTo>
                    <a:pt x="245" y="103"/>
                  </a:lnTo>
                  <a:lnTo>
                    <a:pt x="245" y="108"/>
                  </a:lnTo>
                  <a:lnTo>
                    <a:pt x="245" y="116"/>
                  </a:lnTo>
                  <a:lnTo>
                    <a:pt x="250" y="130"/>
                  </a:lnTo>
                  <a:lnTo>
                    <a:pt x="245" y="130"/>
                  </a:lnTo>
                  <a:lnTo>
                    <a:pt x="241" y="143"/>
                  </a:lnTo>
                  <a:lnTo>
                    <a:pt x="245" y="139"/>
                  </a:lnTo>
                  <a:lnTo>
                    <a:pt x="241" y="148"/>
                  </a:lnTo>
                  <a:lnTo>
                    <a:pt x="245" y="166"/>
                  </a:lnTo>
                  <a:lnTo>
                    <a:pt x="259" y="184"/>
                  </a:lnTo>
                  <a:lnTo>
                    <a:pt x="263" y="201"/>
                  </a:lnTo>
                  <a:lnTo>
                    <a:pt x="241" y="206"/>
                  </a:lnTo>
                  <a:lnTo>
                    <a:pt x="236" y="219"/>
                  </a:lnTo>
                  <a:lnTo>
                    <a:pt x="232" y="246"/>
                  </a:lnTo>
                  <a:lnTo>
                    <a:pt x="245" y="259"/>
                  </a:lnTo>
                  <a:lnTo>
                    <a:pt x="259" y="251"/>
                  </a:lnTo>
                  <a:lnTo>
                    <a:pt x="259" y="268"/>
                  </a:lnTo>
                  <a:lnTo>
                    <a:pt x="241" y="268"/>
                  </a:lnTo>
                  <a:lnTo>
                    <a:pt x="232" y="259"/>
                  </a:lnTo>
                  <a:lnTo>
                    <a:pt x="223" y="255"/>
                  </a:lnTo>
                  <a:lnTo>
                    <a:pt x="219" y="246"/>
                  </a:lnTo>
                  <a:lnTo>
                    <a:pt x="196" y="251"/>
                  </a:lnTo>
                  <a:lnTo>
                    <a:pt x="187" y="237"/>
                  </a:lnTo>
                  <a:lnTo>
                    <a:pt x="178" y="242"/>
                  </a:lnTo>
                  <a:lnTo>
                    <a:pt x="169" y="233"/>
                  </a:lnTo>
                  <a:lnTo>
                    <a:pt x="143" y="237"/>
                  </a:lnTo>
                  <a:lnTo>
                    <a:pt x="134" y="184"/>
                  </a:lnTo>
                  <a:lnTo>
                    <a:pt x="125" y="184"/>
                  </a:lnTo>
                  <a:lnTo>
                    <a:pt x="120" y="179"/>
                  </a:lnTo>
                  <a:lnTo>
                    <a:pt x="107" y="179"/>
                  </a:lnTo>
                  <a:lnTo>
                    <a:pt x="102" y="197"/>
                  </a:lnTo>
                  <a:lnTo>
                    <a:pt x="80" y="197"/>
                  </a:lnTo>
                  <a:lnTo>
                    <a:pt x="71" y="184"/>
                  </a:lnTo>
                  <a:lnTo>
                    <a:pt x="71" y="179"/>
                  </a:lnTo>
                  <a:lnTo>
                    <a:pt x="67" y="166"/>
                  </a:lnTo>
                  <a:lnTo>
                    <a:pt x="13" y="166"/>
                  </a:lnTo>
                  <a:lnTo>
                    <a:pt x="0" y="161"/>
                  </a:lnTo>
                  <a:lnTo>
                    <a:pt x="0" y="161"/>
                  </a:lnTo>
                  <a:lnTo>
                    <a:pt x="9" y="14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68" name="Freeform 16"/>
            <p:cNvSpPr>
              <a:spLocks/>
            </p:cNvSpPr>
            <p:nvPr/>
          </p:nvSpPr>
          <p:spPr bwMode="gray">
            <a:xfrm>
              <a:off x="2696" y="2596"/>
              <a:ext cx="45" cy="94"/>
            </a:xfrm>
            <a:custGeom>
              <a:avLst/>
              <a:gdLst>
                <a:gd name="T0" fmla="*/ 0 w 45"/>
                <a:gd name="T1" fmla="*/ 18 h 94"/>
                <a:gd name="T2" fmla="*/ 0 w 45"/>
                <a:gd name="T3" fmla="*/ 31 h 94"/>
                <a:gd name="T4" fmla="*/ 9 w 45"/>
                <a:gd name="T5" fmla="*/ 40 h 94"/>
                <a:gd name="T6" fmla="*/ 9 w 45"/>
                <a:gd name="T7" fmla="*/ 54 h 94"/>
                <a:gd name="T8" fmla="*/ 13 w 45"/>
                <a:gd name="T9" fmla="*/ 54 h 94"/>
                <a:gd name="T10" fmla="*/ 13 w 45"/>
                <a:gd name="T11" fmla="*/ 80 h 94"/>
                <a:gd name="T12" fmla="*/ 18 w 45"/>
                <a:gd name="T13" fmla="*/ 94 h 94"/>
                <a:gd name="T14" fmla="*/ 36 w 45"/>
                <a:gd name="T15" fmla="*/ 89 h 94"/>
                <a:gd name="T16" fmla="*/ 31 w 45"/>
                <a:gd name="T17" fmla="*/ 76 h 94"/>
                <a:gd name="T18" fmla="*/ 31 w 45"/>
                <a:gd name="T19" fmla="*/ 58 h 94"/>
                <a:gd name="T20" fmla="*/ 40 w 45"/>
                <a:gd name="T21" fmla="*/ 54 h 94"/>
                <a:gd name="T22" fmla="*/ 45 w 45"/>
                <a:gd name="T23" fmla="*/ 45 h 94"/>
                <a:gd name="T24" fmla="*/ 45 w 45"/>
                <a:gd name="T25" fmla="*/ 27 h 94"/>
                <a:gd name="T26" fmla="*/ 40 w 45"/>
                <a:gd name="T27" fmla="*/ 18 h 94"/>
                <a:gd name="T28" fmla="*/ 45 w 45"/>
                <a:gd name="T29" fmla="*/ 9 h 94"/>
                <a:gd name="T30" fmla="*/ 31 w 45"/>
                <a:gd name="T31" fmla="*/ 0 h 94"/>
                <a:gd name="T32" fmla="*/ 22 w 45"/>
                <a:gd name="T33" fmla="*/ 9 h 94"/>
                <a:gd name="T34" fmla="*/ 18 w 45"/>
                <a:gd name="T35" fmla="*/ 9 h 94"/>
                <a:gd name="T36" fmla="*/ 9 w 45"/>
                <a:gd name="T37" fmla="*/ 18 h 94"/>
                <a:gd name="T38" fmla="*/ 0 w 45"/>
                <a:gd name="T39" fmla="*/ 18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94">
                  <a:moveTo>
                    <a:pt x="0" y="18"/>
                  </a:moveTo>
                  <a:lnTo>
                    <a:pt x="0" y="31"/>
                  </a:lnTo>
                  <a:lnTo>
                    <a:pt x="9" y="40"/>
                  </a:lnTo>
                  <a:lnTo>
                    <a:pt x="9" y="54"/>
                  </a:lnTo>
                  <a:lnTo>
                    <a:pt x="13" y="54"/>
                  </a:lnTo>
                  <a:lnTo>
                    <a:pt x="13" y="80"/>
                  </a:lnTo>
                  <a:lnTo>
                    <a:pt x="18" y="94"/>
                  </a:lnTo>
                  <a:lnTo>
                    <a:pt x="36" y="89"/>
                  </a:lnTo>
                  <a:lnTo>
                    <a:pt x="31" y="76"/>
                  </a:lnTo>
                  <a:lnTo>
                    <a:pt x="31" y="58"/>
                  </a:lnTo>
                  <a:lnTo>
                    <a:pt x="40" y="54"/>
                  </a:lnTo>
                  <a:lnTo>
                    <a:pt x="45" y="45"/>
                  </a:lnTo>
                  <a:lnTo>
                    <a:pt x="45" y="27"/>
                  </a:lnTo>
                  <a:lnTo>
                    <a:pt x="40" y="18"/>
                  </a:lnTo>
                  <a:lnTo>
                    <a:pt x="45" y="9"/>
                  </a:lnTo>
                  <a:lnTo>
                    <a:pt x="31" y="0"/>
                  </a:lnTo>
                  <a:lnTo>
                    <a:pt x="22" y="9"/>
                  </a:lnTo>
                  <a:lnTo>
                    <a:pt x="18" y="9"/>
                  </a:lnTo>
                  <a:lnTo>
                    <a:pt x="9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69" name="Freeform 17"/>
            <p:cNvSpPr>
              <a:spLocks noEditPoints="1"/>
            </p:cNvSpPr>
            <p:nvPr/>
          </p:nvSpPr>
          <p:spPr bwMode="gray">
            <a:xfrm>
              <a:off x="2803" y="2721"/>
              <a:ext cx="40" cy="45"/>
            </a:xfrm>
            <a:custGeom>
              <a:avLst/>
              <a:gdLst>
                <a:gd name="T0" fmla="*/ 5 w 40"/>
                <a:gd name="T1" fmla="*/ 0 h 45"/>
                <a:gd name="T2" fmla="*/ 0 w 40"/>
                <a:gd name="T3" fmla="*/ 5 h 45"/>
                <a:gd name="T4" fmla="*/ 0 w 40"/>
                <a:gd name="T5" fmla="*/ 9 h 45"/>
                <a:gd name="T6" fmla="*/ 5 w 40"/>
                <a:gd name="T7" fmla="*/ 9 h 45"/>
                <a:gd name="T8" fmla="*/ 9 w 40"/>
                <a:gd name="T9" fmla="*/ 5 h 45"/>
                <a:gd name="T10" fmla="*/ 5 w 40"/>
                <a:gd name="T11" fmla="*/ 0 h 45"/>
                <a:gd name="T12" fmla="*/ 18 w 40"/>
                <a:gd name="T13" fmla="*/ 27 h 45"/>
                <a:gd name="T14" fmla="*/ 40 w 40"/>
                <a:gd name="T15" fmla="*/ 31 h 45"/>
                <a:gd name="T16" fmla="*/ 40 w 40"/>
                <a:gd name="T17" fmla="*/ 45 h 45"/>
                <a:gd name="T18" fmla="*/ 18 w 40"/>
                <a:gd name="T19" fmla="*/ 45 h 45"/>
                <a:gd name="T20" fmla="*/ 14 w 40"/>
                <a:gd name="T21" fmla="*/ 40 h 45"/>
                <a:gd name="T22" fmla="*/ 18 w 40"/>
                <a:gd name="T2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45">
                  <a:moveTo>
                    <a:pt x="5" y="0"/>
                  </a:moveTo>
                  <a:lnTo>
                    <a:pt x="0" y="5"/>
                  </a:lnTo>
                  <a:lnTo>
                    <a:pt x="0" y="9"/>
                  </a:lnTo>
                  <a:lnTo>
                    <a:pt x="5" y="9"/>
                  </a:lnTo>
                  <a:lnTo>
                    <a:pt x="9" y="5"/>
                  </a:lnTo>
                  <a:lnTo>
                    <a:pt x="5" y="0"/>
                  </a:lnTo>
                  <a:close/>
                  <a:moveTo>
                    <a:pt x="18" y="27"/>
                  </a:moveTo>
                  <a:lnTo>
                    <a:pt x="40" y="31"/>
                  </a:lnTo>
                  <a:lnTo>
                    <a:pt x="40" y="45"/>
                  </a:lnTo>
                  <a:lnTo>
                    <a:pt x="18" y="45"/>
                  </a:lnTo>
                  <a:lnTo>
                    <a:pt x="14" y="40"/>
                  </a:lnTo>
                  <a:lnTo>
                    <a:pt x="18" y="27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70" name="Freeform 18"/>
            <p:cNvSpPr>
              <a:spLocks/>
            </p:cNvSpPr>
            <p:nvPr/>
          </p:nvSpPr>
          <p:spPr bwMode="gray">
            <a:xfrm>
              <a:off x="3160" y="2569"/>
              <a:ext cx="215" cy="161"/>
            </a:xfrm>
            <a:custGeom>
              <a:avLst/>
              <a:gdLst>
                <a:gd name="T0" fmla="*/ 36 w 215"/>
                <a:gd name="T1" fmla="*/ 143 h 161"/>
                <a:gd name="T2" fmla="*/ 41 w 215"/>
                <a:gd name="T3" fmla="*/ 148 h 161"/>
                <a:gd name="T4" fmla="*/ 54 w 215"/>
                <a:gd name="T5" fmla="*/ 143 h 161"/>
                <a:gd name="T6" fmla="*/ 72 w 215"/>
                <a:gd name="T7" fmla="*/ 157 h 161"/>
                <a:gd name="T8" fmla="*/ 94 w 215"/>
                <a:gd name="T9" fmla="*/ 161 h 161"/>
                <a:gd name="T10" fmla="*/ 99 w 215"/>
                <a:gd name="T11" fmla="*/ 152 h 161"/>
                <a:gd name="T12" fmla="*/ 108 w 215"/>
                <a:gd name="T13" fmla="*/ 148 h 161"/>
                <a:gd name="T14" fmla="*/ 117 w 215"/>
                <a:gd name="T15" fmla="*/ 152 h 161"/>
                <a:gd name="T16" fmla="*/ 130 w 215"/>
                <a:gd name="T17" fmla="*/ 152 h 161"/>
                <a:gd name="T18" fmla="*/ 139 w 215"/>
                <a:gd name="T19" fmla="*/ 143 h 161"/>
                <a:gd name="T20" fmla="*/ 166 w 215"/>
                <a:gd name="T21" fmla="*/ 139 h 161"/>
                <a:gd name="T22" fmla="*/ 215 w 215"/>
                <a:gd name="T23" fmla="*/ 99 h 161"/>
                <a:gd name="T24" fmla="*/ 193 w 215"/>
                <a:gd name="T25" fmla="*/ 99 h 161"/>
                <a:gd name="T26" fmla="*/ 157 w 215"/>
                <a:gd name="T27" fmla="*/ 81 h 161"/>
                <a:gd name="T28" fmla="*/ 148 w 215"/>
                <a:gd name="T29" fmla="*/ 72 h 161"/>
                <a:gd name="T30" fmla="*/ 139 w 215"/>
                <a:gd name="T31" fmla="*/ 58 h 161"/>
                <a:gd name="T32" fmla="*/ 143 w 215"/>
                <a:gd name="T33" fmla="*/ 49 h 161"/>
                <a:gd name="T34" fmla="*/ 139 w 215"/>
                <a:gd name="T35" fmla="*/ 49 h 161"/>
                <a:gd name="T36" fmla="*/ 126 w 215"/>
                <a:gd name="T37" fmla="*/ 49 h 161"/>
                <a:gd name="T38" fmla="*/ 126 w 215"/>
                <a:gd name="T39" fmla="*/ 36 h 161"/>
                <a:gd name="T40" fmla="*/ 108 w 215"/>
                <a:gd name="T41" fmla="*/ 14 h 161"/>
                <a:gd name="T42" fmla="*/ 94 w 215"/>
                <a:gd name="T43" fmla="*/ 9 h 161"/>
                <a:gd name="T44" fmla="*/ 76 w 215"/>
                <a:gd name="T45" fmla="*/ 9 h 161"/>
                <a:gd name="T46" fmla="*/ 72 w 215"/>
                <a:gd name="T47" fmla="*/ 0 h 161"/>
                <a:gd name="T48" fmla="*/ 63 w 215"/>
                <a:gd name="T49" fmla="*/ 9 h 161"/>
                <a:gd name="T50" fmla="*/ 50 w 215"/>
                <a:gd name="T51" fmla="*/ 5 h 161"/>
                <a:gd name="T52" fmla="*/ 45 w 215"/>
                <a:gd name="T53" fmla="*/ 23 h 161"/>
                <a:gd name="T54" fmla="*/ 32 w 215"/>
                <a:gd name="T55" fmla="*/ 23 h 161"/>
                <a:gd name="T56" fmla="*/ 23 w 215"/>
                <a:gd name="T57" fmla="*/ 45 h 161"/>
                <a:gd name="T58" fmla="*/ 23 w 215"/>
                <a:gd name="T59" fmla="*/ 54 h 161"/>
                <a:gd name="T60" fmla="*/ 14 w 215"/>
                <a:gd name="T61" fmla="*/ 54 h 161"/>
                <a:gd name="T62" fmla="*/ 14 w 215"/>
                <a:gd name="T63" fmla="*/ 90 h 161"/>
                <a:gd name="T64" fmla="*/ 0 w 215"/>
                <a:gd name="T65" fmla="*/ 90 h 161"/>
                <a:gd name="T66" fmla="*/ 0 w 215"/>
                <a:gd name="T67" fmla="*/ 103 h 161"/>
                <a:gd name="T68" fmla="*/ 14 w 215"/>
                <a:gd name="T69" fmla="*/ 107 h 161"/>
                <a:gd name="T70" fmla="*/ 27 w 215"/>
                <a:gd name="T71" fmla="*/ 121 h 161"/>
                <a:gd name="T72" fmla="*/ 23 w 215"/>
                <a:gd name="T73" fmla="*/ 130 h 161"/>
                <a:gd name="T74" fmla="*/ 36 w 215"/>
                <a:gd name="T75" fmla="*/ 134 h 161"/>
                <a:gd name="T76" fmla="*/ 36 w 215"/>
                <a:gd name="T77" fmla="*/ 14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161">
                  <a:moveTo>
                    <a:pt x="36" y="143"/>
                  </a:moveTo>
                  <a:lnTo>
                    <a:pt x="41" y="148"/>
                  </a:lnTo>
                  <a:lnTo>
                    <a:pt x="54" y="143"/>
                  </a:lnTo>
                  <a:lnTo>
                    <a:pt x="72" y="157"/>
                  </a:lnTo>
                  <a:lnTo>
                    <a:pt x="94" y="161"/>
                  </a:lnTo>
                  <a:lnTo>
                    <a:pt x="99" y="152"/>
                  </a:lnTo>
                  <a:lnTo>
                    <a:pt x="108" y="148"/>
                  </a:lnTo>
                  <a:lnTo>
                    <a:pt x="117" y="152"/>
                  </a:lnTo>
                  <a:lnTo>
                    <a:pt x="130" y="152"/>
                  </a:lnTo>
                  <a:lnTo>
                    <a:pt x="139" y="143"/>
                  </a:lnTo>
                  <a:lnTo>
                    <a:pt x="166" y="139"/>
                  </a:lnTo>
                  <a:lnTo>
                    <a:pt x="215" y="99"/>
                  </a:lnTo>
                  <a:lnTo>
                    <a:pt x="193" y="99"/>
                  </a:lnTo>
                  <a:lnTo>
                    <a:pt x="157" y="81"/>
                  </a:lnTo>
                  <a:lnTo>
                    <a:pt x="148" y="72"/>
                  </a:lnTo>
                  <a:lnTo>
                    <a:pt x="139" y="58"/>
                  </a:lnTo>
                  <a:lnTo>
                    <a:pt x="143" y="49"/>
                  </a:lnTo>
                  <a:lnTo>
                    <a:pt x="139" y="49"/>
                  </a:lnTo>
                  <a:lnTo>
                    <a:pt x="126" y="49"/>
                  </a:lnTo>
                  <a:lnTo>
                    <a:pt x="126" y="36"/>
                  </a:lnTo>
                  <a:lnTo>
                    <a:pt x="108" y="14"/>
                  </a:lnTo>
                  <a:lnTo>
                    <a:pt x="94" y="9"/>
                  </a:lnTo>
                  <a:lnTo>
                    <a:pt x="76" y="9"/>
                  </a:lnTo>
                  <a:lnTo>
                    <a:pt x="72" y="0"/>
                  </a:lnTo>
                  <a:lnTo>
                    <a:pt x="63" y="9"/>
                  </a:lnTo>
                  <a:lnTo>
                    <a:pt x="50" y="5"/>
                  </a:lnTo>
                  <a:lnTo>
                    <a:pt x="45" y="23"/>
                  </a:lnTo>
                  <a:lnTo>
                    <a:pt x="32" y="23"/>
                  </a:lnTo>
                  <a:lnTo>
                    <a:pt x="23" y="45"/>
                  </a:lnTo>
                  <a:lnTo>
                    <a:pt x="23" y="54"/>
                  </a:lnTo>
                  <a:lnTo>
                    <a:pt x="14" y="54"/>
                  </a:lnTo>
                  <a:lnTo>
                    <a:pt x="14" y="90"/>
                  </a:lnTo>
                  <a:lnTo>
                    <a:pt x="0" y="90"/>
                  </a:lnTo>
                  <a:lnTo>
                    <a:pt x="0" y="103"/>
                  </a:lnTo>
                  <a:lnTo>
                    <a:pt x="14" y="107"/>
                  </a:lnTo>
                  <a:lnTo>
                    <a:pt x="27" y="121"/>
                  </a:lnTo>
                  <a:lnTo>
                    <a:pt x="23" y="130"/>
                  </a:lnTo>
                  <a:lnTo>
                    <a:pt x="36" y="134"/>
                  </a:lnTo>
                  <a:lnTo>
                    <a:pt x="36" y="14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71" name="Freeform 19"/>
            <p:cNvSpPr>
              <a:spLocks/>
            </p:cNvSpPr>
            <p:nvPr/>
          </p:nvSpPr>
          <p:spPr bwMode="gray">
            <a:xfrm>
              <a:off x="3205" y="2516"/>
              <a:ext cx="98" cy="89"/>
            </a:xfrm>
            <a:custGeom>
              <a:avLst/>
              <a:gdLst>
                <a:gd name="T0" fmla="*/ 31 w 98"/>
                <a:gd name="T1" fmla="*/ 0 h 89"/>
                <a:gd name="T2" fmla="*/ 18 w 98"/>
                <a:gd name="T3" fmla="*/ 4 h 89"/>
                <a:gd name="T4" fmla="*/ 9 w 98"/>
                <a:gd name="T5" fmla="*/ 13 h 89"/>
                <a:gd name="T6" fmla="*/ 9 w 98"/>
                <a:gd name="T7" fmla="*/ 31 h 89"/>
                <a:gd name="T8" fmla="*/ 0 w 98"/>
                <a:gd name="T9" fmla="*/ 40 h 89"/>
                <a:gd name="T10" fmla="*/ 5 w 98"/>
                <a:gd name="T11" fmla="*/ 58 h 89"/>
                <a:gd name="T12" fmla="*/ 18 w 98"/>
                <a:gd name="T13" fmla="*/ 62 h 89"/>
                <a:gd name="T14" fmla="*/ 27 w 98"/>
                <a:gd name="T15" fmla="*/ 53 h 89"/>
                <a:gd name="T16" fmla="*/ 31 w 98"/>
                <a:gd name="T17" fmla="*/ 62 h 89"/>
                <a:gd name="T18" fmla="*/ 49 w 98"/>
                <a:gd name="T19" fmla="*/ 62 h 89"/>
                <a:gd name="T20" fmla="*/ 63 w 98"/>
                <a:gd name="T21" fmla="*/ 67 h 89"/>
                <a:gd name="T22" fmla="*/ 81 w 98"/>
                <a:gd name="T23" fmla="*/ 89 h 89"/>
                <a:gd name="T24" fmla="*/ 98 w 98"/>
                <a:gd name="T25" fmla="*/ 80 h 89"/>
                <a:gd name="T26" fmla="*/ 76 w 98"/>
                <a:gd name="T27" fmla="*/ 58 h 89"/>
                <a:gd name="T28" fmla="*/ 58 w 98"/>
                <a:gd name="T29" fmla="*/ 44 h 89"/>
                <a:gd name="T30" fmla="*/ 54 w 98"/>
                <a:gd name="T31" fmla="*/ 49 h 89"/>
                <a:gd name="T32" fmla="*/ 54 w 98"/>
                <a:gd name="T33" fmla="*/ 35 h 89"/>
                <a:gd name="T34" fmla="*/ 58 w 98"/>
                <a:gd name="T35" fmla="*/ 35 h 89"/>
                <a:gd name="T36" fmla="*/ 54 w 98"/>
                <a:gd name="T37" fmla="*/ 31 h 89"/>
                <a:gd name="T38" fmla="*/ 54 w 98"/>
                <a:gd name="T39" fmla="*/ 22 h 89"/>
                <a:gd name="T40" fmla="*/ 49 w 98"/>
                <a:gd name="T41" fmla="*/ 31 h 89"/>
                <a:gd name="T42" fmla="*/ 45 w 98"/>
                <a:gd name="T43" fmla="*/ 40 h 89"/>
                <a:gd name="T44" fmla="*/ 36 w 98"/>
                <a:gd name="T45" fmla="*/ 13 h 89"/>
                <a:gd name="T46" fmla="*/ 31 w 98"/>
                <a:gd name="T4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8" h="89">
                  <a:moveTo>
                    <a:pt x="31" y="0"/>
                  </a:moveTo>
                  <a:lnTo>
                    <a:pt x="18" y="4"/>
                  </a:lnTo>
                  <a:lnTo>
                    <a:pt x="9" y="13"/>
                  </a:lnTo>
                  <a:lnTo>
                    <a:pt x="9" y="31"/>
                  </a:lnTo>
                  <a:lnTo>
                    <a:pt x="0" y="40"/>
                  </a:lnTo>
                  <a:lnTo>
                    <a:pt x="5" y="58"/>
                  </a:lnTo>
                  <a:lnTo>
                    <a:pt x="18" y="62"/>
                  </a:lnTo>
                  <a:lnTo>
                    <a:pt x="27" y="53"/>
                  </a:lnTo>
                  <a:lnTo>
                    <a:pt x="31" y="62"/>
                  </a:lnTo>
                  <a:lnTo>
                    <a:pt x="49" y="62"/>
                  </a:lnTo>
                  <a:lnTo>
                    <a:pt x="63" y="67"/>
                  </a:lnTo>
                  <a:lnTo>
                    <a:pt x="81" y="89"/>
                  </a:lnTo>
                  <a:lnTo>
                    <a:pt x="98" y="80"/>
                  </a:lnTo>
                  <a:lnTo>
                    <a:pt x="76" y="58"/>
                  </a:lnTo>
                  <a:lnTo>
                    <a:pt x="58" y="44"/>
                  </a:lnTo>
                  <a:lnTo>
                    <a:pt x="54" y="49"/>
                  </a:lnTo>
                  <a:lnTo>
                    <a:pt x="54" y="35"/>
                  </a:lnTo>
                  <a:lnTo>
                    <a:pt x="58" y="35"/>
                  </a:lnTo>
                  <a:lnTo>
                    <a:pt x="54" y="31"/>
                  </a:lnTo>
                  <a:lnTo>
                    <a:pt x="54" y="22"/>
                  </a:lnTo>
                  <a:lnTo>
                    <a:pt x="49" y="31"/>
                  </a:lnTo>
                  <a:lnTo>
                    <a:pt x="45" y="40"/>
                  </a:lnTo>
                  <a:lnTo>
                    <a:pt x="36" y="13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72" name="Freeform 20"/>
            <p:cNvSpPr>
              <a:spLocks/>
            </p:cNvSpPr>
            <p:nvPr/>
          </p:nvSpPr>
          <p:spPr bwMode="gray">
            <a:xfrm>
              <a:off x="3286" y="2596"/>
              <a:ext cx="22" cy="22"/>
            </a:xfrm>
            <a:custGeom>
              <a:avLst/>
              <a:gdLst>
                <a:gd name="T0" fmla="*/ 0 w 22"/>
                <a:gd name="T1" fmla="*/ 9 h 22"/>
                <a:gd name="T2" fmla="*/ 17 w 22"/>
                <a:gd name="T3" fmla="*/ 0 h 22"/>
                <a:gd name="T4" fmla="*/ 22 w 22"/>
                <a:gd name="T5" fmla="*/ 5 h 22"/>
                <a:gd name="T6" fmla="*/ 8 w 22"/>
                <a:gd name="T7" fmla="*/ 13 h 22"/>
                <a:gd name="T8" fmla="*/ 17 w 22"/>
                <a:gd name="T9" fmla="*/ 13 h 22"/>
                <a:gd name="T10" fmla="*/ 22 w 22"/>
                <a:gd name="T11" fmla="*/ 18 h 22"/>
                <a:gd name="T12" fmla="*/ 17 w 22"/>
                <a:gd name="T13" fmla="*/ 22 h 22"/>
                <a:gd name="T14" fmla="*/ 13 w 22"/>
                <a:gd name="T15" fmla="*/ 22 h 22"/>
                <a:gd name="T16" fmla="*/ 0 w 22"/>
                <a:gd name="T17" fmla="*/ 22 h 22"/>
                <a:gd name="T18" fmla="*/ 0 w 22"/>
                <a:gd name="T1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0" y="9"/>
                  </a:moveTo>
                  <a:lnTo>
                    <a:pt x="17" y="0"/>
                  </a:lnTo>
                  <a:lnTo>
                    <a:pt x="22" y="5"/>
                  </a:lnTo>
                  <a:lnTo>
                    <a:pt x="8" y="13"/>
                  </a:lnTo>
                  <a:lnTo>
                    <a:pt x="17" y="13"/>
                  </a:lnTo>
                  <a:lnTo>
                    <a:pt x="22" y="18"/>
                  </a:lnTo>
                  <a:lnTo>
                    <a:pt x="17" y="22"/>
                  </a:lnTo>
                  <a:lnTo>
                    <a:pt x="13" y="22"/>
                  </a:lnTo>
                  <a:lnTo>
                    <a:pt x="0" y="22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73" name="Freeform 21"/>
            <p:cNvSpPr>
              <a:spLocks/>
            </p:cNvSpPr>
            <p:nvPr/>
          </p:nvSpPr>
          <p:spPr bwMode="gray">
            <a:xfrm>
              <a:off x="2808" y="2748"/>
              <a:ext cx="80" cy="85"/>
            </a:xfrm>
            <a:custGeom>
              <a:avLst/>
              <a:gdLst>
                <a:gd name="T0" fmla="*/ 13 w 80"/>
                <a:gd name="T1" fmla="*/ 18 h 85"/>
                <a:gd name="T2" fmla="*/ 9 w 80"/>
                <a:gd name="T3" fmla="*/ 22 h 85"/>
                <a:gd name="T4" fmla="*/ 4 w 80"/>
                <a:gd name="T5" fmla="*/ 36 h 85"/>
                <a:gd name="T6" fmla="*/ 0 w 80"/>
                <a:gd name="T7" fmla="*/ 40 h 85"/>
                <a:gd name="T8" fmla="*/ 0 w 80"/>
                <a:gd name="T9" fmla="*/ 45 h 85"/>
                <a:gd name="T10" fmla="*/ 13 w 80"/>
                <a:gd name="T11" fmla="*/ 49 h 85"/>
                <a:gd name="T12" fmla="*/ 9 w 80"/>
                <a:gd name="T13" fmla="*/ 54 h 85"/>
                <a:gd name="T14" fmla="*/ 17 w 80"/>
                <a:gd name="T15" fmla="*/ 71 h 85"/>
                <a:gd name="T16" fmla="*/ 31 w 80"/>
                <a:gd name="T17" fmla="*/ 85 h 85"/>
                <a:gd name="T18" fmla="*/ 35 w 80"/>
                <a:gd name="T19" fmla="*/ 80 h 85"/>
                <a:gd name="T20" fmla="*/ 40 w 80"/>
                <a:gd name="T21" fmla="*/ 80 h 85"/>
                <a:gd name="T22" fmla="*/ 40 w 80"/>
                <a:gd name="T23" fmla="*/ 71 h 85"/>
                <a:gd name="T24" fmla="*/ 35 w 80"/>
                <a:gd name="T25" fmla="*/ 67 h 85"/>
                <a:gd name="T26" fmla="*/ 44 w 80"/>
                <a:gd name="T27" fmla="*/ 67 h 85"/>
                <a:gd name="T28" fmla="*/ 53 w 80"/>
                <a:gd name="T29" fmla="*/ 58 h 85"/>
                <a:gd name="T30" fmla="*/ 62 w 80"/>
                <a:gd name="T31" fmla="*/ 67 h 85"/>
                <a:gd name="T32" fmla="*/ 80 w 80"/>
                <a:gd name="T33" fmla="*/ 63 h 85"/>
                <a:gd name="T34" fmla="*/ 80 w 80"/>
                <a:gd name="T35" fmla="*/ 49 h 85"/>
                <a:gd name="T36" fmla="*/ 76 w 80"/>
                <a:gd name="T37" fmla="*/ 27 h 85"/>
                <a:gd name="T38" fmla="*/ 80 w 80"/>
                <a:gd name="T39" fmla="*/ 22 h 85"/>
                <a:gd name="T40" fmla="*/ 80 w 80"/>
                <a:gd name="T41" fmla="*/ 13 h 85"/>
                <a:gd name="T42" fmla="*/ 62 w 80"/>
                <a:gd name="T43" fmla="*/ 13 h 85"/>
                <a:gd name="T44" fmla="*/ 67 w 80"/>
                <a:gd name="T45" fmla="*/ 0 h 85"/>
                <a:gd name="T46" fmla="*/ 53 w 80"/>
                <a:gd name="T47" fmla="*/ 0 h 85"/>
                <a:gd name="T48" fmla="*/ 35 w 80"/>
                <a:gd name="T49" fmla="*/ 4 h 85"/>
                <a:gd name="T50" fmla="*/ 35 w 80"/>
                <a:gd name="T51" fmla="*/ 18 h 85"/>
                <a:gd name="T52" fmla="*/ 13 w 80"/>
                <a:gd name="T53" fmla="*/ 1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0" h="85">
                  <a:moveTo>
                    <a:pt x="13" y="18"/>
                  </a:moveTo>
                  <a:lnTo>
                    <a:pt x="9" y="22"/>
                  </a:lnTo>
                  <a:lnTo>
                    <a:pt x="4" y="36"/>
                  </a:lnTo>
                  <a:lnTo>
                    <a:pt x="0" y="40"/>
                  </a:lnTo>
                  <a:lnTo>
                    <a:pt x="0" y="45"/>
                  </a:lnTo>
                  <a:lnTo>
                    <a:pt x="13" y="49"/>
                  </a:lnTo>
                  <a:lnTo>
                    <a:pt x="9" y="54"/>
                  </a:lnTo>
                  <a:lnTo>
                    <a:pt x="17" y="71"/>
                  </a:lnTo>
                  <a:lnTo>
                    <a:pt x="31" y="85"/>
                  </a:lnTo>
                  <a:lnTo>
                    <a:pt x="35" y="80"/>
                  </a:lnTo>
                  <a:lnTo>
                    <a:pt x="40" y="80"/>
                  </a:lnTo>
                  <a:lnTo>
                    <a:pt x="40" y="71"/>
                  </a:lnTo>
                  <a:lnTo>
                    <a:pt x="35" y="67"/>
                  </a:lnTo>
                  <a:lnTo>
                    <a:pt x="44" y="67"/>
                  </a:lnTo>
                  <a:lnTo>
                    <a:pt x="53" y="58"/>
                  </a:lnTo>
                  <a:lnTo>
                    <a:pt x="62" y="67"/>
                  </a:lnTo>
                  <a:lnTo>
                    <a:pt x="80" y="63"/>
                  </a:lnTo>
                  <a:lnTo>
                    <a:pt x="80" y="49"/>
                  </a:lnTo>
                  <a:lnTo>
                    <a:pt x="76" y="27"/>
                  </a:lnTo>
                  <a:lnTo>
                    <a:pt x="80" y="22"/>
                  </a:lnTo>
                  <a:lnTo>
                    <a:pt x="80" y="13"/>
                  </a:lnTo>
                  <a:lnTo>
                    <a:pt x="62" y="13"/>
                  </a:lnTo>
                  <a:lnTo>
                    <a:pt x="67" y="0"/>
                  </a:lnTo>
                  <a:lnTo>
                    <a:pt x="53" y="0"/>
                  </a:lnTo>
                  <a:lnTo>
                    <a:pt x="35" y="4"/>
                  </a:lnTo>
                  <a:lnTo>
                    <a:pt x="35" y="18"/>
                  </a:lnTo>
                  <a:lnTo>
                    <a:pt x="13" y="18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74" name="Freeform 22"/>
            <p:cNvSpPr>
              <a:spLocks/>
            </p:cNvSpPr>
            <p:nvPr/>
          </p:nvSpPr>
          <p:spPr bwMode="gray">
            <a:xfrm>
              <a:off x="2446" y="2578"/>
              <a:ext cx="40" cy="14"/>
            </a:xfrm>
            <a:custGeom>
              <a:avLst/>
              <a:gdLst>
                <a:gd name="T0" fmla="*/ 0 w 40"/>
                <a:gd name="T1" fmla="*/ 9 h 14"/>
                <a:gd name="T2" fmla="*/ 18 w 40"/>
                <a:gd name="T3" fmla="*/ 14 h 14"/>
                <a:gd name="T4" fmla="*/ 27 w 40"/>
                <a:gd name="T5" fmla="*/ 5 h 14"/>
                <a:gd name="T6" fmla="*/ 36 w 40"/>
                <a:gd name="T7" fmla="*/ 9 h 14"/>
                <a:gd name="T8" fmla="*/ 40 w 40"/>
                <a:gd name="T9" fmla="*/ 5 h 14"/>
                <a:gd name="T10" fmla="*/ 36 w 40"/>
                <a:gd name="T11" fmla="*/ 0 h 14"/>
                <a:gd name="T12" fmla="*/ 27 w 40"/>
                <a:gd name="T13" fmla="*/ 0 h 14"/>
                <a:gd name="T14" fmla="*/ 4 w 40"/>
                <a:gd name="T15" fmla="*/ 0 h 14"/>
                <a:gd name="T16" fmla="*/ 4 w 40"/>
                <a:gd name="T17" fmla="*/ 5 h 14"/>
                <a:gd name="T18" fmla="*/ 0 w 40"/>
                <a:gd name="T19" fmla="*/ 5 h 14"/>
                <a:gd name="T20" fmla="*/ 0 w 40"/>
                <a:gd name="T21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0" h="14">
                  <a:moveTo>
                    <a:pt x="0" y="9"/>
                  </a:moveTo>
                  <a:lnTo>
                    <a:pt x="18" y="14"/>
                  </a:lnTo>
                  <a:lnTo>
                    <a:pt x="27" y="5"/>
                  </a:lnTo>
                  <a:lnTo>
                    <a:pt x="36" y="9"/>
                  </a:lnTo>
                  <a:lnTo>
                    <a:pt x="40" y="5"/>
                  </a:lnTo>
                  <a:lnTo>
                    <a:pt x="36" y="0"/>
                  </a:lnTo>
                  <a:lnTo>
                    <a:pt x="27" y="0"/>
                  </a:lnTo>
                  <a:lnTo>
                    <a:pt x="4" y="0"/>
                  </a:lnTo>
                  <a:lnTo>
                    <a:pt x="4" y="5"/>
                  </a:lnTo>
                  <a:lnTo>
                    <a:pt x="0" y="5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75" name="Freeform 23"/>
            <p:cNvSpPr>
              <a:spLocks/>
            </p:cNvSpPr>
            <p:nvPr/>
          </p:nvSpPr>
          <p:spPr bwMode="gray">
            <a:xfrm>
              <a:off x="2638" y="2614"/>
              <a:ext cx="62" cy="98"/>
            </a:xfrm>
            <a:custGeom>
              <a:avLst/>
              <a:gdLst>
                <a:gd name="T0" fmla="*/ 4 w 62"/>
                <a:gd name="T1" fmla="*/ 89 h 98"/>
                <a:gd name="T2" fmla="*/ 13 w 62"/>
                <a:gd name="T3" fmla="*/ 98 h 98"/>
                <a:gd name="T4" fmla="*/ 18 w 62"/>
                <a:gd name="T5" fmla="*/ 89 h 98"/>
                <a:gd name="T6" fmla="*/ 31 w 62"/>
                <a:gd name="T7" fmla="*/ 89 h 98"/>
                <a:gd name="T8" fmla="*/ 45 w 62"/>
                <a:gd name="T9" fmla="*/ 80 h 98"/>
                <a:gd name="T10" fmla="*/ 58 w 62"/>
                <a:gd name="T11" fmla="*/ 80 h 98"/>
                <a:gd name="T12" fmla="*/ 62 w 62"/>
                <a:gd name="T13" fmla="*/ 76 h 98"/>
                <a:gd name="T14" fmla="*/ 58 w 62"/>
                <a:gd name="T15" fmla="*/ 71 h 98"/>
                <a:gd name="T16" fmla="*/ 53 w 62"/>
                <a:gd name="T17" fmla="*/ 62 h 98"/>
                <a:gd name="T18" fmla="*/ 53 w 62"/>
                <a:gd name="T19" fmla="*/ 54 h 98"/>
                <a:gd name="T20" fmla="*/ 49 w 62"/>
                <a:gd name="T21" fmla="*/ 40 h 98"/>
                <a:gd name="T22" fmla="*/ 53 w 62"/>
                <a:gd name="T23" fmla="*/ 36 h 98"/>
                <a:gd name="T24" fmla="*/ 53 w 62"/>
                <a:gd name="T25" fmla="*/ 13 h 98"/>
                <a:gd name="T26" fmla="*/ 45 w 62"/>
                <a:gd name="T27" fmla="*/ 9 h 98"/>
                <a:gd name="T28" fmla="*/ 49 w 62"/>
                <a:gd name="T29" fmla="*/ 0 h 98"/>
                <a:gd name="T30" fmla="*/ 45 w 62"/>
                <a:gd name="T31" fmla="*/ 0 h 98"/>
                <a:gd name="T32" fmla="*/ 36 w 62"/>
                <a:gd name="T33" fmla="*/ 4 h 98"/>
                <a:gd name="T34" fmla="*/ 4 w 62"/>
                <a:gd name="T35" fmla="*/ 4 h 98"/>
                <a:gd name="T36" fmla="*/ 4 w 62"/>
                <a:gd name="T37" fmla="*/ 18 h 98"/>
                <a:gd name="T38" fmla="*/ 4 w 62"/>
                <a:gd name="T39" fmla="*/ 31 h 98"/>
                <a:gd name="T40" fmla="*/ 9 w 62"/>
                <a:gd name="T41" fmla="*/ 45 h 98"/>
                <a:gd name="T42" fmla="*/ 4 w 62"/>
                <a:gd name="T43" fmla="*/ 54 h 98"/>
                <a:gd name="T44" fmla="*/ 0 w 62"/>
                <a:gd name="T45" fmla="*/ 67 h 98"/>
                <a:gd name="T46" fmla="*/ 4 w 62"/>
                <a:gd name="T47" fmla="*/ 85 h 98"/>
                <a:gd name="T48" fmla="*/ 4 w 62"/>
                <a:gd name="T49" fmla="*/ 8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2" h="98">
                  <a:moveTo>
                    <a:pt x="4" y="89"/>
                  </a:moveTo>
                  <a:lnTo>
                    <a:pt x="13" y="98"/>
                  </a:lnTo>
                  <a:lnTo>
                    <a:pt x="18" y="89"/>
                  </a:lnTo>
                  <a:lnTo>
                    <a:pt x="31" y="89"/>
                  </a:lnTo>
                  <a:lnTo>
                    <a:pt x="45" y="80"/>
                  </a:lnTo>
                  <a:lnTo>
                    <a:pt x="58" y="80"/>
                  </a:lnTo>
                  <a:lnTo>
                    <a:pt x="62" y="76"/>
                  </a:lnTo>
                  <a:lnTo>
                    <a:pt x="58" y="71"/>
                  </a:lnTo>
                  <a:lnTo>
                    <a:pt x="53" y="62"/>
                  </a:lnTo>
                  <a:lnTo>
                    <a:pt x="53" y="54"/>
                  </a:lnTo>
                  <a:lnTo>
                    <a:pt x="49" y="40"/>
                  </a:lnTo>
                  <a:lnTo>
                    <a:pt x="53" y="36"/>
                  </a:lnTo>
                  <a:lnTo>
                    <a:pt x="53" y="13"/>
                  </a:lnTo>
                  <a:lnTo>
                    <a:pt x="45" y="9"/>
                  </a:lnTo>
                  <a:lnTo>
                    <a:pt x="49" y="0"/>
                  </a:lnTo>
                  <a:lnTo>
                    <a:pt x="45" y="0"/>
                  </a:lnTo>
                  <a:lnTo>
                    <a:pt x="36" y="4"/>
                  </a:lnTo>
                  <a:lnTo>
                    <a:pt x="4" y="4"/>
                  </a:lnTo>
                  <a:lnTo>
                    <a:pt x="4" y="18"/>
                  </a:lnTo>
                  <a:lnTo>
                    <a:pt x="4" y="31"/>
                  </a:lnTo>
                  <a:lnTo>
                    <a:pt x="9" y="45"/>
                  </a:lnTo>
                  <a:lnTo>
                    <a:pt x="4" y="54"/>
                  </a:lnTo>
                  <a:lnTo>
                    <a:pt x="0" y="67"/>
                  </a:lnTo>
                  <a:lnTo>
                    <a:pt x="4" y="85"/>
                  </a:lnTo>
                  <a:lnTo>
                    <a:pt x="4" y="8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76" name="Freeform 24"/>
            <p:cNvSpPr>
              <a:spLocks/>
            </p:cNvSpPr>
            <p:nvPr/>
          </p:nvSpPr>
          <p:spPr bwMode="gray">
            <a:xfrm>
              <a:off x="2473" y="2596"/>
              <a:ext cx="98" cy="76"/>
            </a:xfrm>
            <a:custGeom>
              <a:avLst/>
              <a:gdLst>
                <a:gd name="T0" fmla="*/ 0 w 98"/>
                <a:gd name="T1" fmla="*/ 31 h 76"/>
                <a:gd name="T2" fmla="*/ 4 w 98"/>
                <a:gd name="T3" fmla="*/ 40 h 76"/>
                <a:gd name="T4" fmla="*/ 17 w 98"/>
                <a:gd name="T5" fmla="*/ 45 h 76"/>
                <a:gd name="T6" fmla="*/ 17 w 98"/>
                <a:gd name="T7" fmla="*/ 54 h 76"/>
                <a:gd name="T8" fmla="*/ 26 w 98"/>
                <a:gd name="T9" fmla="*/ 49 h 76"/>
                <a:gd name="T10" fmla="*/ 31 w 98"/>
                <a:gd name="T11" fmla="*/ 45 h 76"/>
                <a:gd name="T12" fmla="*/ 49 w 98"/>
                <a:gd name="T13" fmla="*/ 40 h 76"/>
                <a:gd name="T14" fmla="*/ 53 w 98"/>
                <a:gd name="T15" fmla="*/ 45 h 76"/>
                <a:gd name="T16" fmla="*/ 58 w 98"/>
                <a:gd name="T17" fmla="*/ 54 h 76"/>
                <a:gd name="T18" fmla="*/ 58 w 98"/>
                <a:gd name="T19" fmla="*/ 63 h 76"/>
                <a:gd name="T20" fmla="*/ 62 w 98"/>
                <a:gd name="T21" fmla="*/ 63 h 76"/>
                <a:gd name="T22" fmla="*/ 76 w 98"/>
                <a:gd name="T23" fmla="*/ 63 h 76"/>
                <a:gd name="T24" fmla="*/ 76 w 98"/>
                <a:gd name="T25" fmla="*/ 76 h 76"/>
                <a:gd name="T26" fmla="*/ 84 w 98"/>
                <a:gd name="T27" fmla="*/ 76 h 76"/>
                <a:gd name="T28" fmla="*/ 89 w 98"/>
                <a:gd name="T29" fmla="*/ 72 h 76"/>
                <a:gd name="T30" fmla="*/ 89 w 98"/>
                <a:gd name="T31" fmla="*/ 58 h 76"/>
                <a:gd name="T32" fmla="*/ 98 w 98"/>
                <a:gd name="T33" fmla="*/ 58 h 76"/>
                <a:gd name="T34" fmla="*/ 93 w 98"/>
                <a:gd name="T35" fmla="*/ 45 h 76"/>
                <a:gd name="T36" fmla="*/ 98 w 98"/>
                <a:gd name="T37" fmla="*/ 31 h 76"/>
                <a:gd name="T38" fmla="*/ 89 w 98"/>
                <a:gd name="T39" fmla="*/ 27 h 76"/>
                <a:gd name="T40" fmla="*/ 89 w 98"/>
                <a:gd name="T41" fmla="*/ 18 h 76"/>
                <a:gd name="T42" fmla="*/ 84 w 98"/>
                <a:gd name="T43" fmla="*/ 13 h 76"/>
                <a:gd name="T44" fmla="*/ 80 w 98"/>
                <a:gd name="T45" fmla="*/ 0 h 76"/>
                <a:gd name="T46" fmla="*/ 62 w 98"/>
                <a:gd name="T47" fmla="*/ 9 h 76"/>
                <a:gd name="T48" fmla="*/ 53 w 98"/>
                <a:gd name="T49" fmla="*/ 9 h 76"/>
                <a:gd name="T50" fmla="*/ 49 w 98"/>
                <a:gd name="T51" fmla="*/ 13 h 76"/>
                <a:gd name="T52" fmla="*/ 44 w 98"/>
                <a:gd name="T53" fmla="*/ 5 h 76"/>
                <a:gd name="T54" fmla="*/ 17 w 98"/>
                <a:gd name="T55" fmla="*/ 5 h 76"/>
                <a:gd name="T56" fmla="*/ 17 w 98"/>
                <a:gd name="T57" fmla="*/ 13 h 76"/>
                <a:gd name="T58" fmla="*/ 4 w 98"/>
                <a:gd name="T59" fmla="*/ 22 h 76"/>
                <a:gd name="T60" fmla="*/ 0 w 98"/>
                <a:gd name="T61" fmla="*/ 3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8" h="76">
                  <a:moveTo>
                    <a:pt x="0" y="31"/>
                  </a:moveTo>
                  <a:lnTo>
                    <a:pt x="4" y="40"/>
                  </a:lnTo>
                  <a:lnTo>
                    <a:pt x="17" y="45"/>
                  </a:lnTo>
                  <a:lnTo>
                    <a:pt x="17" y="54"/>
                  </a:lnTo>
                  <a:lnTo>
                    <a:pt x="26" y="49"/>
                  </a:lnTo>
                  <a:lnTo>
                    <a:pt x="31" y="45"/>
                  </a:lnTo>
                  <a:lnTo>
                    <a:pt x="49" y="40"/>
                  </a:lnTo>
                  <a:lnTo>
                    <a:pt x="53" y="45"/>
                  </a:lnTo>
                  <a:lnTo>
                    <a:pt x="58" y="54"/>
                  </a:lnTo>
                  <a:lnTo>
                    <a:pt x="58" y="63"/>
                  </a:lnTo>
                  <a:lnTo>
                    <a:pt x="62" y="63"/>
                  </a:lnTo>
                  <a:lnTo>
                    <a:pt x="76" y="63"/>
                  </a:lnTo>
                  <a:lnTo>
                    <a:pt x="76" y="76"/>
                  </a:lnTo>
                  <a:lnTo>
                    <a:pt x="84" y="76"/>
                  </a:lnTo>
                  <a:lnTo>
                    <a:pt x="89" y="72"/>
                  </a:lnTo>
                  <a:lnTo>
                    <a:pt x="89" y="58"/>
                  </a:lnTo>
                  <a:lnTo>
                    <a:pt x="98" y="58"/>
                  </a:lnTo>
                  <a:lnTo>
                    <a:pt x="93" y="45"/>
                  </a:lnTo>
                  <a:lnTo>
                    <a:pt x="98" y="31"/>
                  </a:lnTo>
                  <a:lnTo>
                    <a:pt x="89" y="27"/>
                  </a:lnTo>
                  <a:lnTo>
                    <a:pt x="89" y="18"/>
                  </a:lnTo>
                  <a:lnTo>
                    <a:pt x="84" y="13"/>
                  </a:lnTo>
                  <a:lnTo>
                    <a:pt x="80" y="0"/>
                  </a:lnTo>
                  <a:lnTo>
                    <a:pt x="62" y="9"/>
                  </a:lnTo>
                  <a:lnTo>
                    <a:pt x="53" y="9"/>
                  </a:lnTo>
                  <a:lnTo>
                    <a:pt x="49" y="13"/>
                  </a:lnTo>
                  <a:lnTo>
                    <a:pt x="44" y="5"/>
                  </a:lnTo>
                  <a:lnTo>
                    <a:pt x="17" y="5"/>
                  </a:lnTo>
                  <a:lnTo>
                    <a:pt x="17" y="13"/>
                  </a:lnTo>
                  <a:lnTo>
                    <a:pt x="4" y="22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77" name="Freeform 25"/>
            <p:cNvSpPr>
              <a:spLocks/>
            </p:cNvSpPr>
            <p:nvPr/>
          </p:nvSpPr>
          <p:spPr bwMode="gray">
            <a:xfrm>
              <a:off x="2562" y="2627"/>
              <a:ext cx="85" cy="90"/>
            </a:xfrm>
            <a:custGeom>
              <a:avLst/>
              <a:gdLst>
                <a:gd name="T0" fmla="*/ 0 w 85"/>
                <a:gd name="T1" fmla="*/ 41 h 90"/>
                <a:gd name="T2" fmla="*/ 0 w 85"/>
                <a:gd name="T3" fmla="*/ 54 h 90"/>
                <a:gd name="T4" fmla="*/ 18 w 85"/>
                <a:gd name="T5" fmla="*/ 67 h 90"/>
                <a:gd name="T6" fmla="*/ 13 w 85"/>
                <a:gd name="T7" fmla="*/ 90 h 90"/>
                <a:gd name="T8" fmla="*/ 18 w 85"/>
                <a:gd name="T9" fmla="*/ 90 h 90"/>
                <a:gd name="T10" fmla="*/ 36 w 85"/>
                <a:gd name="T11" fmla="*/ 76 h 90"/>
                <a:gd name="T12" fmla="*/ 58 w 85"/>
                <a:gd name="T13" fmla="*/ 72 h 90"/>
                <a:gd name="T14" fmla="*/ 80 w 85"/>
                <a:gd name="T15" fmla="*/ 76 h 90"/>
                <a:gd name="T16" fmla="*/ 80 w 85"/>
                <a:gd name="T17" fmla="*/ 72 h 90"/>
                <a:gd name="T18" fmla="*/ 76 w 85"/>
                <a:gd name="T19" fmla="*/ 54 h 90"/>
                <a:gd name="T20" fmla="*/ 80 w 85"/>
                <a:gd name="T21" fmla="*/ 41 h 90"/>
                <a:gd name="T22" fmla="*/ 85 w 85"/>
                <a:gd name="T23" fmla="*/ 32 h 90"/>
                <a:gd name="T24" fmla="*/ 80 w 85"/>
                <a:gd name="T25" fmla="*/ 18 h 90"/>
                <a:gd name="T26" fmla="*/ 76 w 85"/>
                <a:gd name="T27" fmla="*/ 14 h 90"/>
                <a:gd name="T28" fmla="*/ 71 w 85"/>
                <a:gd name="T29" fmla="*/ 9 h 90"/>
                <a:gd name="T30" fmla="*/ 58 w 85"/>
                <a:gd name="T31" fmla="*/ 14 h 90"/>
                <a:gd name="T32" fmla="*/ 40 w 85"/>
                <a:gd name="T33" fmla="*/ 0 h 90"/>
                <a:gd name="T34" fmla="*/ 36 w 85"/>
                <a:gd name="T35" fmla="*/ 5 h 90"/>
                <a:gd name="T36" fmla="*/ 31 w 85"/>
                <a:gd name="T37" fmla="*/ 0 h 90"/>
                <a:gd name="T38" fmla="*/ 13 w 85"/>
                <a:gd name="T39" fmla="*/ 5 h 90"/>
                <a:gd name="T40" fmla="*/ 9 w 85"/>
                <a:gd name="T41" fmla="*/ 0 h 90"/>
                <a:gd name="T42" fmla="*/ 4 w 85"/>
                <a:gd name="T43" fmla="*/ 14 h 90"/>
                <a:gd name="T44" fmla="*/ 9 w 85"/>
                <a:gd name="T45" fmla="*/ 27 h 90"/>
                <a:gd name="T46" fmla="*/ 0 w 85"/>
                <a:gd name="T47" fmla="*/ 27 h 90"/>
                <a:gd name="T48" fmla="*/ 0 w 85"/>
                <a:gd name="T49" fmla="*/ 4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5" h="90">
                  <a:moveTo>
                    <a:pt x="0" y="41"/>
                  </a:moveTo>
                  <a:lnTo>
                    <a:pt x="0" y="54"/>
                  </a:lnTo>
                  <a:lnTo>
                    <a:pt x="18" y="67"/>
                  </a:lnTo>
                  <a:lnTo>
                    <a:pt x="13" y="90"/>
                  </a:lnTo>
                  <a:lnTo>
                    <a:pt x="18" y="90"/>
                  </a:lnTo>
                  <a:lnTo>
                    <a:pt x="36" y="76"/>
                  </a:lnTo>
                  <a:lnTo>
                    <a:pt x="58" y="72"/>
                  </a:lnTo>
                  <a:lnTo>
                    <a:pt x="80" y="76"/>
                  </a:lnTo>
                  <a:lnTo>
                    <a:pt x="80" y="72"/>
                  </a:lnTo>
                  <a:lnTo>
                    <a:pt x="76" y="54"/>
                  </a:lnTo>
                  <a:lnTo>
                    <a:pt x="80" y="41"/>
                  </a:lnTo>
                  <a:lnTo>
                    <a:pt x="85" y="32"/>
                  </a:lnTo>
                  <a:lnTo>
                    <a:pt x="80" y="18"/>
                  </a:lnTo>
                  <a:lnTo>
                    <a:pt x="76" y="14"/>
                  </a:lnTo>
                  <a:lnTo>
                    <a:pt x="71" y="9"/>
                  </a:lnTo>
                  <a:lnTo>
                    <a:pt x="58" y="14"/>
                  </a:lnTo>
                  <a:lnTo>
                    <a:pt x="40" y="0"/>
                  </a:lnTo>
                  <a:lnTo>
                    <a:pt x="36" y="5"/>
                  </a:lnTo>
                  <a:lnTo>
                    <a:pt x="31" y="0"/>
                  </a:lnTo>
                  <a:lnTo>
                    <a:pt x="13" y="5"/>
                  </a:lnTo>
                  <a:lnTo>
                    <a:pt x="9" y="0"/>
                  </a:lnTo>
                  <a:lnTo>
                    <a:pt x="4" y="14"/>
                  </a:lnTo>
                  <a:lnTo>
                    <a:pt x="9" y="27"/>
                  </a:lnTo>
                  <a:lnTo>
                    <a:pt x="0" y="27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78" name="Freeform 26"/>
            <p:cNvSpPr>
              <a:spLocks/>
            </p:cNvSpPr>
            <p:nvPr/>
          </p:nvSpPr>
          <p:spPr bwMode="gray">
            <a:xfrm>
              <a:off x="3169" y="2712"/>
              <a:ext cx="121" cy="134"/>
            </a:xfrm>
            <a:custGeom>
              <a:avLst/>
              <a:gdLst>
                <a:gd name="T0" fmla="*/ 0 w 121"/>
                <a:gd name="T1" fmla="*/ 5 h 134"/>
                <a:gd name="T2" fmla="*/ 9 w 121"/>
                <a:gd name="T3" fmla="*/ 14 h 134"/>
                <a:gd name="T4" fmla="*/ 14 w 121"/>
                <a:gd name="T5" fmla="*/ 27 h 134"/>
                <a:gd name="T6" fmla="*/ 9 w 121"/>
                <a:gd name="T7" fmla="*/ 49 h 134"/>
                <a:gd name="T8" fmla="*/ 5 w 121"/>
                <a:gd name="T9" fmla="*/ 63 h 134"/>
                <a:gd name="T10" fmla="*/ 5 w 121"/>
                <a:gd name="T11" fmla="*/ 72 h 134"/>
                <a:gd name="T12" fmla="*/ 9 w 121"/>
                <a:gd name="T13" fmla="*/ 72 h 134"/>
                <a:gd name="T14" fmla="*/ 5 w 121"/>
                <a:gd name="T15" fmla="*/ 76 h 134"/>
                <a:gd name="T16" fmla="*/ 0 w 121"/>
                <a:gd name="T17" fmla="*/ 81 h 134"/>
                <a:gd name="T18" fmla="*/ 41 w 121"/>
                <a:gd name="T19" fmla="*/ 107 h 134"/>
                <a:gd name="T20" fmla="*/ 76 w 121"/>
                <a:gd name="T21" fmla="*/ 134 h 134"/>
                <a:gd name="T22" fmla="*/ 85 w 121"/>
                <a:gd name="T23" fmla="*/ 134 h 134"/>
                <a:gd name="T24" fmla="*/ 90 w 121"/>
                <a:gd name="T25" fmla="*/ 121 h 134"/>
                <a:gd name="T26" fmla="*/ 94 w 121"/>
                <a:gd name="T27" fmla="*/ 121 h 134"/>
                <a:gd name="T28" fmla="*/ 94 w 121"/>
                <a:gd name="T29" fmla="*/ 107 h 134"/>
                <a:gd name="T30" fmla="*/ 103 w 121"/>
                <a:gd name="T31" fmla="*/ 103 h 134"/>
                <a:gd name="T32" fmla="*/ 103 w 121"/>
                <a:gd name="T33" fmla="*/ 99 h 134"/>
                <a:gd name="T34" fmla="*/ 112 w 121"/>
                <a:gd name="T35" fmla="*/ 94 h 134"/>
                <a:gd name="T36" fmla="*/ 108 w 121"/>
                <a:gd name="T37" fmla="*/ 76 h 134"/>
                <a:gd name="T38" fmla="*/ 103 w 121"/>
                <a:gd name="T39" fmla="*/ 23 h 134"/>
                <a:gd name="T40" fmla="*/ 121 w 121"/>
                <a:gd name="T41" fmla="*/ 9 h 134"/>
                <a:gd name="T42" fmla="*/ 108 w 121"/>
                <a:gd name="T43" fmla="*/ 9 h 134"/>
                <a:gd name="T44" fmla="*/ 99 w 121"/>
                <a:gd name="T45" fmla="*/ 5 h 134"/>
                <a:gd name="T46" fmla="*/ 90 w 121"/>
                <a:gd name="T47" fmla="*/ 9 h 134"/>
                <a:gd name="T48" fmla="*/ 85 w 121"/>
                <a:gd name="T49" fmla="*/ 18 h 134"/>
                <a:gd name="T50" fmla="*/ 63 w 121"/>
                <a:gd name="T51" fmla="*/ 14 h 134"/>
                <a:gd name="T52" fmla="*/ 45 w 121"/>
                <a:gd name="T53" fmla="*/ 0 h 134"/>
                <a:gd name="T54" fmla="*/ 32 w 121"/>
                <a:gd name="T55" fmla="*/ 5 h 134"/>
                <a:gd name="T56" fmla="*/ 27 w 121"/>
                <a:gd name="T57" fmla="*/ 0 h 134"/>
                <a:gd name="T58" fmla="*/ 5 w 121"/>
                <a:gd name="T59" fmla="*/ 0 h 134"/>
                <a:gd name="T60" fmla="*/ 0 w 121"/>
                <a:gd name="T61" fmla="*/ 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21" h="134">
                  <a:moveTo>
                    <a:pt x="0" y="5"/>
                  </a:moveTo>
                  <a:lnTo>
                    <a:pt x="9" y="14"/>
                  </a:lnTo>
                  <a:lnTo>
                    <a:pt x="14" y="27"/>
                  </a:lnTo>
                  <a:lnTo>
                    <a:pt x="9" y="49"/>
                  </a:lnTo>
                  <a:lnTo>
                    <a:pt x="5" y="63"/>
                  </a:lnTo>
                  <a:lnTo>
                    <a:pt x="5" y="72"/>
                  </a:lnTo>
                  <a:lnTo>
                    <a:pt x="9" y="72"/>
                  </a:lnTo>
                  <a:lnTo>
                    <a:pt x="5" y="76"/>
                  </a:lnTo>
                  <a:lnTo>
                    <a:pt x="0" y="81"/>
                  </a:lnTo>
                  <a:lnTo>
                    <a:pt x="41" y="107"/>
                  </a:lnTo>
                  <a:lnTo>
                    <a:pt x="76" y="134"/>
                  </a:lnTo>
                  <a:lnTo>
                    <a:pt x="85" y="134"/>
                  </a:lnTo>
                  <a:lnTo>
                    <a:pt x="90" y="121"/>
                  </a:lnTo>
                  <a:lnTo>
                    <a:pt x="94" y="121"/>
                  </a:lnTo>
                  <a:lnTo>
                    <a:pt x="94" y="107"/>
                  </a:lnTo>
                  <a:lnTo>
                    <a:pt x="103" y="103"/>
                  </a:lnTo>
                  <a:lnTo>
                    <a:pt x="103" y="99"/>
                  </a:lnTo>
                  <a:lnTo>
                    <a:pt x="112" y="94"/>
                  </a:lnTo>
                  <a:lnTo>
                    <a:pt x="108" y="76"/>
                  </a:lnTo>
                  <a:lnTo>
                    <a:pt x="103" y="23"/>
                  </a:lnTo>
                  <a:lnTo>
                    <a:pt x="121" y="9"/>
                  </a:lnTo>
                  <a:lnTo>
                    <a:pt x="108" y="9"/>
                  </a:lnTo>
                  <a:lnTo>
                    <a:pt x="99" y="5"/>
                  </a:lnTo>
                  <a:lnTo>
                    <a:pt x="90" y="9"/>
                  </a:lnTo>
                  <a:lnTo>
                    <a:pt x="85" y="18"/>
                  </a:lnTo>
                  <a:lnTo>
                    <a:pt x="63" y="14"/>
                  </a:lnTo>
                  <a:lnTo>
                    <a:pt x="45" y="0"/>
                  </a:lnTo>
                  <a:lnTo>
                    <a:pt x="32" y="5"/>
                  </a:lnTo>
                  <a:lnTo>
                    <a:pt x="27" y="0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79" name="Freeform 27"/>
            <p:cNvSpPr>
              <a:spLocks/>
            </p:cNvSpPr>
            <p:nvPr/>
          </p:nvSpPr>
          <p:spPr bwMode="gray">
            <a:xfrm>
              <a:off x="3071" y="3217"/>
              <a:ext cx="40" cy="31"/>
            </a:xfrm>
            <a:custGeom>
              <a:avLst/>
              <a:gdLst>
                <a:gd name="T0" fmla="*/ 9 w 40"/>
                <a:gd name="T1" fmla="*/ 27 h 31"/>
                <a:gd name="T2" fmla="*/ 14 w 40"/>
                <a:gd name="T3" fmla="*/ 31 h 31"/>
                <a:gd name="T4" fmla="*/ 18 w 40"/>
                <a:gd name="T5" fmla="*/ 27 h 31"/>
                <a:gd name="T6" fmla="*/ 31 w 40"/>
                <a:gd name="T7" fmla="*/ 23 h 31"/>
                <a:gd name="T8" fmla="*/ 40 w 40"/>
                <a:gd name="T9" fmla="*/ 14 h 31"/>
                <a:gd name="T10" fmla="*/ 27 w 40"/>
                <a:gd name="T11" fmla="*/ 0 h 31"/>
                <a:gd name="T12" fmla="*/ 9 w 40"/>
                <a:gd name="T13" fmla="*/ 5 h 31"/>
                <a:gd name="T14" fmla="*/ 0 w 40"/>
                <a:gd name="T15" fmla="*/ 14 h 31"/>
                <a:gd name="T16" fmla="*/ 9 w 40"/>
                <a:gd name="T17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31">
                  <a:moveTo>
                    <a:pt x="9" y="27"/>
                  </a:moveTo>
                  <a:lnTo>
                    <a:pt x="14" y="31"/>
                  </a:lnTo>
                  <a:lnTo>
                    <a:pt x="18" y="27"/>
                  </a:lnTo>
                  <a:lnTo>
                    <a:pt x="31" y="23"/>
                  </a:lnTo>
                  <a:lnTo>
                    <a:pt x="40" y="14"/>
                  </a:lnTo>
                  <a:lnTo>
                    <a:pt x="27" y="0"/>
                  </a:lnTo>
                  <a:lnTo>
                    <a:pt x="9" y="5"/>
                  </a:lnTo>
                  <a:lnTo>
                    <a:pt x="0" y="14"/>
                  </a:lnTo>
                  <a:lnTo>
                    <a:pt x="9" y="27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80" name="Freeform 28"/>
            <p:cNvSpPr>
              <a:spLocks/>
            </p:cNvSpPr>
            <p:nvPr/>
          </p:nvSpPr>
          <p:spPr bwMode="gray">
            <a:xfrm>
              <a:off x="2517" y="2659"/>
              <a:ext cx="63" cy="58"/>
            </a:xfrm>
            <a:custGeom>
              <a:avLst/>
              <a:gdLst>
                <a:gd name="T0" fmla="*/ 0 w 63"/>
                <a:gd name="T1" fmla="*/ 22 h 58"/>
                <a:gd name="T2" fmla="*/ 9 w 63"/>
                <a:gd name="T3" fmla="*/ 26 h 58"/>
                <a:gd name="T4" fmla="*/ 49 w 63"/>
                <a:gd name="T5" fmla="*/ 58 h 58"/>
                <a:gd name="T6" fmla="*/ 58 w 63"/>
                <a:gd name="T7" fmla="*/ 58 h 58"/>
                <a:gd name="T8" fmla="*/ 63 w 63"/>
                <a:gd name="T9" fmla="*/ 35 h 58"/>
                <a:gd name="T10" fmla="*/ 45 w 63"/>
                <a:gd name="T11" fmla="*/ 22 h 58"/>
                <a:gd name="T12" fmla="*/ 45 w 63"/>
                <a:gd name="T13" fmla="*/ 9 h 58"/>
                <a:gd name="T14" fmla="*/ 40 w 63"/>
                <a:gd name="T15" fmla="*/ 13 h 58"/>
                <a:gd name="T16" fmla="*/ 32 w 63"/>
                <a:gd name="T17" fmla="*/ 13 h 58"/>
                <a:gd name="T18" fmla="*/ 32 w 63"/>
                <a:gd name="T19" fmla="*/ 0 h 58"/>
                <a:gd name="T20" fmla="*/ 18 w 63"/>
                <a:gd name="T21" fmla="*/ 0 h 58"/>
                <a:gd name="T22" fmla="*/ 18 w 63"/>
                <a:gd name="T23" fmla="*/ 9 h 58"/>
                <a:gd name="T24" fmla="*/ 14 w 63"/>
                <a:gd name="T25" fmla="*/ 9 h 58"/>
                <a:gd name="T26" fmla="*/ 14 w 63"/>
                <a:gd name="T27" fmla="*/ 13 h 58"/>
                <a:gd name="T28" fmla="*/ 5 w 63"/>
                <a:gd name="T29" fmla="*/ 17 h 58"/>
                <a:gd name="T30" fmla="*/ 0 w 63"/>
                <a:gd name="T31" fmla="*/ 2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3" h="58">
                  <a:moveTo>
                    <a:pt x="0" y="22"/>
                  </a:moveTo>
                  <a:lnTo>
                    <a:pt x="9" y="26"/>
                  </a:lnTo>
                  <a:lnTo>
                    <a:pt x="49" y="58"/>
                  </a:lnTo>
                  <a:lnTo>
                    <a:pt x="58" y="58"/>
                  </a:lnTo>
                  <a:lnTo>
                    <a:pt x="63" y="35"/>
                  </a:lnTo>
                  <a:lnTo>
                    <a:pt x="45" y="22"/>
                  </a:lnTo>
                  <a:lnTo>
                    <a:pt x="45" y="9"/>
                  </a:lnTo>
                  <a:lnTo>
                    <a:pt x="40" y="13"/>
                  </a:lnTo>
                  <a:lnTo>
                    <a:pt x="32" y="13"/>
                  </a:lnTo>
                  <a:lnTo>
                    <a:pt x="32" y="0"/>
                  </a:lnTo>
                  <a:lnTo>
                    <a:pt x="18" y="0"/>
                  </a:lnTo>
                  <a:lnTo>
                    <a:pt x="18" y="9"/>
                  </a:lnTo>
                  <a:lnTo>
                    <a:pt x="14" y="9"/>
                  </a:lnTo>
                  <a:lnTo>
                    <a:pt x="14" y="13"/>
                  </a:lnTo>
                  <a:lnTo>
                    <a:pt x="5" y="17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81" name="Freeform 29"/>
            <p:cNvSpPr>
              <a:spLocks/>
            </p:cNvSpPr>
            <p:nvPr/>
          </p:nvSpPr>
          <p:spPr bwMode="gray">
            <a:xfrm>
              <a:off x="2812" y="2265"/>
              <a:ext cx="232" cy="228"/>
            </a:xfrm>
            <a:custGeom>
              <a:avLst/>
              <a:gdLst>
                <a:gd name="T0" fmla="*/ 40 w 232"/>
                <a:gd name="T1" fmla="*/ 0 h 228"/>
                <a:gd name="T2" fmla="*/ 36 w 232"/>
                <a:gd name="T3" fmla="*/ 5 h 228"/>
                <a:gd name="T4" fmla="*/ 36 w 232"/>
                <a:gd name="T5" fmla="*/ 14 h 228"/>
                <a:gd name="T6" fmla="*/ 27 w 232"/>
                <a:gd name="T7" fmla="*/ 23 h 228"/>
                <a:gd name="T8" fmla="*/ 18 w 232"/>
                <a:gd name="T9" fmla="*/ 27 h 228"/>
                <a:gd name="T10" fmla="*/ 18 w 232"/>
                <a:gd name="T11" fmla="*/ 50 h 228"/>
                <a:gd name="T12" fmla="*/ 5 w 232"/>
                <a:gd name="T13" fmla="*/ 54 h 228"/>
                <a:gd name="T14" fmla="*/ 0 w 232"/>
                <a:gd name="T15" fmla="*/ 58 h 228"/>
                <a:gd name="T16" fmla="*/ 5 w 232"/>
                <a:gd name="T17" fmla="*/ 67 h 228"/>
                <a:gd name="T18" fmla="*/ 5 w 232"/>
                <a:gd name="T19" fmla="*/ 85 h 228"/>
                <a:gd name="T20" fmla="*/ 9 w 232"/>
                <a:gd name="T21" fmla="*/ 99 h 228"/>
                <a:gd name="T22" fmla="*/ 5 w 232"/>
                <a:gd name="T23" fmla="*/ 112 h 228"/>
                <a:gd name="T24" fmla="*/ 0 w 232"/>
                <a:gd name="T25" fmla="*/ 121 h 228"/>
                <a:gd name="T26" fmla="*/ 13 w 232"/>
                <a:gd name="T27" fmla="*/ 139 h 228"/>
                <a:gd name="T28" fmla="*/ 9 w 232"/>
                <a:gd name="T29" fmla="*/ 143 h 228"/>
                <a:gd name="T30" fmla="*/ 18 w 232"/>
                <a:gd name="T31" fmla="*/ 148 h 228"/>
                <a:gd name="T32" fmla="*/ 27 w 232"/>
                <a:gd name="T33" fmla="*/ 148 h 228"/>
                <a:gd name="T34" fmla="*/ 45 w 232"/>
                <a:gd name="T35" fmla="*/ 161 h 228"/>
                <a:gd name="T36" fmla="*/ 45 w 232"/>
                <a:gd name="T37" fmla="*/ 166 h 228"/>
                <a:gd name="T38" fmla="*/ 67 w 232"/>
                <a:gd name="T39" fmla="*/ 166 h 228"/>
                <a:gd name="T40" fmla="*/ 72 w 232"/>
                <a:gd name="T41" fmla="*/ 179 h 228"/>
                <a:gd name="T42" fmla="*/ 85 w 232"/>
                <a:gd name="T43" fmla="*/ 170 h 228"/>
                <a:gd name="T44" fmla="*/ 98 w 232"/>
                <a:gd name="T45" fmla="*/ 161 h 228"/>
                <a:gd name="T46" fmla="*/ 210 w 232"/>
                <a:gd name="T47" fmla="*/ 228 h 228"/>
                <a:gd name="T48" fmla="*/ 210 w 232"/>
                <a:gd name="T49" fmla="*/ 219 h 228"/>
                <a:gd name="T50" fmla="*/ 232 w 232"/>
                <a:gd name="T51" fmla="*/ 219 h 228"/>
                <a:gd name="T52" fmla="*/ 228 w 232"/>
                <a:gd name="T53" fmla="*/ 193 h 228"/>
                <a:gd name="T54" fmla="*/ 228 w 232"/>
                <a:gd name="T55" fmla="*/ 67 h 228"/>
                <a:gd name="T56" fmla="*/ 223 w 232"/>
                <a:gd name="T57" fmla="*/ 58 h 228"/>
                <a:gd name="T58" fmla="*/ 228 w 232"/>
                <a:gd name="T59" fmla="*/ 50 h 228"/>
                <a:gd name="T60" fmla="*/ 223 w 232"/>
                <a:gd name="T61" fmla="*/ 41 h 228"/>
                <a:gd name="T62" fmla="*/ 232 w 232"/>
                <a:gd name="T63" fmla="*/ 27 h 228"/>
                <a:gd name="T64" fmla="*/ 228 w 232"/>
                <a:gd name="T65" fmla="*/ 23 h 228"/>
                <a:gd name="T66" fmla="*/ 197 w 232"/>
                <a:gd name="T67" fmla="*/ 18 h 228"/>
                <a:gd name="T68" fmla="*/ 197 w 232"/>
                <a:gd name="T69" fmla="*/ 9 h 228"/>
                <a:gd name="T70" fmla="*/ 183 w 232"/>
                <a:gd name="T71" fmla="*/ 5 h 228"/>
                <a:gd name="T72" fmla="*/ 174 w 232"/>
                <a:gd name="T73" fmla="*/ 5 h 228"/>
                <a:gd name="T74" fmla="*/ 152 w 232"/>
                <a:gd name="T75" fmla="*/ 18 h 228"/>
                <a:gd name="T76" fmla="*/ 156 w 232"/>
                <a:gd name="T77" fmla="*/ 41 h 228"/>
                <a:gd name="T78" fmla="*/ 147 w 232"/>
                <a:gd name="T79" fmla="*/ 50 h 228"/>
                <a:gd name="T80" fmla="*/ 125 w 232"/>
                <a:gd name="T81" fmla="*/ 41 h 228"/>
                <a:gd name="T82" fmla="*/ 98 w 232"/>
                <a:gd name="T83" fmla="*/ 36 h 228"/>
                <a:gd name="T84" fmla="*/ 94 w 232"/>
                <a:gd name="T85" fmla="*/ 32 h 228"/>
                <a:gd name="T86" fmla="*/ 85 w 232"/>
                <a:gd name="T87" fmla="*/ 14 h 228"/>
                <a:gd name="T88" fmla="*/ 72 w 232"/>
                <a:gd name="T89" fmla="*/ 5 h 228"/>
                <a:gd name="T90" fmla="*/ 49 w 232"/>
                <a:gd name="T91" fmla="*/ 5 h 228"/>
                <a:gd name="T92" fmla="*/ 40 w 232"/>
                <a:gd name="T93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2" h="228">
                  <a:moveTo>
                    <a:pt x="40" y="0"/>
                  </a:moveTo>
                  <a:lnTo>
                    <a:pt x="36" y="5"/>
                  </a:lnTo>
                  <a:lnTo>
                    <a:pt x="36" y="14"/>
                  </a:lnTo>
                  <a:lnTo>
                    <a:pt x="27" y="23"/>
                  </a:lnTo>
                  <a:lnTo>
                    <a:pt x="18" y="27"/>
                  </a:lnTo>
                  <a:lnTo>
                    <a:pt x="18" y="50"/>
                  </a:lnTo>
                  <a:lnTo>
                    <a:pt x="5" y="54"/>
                  </a:lnTo>
                  <a:lnTo>
                    <a:pt x="0" y="58"/>
                  </a:lnTo>
                  <a:lnTo>
                    <a:pt x="5" y="67"/>
                  </a:lnTo>
                  <a:lnTo>
                    <a:pt x="5" y="85"/>
                  </a:lnTo>
                  <a:lnTo>
                    <a:pt x="9" y="99"/>
                  </a:lnTo>
                  <a:lnTo>
                    <a:pt x="5" y="112"/>
                  </a:lnTo>
                  <a:lnTo>
                    <a:pt x="0" y="121"/>
                  </a:lnTo>
                  <a:lnTo>
                    <a:pt x="13" y="139"/>
                  </a:lnTo>
                  <a:lnTo>
                    <a:pt x="9" y="143"/>
                  </a:lnTo>
                  <a:lnTo>
                    <a:pt x="18" y="148"/>
                  </a:lnTo>
                  <a:lnTo>
                    <a:pt x="27" y="148"/>
                  </a:lnTo>
                  <a:lnTo>
                    <a:pt x="45" y="161"/>
                  </a:lnTo>
                  <a:lnTo>
                    <a:pt x="45" y="166"/>
                  </a:lnTo>
                  <a:lnTo>
                    <a:pt x="67" y="166"/>
                  </a:lnTo>
                  <a:lnTo>
                    <a:pt x="72" y="179"/>
                  </a:lnTo>
                  <a:lnTo>
                    <a:pt x="85" y="170"/>
                  </a:lnTo>
                  <a:lnTo>
                    <a:pt x="98" y="161"/>
                  </a:lnTo>
                  <a:lnTo>
                    <a:pt x="210" y="228"/>
                  </a:lnTo>
                  <a:lnTo>
                    <a:pt x="210" y="219"/>
                  </a:lnTo>
                  <a:lnTo>
                    <a:pt x="232" y="219"/>
                  </a:lnTo>
                  <a:lnTo>
                    <a:pt x="228" y="193"/>
                  </a:lnTo>
                  <a:lnTo>
                    <a:pt x="228" y="67"/>
                  </a:lnTo>
                  <a:lnTo>
                    <a:pt x="223" y="58"/>
                  </a:lnTo>
                  <a:lnTo>
                    <a:pt x="228" y="50"/>
                  </a:lnTo>
                  <a:lnTo>
                    <a:pt x="223" y="41"/>
                  </a:lnTo>
                  <a:lnTo>
                    <a:pt x="232" y="27"/>
                  </a:lnTo>
                  <a:lnTo>
                    <a:pt x="228" y="23"/>
                  </a:lnTo>
                  <a:lnTo>
                    <a:pt x="197" y="18"/>
                  </a:lnTo>
                  <a:lnTo>
                    <a:pt x="197" y="9"/>
                  </a:lnTo>
                  <a:lnTo>
                    <a:pt x="183" y="5"/>
                  </a:lnTo>
                  <a:lnTo>
                    <a:pt x="174" y="5"/>
                  </a:lnTo>
                  <a:lnTo>
                    <a:pt x="152" y="18"/>
                  </a:lnTo>
                  <a:lnTo>
                    <a:pt x="156" y="41"/>
                  </a:lnTo>
                  <a:lnTo>
                    <a:pt x="147" y="50"/>
                  </a:lnTo>
                  <a:lnTo>
                    <a:pt x="125" y="41"/>
                  </a:lnTo>
                  <a:lnTo>
                    <a:pt x="98" y="36"/>
                  </a:lnTo>
                  <a:lnTo>
                    <a:pt x="94" y="32"/>
                  </a:lnTo>
                  <a:lnTo>
                    <a:pt x="85" y="14"/>
                  </a:lnTo>
                  <a:lnTo>
                    <a:pt x="72" y="5"/>
                  </a:lnTo>
                  <a:lnTo>
                    <a:pt x="49" y="5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82" name="Freeform 30"/>
            <p:cNvSpPr>
              <a:spLocks/>
            </p:cNvSpPr>
            <p:nvPr/>
          </p:nvSpPr>
          <p:spPr bwMode="gray">
            <a:xfrm>
              <a:off x="3303" y="2954"/>
              <a:ext cx="108" cy="219"/>
            </a:xfrm>
            <a:custGeom>
              <a:avLst/>
              <a:gdLst>
                <a:gd name="T0" fmla="*/ 27 w 108"/>
                <a:gd name="T1" fmla="*/ 219 h 219"/>
                <a:gd name="T2" fmla="*/ 41 w 108"/>
                <a:gd name="T3" fmla="*/ 210 h 219"/>
                <a:gd name="T4" fmla="*/ 58 w 108"/>
                <a:gd name="T5" fmla="*/ 205 h 219"/>
                <a:gd name="T6" fmla="*/ 72 w 108"/>
                <a:gd name="T7" fmla="*/ 174 h 219"/>
                <a:gd name="T8" fmla="*/ 76 w 108"/>
                <a:gd name="T9" fmla="*/ 151 h 219"/>
                <a:gd name="T10" fmla="*/ 94 w 108"/>
                <a:gd name="T11" fmla="*/ 93 h 219"/>
                <a:gd name="T12" fmla="*/ 94 w 108"/>
                <a:gd name="T13" fmla="*/ 80 h 219"/>
                <a:gd name="T14" fmla="*/ 99 w 108"/>
                <a:gd name="T15" fmla="*/ 71 h 219"/>
                <a:gd name="T16" fmla="*/ 94 w 108"/>
                <a:gd name="T17" fmla="*/ 58 h 219"/>
                <a:gd name="T18" fmla="*/ 103 w 108"/>
                <a:gd name="T19" fmla="*/ 67 h 219"/>
                <a:gd name="T20" fmla="*/ 108 w 108"/>
                <a:gd name="T21" fmla="*/ 53 h 219"/>
                <a:gd name="T22" fmla="*/ 103 w 108"/>
                <a:gd name="T23" fmla="*/ 35 h 219"/>
                <a:gd name="T24" fmla="*/ 103 w 108"/>
                <a:gd name="T25" fmla="*/ 26 h 219"/>
                <a:gd name="T26" fmla="*/ 90 w 108"/>
                <a:gd name="T27" fmla="*/ 0 h 219"/>
                <a:gd name="T28" fmla="*/ 81 w 108"/>
                <a:gd name="T29" fmla="*/ 8 h 219"/>
                <a:gd name="T30" fmla="*/ 85 w 108"/>
                <a:gd name="T31" fmla="*/ 17 h 219"/>
                <a:gd name="T32" fmla="*/ 76 w 108"/>
                <a:gd name="T33" fmla="*/ 22 h 219"/>
                <a:gd name="T34" fmla="*/ 67 w 108"/>
                <a:gd name="T35" fmla="*/ 22 h 219"/>
                <a:gd name="T36" fmla="*/ 72 w 108"/>
                <a:gd name="T37" fmla="*/ 35 h 219"/>
                <a:gd name="T38" fmla="*/ 54 w 108"/>
                <a:gd name="T39" fmla="*/ 53 h 219"/>
                <a:gd name="T40" fmla="*/ 27 w 108"/>
                <a:gd name="T41" fmla="*/ 67 h 219"/>
                <a:gd name="T42" fmla="*/ 18 w 108"/>
                <a:gd name="T43" fmla="*/ 67 h 219"/>
                <a:gd name="T44" fmla="*/ 18 w 108"/>
                <a:gd name="T45" fmla="*/ 76 h 219"/>
                <a:gd name="T46" fmla="*/ 9 w 108"/>
                <a:gd name="T47" fmla="*/ 84 h 219"/>
                <a:gd name="T48" fmla="*/ 18 w 108"/>
                <a:gd name="T49" fmla="*/ 120 h 219"/>
                <a:gd name="T50" fmla="*/ 9 w 108"/>
                <a:gd name="T51" fmla="*/ 143 h 219"/>
                <a:gd name="T52" fmla="*/ 5 w 108"/>
                <a:gd name="T53" fmla="*/ 147 h 219"/>
                <a:gd name="T54" fmla="*/ 5 w 108"/>
                <a:gd name="T55" fmla="*/ 156 h 219"/>
                <a:gd name="T56" fmla="*/ 0 w 108"/>
                <a:gd name="T57" fmla="*/ 165 h 219"/>
                <a:gd name="T58" fmla="*/ 9 w 108"/>
                <a:gd name="T59" fmla="*/ 183 h 219"/>
                <a:gd name="T60" fmla="*/ 5 w 108"/>
                <a:gd name="T61" fmla="*/ 187 h 219"/>
                <a:gd name="T62" fmla="*/ 9 w 108"/>
                <a:gd name="T63" fmla="*/ 201 h 219"/>
                <a:gd name="T64" fmla="*/ 27 w 108"/>
                <a:gd name="T65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" h="219">
                  <a:moveTo>
                    <a:pt x="27" y="219"/>
                  </a:moveTo>
                  <a:lnTo>
                    <a:pt x="41" y="210"/>
                  </a:lnTo>
                  <a:lnTo>
                    <a:pt x="58" y="205"/>
                  </a:lnTo>
                  <a:lnTo>
                    <a:pt x="72" y="174"/>
                  </a:lnTo>
                  <a:lnTo>
                    <a:pt x="76" y="151"/>
                  </a:lnTo>
                  <a:lnTo>
                    <a:pt x="94" y="93"/>
                  </a:lnTo>
                  <a:lnTo>
                    <a:pt x="94" y="80"/>
                  </a:lnTo>
                  <a:lnTo>
                    <a:pt x="99" y="71"/>
                  </a:lnTo>
                  <a:lnTo>
                    <a:pt x="94" y="58"/>
                  </a:lnTo>
                  <a:lnTo>
                    <a:pt x="103" y="67"/>
                  </a:lnTo>
                  <a:lnTo>
                    <a:pt x="108" y="53"/>
                  </a:lnTo>
                  <a:lnTo>
                    <a:pt x="103" y="35"/>
                  </a:lnTo>
                  <a:lnTo>
                    <a:pt x="103" y="26"/>
                  </a:lnTo>
                  <a:lnTo>
                    <a:pt x="90" y="0"/>
                  </a:lnTo>
                  <a:lnTo>
                    <a:pt x="81" y="8"/>
                  </a:lnTo>
                  <a:lnTo>
                    <a:pt x="85" y="17"/>
                  </a:lnTo>
                  <a:lnTo>
                    <a:pt x="76" y="22"/>
                  </a:lnTo>
                  <a:lnTo>
                    <a:pt x="67" y="22"/>
                  </a:lnTo>
                  <a:lnTo>
                    <a:pt x="72" y="35"/>
                  </a:lnTo>
                  <a:lnTo>
                    <a:pt x="54" y="53"/>
                  </a:lnTo>
                  <a:lnTo>
                    <a:pt x="27" y="67"/>
                  </a:lnTo>
                  <a:lnTo>
                    <a:pt x="18" y="67"/>
                  </a:lnTo>
                  <a:lnTo>
                    <a:pt x="18" y="76"/>
                  </a:lnTo>
                  <a:lnTo>
                    <a:pt x="9" y="84"/>
                  </a:lnTo>
                  <a:lnTo>
                    <a:pt x="18" y="120"/>
                  </a:lnTo>
                  <a:lnTo>
                    <a:pt x="9" y="143"/>
                  </a:lnTo>
                  <a:lnTo>
                    <a:pt x="5" y="147"/>
                  </a:lnTo>
                  <a:lnTo>
                    <a:pt x="5" y="156"/>
                  </a:lnTo>
                  <a:lnTo>
                    <a:pt x="0" y="165"/>
                  </a:lnTo>
                  <a:lnTo>
                    <a:pt x="9" y="183"/>
                  </a:lnTo>
                  <a:lnTo>
                    <a:pt x="5" y="187"/>
                  </a:lnTo>
                  <a:lnTo>
                    <a:pt x="9" y="201"/>
                  </a:lnTo>
                  <a:lnTo>
                    <a:pt x="27" y="21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83" name="Freeform 31"/>
            <p:cNvSpPr>
              <a:spLocks/>
            </p:cNvSpPr>
            <p:nvPr/>
          </p:nvSpPr>
          <p:spPr bwMode="gray">
            <a:xfrm>
              <a:off x="3152" y="2913"/>
              <a:ext cx="44" cy="121"/>
            </a:xfrm>
            <a:custGeom>
              <a:avLst/>
              <a:gdLst>
                <a:gd name="T0" fmla="*/ 4 w 44"/>
                <a:gd name="T1" fmla="*/ 5 h 121"/>
                <a:gd name="T2" fmla="*/ 13 w 44"/>
                <a:gd name="T3" fmla="*/ 18 h 121"/>
                <a:gd name="T4" fmla="*/ 13 w 44"/>
                <a:gd name="T5" fmla="*/ 27 h 121"/>
                <a:gd name="T6" fmla="*/ 8 w 44"/>
                <a:gd name="T7" fmla="*/ 27 h 121"/>
                <a:gd name="T8" fmla="*/ 8 w 44"/>
                <a:gd name="T9" fmla="*/ 49 h 121"/>
                <a:gd name="T10" fmla="*/ 4 w 44"/>
                <a:gd name="T11" fmla="*/ 54 h 121"/>
                <a:gd name="T12" fmla="*/ 0 w 44"/>
                <a:gd name="T13" fmla="*/ 67 h 121"/>
                <a:gd name="T14" fmla="*/ 4 w 44"/>
                <a:gd name="T15" fmla="*/ 72 h 121"/>
                <a:gd name="T16" fmla="*/ 13 w 44"/>
                <a:gd name="T17" fmla="*/ 81 h 121"/>
                <a:gd name="T18" fmla="*/ 22 w 44"/>
                <a:gd name="T19" fmla="*/ 81 h 121"/>
                <a:gd name="T20" fmla="*/ 26 w 44"/>
                <a:gd name="T21" fmla="*/ 90 h 121"/>
                <a:gd name="T22" fmla="*/ 22 w 44"/>
                <a:gd name="T23" fmla="*/ 103 h 121"/>
                <a:gd name="T24" fmla="*/ 31 w 44"/>
                <a:gd name="T25" fmla="*/ 121 h 121"/>
                <a:gd name="T26" fmla="*/ 40 w 44"/>
                <a:gd name="T27" fmla="*/ 117 h 121"/>
                <a:gd name="T28" fmla="*/ 35 w 44"/>
                <a:gd name="T29" fmla="*/ 108 h 121"/>
                <a:gd name="T30" fmla="*/ 44 w 44"/>
                <a:gd name="T31" fmla="*/ 103 h 121"/>
                <a:gd name="T32" fmla="*/ 44 w 44"/>
                <a:gd name="T33" fmla="*/ 76 h 121"/>
                <a:gd name="T34" fmla="*/ 35 w 44"/>
                <a:gd name="T35" fmla="*/ 63 h 121"/>
                <a:gd name="T36" fmla="*/ 26 w 44"/>
                <a:gd name="T37" fmla="*/ 58 h 121"/>
                <a:gd name="T38" fmla="*/ 31 w 44"/>
                <a:gd name="T39" fmla="*/ 67 h 121"/>
                <a:gd name="T40" fmla="*/ 31 w 44"/>
                <a:gd name="T41" fmla="*/ 67 h 121"/>
                <a:gd name="T42" fmla="*/ 35 w 44"/>
                <a:gd name="T43" fmla="*/ 81 h 121"/>
                <a:gd name="T44" fmla="*/ 31 w 44"/>
                <a:gd name="T45" fmla="*/ 85 h 121"/>
                <a:gd name="T46" fmla="*/ 31 w 44"/>
                <a:gd name="T47" fmla="*/ 76 h 121"/>
                <a:gd name="T48" fmla="*/ 22 w 44"/>
                <a:gd name="T49" fmla="*/ 72 h 121"/>
                <a:gd name="T50" fmla="*/ 22 w 44"/>
                <a:gd name="T51" fmla="*/ 54 h 121"/>
                <a:gd name="T52" fmla="*/ 13 w 44"/>
                <a:gd name="T53" fmla="*/ 45 h 121"/>
                <a:gd name="T54" fmla="*/ 17 w 44"/>
                <a:gd name="T55" fmla="*/ 41 h 121"/>
                <a:gd name="T56" fmla="*/ 17 w 44"/>
                <a:gd name="T57" fmla="*/ 18 h 121"/>
                <a:gd name="T58" fmla="*/ 17 w 44"/>
                <a:gd name="T59" fmla="*/ 18 h 121"/>
                <a:gd name="T60" fmla="*/ 17 w 44"/>
                <a:gd name="T61" fmla="*/ 9 h 121"/>
                <a:gd name="T62" fmla="*/ 8 w 44"/>
                <a:gd name="T63" fmla="*/ 0 h 121"/>
                <a:gd name="T64" fmla="*/ 4 w 44"/>
                <a:gd name="T65" fmla="*/ 5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" h="121">
                  <a:moveTo>
                    <a:pt x="4" y="5"/>
                  </a:moveTo>
                  <a:lnTo>
                    <a:pt x="13" y="18"/>
                  </a:lnTo>
                  <a:lnTo>
                    <a:pt x="13" y="27"/>
                  </a:lnTo>
                  <a:lnTo>
                    <a:pt x="8" y="27"/>
                  </a:lnTo>
                  <a:lnTo>
                    <a:pt x="8" y="49"/>
                  </a:lnTo>
                  <a:lnTo>
                    <a:pt x="4" y="54"/>
                  </a:lnTo>
                  <a:lnTo>
                    <a:pt x="0" y="67"/>
                  </a:lnTo>
                  <a:lnTo>
                    <a:pt x="4" y="72"/>
                  </a:lnTo>
                  <a:lnTo>
                    <a:pt x="13" y="81"/>
                  </a:lnTo>
                  <a:lnTo>
                    <a:pt x="22" y="81"/>
                  </a:lnTo>
                  <a:lnTo>
                    <a:pt x="26" y="90"/>
                  </a:lnTo>
                  <a:lnTo>
                    <a:pt x="22" y="103"/>
                  </a:lnTo>
                  <a:lnTo>
                    <a:pt x="31" y="121"/>
                  </a:lnTo>
                  <a:lnTo>
                    <a:pt x="40" y="117"/>
                  </a:lnTo>
                  <a:lnTo>
                    <a:pt x="35" y="108"/>
                  </a:lnTo>
                  <a:lnTo>
                    <a:pt x="44" y="103"/>
                  </a:lnTo>
                  <a:lnTo>
                    <a:pt x="44" y="76"/>
                  </a:lnTo>
                  <a:lnTo>
                    <a:pt x="35" y="63"/>
                  </a:lnTo>
                  <a:lnTo>
                    <a:pt x="26" y="58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5" y="81"/>
                  </a:lnTo>
                  <a:lnTo>
                    <a:pt x="31" y="85"/>
                  </a:lnTo>
                  <a:lnTo>
                    <a:pt x="31" y="76"/>
                  </a:lnTo>
                  <a:lnTo>
                    <a:pt x="22" y="72"/>
                  </a:lnTo>
                  <a:lnTo>
                    <a:pt x="22" y="54"/>
                  </a:lnTo>
                  <a:lnTo>
                    <a:pt x="13" y="45"/>
                  </a:lnTo>
                  <a:lnTo>
                    <a:pt x="17" y="41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9"/>
                  </a:lnTo>
                  <a:lnTo>
                    <a:pt x="8" y="0"/>
                  </a:lnTo>
                  <a:lnTo>
                    <a:pt x="4" y="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84" name="Freeform 32"/>
            <p:cNvSpPr>
              <a:spLocks/>
            </p:cNvSpPr>
            <p:nvPr/>
          </p:nvSpPr>
          <p:spPr bwMode="gray">
            <a:xfrm>
              <a:off x="2508" y="2408"/>
              <a:ext cx="237" cy="224"/>
            </a:xfrm>
            <a:custGeom>
              <a:avLst/>
              <a:gdLst>
                <a:gd name="T0" fmla="*/ 5 w 237"/>
                <a:gd name="T1" fmla="*/ 152 h 224"/>
                <a:gd name="T2" fmla="*/ 0 w 237"/>
                <a:gd name="T3" fmla="*/ 161 h 224"/>
                <a:gd name="T4" fmla="*/ 5 w 237"/>
                <a:gd name="T5" fmla="*/ 175 h 224"/>
                <a:gd name="T6" fmla="*/ 14 w 237"/>
                <a:gd name="T7" fmla="*/ 184 h 224"/>
                <a:gd name="T8" fmla="*/ 18 w 237"/>
                <a:gd name="T9" fmla="*/ 197 h 224"/>
                <a:gd name="T10" fmla="*/ 27 w 237"/>
                <a:gd name="T11" fmla="*/ 197 h 224"/>
                <a:gd name="T12" fmla="*/ 45 w 237"/>
                <a:gd name="T13" fmla="*/ 188 h 224"/>
                <a:gd name="T14" fmla="*/ 49 w 237"/>
                <a:gd name="T15" fmla="*/ 201 h 224"/>
                <a:gd name="T16" fmla="*/ 54 w 237"/>
                <a:gd name="T17" fmla="*/ 206 h 224"/>
                <a:gd name="T18" fmla="*/ 54 w 237"/>
                <a:gd name="T19" fmla="*/ 215 h 224"/>
                <a:gd name="T20" fmla="*/ 63 w 237"/>
                <a:gd name="T21" fmla="*/ 219 h 224"/>
                <a:gd name="T22" fmla="*/ 67 w 237"/>
                <a:gd name="T23" fmla="*/ 224 h 224"/>
                <a:gd name="T24" fmla="*/ 85 w 237"/>
                <a:gd name="T25" fmla="*/ 219 h 224"/>
                <a:gd name="T26" fmla="*/ 90 w 237"/>
                <a:gd name="T27" fmla="*/ 224 h 224"/>
                <a:gd name="T28" fmla="*/ 94 w 237"/>
                <a:gd name="T29" fmla="*/ 219 h 224"/>
                <a:gd name="T30" fmla="*/ 103 w 237"/>
                <a:gd name="T31" fmla="*/ 193 h 224"/>
                <a:gd name="T32" fmla="*/ 112 w 237"/>
                <a:gd name="T33" fmla="*/ 188 h 224"/>
                <a:gd name="T34" fmla="*/ 116 w 237"/>
                <a:gd name="T35" fmla="*/ 170 h 224"/>
                <a:gd name="T36" fmla="*/ 125 w 237"/>
                <a:gd name="T37" fmla="*/ 175 h 224"/>
                <a:gd name="T38" fmla="*/ 161 w 237"/>
                <a:gd name="T39" fmla="*/ 148 h 224"/>
                <a:gd name="T40" fmla="*/ 179 w 237"/>
                <a:gd name="T41" fmla="*/ 152 h 224"/>
                <a:gd name="T42" fmla="*/ 188 w 237"/>
                <a:gd name="T43" fmla="*/ 152 h 224"/>
                <a:gd name="T44" fmla="*/ 192 w 237"/>
                <a:gd name="T45" fmla="*/ 143 h 224"/>
                <a:gd name="T46" fmla="*/ 201 w 237"/>
                <a:gd name="T47" fmla="*/ 143 h 224"/>
                <a:gd name="T48" fmla="*/ 228 w 237"/>
                <a:gd name="T49" fmla="*/ 143 h 224"/>
                <a:gd name="T50" fmla="*/ 237 w 237"/>
                <a:gd name="T51" fmla="*/ 134 h 224"/>
                <a:gd name="T52" fmla="*/ 237 w 237"/>
                <a:gd name="T53" fmla="*/ 121 h 224"/>
                <a:gd name="T54" fmla="*/ 237 w 237"/>
                <a:gd name="T55" fmla="*/ 85 h 224"/>
                <a:gd name="T56" fmla="*/ 224 w 237"/>
                <a:gd name="T57" fmla="*/ 94 h 224"/>
                <a:gd name="T58" fmla="*/ 219 w 237"/>
                <a:gd name="T59" fmla="*/ 90 h 224"/>
                <a:gd name="T60" fmla="*/ 224 w 237"/>
                <a:gd name="T61" fmla="*/ 76 h 224"/>
                <a:gd name="T62" fmla="*/ 210 w 237"/>
                <a:gd name="T63" fmla="*/ 72 h 224"/>
                <a:gd name="T64" fmla="*/ 206 w 237"/>
                <a:gd name="T65" fmla="*/ 76 h 224"/>
                <a:gd name="T66" fmla="*/ 201 w 237"/>
                <a:gd name="T67" fmla="*/ 67 h 224"/>
                <a:gd name="T68" fmla="*/ 188 w 237"/>
                <a:gd name="T69" fmla="*/ 67 h 224"/>
                <a:gd name="T70" fmla="*/ 188 w 237"/>
                <a:gd name="T71" fmla="*/ 58 h 224"/>
                <a:gd name="T72" fmla="*/ 103 w 237"/>
                <a:gd name="T73" fmla="*/ 0 h 224"/>
                <a:gd name="T74" fmla="*/ 85 w 237"/>
                <a:gd name="T75" fmla="*/ 0 h 224"/>
                <a:gd name="T76" fmla="*/ 94 w 237"/>
                <a:gd name="T77" fmla="*/ 130 h 224"/>
                <a:gd name="T78" fmla="*/ 99 w 237"/>
                <a:gd name="T79" fmla="*/ 134 h 224"/>
                <a:gd name="T80" fmla="*/ 99 w 237"/>
                <a:gd name="T81" fmla="*/ 139 h 224"/>
                <a:gd name="T82" fmla="*/ 45 w 237"/>
                <a:gd name="T83" fmla="*/ 143 h 224"/>
                <a:gd name="T84" fmla="*/ 41 w 237"/>
                <a:gd name="T85" fmla="*/ 134 h 224"/>
                <a:gd name="T86" fmla="*/ 32 w 237"/>
                <a:gd name="T87" fmla="*/ 143 h 224"/>
                <a:gd name="T88" fmla="*/ 23 w 237"/>
                <a:gd name="T89" fmla="*/ 139 h 224"/>
                <a:gd name="T90" fmla="*/ 18 w 237"/>
                <a:gd name="T91" fmla="*/ 148 h 224"/>
                <a:gd name="T92" fmla="*/ 14 w 237"/>
                <a:gd name="T93" fmla="*/ 134 h 224"/>
                <a:gd name="T94" fmla="*/ 9 w 237"/>
                <a:gd name="T95" fmla="*/ 139 h 224"/>
                <a:gd name="T96" fmla="*/ 14 w 237"/>
                <a:gd name="T97" fmla="*/ 152 h 224"/>
                <a:gd name="T98" fmla="*/ 5 w 237"/>
                <a:gd name="T99" fmla="*/ 15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37" h="224">
                  <a:moveTo>
                    <a:pt x="5" y="152"/>
                  </a:moveTo>
                  <a:lnTo>
                    <a:pt x="0" y="161"/>
                  </a:lnTo>
                  <a:lnTo>
                    <a:pt x="5" y="175"/>
                  </a:lnTo>
                  <a:lnTo>
                    <a:pt x="14" y="184"/>
                  </a:lnTo>
                  <a:lnTo>
                    <a:pt x="18" y="197"/>
                  </a:lnTo>
                  <a:lnTo>
                    <a:pt x="27" y="197"/>
                  </a:lnTo>
                  <a:lnTo>
                    <a:pt x="45" y="188"/>
                  </a:lnTo>
                  <a:lnTo>
                    <a:pt x="49" y="201"/>
                  </a:lnTo>
                  <a:lnTo>
                    <a:pt x="54" y="206"/>
                  </a:lnTo>
                  <a:lnTo>
                    <a:pt x="54" y="215"/>
                  </a:lnTo>
                  <a:lnTo>
                    <a:pt x="63" y="219"/>
                  </a:lnTo>
                  <a:lnTo>
                    <a:pt x="67" y="224"/>
                  </a:lnTo>
                  <a:lnTo>
                    <a:pt x="85" y="219"/>
                  </a:lnTo>
                  <a:lnTo>
                    <a:pt x="90" y="224"/>
                  </a:lnTo>
                  <a:lnTo>
                    <a:pt x="94" y="219"/>
                  </a:lnTo>
                  <a:lnTo>
                    <a:pt x="103" y="193"/>
                  </a:lnTo>
                  <a:lnTo>
                    <a:pt x="112" y="188"/>
                  </a:lnTo>
                  <a:lnTo>
                    <a:pt x="116" y="170"/>
                  </a:lnTo>
                  <a:lnTo>
                    <a:pt x="125" y="175"/>
                  </a:lnTo>
                  <a:lnTo>
                    <a:pt x="161" y="148"/>
                  </a:lnTo>
                  <a:lnTo>
                    <a:pt x="179" y="152"/>
                  </a:lnTo>
                  <a:lnTo>
                    <a:pt x="188" y="152"/>
                  </a:lnTo>
                  <a:lnTo>
                    <a:pt x="192" y="143"/>
                  </a:lnTo>
                  <a:lnTo>
                    <a:pt x="201" y="143"/>
                  </a:lnTo>
                  <a:lnTo>
                    <a:pt x="228" y="143"/>
                  </a:lnTo>
                  <a:lnTo>
                    <a:pt x="237" y="134"/>
                  </a:lnTo>
                  <a:lnTo>
                    <a:pt x="237" y="121"/>
                  </a:lnTo>
                  <a:lnTo>
                    <a:pt x="237" y="85"/>
                  </a:lnTo>
                  <a:lnTo>
                    <a:pt x="224" y="94"/>
                  </a:lnTo>
                  <a:lnTo>
                    <a:pt x="219" y="90"/>
                  </a:lnTo>
                  <a:lnTo>
                    <a:pt x="224" y="76"/>
                  </a:lnTo>
                  <a:lnTo>
                    <a:pt x="210" y="72"/>
                  </a:lnTo>
                  <a:lnTo>
                    <a:pt x="206" y="76"/>
                  </a:lnTo>
                  <a:lnTo>
                    <a:pt x="201" y="67"/>
                  </a:lnTo>
                  <a:lnTo>
                    <a:pt x="188" y="67"/>
                  </a:lnTo>
                  <a:lnTo>
                    <a:pt x="188" y="58"/>
                  </a:lnTo>
                  <a:lnTo>
                    <a:pt x="103" y="0"/>
                  </a:lnTo>
                  <a:lnTo>
                    <a:pt x="85" y="0"/>
                  </a:lnTo>
                  <a:lnTo>
                    <a:pt x="94" y="130"/>
                  </a:lnTo>
                  <a:lnTo>
                    <a:pt x="99" y="134"/>
                  </a:lnTo>
                  <a:lnTo>
                    <a:pt x="99" y="139"/>
                  </a:lnTo>
                  <a:lnTo>
                    <a:pt x="45" y="143"/>
                  </a:lnTo>
                  <a:lnTo>
                    <a:pt x="41" y="134"/>
                  </a:lnTo>
                  <a:lnTo>
                    <a:pt x="32" y="143"/>
                  </a:lnTo>
                  <a:lnTo>
                    <a:pt x="23" y="139"/>
                  </a:lnTo>
                  <a:lnTo>
                    <a:pt x="18" y="148"/>
                  </a:lnTo>
                  <a:lnTo>
                    <a:pt x="14" y="134"/>
                  </a:lnTo>
                  <a:lnTo>
                    <a:pt x="9" y="139"/>
                  </a:lnTo>
                  <a:lnTo>
                    <a:pt x="14" y="152"/>
                  </a:lnTo>
                  <a:lnTo>
                    <a:pt x="5" y="15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85" name="Freeform 33"/>
            <p:cNvSpPr>
              <a:spLocks noEditPoints="1"/>
            </p:cNvSpPr>
            <p:nvPr/>
          </p:nvSpPr>
          <p:spPr bwMode="gray">
            <a:xfrm>
              <a:off x="2879" y="2216"/>
              <a:ext cx="9" cy="9"/>
            </a:xfrm>
            <a:custGeom>
              <a:avLst/>
              <a:gdLst>
                <a:gd name="T0" fmla="*/ 0 w 9"/>
                <a:gd name="T1" fmla="*/ 0 h 9"/>
                <a:gd name="T2" fmla="*/ 0 w 9"/>
                <a:gd name="T3" fmla="*/ 0 h 9"/>
                <a:gd name="T4" fmla="*/ 0 w 9"/>
                <a:gd name="T5" fmla="*/ 0 h 9"/>
                <a:gd name="T6" fmla="*/ 0 w 9"/>
                <a:gd name="T7" fmla="*/ 0 h 9"/>
                <a:gd name="T8" fmla="*/ 5 w 9"/>
                <a:gd name="T9" fmla="*/ 5 h 9"/>
                <a:gd name="T10" fmla="*/ 0 w 9"/>
                <a:gd name="T11" fmla="*/ 5 h 9"/>
                <a:gd name="T12" fmla="*/ 5 w 9"/>
                <a:gd name="T13" fmla="*/ 9 h 9"/>
                <a:gd name="T14" fmla="*/ 9 w 9"/>
                <a:gd name="T15" fmla="*/ 9 h 9"/>
                <a:gd name="T16" fmla="*/ 5 w 9"/>
                <a:gd name="T1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5" y="5"/>
                  </a:moveTo>
                  <a:lnTo>
                    <a:pt x="0" y="5"/>
                  </a:lnTo>
                  <a:lnTo>
                    <a:pt x="5" y="9"/>
                  </a:lnTo>
                  <a:lnTo>
                    <a:pt x="9" y="9"/>
                  </a:lnTo>
                  <a:lnTo>
                    <a:pt x="5" y="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86" name="Freeform 34"/>
            <p:cNvSpPr>
              <a:spLocks/>
            </p:cNvSpPr>
            <p:nvPr/>
          </p:nvSpPr>
          <p:spPr bwMode="gray">
            <a:xfrm>
              <a:off x="2441" y="2373"/>
              <a:ext cx="170" cy="187"/>
            </a:xfrm>
            <a:custGeom>
              <a:avLst/>
              <a:gdLst>
                <a:gd name="T0" fmla="*/ 0 w 170"/>
                <a:gd name="T1" fmla="*/ 89 h 187"/>
                <a:gd name="T2" fmla="*/ 5 w 170"/>
                <a:gd name="T3" fmla="*/ 98 h 187"/>
                <a:gd name="T4" fmla="*/ 9 w 170"/>
                <a:gd name="T5" fmla="*/ 98 h 187"/>
                <a:gd name="T6" fmla="*/ 9 w 170"/>
                <a:gd name="T7" fmla="*/ 107 h 187"/>
                <a:gd name="T8" fmla="*/ 5 w 170"/>
                <a:gd name="T9" fmla="*/ 120 h 187"/>
                <a:gd name="T10" fmla="*/ 14 w 170"/>
                <a:gd name="T11" fmla="*/ 125 h 187"/>
                <a:gd name="T12" fmla="*/ 9 w 170"/>
                <a:gd name="T13" fmla="*/ 147 h 187"/>
                <a:gd name="T14" fmla="*/ 14 w 170"/>
                <a:gd name="T15" fmla="*/ 152 h 187"/>
                <a:gd name="T16" fmla="*/ 9 w 170"/>
                <a:gd name="T17" fmla="*/ 160 h 187"/>
                <a:gd name="T18" fmla="*/ 9 w 170"/>
                <a:gd name="T19" fmla="*/ 169 h 187"/>
                <a:gd name="T20" fmla="*/ 14 w 170"/>
                <a:gd name="T21" fmla="*/ 165 h 187"/>
                <a:gd name="T22" fmla="*/ 41 w 170"/>
                <a:gd name="T23" fmla="*/ 160 h 187"/>
                <a:gd name="T24" fmla="*/ 45 w 170"/>
                <a:gd name="T25" fmla="*/ 169 h 187"/>
                <a:gd name="T26" fmla="*/ 54 w 170"/>
                <a:gd name="T27" fmla="*/ 169 h 187"/>
                <a:gd name="T28" fmla="*/ 72 w 170"/>
                <a:gd name="T29" fmla="*/ 187 h 187"/>
                <a:gd name="T30" fmla="*/ 81 w 170"/>
                <a:gd name="T31" fmla="*/ 187 h 187"/>
                <a:gd name="T32" fmla="*/ 76 w 170"/>
                <a:gd name="T33" fmla="*/ 174 h 187"/>
                <a:gd name="T34" fmla="*/ 81 w 170"/>
                <a:gd name="T35" fmla="*/ 169 h 187"/>
                <a:gd name="T36" fmla="*/ 85 w 170"/>
                <a:gd name="T37" fmla="*/ 183 h 187"/>
                <a:gd name="T38" fmla="*/ 90 w 170"/>
                <a:gd name="T39" fmla="*/ 174 h 187"/>
                <a:gd name="T40" fmla="*/ 99 w 170"/>
                <a:gd name="T41" fmla="*/ 178 h 187"/>
                <a:gd name="T42" fmla="*/ 108 w 170"/>
                <a:gd name="T43" fmla="*/ 169 h 187"/>
                <a:gd name="T44" fmla="*/ 112 w 170"/>
                <a:gd name="T45" fmla="*/ 178 h 187"/>
                <a:gd name="T46" fmla="*/ 166 w 170"/>
                <a:gd name="T47" fmla="*/ 174 h 187"/>
                <a:gd name="T48" fmla="*/ 166 w 170"/>
                <a:gd name="T49" fmla="*/ 169 h 187"/>
                <a:gd name="T50" fmla="*/ 161 w 170"/>
                <a:gd name="T51" fmla="*/ 165 h 187"/>
                <a:gd name="T52" fmla="*/ 152 w 170"/>
                <a:gd name="T53" fmla="*/ 35 h 187"/>
                <a:gd name="T54" fmla="*/ 170 w 170"/>
                <a:gd name="T55" fmla="*/ 35 h 187"/>
                <a:gd name="T56" fmla="*/ 116 w 170"/>
                <a:gd name="T57" fmla="*/ 0 h 187"/>
                <a:gd name="T58" fmla="*/ 116 w 170"/>
                <a:gd name="T59" fmla="*/ 17 h 187"/>
                <a:gd name="T60" fmla="*/ 72 w 170"/>
                <a:gd name="T61" fmla="*/ 17 h 187"/>
                <a:gd name="T62" fmla="*/ 67 w 170"/>
                <a:gd name="T63" fmla="*/ 58 h 187"/>
                <a:gd name="T64" fmla="*/ 58 w 170"/>
                <a:gd name="T65" fmla="*/ 58 h 187"/>
                <a:gd name="T66" fmla="*/ 54 w 170"/>
                <a:gd name="T67" fmla="*/ 62 h 187"/>
                <a:gd name="T68" fmla="*/ 54 w 170"/>
                <a:gd name="T69" fmla="*/ 89 h 187"/>
                <a:gd name="T70" fmla="*/ 5 w 170"/>
                <a:gd name="T71" fmla="*/ 93 h 187"/>
                <a:gd name="T72" fmla="*/ 0 w 170"/>
                <a:gd name="T73" fmla="*/ 89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87">
                  <a:moveTo>
                    <a:pt x="0" y="89"/>
                  </a:moveTo>
                  <a:lnTo>
                    <a:pt x="5" y="98"/>
                  </a:lnTo>
                  <a:lnTo>
                    <a:pt x="9" y="98"/>
                  </a:lnTo>
                  <a:lnTo>
                    <a:pt x="9" y="107"/>
                  </a:lnTo>
                  <a:lnTo>
                    <a:pt x="5" y="120"/>
                  </a:lnTo>
                  <a:lnTo>
                    <a:pt x="14" y="125"/>
                  </a:lnTo>
                  <a:lnTo>
                    <a:pt x="9" y="147"/>
                  </a:lnTo>
                  <a:lnTo>
                    <a:pt x="14" y="152"/>
                  </a:lnTo>
                  <a:lnTo>
                    <a:pt x="9" y="160"/>
                  </a:lnTo>
                  <a:lnTo>
                    <a:pt x="9" y="169"/>
                  </a:lnTo>
                  <a:lnTo>
                    <a:pt x="14" y="165"/>
                  </a:lnTo>
                  <a:lnTo>
                    <a:pt x="41" y="160"/>
                  </a:lnTo>
                  <a:lnTo>
                    <a:pt x="45" y="169"/>
                  </a:lnTo>
                  <a:lnTo>
                    <a:pt x="54" y="169"/>
                  </a:lnTo>
                  <a:lnTo>
                    <a:pt x="72" y="187"/>
                  </a:lnTo>
                  <a:lnTo>
                    <a:pt x="81" y="187"/>
                  </a:lnTo>
                  <a:lnTo>
                    <a:pt x="76" y="174"/>
                  </a:lnTo>
                  <a:lnTo>
                    <a:pt x="81" y="169"/>
                  </a:lnTo>
                  <a:lnTo>
                    <a:pt x="85" y="183"/>
                  </a:lnTo>
                  <a:lnTo>
                    <a:pt x="90" y="174"/>
                  </a:lnTo>
                  <a:lnTo>
                    <a:pt x="99" y="178"/>
                  </a:lnTo>
                  <a:lnTo>
                    <a:pt x="108" y="169"/>
                  </a:lnTo>
                  <a:lnTo>
                    <a:pt x="112" y="178"/>
                  </a:lnTo>
                  <a:lnTo>
                    <a:pt x="166" y="174"/>
                  </a:lnTo>
                  <a:lnTo>
                    <a:pt x="166" y="169"/>
                  </a:lnTo>
                  <a:lnTo>
                    <a:pt x="161" y="165"/>
                  </a:lnTo>
                  <a:lnTo>
                    <a:pt x="152" y="35"/>
                  </a:lnTo>
                  <a:lnTo>
                    <a:pt x="170" y="35"/>
                  </a:lnTo>
                  <a:lnTo>
                    <a:pt x="116" y="0"/>
                  </a:lnTo>
                  <a:lnTo>
                    <a:pt x="116" y="17"/>
                  </a:lnTo>
                  <a:lnTo>
                    <a:pt x="72" y="17"/>
                  </a:lnTo>
                  <a:lnTo>
                    <a:pt x="67" y="58"/>
                  </a:lnTo>
                  <a:lnTo>
                    <a:pt x="58" y="58"/>
                  </a:lnTo>
                  <a:lnTo>
                    <a:pt x="54" y="62"/>
                  </a:lnTo>
                  <a:lnTo>
                    <a:pt x="54" y="89"/>
                  </a:lnTo>
                  <a:lnTo>
                    <a:pt x="5" y="93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87" name="Freeform 35"/>
            <p:cNvSpPr>
              <a:spLocks/>
            </p:cNvSpPr>
            <p:nvPr/>
          </p:nvSpPr>
          <p:spPr bwMode="gray">
            <a:xfrm>
              <a:off x="3509" y="3079"/>
              <a:ext cx="9" cy="13"/>
            </a:xfrm>
            <a:custGeom>
              <a:avLst/>
              <a:gdLst>
                <a:gd name="T0" fmla="*/ 0 w 9"/>
                <a:gd name="T1" fmla="*/ 13 h 13"/>
                <a:gd name="T2" fmla="*/ 9 w 9"/>
                <a:gd name="T3" fmla="*/ 4 h 13"/>
                <a:gd name="T4" fmla="*/ 4 w 9"/>
                <a:gd name="T5" fmla="*/ 0 h 13"/>
                <a:gd name="T6" fmla="*/ 0 w 9"/>
                <a:gd name="T7" fmla="*/ 0 h 13"/>
                <a:gd name="T8" fmla="*/ 0 w 9"/>
                <a:gd name="T9" fmla="*/ 4 h 13"/>
                <a:gd name="T10" fmla="*/ 0 w 9"/>
                <a:gd name="T11" fmla="*/ 13 h 13"/>
                <a:gd name="T12" fmla="*/ 0 w 9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3">
                  <a:moveTo>
                    <a:pt x="0" y="13"/>
                  </a:moveTo>
                  <a:lnTo>
                    <a:pt x="9" y="4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88" name="Freeform 36"/>
            <p:cNvSpPr>
              <a:spLocks/>
            </p:cNvSpPr>
            <p:nvPr/>
          </p:nvSpPr>
          <p:spPr bwMode="gray">
            <a:xfrm>
              <a:off x="2495" y="2221"/>
              <a:ext cx="174" cy="143"/>
            </a:xfrm>
            <a:custGeom>
              <a:avLst/>
              <a:gdLst>
                <a:gd name="T0" fmla="*/ 0 w 174"/>
                <a:gd name="T1" fmla="*/ 138 h 143"/>
                <a:gd name="T2" fmla="*/ 62 w 174"/>
                <a:gd name="T3" fmla="*/ 143 h 143"/>
                <a:gd name="T4" fmla="*/ 67 w 174"/>
                <a:gd name="T5" fmla="*/ 129 h 143"/>
                <a:gd name="T6" fmla="*/ 76 w 174"/>
                <a:gd name="T7" fmla="*/ 116 h 143"/>
                <a:gd name="T8" fmla="*/ 94 w 174"/>
                <a:gd name="T9" fmla="*/ 111 h 143"/>
                <a:gd name="T10" fmla="*/ 103 w 174"/>
                <a:gd name="T11" fmla="*/ 111 h 143"/>
                <a:gd name="T12" fmla="*/ 143 w 174"/>
                <a:gd name="T13" fmla="*/ 80 h 143"/>
                <a:gd name="T14" fmla="*/ 152 w 174"/>
                <a:gd name="T15" fmla="*/ 67 h 143"/>
                <a:gd name="T16" fmla="*/ 170 w 174"/>
                <a:gd name="T17" fmla="*/ 71 h 143"/>
                <a:gd name="T18" fmla="*/ 174 w 174"/>
                <a:gd name="T19" fmla="*/ 62 h 143"/>
                <a:gd name="T20" fmla="*/ 165 w 174"/>
                <a:gd name="T21" fmla="*/ 58 h 143"/>
                <a:gd name="T22" fmla="*/ 161 w 174"/>
                <a:gd name="T23" fmla="*/ 40 h 143"/>
                <a:gd name="T24" fmla="*/ 161 w 174"/>
                <a:gd name="T25" fmla="*/ 26 h 143"/>
                <a:gd name="T26" fmla="*/ 156 w 174"/>
                <a:gd name="T27" fmla="*/ 13 h 143"/>
                <a:gd name="T28" fmla="*/ 147 w 174"/>
                <a:gd name="T29" fmla="*/ 9 h 143"/>
                <a:gd name="T30" fmla="*/ 147 w 174"/>
                <a:gd name="T31" fmla="*/ 4 h 143"/>
                <a:gd name="T32" fmla="*/ 138 w 174"/>
                <a:gd name="T33" fmla="*/ 9 h 143"/>
                <a:gd name="T34" fmla="*/ 129 w 174"/>
                <a:gd name="T35" fmla="*/ 9 h 143"/>
                <a:gd name="T36" fmla="*/ 116 w 174"/>
                <a:gd name="T37" fmla="*/ 4 h 143"/>
                <a:gd name="T38" fmla="*/ 107 w 174"/>
                <a:gd name="T39" fmla="*/ 0 h 143"/>
                <a:gd name="T40" fmla="*/ 103 w 174"/>
                <a:gd name="T41" fmla="*/ 4 h 143"/>
                <a:gd name="T42" fmla="*/ 94 w 174"/>
                <a:gd name="T43" fmla="*/ 22 h 143"/>
                <a:gd name="T44" fmla="*/ 67 w 174"/>
                <a:gd name="T45" fmla="*/ 40 h 143"/>
                <a:gd name="T46" fmla="*/ 58 w 174"/>
                <a:gd name="T47" fmla="*/ 53 h 143"/>
                <a:gd name="T48" fmla="*/ 58 w 174"/>
                <a:gd name="T49" fmla="*/ 62 h 143"/>
                <a:gd name="T50" fmla="*/ 49 w 174"/>
                <a:gd name="T51" fmla="*/ 71 h 143"/>
                <a:gd name="T52" fmla="*/ 49 w 174"/>
                <a:gd name="T53" fmla="*/ 89 h 143"/>
                <a:gd name="T54" fmla="*/ 54 w 174"/>
                <a:gd name="T55" fmla="*/ 94 h 143"/>
                <a:gd name="T56" fmla="*/ 54 w 174"/>
                <a:gd name="T57" fmla="*/ 98 h 143"/>
                <a:gd name="T58" fmla="*/ 4 w 174"/>
                <a:gd name="T59" fmla="*/ 134 h 143"/>
                <a:gd name="T60" fmla="*/ 0 w 174"/>
                <a:gd name="T61" fmla="*/ 13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4" h="143">
                  <a:moveTo>
                    <a:pt x="0" y="138"/>
                  </a:moveTo>
                  <a:lnTo>
                    <a:pt x="62" y="143"/>
                  </a:lnTo>
                  <a:lnTo>
                    <a:pt x="67" y="129"/>
                  </a:lnTo>
                  <a:lnTo>
                    <a:pt x="76" y="116"/>
                  </a:lnTo>
                  <a:lnTo>
                    <a:pt x="94" y="111"/>
                  </a:lnTo>
                  <a:lnTo>
                    <a:pt x="103" y="111"/>
                  </a:lnTo>
                  <a:lnTo>
                    <a:pt x="143" y="80"/>
                  </a:lnTo>
                  <a:lnTo>
                    <a:pt x="152" y="67"/>
                  </a:lnTo>
                  <a:lnTo>
                    <a:pt x="170" y="71"/>
                  </a:lnTo>
                  <a:lnTo>
                    <a:pt x="174" y="62"/>
                  </a:lnTo>
                  <a:lnTo>
                    <a:pt x="165" y="58"/>
                  </a:lnTo>
                  <a:lnTo>
                    <a:pt x="161" y="40"/>
                  </a:lnTo>
                  <a:lnTo>
                    <a:pt x="161" y="26"/>
                  </a:lnTo>
                  <a:lnTo>
                    <a:pt x="156" y="13"/>
                  </a:lnTo>
                  <a:lnTo>
                    <a:pt x="147" y="9"/>
                  </a:lnTo>
                  <a:lnTo>
                    <a:pt x="147" y="4"/>
                  </a:lnTo>
                  <a:lnTo>
                    <a:pt x="138" y="9"/>
                  </a:lnTo>
                  <a:lnTo>
                    <a:pt x="129" y="9"/>
                  </a:lnTo>
                  <a:lnTo>
                    <a:pt x="116" y="4"/>
                  </a:lnTo>
                  <a:lnTo>
                    <a:pt x="107" y="0"/>
                  </a:lnTo>
                  <a:lnTo>
                    <a:pt x="103" y="4"/>
                  </a:lnTo>
                  <a:lnTo>
                    <a:pt x="94" y="22"/>
                  </a:lnTo>
                  <a:lnTo>
                    <a:pt x="67" y="40"/>
                  </a:lnTo>
                  <a:lnTo>
                    <a:pt x="58" y="53"/>
                  </a:lnTo>
                  <a:lnTo>
                    <a:pt x="58" y="62"/>
                  </a:lnTo>
                  <a:lnTo>
                    <a:pt x="49" y="71"/>
                  </a:lnTo>
                  <a:lnTo>
                    <a:pt x="49" y="89"/>
                  </a:lnTo>
                  <a:lnTo>
                    <a:pt x="54" y="94"/>
                  </a:lnTo>
                  <a:lnTo>
                    <a:pt x="54" y="98"/>
                  </a:lnTo>
                  <a:lnTo>
                    <a:pt x="4" y="134"/>
                  </a:lnTo>
                  <a:lnTo>
                    <a:pt x="0" y="138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89" name="Freeform 37"/>
            <p:cNvSpPr>
              <a:spLocks/>
            </p:cNvSpPr>
            <p:nvPr/>
          </p:nvSpPr>
          <p:spPr bwMode="gray">
            <a:xfrm>
              <a:off x="3120" y="2931"/>
              <a:ext cx="148" cy="259"/>
            </a:xfrm>
            <a:custGeom>
              <a:avLst/>
              <a:gdLst>
                <a:gd name="T0" fmla="*/ 0 w 148"/>
                <a:gd name="T1" fmla="*/ 81 h 259"/>
                <a:gd name="T2" fmla="*/ 5 w 148"/>
                <a:gd name="T3" fmla="*/ 85 h 259"/>
                <a:gd name="T4" fmla="*/ 18 w 148"/>
                <a:gd name="T5" fmla="*/ 85 h 259"/>
                <a:gd name="T6" fmla="*/ 36 w 148"/>
                <a:gd name="T7" fmla="*/ 94 h 259"/>
                <a:gd name="T8" fmla="*/ 40 w 148"/>
                <a:gd name="T9" fmla="*/ 130 h 259"/>
                <a:gd name="T10" fmla="*/ 36 w 148"/>
                <a:gd name="T11" fmla="*/ 139 h 259"/>
                <a:gd name="T12" fmla="*/ 40 w 148"/>
                <a:gd name="T13" fmla="*/ 148 h 259"/>
                <a:gd name="T14" fmla="*/ 32 w 148"/>
                <a:gd name="T15" fmla="*/ 170 h 259"/>
                <a:gd name="T16" fmla="*/ 18 w 148"/>
                <a:gd name="T17" fmla="*/ 188 h 259"/>
                <a:gd name="T18" fmla="*/ 18 w 148"/>
                <a:gd name="T19" fmla="*/ 192 h 259"/>
                <a:gd name="T20" fmla="*/ 23 w 148"/>
                <a:gd name="T21" fmla="*/ 228 h 259"/>
                <a:gd name="T22" fmla="*/ 23 w 148"/>
                <a:gd name="T23" fmla="*/ 237 h 259"/>
                <a:gd name="T24" fmla="*/ 23 w 148"/>
                <a:gd name="T25" fmla="*/ 242 h 259"/>
                <a:gd name="T26" fmla="*/ 23 w 148"/>
                <a:gd name="T27" fmla="*/ 246 h 259"/>
                <a:gd name="T28" fmla="*/ 23 w 148"/>
                <a:gd name="T29" fmla="*/ 259 h 259"/>
                <a:gd name="T30" fmla="*/ 36 w 148"/>
                <a:gd name="T31" fmla="*/ 255 h 259"/>
                <a:gd name="T32" fmla="*/ 36 w 148"/>
                <a:gd name="T33" fmla="*/ 242 h 259"/>
                <a:gd name="T34" fmla="*/ 27 w 148"/>
                <a:gd name="T35" fmla="*/ 242 h 259"/>
                <a:gd name="T36" fmla="*/ 36 w 148"/>
                <a:gd name="T37" fmla="*/ 233 h 259"/>
                <a:gd name="T38" fmla="*/ 67 w 148"/>
                <a:gd name="T39" fmla="*/ 219 h 259"/>
                <a:gd name="T40" fmla="*/ 72 w 148"/>
                <a:gd name="T41" fmla="*/ 210 h 259"/>
                <a:gd name="T42" fmla="*/ 67 w 148"/>
                <a:gd name="T43" fmla="*/ 210 h 259"/>
                <a:gd name="T44" fmla="*/ 72 w 148"/>
                <a:gd name="T45" fmla="*/ 201 h 259"/>
                <a:gd name="T46" fmla="*/ 72 w 148"/>
                <a:gd name="T47" fmla="*/ 183 h 259"/>
                <a:gd name="T48" fmla="*/ 67 w 148"/>
                <a:gd name="T49" fmla="*/ 179 h 259"/>
                <a:gd name="T50" fmla="*/ 67 w 148"/>
                <a:gd name="T51" fmla="*/ 183 h 259"/>
                <a:gd name="T52" fmla="*/ 63 w 148"/>
                <a:gd name="T53" fmla="*/ 157 h 259"/>
                <a:gd name="T54" fmla="*/ 58 w 148"/>
                <a:gd name="T55" fmla="*/ 152 h 259"/>
                <a:gd name="T56" fmla="*/ 72 w 148"/>
                <a:gd name="T57" fmla="*/ 134 h 259"/>
                <a:gd name="T58" fmla="*/ 85 w 148"/>
                <a:gd name="T59" fmla="*/ 130 h 259"/>
                <a:gd name="T60" fmla="*/ 99 w 148"/>
                <a:gd name="T61" fmla="*/ 112 h 259"/>
                <a:gd name="T62" fmla="*/ 134 w 148"/>
                <a:gd name="T63" fmla="*/ 94 h 259"/>
                <a:gd name="T64" fmla="*/ 148 w 148"/>
                <a:gd name="T65" fmla="*/ 76 h 259"/>
                <a:gd name="T66" fmla="*/ 148 w 148"/>
                <a:gd name="T67" fmla="*/ 54 h 259"/>
                <a:gd name="T68" fmla="*/ 143 w 148"/>
                <a:gd name="T69" fmla="*/ 54 h 259"/>
                <a:gd name="T70" fmla="*/ 148 w 148"/>
                <a:gd name="T71" fmla="*/ 5 h 259"/>
                <a:gd name="T72" fmla="*/ 143 w 148"/>
                <a:gd name="T73" fmla="*/ 0 h 259"/>
                <a:gd name="T74" fmla="*/ 130 w 148"/>
                <a:gd name="T75" fmla="*/ 9 h 259"/>
                <a:gd name="T76" fmla="*/ 107 w 148"/>
                <a:gd name="T77" fmla="*/ 9 h 259"/>
                <a:gd name="T78" fmla="*/ 103 w 148"/>
                <a:gd name="T79" fmla="*/ 18 h 259"/>
                <a:gd name="T80" fmla="*/ 94 w 148"/>
                <a:gd name="T81" fmla="*/ 14 h 259"/>
                <a:gd name="T82" fmla="*/ 85 w 148"/>
                <a:gd name="T83" fmla="*/ 23 h 259"/>
                <a:gd name="T84" fmla="*/ 76 w 148"/>
                <a:gd name="T85" fmla="*/ 14 h 259"/>
                <a:gd name="T86" fmla="*/ 63 w 148"/>
                <a:gd name="T87" fmla="*/ 18 h 259"/>
                <a:gd name="T88" fmla="*/ 63 w 148"/>
                <a:gd name="T89" fmla="*/ 23 h 259"/>
                <a:gd name="T90" fmla="*/ 58 w 148"/>
                <a:gd name="T91" fmla="*/ 31 h 259"/>
                <a:gd name="T92" fmla="*/ 58 w 148"/>
                <a:gd name="T93" fmla="*/ 40 h 259"/>
                <a:gd name="T94" fmla="*/ 67 w 148"/>
                <a:gd name="T95" fmla="*/ 45 h 259"/>
                <a:gd name="T96" fmla="*/ 76 w 148"/>
                <a:gd name="T97" fmla="*/ 58 h 259"/>
                <a:gd name="T98" fmla="*/ 76 w 148"/>
                <a:gd name="T99" fmla="*/ 85 h 259"/>
                <a:gd name="T100" fmla="*/ 67 w 148"/>
                <a:gd name="T101" fmla="*/ 90 h 259"/>
                <a:gd name="T102" fmla="*/ 72 w 148"/>
                <a:gd name="T103" fmla="*/ 99 h 259"/>
                <a:gd name="T104" fmla="*/ 63 w 148"/>
                <a:gd name="T105" fmla="*/ 103 h 259"/>
                <a:gd name="T106" fmla="*/ 54 w 148"/>
                <a:gd name="T107" fmla="*/ 85 h 259"/>
                <a:gd name="T108" fmla="*/ 58 w 148"/>
                <a:gd name="T109" fmla="*/ 72 h 259"/>
                <a:gd name="T110" fmla="*/ 54 w 148"/>
                <a:gd name="T111" fmla="*/ 63 h 259"/>
                <a:gd name="T112" fmla="*/ 45 w 148"/>
                <a:gd name="T113" fmla="*/ 63 h 259"/>
                <a:gd name="T114" fmla="*/ 36 w 148"/>
                <a:gd name="T115" fmla="*/ 54 h 259"/>
                <a:gd name="T116" fmla="*/ 0 w 148"/>
                <a:gd name="T117" fmla="*/ 72 h 259"/>
                <a:gd name="T118" fmla="*/ 0 w 148"/>
                <a:gd name="T119" fmla="*/ 81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8" h="259">
                  <a:moveTo>
                    <a:pt x="0" y="81"/>
                  </a:moveTo>
                  <a:lnTo>
                    <a:pt x="5" y="85"/>
                  </a:lnTo>
                  <a:lnTo>
                    <a:pt x="18" y="85"/>
                  </a:lnTo>
                  <a:lnTo>
                    <a:pt x="36" y="94"/>
                  </a:lnTo>
                  <a:lnTo>
                    <a:pt x="40" y="130"/>
                  </a:lnTo>
                  <a:lnTo>
                    <a:pt x="36" y="139"/>
                  </a:lnTo>
                  <a:lnTo>
                    <a:pt x="40" y="148"/>
                  </a:lnTo>
                  <a:lnTo>
                    <a:pt x="32" y="170"/>
                  </a:lnTo>
                  <a:lnTo>
                    <a:pt x="18" y="188"/>
                  </a:lnTo>
                  <a:lnTo>
                    <a:pt x="18" y="192"/>
                  </a:lnTo>
                  <a:lnTo>
                    <a:pt x="23" y="228"/>
                  </a:lnTo>
                  <a:lnTo>
                    <a:pt x="23" y="237"/>
                  </a:lnTo>
                  <a:lnTo>
                    <a:pt x="23" y="242"/>
                  </a:lnTo>
                  <a:lnTo>
                    <a:pt x="23" y="246"/>
                  </a:lnTo>
                  <a:lnTo>
                    <a:pt x="23" y="259"/>
                  </a:lnTo>
                  <a:lnTo>
                    <a:pt x="36" y="255"/>
                  </a:lnTo>
                  <a:lnTo>
                    <a:pt x="36" y="242"/>
                  </a:lnTo>
                  <a:lnTo>
                    <a:pt x="27" y="242"/>
                  </a:lnTo>
                  <a:lnTo>
                    <a:pt x="36" y="233"/>
                  </a:lnTo>
                  <a:lnTo>
                    <a:pt x="67" y="219"/>
                  </a:lnTo>
                  <a:lnTo>
                    <a:pt x="72" y="210"/>
                  </a:lnTo>
                  <a:lnTo>
                    <a:pt x="67" y="210"/>
                  </a:lnTo>
                  <a:lnTo>
                    <a:pt x="72" y="201"/>
                  </a:lnTo>
                  <a:lnTo>
                    <a:pt x="72" y="183"/>
                  </a:lnTo>
                  <a:lnTo>
                    <a:pt x="67" y="179"/>
                  </a:lnTo>
                  <a:lnTo>
                    <a:pt x="67" y="183"/>
                  </a:lnTo>
                  <a:lnTo>
                    <a:pt x="63" y="157"/>
                  </a:lnTo>
                  <a:lnTo>
                    <a:pt x="58" y="152"/>
                  </a:lnTo>
                  <a:lnTo>
                    <a:pt x="72" y="134"/>
                  </a:lnTo>
                  <a:lnTo>
                    <a:pt x="85" y="130"/>
                  </a:lnTo>
                  <a:lnTo>
                    <a:pt x="99" y="112"/>
                  </a:lnTo>
                  <a:lnTo>
                    <a:pt x="134" y="94"/>
                  </a:lnTo>
                  <a:lnTo>
                    <a:pt x="148" y="76"/>
                  </a:lnTo>
                  <a:lnTo>
                    <a:pt x="148" y="54"/>
                  </a:lnTo>
                  <a:lnTo>
                    <a:pt x="143" y="54"/>
                  </a:lnTo>
                  <a:lnTo>
                    <a:pt x="148" y="5"/>
                  </a:lnTo>
                  <a:lnTo>
                    <a:pt x="143" y="0"/>
                  </a:lnTo>
                  <a:lnTo>
                    <a:pt x="130" y="9"/>
                  </a:lnTo>
                  <a:lnTo>
                    <a:pt x="107" y="9"/>
                  </a:lnTo>
                  <a:lnTo>
                    <a:pt x="103" y="18"/>
                  </a:lnTo>
                  <a:lnTo>
                    <a:pt x="94" y="14"/>
                  </a:lnTo>
                  <a:lnTo>
                    <a:pt x="85" y="23"/>
                  </a:lnTo>
                  <a:lnTo>
                    <a:pt x="76" y="14"/>
                  </a:lnTo>
                  <a:lnTo>
                    <a:pt x="63" y="18"/>
                  </a:lnTo>
                  <a:lnTo>
                    <a:pt x="63" y="23"/>
                  </a:lnTo>
                  <a:lnTo>
                    <a:pt x="58" y="31"/>
                  </a:lnTo>
                  <a:lnTo>
                    <a:pt x="58" y="40"/>
                  </a:lnTo>
                  <a:lnTo>
                    <a:pt x="67" y="45"/>
                  </a:lnTo>
                  <a:lnTo>
                    <a:pt x="76" y="58"/>
                  </a:lnTo>
                  <a:lnTo>
                    <a:pt x="76" y="85"/>
                  </a:lnTo>
                  <a:lnTo>
                    <a:pt x="67" y="90"/>
                  </a:lnTo>
                  <a:lnTo>
                    <a:pt x="72" y="99"/>
                  </a:lnTo>
                  <a:lnTo>
                    <a:pt x="63" y="103"/>
                  </a:lnTo>
                  <a:lnTo>
                    <a:pt x="54" y="85"/>
                  </a:lnTo>
                  <a:lnTo>
                    <a:pt x="58" y="72"/>
                  </a:lnTo>
                  <a:lnTo>
                    <a:pt x="54" y="63"/>
                  </a:lnTo>
                  <a:lnTo>
                    <a:pt x="45" y="63"/>
                  </a:lnTo>
                  <a:lnTo>
                    <a:pt x="36" y="54"/>
                  </a:lnTo>
                  <a:lnTo>
                    <a:pt x="0" y="72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90" name="Freeform 38"/>
            <p:cNvSpPr>
              <a:spLocks/>
            </p:cNvSpPr>
            <p:nvPr/>
          </p:nvSpPr>
          <p:spPr bwMode="gray">
            <a:xfrm>
              <a:off x="2848" y="3030"/>
              <a:ext cx="192" cy="196"/>
            </a:xfrm>
            <a:custGeom>
              <a:avLst/>
              <a:gdLst>
                <a:gd name="T0" fmla="*/ 4 w 192"/>
                <a:gd name="T1" fmla="*/ 4 h 196"/>
                <a:gd name="T2" fmla="*/ 9 w 192"/>
                <a:gd name="T3" fmla="*/ 0 h 196"/>
                <a:gd name="T4" fmla="*/ 27 w 192"/>
                <a:gd name="T5" fmla="*/ 0 h 196"/>
                <a:gd name="T6" fmla="*/ 40 w 192"/>
                <a:gd name="T7" fmla="*/ 8 h 196"/>
                <a:gd name="T8" fmla="*/ 49 w 192"/>
                <a:gd name="T9" fmla="*/ 4 h 196"/>
                <a:gd name="T10" fmla="*/ 103 w 192"/>
                <a:gd name="T11" fmla="*/ 4 h 196"/>
                <a:gd name="T12" fmla="*/ 116 w 192"/>
                <a:gd name="T13" fmla="*/ 17 h 196"/>
                <a:gd name="T14" fmla="*/ 134 w 192"/>
                <a:gd name="T15" fmla="*/ 17 h 196"/>
                <a:gd name="T16" fmla="*/ 170 w 192"/>
                <a:gd name="T17" fmla="*/ 8 h 196"/>
                <a:gd name="T18" fmla="*/ 178 w 192"/>
                <a:gd name="T19" fmla="*/ 4 h 196"/>
                <a:gd name="T20" fmla="*/ 192 w 192"/>
                <a:gd name="T21" fmla="*/ 13 h 196"/>
                <a:gd name="T22" fmla="*/ 178 w 192"/>
                <a:gd name="T23" fmla="*/ 17 h 196"/>
                <a:gd name="T24" fmla="*/ 174 w 192"/>
                <a:gd name="T25" fmla="*/ 26 h 196"/>
                <a:gd name="T26" fmla="*/ 165 w 192"/>
                <a:gd name="T27" fmla="*/ 17 h 196"/>
                <a:gd name="T28" fmla="*/ 147 w 192"/>
                <a:gd name="T29" fmla="*/ 22 h 196"/>
                <a:gd name="T30" fmla="*/ 138 w 192"/>
                <a:gd name="T31" fmla="*/ 22 h 196"/>
                <a:gd name="T32" fmla="*/ 138 w 192"/>
                <a:gd name="T33" fmla="*/ 80 h 196"/>
                <a:gd name="T34" fmla="*/ 125 w 192"/>
                <a:gd name="T35" fmla="*/ 80 h 196"/>
                <a:gd name="T36" fmla="*/ 120 w 192"/>
                <a:gd name="T37" fmla="*/ 125 h 196"/>
                <a:gd name="T38" fmla="*/ 120 w 192"/>
                <a:gd name="T39" fmla="*/ 187 h 196"/>
                <a:gd name="T40" fmla="*/ 111 w 192"/>
                <a:gd name="T41" fmla="*/ 187 h 196"/>
                <a:gd name="T42" fmla="*/ 111 w 192"/>
                <a:gd name="T43" fmla="*/ 196 h 196"/>
                <a:gd name="T44" fmla="*/ 94 w 192"/>
                <a:gd name="T45" fmla="*/ 192 h 196"/>
                <a:gd name="T46" fmla="*/ 80 w 192"/>
                <a:gd name="T47" fmla="*/ 192 h 196"/>
                <a:gd name="T48" fmla="*/ 80 w 192"/>
                <a:gd name="T49" fmla="*/ 183 h 196"/>
                <a:gd name="T50" fmla="*/ 76 w 192"/>
                <a:gd name="T51" fmla="*/ 183 h 196"/>
                <a:gd name="T52" fmla="*/ 67 w 192"/>
                <a:gd name="T53" fmla="*/ 187 h 196"/>
                <a:gd name="T54" fmla="*/ 53 w 192"/>
                <a:gd name="T55" fmla="*/ 169 h 196"/>
                <a:gd name="T56" fmla="*/ 49 w 192"/>
                <a:gd name="T57" fmla="*/ 160 h 196"/>
                <a:gd name="T58" fmla="*/ 40 w 192"/>
                <a:gd name="T59" fmla="*/ 111 h 196"/>
                <a:gd name="T60" fmla="*/ 40 w 192"/>
                <a:gd name="T61" fmla="*/ 93 h 196"/>
                <a:gd name="T62" fmla="*/ 22 w 192"/>
                <a:gd name="T63" fmla="*/ 44 h 196"/>
                <a:gd name="T64" fmla="*/ 0 w 192"/>
                <a:gd name="T65" fmla="*/ 22 h 196"/>
                <a:gd name="T66" fmla="*/ 4 w 192"/>
                <a:gd name="T67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2" h="196">
                  <a:moveTo>
                    <a:pt x="4" y="4"/>
                  </a:moveTo>
                  <a:lnTo>
                    <a:pt x="9" y="0"/>
                  </a:lnTo>
                  <a:lnTo>
                    <a:pt x="27" y="0"/>
                  </a:lnTo>
                  <a:lnTo>
                    <a:pt x="40" y="8"/>
                  </a:lnTo>
                  <a:lnTo>
                    <a:pt x="49" y="4"/>
                  </a:lnTo>
                  <a:lnTo>
                    <a:pt x="103" y="4"/>
                  </a:lnTo>
                  <a:lnTo>
                    <a:pt x="116" y="17"/>
                  </a:lnTo>
                  <a:lnTo>
                    <a:pt x="134" y="17"/>
                  </a:lnTo>
                  <a:lnTo>
                    <a:pt x="170" y="8"/>
                  </a:lnTo>
                  <a:lnTo>
                    <a:pt x="178" y="4"/>
                  </a:lnTo>
                  <a:lnTo>
                    <a:pt x="192" y="13"/>
                  </a:lnTo>
                  <a:lnTo>
                    <a:pt x="178" y="17"/>
                  </a:lnTo>
                  <a:lnTo>
                    <a:pt x="174" y="26"/>
                  </a:lnTo>
                  <a:lnTo>
                    <a:pt x="165" y="17"/>
                  </a:lnTo>
                  <a:lnTo>
                    <a:pt x="147" y="22"/>
                  </a:lnTo>
                  <a:lnTo>
                    <a:pt x="138" y="22"/>
                  </a:lnTo>
                  <a:lnTo>
                    <a:pt x="138" y="80"/>
                  </a:lnTo>
                  <a:lnTo>
                    <a:pt x="125" y="80"/>
                  </a:lnTo>
                  <a:lnTo>
                    <a:pt x="120" y="125"/>
                  </a:lnTo>
                  <a:lnTo>
                    <a:pt x="120" y="187"/>
                  </a:lnTo>
                  <a:lnTo>
                    <a:pt x="111" y="187"/>
                  </a:lnTo>
                  <a:lnTo>
                    <a:pt x="111" y="196"/>
                  </a:lnTo>
                  <a:lnTo>
                    <a:pt x="94" y="192"/>
                  </a:lnTo>
                  <a:lnTo>
                    <a:pt x="80" y="192"/>
                  </a:lnTo>
                  <a:lnTo>
                    <a:pt x="80" y="183"/>
                  </a:lnTo>
                  <a:lnTo>
                    <a:pt x="76" y="183"/>
                  </a:lnTo>
                  <a:lnTo>
                    <a:pt x="67" y="187"/>
                  </a:lnTo>
                  <a:lnTo>
                    <a:pt x="53" y="169"/>
                  </a:lnTo>
                  <a:lnTo>
                    <a:pt x="49" y="160"/>
                  </a:lnTo>
                  <a:lnTo>
                    <a:pt x="40" y="111"/>
                  </a:lnTo>
                  <a:lnTo>
                    <a:pt x="40" y="93"/>
                  </a:lnTo>
                  <a:lnTo>
                    <a:pt x="22" y="44"/>
                  </a:lnTo>
                  <a:lnTo>
                    <a:pt x="0" y="22"/>
                  </a:lnTo>
                  <a:lnTo>
                    <a:pt x="4" y="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91" name="Freeform 39"/>
            <p:cNvSpPr>
              <a:spLocks/>
            </p:cNvSpPr>
            <p:nvPr/>
          </p:nvSpPr>
          <p:spPr bwMode="gray">
            <a:xfrm>
              <a:off x="2687" y="2431"/>
              <a:ext cx="228" cy="174"/>
            </a:xfrm>
            <a:custGeom>
              <a:avLst/>
              <a:gdLst>
                <a:gd name="T0" fmla="*/ 0 w 228"/>
                <a:gd name="T1" fmla="*/ 129 h 174"/>
                <a:gd name="T2" fmla="*/ 0 w 228"/>
                <a:gd name="T3" fmla="*/ 138 h 174"/>
                <a:gd name="T4" fmla="*/ 9 w 228"/>
                <a:gd name="T5" fmla="*/ 152 h 174"/>
                <a:gd name="T6" fmla="*/ 9 w 228"/>
                <a:gd name="T7" fmla="*/ 161 h 174"/>
                <a:gd name="T8" fmla="*/ 18 w 228"/>
                <a:gd name="T9" fmla="*/ 165 h 174"/>
                <a:gd name="T10" fmla="*/ 27 w 228"/>
                <a:gd name="T11" fmla="*/ 161 h 174"/>
                <a:gd name="T12" fmla="*/ 27 w 228"/>
                <a:gd name="T13" fmla="*/ 174 h 174"/>
                <a:gd name="T14" fmla="*/ 31 w 228"/>
                <a:gd name="T15" fmla="*/ 174 h 174"/>
                <a:gd name="T16" fmla="*/ 40 w 228"/>
                <a:gd name="T17" fmla="*/ 165 h 174"/>
                <a:gd name="T18" fmla="*/ 54 w 228"/>
                <a:gd name="T19" fmla="*/ 174 h 174"/>
                <a:gd name="T20" fmla="*/ 54 w 228"/>
                <a:gd name="T21" fmla="*/ 165 h 174"/>
                <a:gd name="T22" fmla="*/ 58 w 228"/>
                <a:gd name="T23" fmla="*/ 156 h 174"/>
                <a:gd name="T24" fmla="*/ 58 w 228"/>
                <a:gd name="T25" fmla="*/ 147 h 174"/>
                <a:gd name="T26" fmla="*/ 71 w 228"/>
                <a:gd name="T27" fmla="*/ 143 h 174"/>
                <a:gd name="T28" fmla="*/ 94 w 228"/>
                <a:gd name="T29" fmla="*/ 147 h 174"/>
                <a:gd name="T30" fmla="*/ 107 w 228"/>
                <a:gd name="T31" fmla="*/ 161 h 174"/>
                <a:gd name="T32" fmla="*/ 121 w 228"/>
                <a:gd name="T33" fmla="*/ 156 h 174"/>
                <a:gd name="T34" fmla="*/ 138 w 228"/>
                <a:gd name="T35" fmla="*/ 156 h 174"/>
                <a:gd name="T36" fmla="*/ 156 w 228"/>
                <a:gd name="T37" fmla="*/ 152 h 174"/>
                <a:gd name="T38" fmla="*/ 170 w 228"/>
                <a:gd name="T39" fmla="*/ 156 h 174"/>
                <a:gd name="T40" fmla="*/ 188 w 228"/>
                <a:gd name="T41" fmla="*/ 147 h 174"/>
                <a:gd name="T42" fmla="*/ 188 w 228"/>
                <a:gd name="T43" fmla="*/ 134 h 174"/>
                <a:gd name="T44" fmla="*/ 192 w 228"/>
                <a:gd name="T45" fmla="*/ 125 h 174"/>
                <a:gd name="T46" fmla="*/ 214 w 228"/>
                <a:gd name="T47" fmla="*/ 107 h 174"/>
                <a:gd name="T48" fmla="*/ 219 w 228"/>
                <a:gd name="T49" fmla="*/ 62 h 174"/>
                <a:gd name="T50" fmla="*/ 228 w 228"/>
                <a:gd name="T51" fmla="*/ 44 h 174"/>
                <a:gd name="T52" fmla="*/ 219 w 228"/>
                <a:gd name="T53" fmla="*/ 35 h 174"/>
                <a:gd name="T54" fmla="*/ 219 w 228"/>
                <a:gd name="T55" fmla="*/ 22 h 174"/>
                <a:gd name="T56" fmla="*/ 210 w 228"/>
                <a:gd name="T57" fmla="*/ 4 h 174"/>
                <a:gd name="T58" fmla="*/ 197 w 228"/>
                <a:gd name="T59" fmla="*/ 13 h 174"/>
                <a:gd name="T60" fmla="*/ 192 w 228"/>
                <a:gd name="T61" fmla="*/ 0 h 174"/>
                <a:gd name="T62" fmla="*/ 170 w 228"/>
                <a:gd name="T63" fmla="*/ 0 h 174"/>
                <a:gd name="T64" fmla="*/ 94 w 228"/>
                <a:gd name="T65" fmla="*/ 53 h 174"/>
                <a:gd name="T66" fmla="*/ 58 w 228"/>
                <a:gd name="T67" fmla="*/ 62 h 174"/>
                <a:gd name="T68" fmla="*/ 58 w 228"/>
                <a:gd name="T69" fmla="*/ 98 h 174"/>
                <a:gd name="T70" fmla="*/ 58 w 228"/>
                <a:gd name="T71" fmla="*/ 111 h 174"/>
                <a:gd name="T72" fmla="*/ 49 w 228"/>
                <a:gd name="T73" fmla="*/ 120 h 174"/>
                <a:gd name="T74" fmla="*/ 22 w 228"/>
                <a:gd name="T75" fmla="*/ 120 h 174"/>
                <a:gd name="T76" fmla="*/ 13 w 228"/>
                <a:gd name="T77" fmla="*/ 120 h 174"/>
                <a:gd name="T78" fmla="*/ 9 w 228"/>
                <a:gd name="T79" fmla="*/ 129 h 174"/>
                <a:gd name="T80" fmla="*/ 0 w 228"/>
                <a:gd name="T81" fmla="*/ 12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28" h="174">
                  <a:moveTo>
                    <a:pt x="0" y="129"/>
                  </a:moveTo>
                  <a:lnTo>
                    <a:pt x="0" y="138"/>
                  </a:lnTo>
                  <a:lnTo>
                    <a:pt x="9" y="152"/>
                  </a:lnTo>
                  <a:lnTo>
                    <a:pt x="9" y="161"/>
                  </a:lnTo>
                  <a:lnTo>
                    <a:pt x="18" y="165"/>
                  </a:lnTo>
                  <a:lnTo>
                    <a:pt x="27" y="161"/>
                  </a:lnTo>
                  <a:lnTo>
                    <a:pt x="27" y="174"/>
                  </a:lnTo>
                  <a:lnTo>
                    <a:pt x="31" y="174"/>
                  </a:lnTo>
                  <a:lnTo>
                    <a:pt x="40" y="165"/>
                  </a:lnTo>
                  <a:lnTo>
                    <a:pt x="54" y="174"/>
                  </a:lnTo>
                  <a:lnTo>
                    <a:pt x="54" y="165"/>
                  </a:lnTo>
                  <a:lnTo>
                    <a:pt x="58" y="156"/>
                  </a:lnTo>
                  <a:lnTo>
                    <a:pt x="58" y="147"/>
                  </a:lnTo>
                  <a:lnTo>
                    <a:pt x="71" y="143"/>
                  </a:lnTo>
                  <a:lnTo>
                    <a:pt x="94" y="147"/>
                  </a:lnTo>
                  <a:lnTo>
                    <a:pt x="107" y="161"/>
                  </a:lnTo>
                  <a:lnTo>
                    <a:pt x="121" y="156"/>
                  </a:lnTo>
                  <a:lnTo>
                    <a:pt x="138" y="156"/>
                  </a:lnTo>
                  <a:lnTo>
                    <a:pt x="156" y="152"/>
                  </a:lnTo>
                  <a:lnTo>
                    <a:pt x="170" y="156"/>
                  </a:lnTo>
                  <a:lnTo>
                    <a:pt x="188" y="147"/>
                  </a:lnTo>
                  <a:lnTo>
                    <a:pt x="188" y="134"/>
                  </a:lnTo>
                  <a:lnTo>
                    <a:pt x="192" y="125"/>
                  </a:lnTo>
                  <a:lnTo>
                    <a:pt x="214" y="107"/>
                  </a:lnTo>
                  <a:lnTo>
                    <a:pt x="219" y="62"/>
                  </a:lnTo>
                  <a:lnTo>
                    <a:pt x="228" y="44"/>
                  </a:lnTo>
                  <a:lnTo>
                    <a:pt x="219" y="35"/>
                  </a:lnTo>
                  <a:lnTo>
                    <a:pt x="219" y="22"/>
                  </a:lnTo>
                  <a:lnTo>
                    <a:pt x="210" y="4"/>
                  </a:lnTo>
                  <a:lnTo>
                    <a:pt x="197" y="13"/>
                  </a:lnTo>
                  <a:lnTo>
                    <a:pt x="192" y="0"/>
                  </a:lnTo>
                  <a:lnTo>
                    <a:pt x="170" y="0"/>
                  </a:lnTo>
                  <a:lnTo>
                    <a:pt x="94" y="53"/>
                  </a:lnTo>
                  <a:lnTo>
                    <a:pt x="58" y="62"/>
                  </a:lnTo>
                  <a:lnTo>
                    <a:pt x="58" y="98"/>
                  </a:lnTo>
                  <a:lnTo>
                    <a:pt x="58" y="111"/>
                  </a:lnTo>
                  <a:lnTo>
                    <a:pt x="49" y="120"/>
                  </a:lnTo>
                  <a:lnTo>
                    <a:pt x="22" y="120"/>
                  </a:lnTo>
                  <a:lnTo>
                    <a:pt x="13" y="120"/>
                  </a:lnTo>
                  <a:lnTo>
                    <a:pt x="9" y="129"/>
                  </a:lnTo>
                  <a:lnTo>
                    <a:pt x="0" y="12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92" name="Freeform 40"/>
            <p:cNvSpPr>
              <a:spLocks/>
            </p:cNvSpPr>
            <p:nvPr/>
          </p:nvSpPr>
          <p:spPr bwMode="gray">
            <a:xfrm>
              <a:off x="2727" y="2574"/>
              <a:ext cx="161" cy="147"/>
            </a:xfrm>
            <a:custGeom>
              <a:avLst/>
              <a:gdLst>
                <a:gd name="T0" fmla="*/ 5 w 161"/>
                <a:gd name="T1" fmla="*/ 111 h 147"/>
                <a:gd name="T2" fmla="*/ 0 w 161"/>
                <a:gd name="T3" fmla="*/ 98 h 147"/>
                <a:gd name="T4" fmla="*/ 0 w 161"/>
                <a:gd name="T5" fmla="*/ 80 h 147"/>
                <a:gd name="T6" fmla="*/ 9 w 161"/>
                <a:gd name="T7" fmla="*/ 76 h 147"/>
                <a:gd name="T8" fmla="*/ 14 w 161"/>
                <a:gd name="T9" fmla="*/ 67 h 147"/>
                <a:gd name="T10" fmla="*/ 14 w 161"/>
                <a:gd name="T11" fmla="*/ 49 h 147"/>
                <a:gd name="T12" fmla="*/ 9 w 161"/>
                <a:gd name="T13" fmla="*/ 40 h 147"/>
                <a:gd name="T14" fmla="*/ 14 w 161"/>
                <a:gd name="T15" fmla="*/ 31 h 147"/>
                <a:gd name="T16" fmla="*/ 14 w 161"/>
                <a:gd name="T17" fmla="*/ 22 h 147"/>
                <a:gd name="T18" fmla="*/ 18 w 161"/>
                <a:gd name="T19" fmla="*/ 13 h 147"/>
                <a:gd name="T20" fmla="*/ 18 w 161"/>
                <a:gd name="T21" fmla="*/ 4 h 147"/>
                <a:gd name="T22" fmla="*/ 31 w 161"/>
                <a:gd name="T23" fmla="*/ 0 h 147"/>
                <a:gd name="T24" fmla="*/ 54 w 161"/>
                <a:gd name="T25" fmla="*/ 4 h 147"/>
                <a:gd name="T26" fmla="*/ 67 w 161"/>
                <a:gd name="T27" fmla="*/ 18 h 147"/>
                <a:gd name="T28" fmla="*/ 81 w 161"/>
                <a:gd name="T29" fmla="*/ 13 h 147"/>
                <a:gd name="T30" fmla="*/ 98 w 161"/>
                <a:gd name="T31" fmla="*/ 13 h 147"/>
                <a:gd name="T32" fmla="*/ 116 w 161"/>
                <a:gd name="T33" fmla="*/ 9 h 147"/>
                <a:gd name="T34" fmla="*/ 130 w 161"/>
                <a:gd name="T35" fmla="*/ 13 h 147"/>
                <a:gd name="T36" fmla="*/ 148 w 161"/>
                <a:gd name="T37" fmla="*/ 4 h 147"/>
                <a:gd name="T38" fmla="*/ 152 w 161"/>
                <a:gd name="T39" fmla="*/ 9 h 147"/>
                <a:gd name="T40" fmla="*/ 161 w 161"/>
                <a:gd name="T41" fmla="*/ 22 h 147"/>
                <a:gd name="T42" fmla="*/ 161 w 161"/>
                <a:gd name="T43" fmla="*/ 35 h 147"/>
                <a:gd name="T44" fmla="*/ 152 w 161"/>
                <a:gd name="T45" fmla="*/ 40 h 147"/>
                <a:gd name="T46" fmla="*/ 148 w 161"/>
                <a:gd name="T47" fmla="*/ 67 h 147"/>
                <a:gd name="T48" fmla="*/ 143 w 161"/>
                <a:gd name="T49" fmla="*/ 67 h 147"/>
                <a:gd name="T50" fmla="*/ 139 w 161"/>
                <a:gd name="T51" fmla="*/ 80 h 147"/>
                <a:gd name="T52" fmla="*/ 130 w 161"/>
                <a:gd name="T53" fmla="*/ 85 h 147"/>
                <a:gd name="T54" fmla="*/ 116 w 161"/>
                <a:gd name="T55" fmla="*/ 107 h 147"/>
                <a:gd name="T56" fmla="*/ 107 w 161"/>
                <a:gd name="T57" fmla="*/ 102 h 147"/>
                <a:gd name="T58" fmla="*/ 98 w 161"/>
                <a:gd name="T59" fmla="*/ 102 h 147"/>
                <a:gd name="T60" fmla="*/ 90 w 161"/>
                <a:gd name="T61" fmla="*/ 129 h 147"/>
                <a:gd name="T62" fmla="*/ 85 w 161"/>
                <a:gd name="T63" fmla="*/ 134 h 147"/>
                <a:gd name="T64" fmla="*/ 81 w 161"/>
                <a:gd name="T65" fmla="*/ 134 h 147"/>
                <a:gd name="T66" fmla="*/ 81 w 161"/>
                <a:gd name="T67" fmla="*/ 138 h 147"/>
                <a:gd name="T68" fmla="*/ 67 w 161"/>
                <a:gd name="T69" fmla="*/ 138 h 147"/>
                <a:gd name="T70" fmla="*/ 63 w 161"/>
                <a:gd name="T71" fmla="*/ 134 h 147"/>
                <a:gd name="T72" fmla="*/ 58 w 161"/>
                <a:gd name="T73" fmla="*/ 143 h 147"/>
                <a:gd name="T74" fmla="*/ 49 w 161"/>
                <a:gd name="T75" fmla="*/ 147 h 147"/>
                <a:gd name="T76" fmla="*/ 40 w 161"/>
                <a:gd name="T77" fmla="*/ 138 h 147"/>
                <a:gd name="T78" fmla="*/ 36 w 161"/>
                <a:gd name="T79" fmla="*/ 129 h 147"/>
                <a:gd name="T80" fmla="*/ 23 w 161"/>
                <a:gd name="T81" fmla="*/ 116 h 147"/>
                <a:gd name="T82" fmla="*/ 5 w 161"/>
                <a:gd name="T83" fmla="*/ 111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1" h="147">
                  <a:moveTo>
                    <a:pt x="5" y="111"/>
                  </a:moveTo>
                  <a:lnTo>
                    <a:pt x="0" y="98"/>
                  </a:lnTo>
                  <a:lnTo>
                    <a:pt x="0" y="80"/>
                  </a:lnTo>
                  <a:lnTo>
                    <a:pt x="9" y="76"/>
                  </a:lnTo>
                  <a:lnTo>
                    <a:pt x="14" y="67"/>
                  </a:lnTo>
                  <a:lnTo>
                    <a:pt x="14" y="49"/>
                  </a:lnTo>
                  <a:lnTo>
                    <a:pt x="9" y="40"/>
                  </a:lnTo>
                  <a:lnTo>
                    <a:pt x="14" y="31"/>
                  </a:lnTo>
                  <a:lnTo>
                    <a:pt x="14" y="22"/>
                  </a:lnTo>
                  <a:lnTo>
                    <a:pt x="18" y="13"/>
                  </a:lnTo>
                  <a:lnTo>
                    <a:pt x="18" y="4"/>
                  </a:lnTo>
                  <a:lnTo>
                    <a:pt x="31" y="0"/>
                  </a:lnTo>
                  <a:lnTo>
                    <a:pt x="54" y="4"/>
                  </a:lnTo>
                  <a:lnTo>
                    <a:pt x="67" y="18"/>
                  </a:lnTo>
                  <a:lnTo>
                    <a:pt x="81" y="13"/>
                  </a:lnTo>
                  <a:lnTo>
                    <a:pt x="98" y="13"/>
                  </a:lnTo>
                  <a:lnTo>
                    <a:pt x="116" y="9"/>
                  </a:lnTo>
                  <a:lnTo>
                    <a:pt x="130" y="13"/>
                  </a:lnTo>
                  <a:lnTo>
                    <a:pt x="148" y="4"/>
                  </a:lnTo>
                  <a:lnTo>
                    <a:pt x="152" y="9"/>
                  </a:lnTo>
                  <a:lnTo>
                    <a:pt x="161" y="22"/>
                  </a:lnTo>
                  <a:lnTo>
                    <a:pt x="161" y="35"/>
                  </a:lnTo>
                  <a:lnTo>
                    <a:pt x="152" y="40"/>
                  </a:lnTo>
                  <a:lnTo>
                    <a:pt x="148" y="67"/>
                  </a:lnTo>
                  <a:lnTo>
                    <a:pt x="143" y="67"/>
                  </a:lnTo>
                  <a:lnTo>
                    <a:pt x="139" y="80"/>
                  </a:lnTo>
                  <a:lnTo>
                    <a:pt x="130" y="85"/>
                  </a:lnTo>
                  <a:lnTo>
                    <a:pt x="116" y="107"/>
                  </a:lnTo>
                  <a:lnTo>
                    <a:pt x="107" y="102"/>
                  </a:lnTo>
                  <a:lnTo>
                    <a:pt x="98" y="102"/>
                  </a:lnTo>
                  <a:lnTo>
                    <a:pt x="90" y="129"/>
                  </a:lnTo>
                  <a:lnTo>
                    <a:pt x="85" y="134"/>
                  </a:lnTo>
                  <a:lnTo>
                    <a:pt x="81" y="134"/>
                  </a:lnTo>
                  <a:lnTo>
                    <a:pt x="81" y="138"/>
                  </a:lnTo>
                  <a:lnTo>
                    <a:pt x="67" y="138"/>
                  </a:lnTo>
                  <a:lnTo>
                    <a:pt x="63" y="134"/>
                  </a:lnTo>
                  <a:lnTo>
                    <a:pt x="58" y="143"/>
                  </a:lnTo>
                  <a:lnTo>
                    <a:pt x="49" y="147"/>
                  </a:lnTo>
                  <a:lnTo>
                    <a:pt x="40" y="138"/>
                  </a:lnTo>
                  <a:lnTo>
                    <a:pt x="36" y="129"/>
                  </a:lnTo>
                  <a:lnTo>
                    <a:pt x="23" y="116"/>
                  </a:lnTo>
                  <a:lnTo>
                    <a:pt x="5" y="11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93" name="Freeform 41"/>
            <p:cNvSpPr>
              <a:spLocks noEditPoints="1"/>
            </p:cNvSpPr>
            <p:nvPr/>
          </p:nvSpPr>
          <p:spPr bwMode="gray">
            <a:xfrm>
              <a:off x="2450" y="2596"/>
              <a:ext cx="40" cy="31"/>
            </a:xfrm>
            <a:custGeom>
              <a:avLst/>
              <a:gdLst>
                <a:gd name="T0" fmla="*/ 0 w 40"/>
                <a:gd name="T1" fmla="*/ 9 h 31"/>
                <a:gd name="T2" fmla="*/ 5 w 40"/>
                <a:gd name="T3" fmla="*/ 13 h 31"/>
                <a:gd name="T4" fmla="*/ 14 w 40"/>
                <a:gd name="T5" fmla="*/ 13 h 31"/>
                <a:gd name="T6" fmla="*/ 14 w 40"/>
                <a:gd name="T7" fmla="*/ 18 h 31"/>
                <a:gd name="T8" fmla="*/ 23 w 40"/>
                <a:gd name="T9" fmla="*/ 13 h 31"/>
                <a:gd name="T10" fmla="*/ 14 w 40"/>
                <a:gd name="T11" fmla="*/ 22 h 31"/>
                <a:gd name="T12" fmla="*/ 14 w 40"/>
                <a:gd name="T13" fmla="*/ 27 h 31"/>
                <a:gd name="T14" fmla="*/ 23 w 40"/>
                <a:gd name="T15" fmla="*/ 31 h 31"/>
                <a:gd name="T16" fmla="*/ 27 w 40"/>
                <a:gd name="T17" fmla="*/ 22 h 31"/>
                <a:gd name="T18" fmla="*/ 40 w 40"/>
                <a:gd name="T19" fmla="*/ 13 h 31"/>
                <a:gd name="T20" fmla="*/ 40 w 40"/>
                <a:gd name="T21" fmla="*/ 5 h 31"/>
                <a:gd name="T22" fmla="*/ 27 w 40"/>
                <a:gd name="T23" fmla="*/ 0 h 31"/>
                <a:gd name="T24" fmla="*/ 0 w 40"/>
                <a:gd name="T25" fmla="*/ 9 h 31"/>
                <a:gd name="T26" fmla="*/ 14 w 40"/>
                <a:gd name="T27" fmla="*/ 22 h 31"/>
                <a:gd name="T28" fmla="*/ 9 w 40"/>
                <a:gd name="T29" fmla="*/ 22 h 31"/>
                <a:gd name="T30" fmla="*/ 9 w 40"/>
                <a:gd name="T31" fmla="*/ 18 h 31"/>
                <a:gd name="T32" fmla="*/ 5 w 40"/>
                <a:gd name="T33" fmla="*/ 18 h 31"/>
                <a:gd name="T34" fmla="*/ 5 w 40"/>
                <a:gd name="T35" fmla="*/ 22 h 31"/>
                <a:gd name="T36" fmla="*/ 5 w 40"/>
                <a:gd name="T37" fmla="*/ 31 h 31"/>
                <a:gd name="T38" fmla="*/ 14 w 40"/>
                <a:gd name="T39" fmla="*/ 2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" h="31">
                  <a:moveTo>
                    <a:pt x="0" y="9"/>
                  </a:moveTo>
                  <a:lnTo>
                    <a:pt x="5" y="13"/>
                  </a:lnTo>
                  <a:lnTo>
                    <a:pt x="14" y="13"/>
                  </a:lnTo>
                  <a:lnTo>
                    <a:pt x="14" y="18"/>
                  </a:lnTo>
                  <a:lnTo>
                    <a:pt x="23" y="13"/>
                  </a:lnTo>
                  <a:lnTo>
                    <a:pt x="14" y="22"/>
                  </a:lnTo>
                  <a:lnTo>
                    <a:pt x="14" y="27"/>
                  </a:lnTo>
                  <a:lnTo>
                    <a:pt x="23" y="31"/>
                  </a:lnTo>
                  <a:lnTo>
                    <a:pt x="27" y="22"/>
                  </a:lnTo>
                  <a:lnTo>
                    <a:pt x="40" y="13"/>
                  </a:lnTo>
                  <a:lnTo>
                    <a:pt x="40" y="5"/>
                  </a:lnTo>
                  <a:lnTo>
                    <a:pt x="27" y="0"/>
                  </a:lnTo>
                  <a:lnTo>
                    <a:pt x="0" y="9"/>
                  </a:lnTo>
                  <a:close/>
                  <a:moveTo>
                    <a:pt x="14" y="22"/>
                  </a:moveTo>
                  <a:lnTo>
                    <a:pt x="9" y="22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5" y="22"/>
                  </a:lnTo>
                  <a:lnTo>
                    <a:pt x="5" y="31"/>
                  </a:lnTo>
                  <a:lnTo>
                    <a:pt x="14" y="2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94" name="Freeform 42"/>
            <p:cNvSpPr>
              <a:spLocks/>
            </p:cNvSpPr>
            <p:nvPr/>
          </p:nvSpPr>
          <p:spPr bwMode="gray">
            <a:xfrm>
              <a:off x="3473" y="3092"/>
              <a:ext cx="14" cy="9"/>
            </a:xfrm>
            <a:custGeom>
              <a:avLst/>
              <a:gdLst>
                <a:gd name="T0" fmla="*/ 9 w 14"/>
                <a:gd name="T1" fmla="*/ 0 h 9"/>
                <a:gd name="T2" fmla="*/ 0 w 14"/>
                <a:gd name="T3" fmla="*/ 0 h 9"/>
                <a:gd name="T4" fmla="*/ 0 w 14"/>
                <a:gd name="T5" fmla="*/ 5 h 9"/>
                <a:gd name="T6" fmla="*/ 5 w 14"/>
                <a:gd name="T7" fmla="*/ 9 h 9"/>
                <a:gd name="T8" fmla="*/ 9 w 14"/>
                <a:gd name="T9" fmla="*/ 9 h 9"/>
                <a:gd name="T10" fmla="*/ 14 w 14"/>
                <a:gd name="T11" fmla="*/ 5 h 9"/>
                <a:gd name="T12" fmla="*/ 9 w 14"/>
                <a:gd name="T13" fmla="*/ 5 h 9"/>
                <a:gd name="T14" fmla="*/ 9 w 14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5" y="9"/>
                  </a:lnTo>
                  <a:lnTo>
                    <a:pt x="9" y="9"/>
                  </a:lnTo>
                  <a:lnTo>
                    <a:pt x="14" y="5"/>
                  </a:lnTo>
                  <a:lnTo>
                    <a:pt x="9" y="5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95" name="Freeform 43"/>
            <p:cNvSpPr>
              <a:spLocks/>
            </p:cNvSpPr>
            <p:nvPr/>
          </p:nvSpPr>
          <p:spPr bwMode="gray">
            <a:xfrm>
              <a:off x="3102" y="2797"/>
              <a:ext cx="23" cy="22"/>
            </a:xfrm>
            <a:custGeom>
              <a:avLst/>
              <a:gdLst>
                <a:gd name="T0" fmla="*/ 0 w 23"/>
                <a:gd name="T1" fmla="*/ 22 h 22"/>
                <a:gd name="T2" fmla="*/ 0 w 23"/>
                <a:gd name="T3" fmla="*/ 14 h 22"/>
                <a:gd name="T4" fmla="*/ 0 w 23"/>
                <a:gd name="T5" fmla="*/ 9 h 22"/>
                <a:gd name="T6" fmla="*/ 9 w 23"/>
                <a:gd name="T7" fmla="*/ 5 h 22"/>
                <a:gd name="T8" fmla="*/ 18 w 23"/>
                <a:gd name="T9" fmla="*/ 0 h 22"/>
                <a:gd name="T10" fmla="*/ 23 w 23"/>
                <a:gd name="T11" fmla="*/ 5 h 22"/>
                <a:gd name="T12" fmla="*/ 23 w 23"/>
                <a:gd name="T13" fmla="*/ 18 h 22"/>
                <a:gd name="T14" fmla="*/ 14 w 23"/>
                <a:gd name="T15" fmla="*/ 18 h 22"/>
                <a:gd name="T16" fmla="*/ 9 w 23"/>
                <a:gd name="T17" fmla="*/ 22 h 22"/>
                <a:gd name="T18" fmla="*/ 0 w 23"/>
                <a:gd name="T1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2">
                  <a:moveTo>
                    <a:pt x="0" y="22"/>
                  </a:moveTo>
                  <a:lnTo>
                    <a:pt x="0" y="14"/>
                  </a:lnTo>
                  <a:lnTo>
                    <a:pt x="0" y="9"/>
                  </a:lnTo>
                  <a:lnTo>
                    <a:pt x="9" y="5"/>
                  </a:lnTo>
                  <a:lnTo>
                    <a:pt x="18" y="0"/>
                  </a:lnTo>
                  <a:lnTo>
                    <a:pt x="23" y="5"/>
                  </a:lnTo>
                  <a:lnTo>
                    <a:pt x="23" y="18"/>
                  </a:lnTo>
                  <a:lnTo>
                    <a:pt x="14" y="18"/>
                  </a:lnTo>
                  <a:lnTo>
                    <a:pt x="9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96" name="Freeform 44"/>
            <p:cNvSpPr>
              <a:spLocks noEditPoints="1"/>
            </p:cNvSpPr>
            <p:nvPr/>
          </p:nvSpPr>
          <p:spPr bwMode="gray">
            <a:xfrm>
              <a:off x="2781" y="2757"/>
              <a:ext cx="13" cy="27"/>
            </a:xfrm>
            <a:custGeom>
              <a:avLst/>
              <a:gdLst>
                <a:gd name="T0" fmla="*/ 4 w 13"/>
                <a:gd name="T1" fmla="*/ 27 h 27"/>
                <a:gd name="T2" fmla="*/ 4 w 13"/>
                <a:gd name="T3" fmla="*/ 22 h 27"/>
                <a:gd name="T4" fmla="*/ 9 w 13"/>
                <a:gd name="T5" fmla="*/ 18 h 27"/>
                <a:gd name="T6" fmla="*/ 4 w 13"/>
                <a:gd name="T7" fmla="*/ 18 h 27"/>
                <a:gd name="T8" fmla="*/ 0 w 13"/>
                <a:gd name="T9" fmla="*/ 22 h 27"/>
                <a:gd name="T10" fmla="*/ 0 w 13"/>
                <a:gd name="T11" fmla="*/ 22 h 27"/>
                <a:gd name="T12" fmla="*/ 4 w 13"/>
                <a:gd name="T13" fmla="*/ 27 h 27"/>
                <a:gd name="T14" fmla="*/ 13 w 13"/>
                <a:gd name="T15" fmla="*/ 0 h 27"/>
                <a:gd name="T16" fmla="*/ 9 w 13"/>
                <a:gd name="T17" fmla="*/ 0 h 27"/>
                <a:gd name="T18" fmla="*/ 13 w 13"/>
                <a:gd name="T19" fmla="*/ 4 h 27"/>
                <a:gd name="T20" fmla="*/ 13 w 13"/>
                <a:gd name="T21" fmla="*/ 0 h 27"/>
                <a:gd name="T22" fmla="*/ 13 w 13"/>
                <a:gd name="T2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27">
                  <a:moveTo>
                    <a:pt x="4" y="27"/>
                  </a:moveTo>
                  <a:lnTo>
                    <a:pt x="4" y="22"/>
                  </a:lnTo>
                  <a:lnTo>
                    <a:pt x="9" y="18"/>
                  </a:lnTo>
                  <a:lnTo>
                    <a:pt x="4" y="18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4" y="27"/>
                  </a:lnTo>
                  <a:close/>
                  <a:moveTo>
                    <a:pt x="13" y="0"/>
                  </a:moveTo>
                  <a:lnTo>
                    <a:pt x="9" y="0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97" name="Freeform 45"/>
            <p:cNvSpPr>
              <a:spLocks/>
            </p:cNvSpPr>
            <p:nvPr/>
          </p:nvSpPr>
          <p:spPr bwMode="gray">
            <a:xfrm>
              <a:off x="2437" y="2533"/>
              <a:ext cx="89" cy="76"/>
            </a:xfrm>
            <a:custGeom>
              <a:avLst/>
              <a:gdLst>
                <a:gd name="T0" fmla="*/ 9 w 89"/>
                <a:gd name="T1" fmla="*/ 54 h 76"/>
                <a:gd name="T2" fmla="*/ 4 w 89"/>
                <a:gd name="T3" fmla="*/ 63 h 76"/>
                <a:gd name="T4" fmla="*/ 9 w 89"/>
                <a:gd name="T5" fmla="*/ 72 h 76"/>
                <a:gd name="T6" fmla="*/ 13 w 89"/>
                <a:gd name="T7" fmla="*/ 72 h 76"/>
                <a:gd name="T8" fmla="*/ 40 w 89"/>
                <a:gd name="T9" fmla="*/ 63 h 76"/>
                <a:gd name="T10" fmla="*/ 53 w 89"/>
                <a:gd name="T11" fmla="*/ 68 h 76"/>
                <a:gd name="T12" fmla="*/ 80 w 89"/>
                <a:gd name="T13" fmla="*/ 68 h 76"/>
                <a:gd name="T14" fmla="*/ 85 w 89"/>
                <a:gd name="T15" fmla="*/ 76 h 76"/>
                <a:gd name="T16" fmla="*/ 89 w 89"/>
                <a:gd name="T17" fmla="*/ 72 h 76"/>
                <a:gd name="T18" fmla="*/ 85 w 89"/>
                <a:gd name="T19" fmla="*/ 59 h 76"/>
                <a:gd name="T20" fmla="*/ 76 w 89"/>
                <a:gd name="T21" fmla="*/ 50 h 76"/>
                <a:gd name="T22" fmla="*/ 71 w 89"/>
                <a:gd name="T23" fmla="*/ 36 h 76"/>
                <a:gd name="T24" fmla="*/ 76 w 89"/>
                <a:gd name="T25" fmla="*/ 27 h 76"/>
                <a:gd name="T26" fmla="*/ 58 w 89"/>
                <a:gd name="T27" fmla="*/ 9 h 76"/>
                <a:gd name="T28" fmla="*/ 49 w 89"/>
                <a:gd name="T29" fmla="*/ 9 h 76"/>
                <a:gd name="T30" fmla="*/ 45 w 89"/>
                <a:gd name="T31" fmla="*/ 0 h 76"/>
                <a:gd name="T32" fmla="*/ 18 w 89"/>
                <a:gd name="T33" fmla="*/ 5 h 76"/>
                <a:gd name="T34" fmla="*/ 13 w 89"/>
                <a:gd name="T35" fmla="*/ 9 h 76"/>
                <a:gd name="T36" fmla="*/ 9 w 89"/>
                <a:gd name="T37" fmla="*/ 14 h 76"/>
                <a:gd name="T38" fmla="*/ 0 w 89"/>
                <a:gd name="T39" fmla="*/ 27 h 76"/>
                <a:gd name="T40" fmla="*/ 9 w 89"/>
                <a:gd name="T41" fmla="*/ 41 h 76"/>
                <a:gd name="T42" fmla="*/ 13 w 89"/>
                <a:gd name="T43" fmla="*/ 45 h 76"/>
                <a:gd name="T44" fmla="*/ 36 w 89"/>
                <a:gd name="T45" fmla="*/ 45 h 76"/>
                <a:gd name="T46" fmla="*/ 45 w 89"/>
                <a:gd name="T47" fmla="*/ 45 h 76"/>
                <a:gd name="T48" fmla="*/ 49 w 89"/>
                <a:gd name="T49" fmla="*/ 50 h 76"/>
                <a:gd name="T50" fmla="*/ 45 w 89"/>
                <a:gd name="T51" fmla="*/ 54 h 76"/>
                <a:gd name="T52" fmla="*/ 36 w 89"/>
                <a:gd name="T53" fmla="*/ 50 h 76"/>
                <a:gd name="T54" fmla="*/ 27 w 89"/>
                <a:gd name="T55" fmla="*/ 59 h 76"/>
                <a:gd name="T56" fmla="*/ 9 w 89"/>
                <a:gd name="T57" fmla="*/ 5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" h="76">
                  <a:moveTo>
                    <a:pt x="9" y="54"/>
                  </a:moveTo>
                  <a:lnTo>
                    <a:pt x="4" y="63"/>
                  </a:lnTo>
                  <a:lnTo>
                    <a:pt x="9" y="72"/>
                  </a:lnTo>
                  <a:lnTo>
                    <a:pt x="13" y="72"/>
                  </a:lnTo>
                  <a:lnTo>
                    <a:pt x="40" y="63"/>
                  </a:lnTo>
                  <a:lnTo>
                    <a:pt x="53" y="68"/>
                  </a:lnTo>
                  <a:lnTo>
                    <a:pt x="80" y="68"/>
                  </a:lnTo>
                  <a:lnTo>
                    <a:pt x="85" y="76"/>
                  </a:lnTo>
                  <a:lnTo>
                    <a:pt x="89" y="72"/>
                  </a:lnTo>
                  <a:lnTo>
                    <a:pt x="85" y="59"/>
                  </a:lnTo>
                  <a:lnTo>
                    <a:pt x="76" y="50"/>
                  </a:lnTo>
                  <a:lnTo>
                    <a:pt x="71" y="36"/>
                  </a:lnTo>
                  <a:lnTo>
                    <a:pt x="76" y="27"/>
                  </a:lnTo>
                  <a:lnTo>
                    <a:pt x="58" y="9"/>
                  </a:lnTo>
                  <a:lnTo>
                    <a:pt x="49" y="9"/>
                  </a:lnTo>
                  <a:lnTo>
                    <a:pt x="45" y="0"/>
                  </a:lnTo>
                  <a:lnTo>
                    <a:pt x="18" y="5"/>
                  </a:lnTo>
                  <a:lnTo>
                    <a:pt x="13" y="9"/>
                  </a:lnTo>
                  <a:lnTo>
                    <a:pt x="9" y="14"/>
                  </a:lnTo>
                  <a:lnTo>
                    <a:pt x="0" y="27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36" y="45"/>
                  </a:lnTo>
                  <a:lnTo>
                    <a:pt x="45" y="45"/>
                  </a:lnTo>
                  <a:lnTo>
                    <a:pt x="49" y="50"/>
                  </a:lnTo>
                  <a:lnTo>
                    <a:pt x="45" y="54"/>
                  </a:lnTo>
                  <a:lnTo>
                    <a:pt x="36" y="50"/>
                  </a:lnTo>
                  <a:lnTo>
                    <a:pt x="27" y="59"/>
                  </a:lnTo>
                  <a:lnTo>
                    <a:pt x="9" y="5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98" name="Freeform 46"/>
            <p:cNvSpPr>
              <a:spLocks/>
            </p:cNvSpPr>
            <p:nvPr/>
          </p:nvSpPr>
          <p:spPr bwMode="gray">
            <a:xfrm>
              <a:off x="2490" y="2636"/>
              <a:ext cx="45" cy="45"/>
            </a:xfrm>
            <a:custGeom>
              <a:avLst/>
              <a:gdLst>
                <a:gd name="T0" fmla="*/ 0 w 45"/>
                <a:gd name="T1" fmla="*/ 14 h 45"/>
                <a:gd name="T2" fmla="*/ 5 w 45"/>
                <a:gd name="T3" fmla="*/ 27 h 45"/>
                <a:gd name="T4" fmla="*/ 9 w 45"/>
                <a:gd name="T5" fmla="*/ 27 h 45"/>
                <a:gd name="T6" fmla="*/ 9 w 45"/>
                <a:gd name="T7" fmla="*/ 36 h 45"/>
                <a:gd name="T8" fmla="*/ 27 w 45"/>
                <a:gd name="T9" fmla="*/ 45 h 45"/>
                <a:gd name="T10" fmla="*/ 32 w 45"/>
                <a:gd name="T11" fmla="*/ 40 h 45"/>
                <a:gd name="T12" fmla="*/ 41 w 45"/>
                <a:gd name="T13" fmla="*/ 36 h 45"/>
                <a:gd name="T14" fmla="*/ 41 w 45"/>
                <a:gd name="T15" fmla="*/ 32 h 45"/>
                <a:gd name="T16" fmla="*/ 45 w 45"/>
                <a:gd name="T17" fmla="*/ 32 h 45"/>
                <a:gd name="T18" fmla="*/ 45 w 45"/>
                <a:gd name="T19" fmla="*/ 23 h 45"/>
                <a:gd name="T20" fmla="*/ 41 w 45"/>
                <a:gd name="T21" fmla="*/ 23 h 45"/>
                <a:gd name="T22" fmla="*/ 41 w 45"/>
                <a:gd name="T23" fmla="*/ 14 h 45"/>
                <a:gd name="T24" fmla="*/ 36 w 45"/>
                <a:gd name="T25" fmla="*/ 5 h 45"/>
                <a:gd name="T26" fmla="*/ 32 w 45"/>
                <a:gd name="T27" fmla="*/ 0 h 45"/>
                <a:gd name="T28" fmla="*/ 14 w 45"/>
                <a:gd name="T29" fmla="*/ 5 h 45"/>
                <a:gd name="T30" fmla="*/ 9 w 45"/>
                <a:gd name="T31" fmla="*/ 9 h 45"/>
                <a:gd name="T32" fmla="*/ 0 w 45"/>
                <a:gd name="T33" fmla="*/ 1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45">
                  <a:moveTo>
                    <a:pt x="0" y="14"/>
                  </a:moveTo>
                  <a:lnTo>
                    <a:pt x="5" y="27"/>
                  </a:lnTo>
                  <a:lnTo>
                    <a:pt x="9" y="27"/>
                  </a:lnTo>
                  <a:lnTo>
                    <a:pt x="9" y="36"/>
                  </a:lnTo>
                  <a:lnTo>
                    <a:pt x="27" y="45"/>
                  </a:lnTo>
                  <a:lnTo>
                    <a:pt x="32" y="40"/>
                  </a:lnTo>
                  <a:lnTo>
                    <a:pt x="41" y="36"/>
                  </a:lnTo>
                  <a:lnTo>
                    <a:pt x="41" y="32"/>
                  </a:lnTo>
                  <a:lnTo>
                    <a:pt x="45" y="32"/>
                  </a:lnTo>
                  <a:lnTo>
                    <a:pt x="45" y="23"/>
                  </a:lnTo>
                  <a:lnTo>
                    <a:pt x="41" y="23"/>
                  </a:lnTo>
                  <a:lnTo>
                    <a:pt x="41" y="14"/>
                  </a:lnTo>
                  <a:lnTo>
                    <a:pt x="36" y="5"/>
                  </a:lnTo>
                  <a:lnTo>
                    <a:pt x="32" y="0"/>
                  </a:lnTo>
                  <a:lnTo>
                    <a:pt x="14" y="5"/>
                  </a:lnTo>
                  <a:lnTo>
                    <a:pt x="9" y="9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399" name="Freeform 47"/>
            <p:cNvSpPr>
              <a:spLocks/>
            </p:cNvSpPr>
            <p:nvPr/>
          </p:nvSpPr>
          <p:spPr bwMode="gray">
            <a:xfrm>
              <a:off x="3272" y="2605"/>
              <a:ext cx="152" cy="201"/>
            </a:xfrm>
            <a:custGeom>
              <a:avLst/>
              <a:gdLst>
                <a:gd name="T0" fmla="*/ 9 w 152"/>
                <a:gd name="T1" fmla="*/ 201 h 201"/>
                <a:gd name="T2" fmla="*/ 31 w 152"/>
                <a:gd name="T3" fmla="*/ 179 h 201"/>
                <a:gd name="T4" fmla="*/ 58 w 152"/>
                <a:gd name="T5" fmla="*/ 147 h 201"/>
                <a:gd name="T6" fmla="*/ 63 w 152"/>
                <a:gd name="T7" fmla="*/ 147 h 201"/>
                <a:gd name="T8" fmla="*/ 72 w 152"/>
                <a:gd name="T9" fmla="*/ 139 h 201"/>
                <a:gd name="T10" fmla="*/ 85 w 152"/>
                <a:gd name="T11" fmla="*/ 134 h 201"/>
                <a:gd name="T12" fmla="*/ 116 w 152"/>
                <a:gd name="T13" fmla="*/ 94 h 201"/>
                <a:gd name="T14" fmla="*/ 130 w 152"/>
                <a:gd name="T15" fmla="*/ 63 h 201"/>
                <a:gd name="T16" fmla="*/ 143 w 152"/>
                <a:gd name="T17" fmla="*/ 45 h 201"/>
                <a:gd name="T18" fmla="*/ 139 w 152"/>
                <a:gd name="T19" fmla="*/ 40 h 201"/>
                <a:gd name="T20" fmla="*/ 148 w 152"/>
                <a:gd name="T21" fmla="*/ 27 h 201"/>
                <a:gd name="T22" fmla="*/ 152 w 152"/>
                <a:gd name="T23" fmla="*/ 22 h 201"/>
                <a:gd name="T24" fmla="*/ 148 w 152"/>
                <a:gd name="T25" fmla="*/ 22 h 201"/>
                <a:gd name="T26" fmla="*/ 148 w 152"/>
                <a:gd name="T27" fmla="*/ 0 h 201"/>
                <a:gd name="T28" fmla="*/ 139 w 152"/>
                <a:gd name="T29" fmla="*/ 0 h 201"/>
                <a:gd name="T30" fmla="*/ 134 w 152"/>
                <a:gd name="T31" fmla="*/ 4 h 201"/>
                <a:gd name="T32" fmla="*/ 130 w 152"/>
                <a:gd name="T33" fmla="*/ 4 h 201"/>
                <a:gd name="T34" fmla="*/ 103 w 152"/>
                <a:gd name="T35" fmla="*/ 13 h 201"/>
                <a:gd name="T36" fmla="*/ 89 w 152"/>
                <a:gd name="T37" fmla="*/ 13 h 201"/>
                <a:gd name="T38" fmla="*/ 81 w 152"/>
                <a:gd name="T39" fmla="*/ 22 h 201"/>
                <a:gd name="T40" fmla="*/ 67 w 152"/>
                <a:gd name="T41" fmla="*/ 18 h 201"/>
                <a:gd name="T42" fmla="*/ 54 w 152"/>
                <a:gd name="T43" fmla="*/ 22 h 201"/>
                <a:gd name="T44" fmla="*/ 36 w 152"/>
                <a:gd name="T45" fmla="*/ 9 h 201"/>
                <a:gd name="T46" fmla="*/ 31 w 152"/>
                <a:gd name="T47" fmla="*/ 13 h 201"/>
                <a:gd name="T48" fmla="*/ 27 w 152"/>
                <a:gd name="T49" fmla="*/ 22 h 201"/>
                <a:gd name="T50" fmla="*/ 36 w 152"/>
                <a:gd name="T51" fmla="*/ 36 h 201"/>
                <a:gd name="T52" fmla="*/ 45 w 152"/>
                <a:gd name="T53" fmla="*/ 45 h 201"/>
                <a:gd name="T54" fmla="*/ 81 w 152"/>
                <a:gd name="T55" fmla="*/ 63 h 201"/>
                <a:gd name="T56" fmla="*/ 103 w 152"/>
                <a:gd name="T57" fmla="*/ 63 h 201"/>
                <a:gd name="T58" fmla="*/ 54 w 152"/>
                <a:gd name="T59" fmla="*/ 103 h 201"/>
                <a:gd name="T60" fmla="*/ 27 w 152"/>
                <a:gd name="T61" fmla="*/ 107 h 201"/>
                <a:gd name="T62" fmla="*/ 18 w 152"/>
                <a:gd name="T63" fmla="*/ 116 h 201"/>
                <a:gd name="T64" fmla="*/ 0 w 152"/>
                <a:gd name="T65" fmla="*/ 130 h 201"/>
                <a:gd name="T66" fmla="*/ 5 w 152"/>
                <a:gd name="T67" fmla="*/ 183 h 201"/>
                <a:gd name="T68" fmla="*/ 9 w 152"/>
                <a:gd name="T69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2" h="201">
                  <a:moveTo>
                    <a:pt x="9" y="201"/>
                  </a:moveTo>
                  <a:lnTo>
                    <a:pt x="31" y="179"/>
                  </a:lnTo>
                  <a:lnTo>
                    <a:pt x="58" y="147"/>
                  </a:lnTo>
                  <a:lnTo>
                    <a:pt x="63" y="147"/>
                  </a:lnTo>
                  <a:lnTo>
                    <a:pt x="72" y="139"/>
                  </a:lnTo>
                  <a:lnTo>
                    <a:pt x="85" y="134"/>
                  </a:lnTo>
                  <a:lnTo>
                    <a:pt x="116" y="94"/>
                  </a:lnTo>
                  <a:lnTo>
                    <a:pt x="130" y="63"/>
                  </a:lnTo>
                  <a:lnTo>
                    <a:pt x="143" y="45"/>
                  </a:lnTo>
                  <a:lnTo>
                    <a:pt x="139" y="40"/>
                  </a:lnTo>
                  <a:lnTo>
                    <a:pt x="148" y="27"/>
                  </a:lnTo>
                  <a:lnTo>
                    <a:pt x="152" y="22"/>
                  </a:lnTo>
                  <a:lnTo>
                    <a:pt x="148" y="22"/>
                  </a:lnTo>
                  <a:lnTo>
                    <a:pt x="148" y="0"/>
                  </a:lnTo>
                  <a:lnTo>
                    <a:pt x="139" y="0"/>
                  </a:lnTo>
                  <a:lnTo>
                    <a:pt x="134" y="4"/>
                  </a:lnTo>
                  <a:lnTo>
                    <a:pt x="130" y="4"/>
                  </a:lnTo>
                  <a:lnTo>
                    <a:pt x="103" y="13"/>
                  </a:lnTo>
                  <a:lnTo>
                    <a:pt x="89" y="13"/>
                  </a:lnTo>
                  <a:lnTo>
                    <a:pt x="81" y="22"/>
                  </a:lnTo>
                  <a:lnTo>
                    <a:pt x="67" y="18"/>
                  </a:lnTo>
                  <a:lnTo>
                    <a:pt x="54" y="22"/>
                  </a:lnTo>
                  <a:lnTo>
                    <a:pt x="36" y="9"/>
                  </a:lnTo>
                  <a:lnTo>
                    <a:pt x="31" y="13"/>
                  </a:lnTo>
                  <a:lnTo>
                    <a:pt x="27" y="22"/>
                  </a:lnTo>
                  <a:lnTo>
                    <a:pt x="36" y="36"/>
                  </a:lnTo>
                  <a:lnTo>
                    <a:pt x="45" y="45"/>
                  </a:lnTo>
                  <a:lnTo>
                    <a:pt x="81" y="63"/>
                  </a:lnTo>
                  <a:lnTo>
                    <a:pt x="103" y="63"/>
                  </a:lnTo>
                  <a:lnTo>
                    <a:pt x="54" y="103"/>
                  </a:lnTo>
                  <a:lnTo>
                    <a:pt x="27" y="107"/>
                  </a:lnTo>
                  <a:lnTo>
                    <a:pt x="18" y="116"/>
                  </a:lnTo>
                  <a:lnTo>
                    <a:pt x="0" y="130"/>
                  </a:lnTo>
                  <a:lnTo>
                    <a:pt x="5" y="183"/>
                  </a:lnTo>
                  <a:lnTo>
                    <a:pt x="9" y="20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400" name="Freeform 48"/>
            <p:cNvSpPr>
              <a:spLocks noEditPoints="1"/>
            </p:cNvSpPr>
            <p:nvPr/>
          </p:nvSpPr>
          <p:spPr bwMode="gray">
            <a:xfrm>
              <a:off x="2915" y="3110"/>
              <a:ext cx="241" cy="214"/>
            </a:xfrm>
            <a:custGeom>
              <a:avLst/>
              <a:gdLst>
                <a:gd name="T0" fmla="*/ 9 w 241"/>
                <a:gd name="T1" fmla="*/ 112 h 214"/>
                <a:gd name="T2" fmla="*/ 27 w 241"/>
                <a:gd name="T3" fmla="*/ 174 h 214"/>
                <a:gd name="T4" fmla="*/ 31 w 241"/>
                <a:gd name="T5" fmla="*/ 192 h 214"/>
                <a:gd name="T6" fmla="*/ 31 w 241"/>
                <a:gd name="T7" fmla="*/ 210 h 214"/>
                <a:gd name="T8" fmla="*/ 53 w 241"/>
                <a:gd name="T9" fmla="*/ 214 h 214"/>
                <a:gd name="T10" fmla="*/ 80 w 241"/>
                <a:gd name="T11" fmla="*/ 206 h 214"/>
                <a:gd name="T12" fmla="*/ 98 w 241"/>
                <a:gd name="T13" fmla="*/ 201 h 214"/>
                <a:gd name="T14" fmla="*/ 125 w 241"/>
                <a:gd name="T15" fmla="*/ 201 h 214"/>
                <a:gd name="T16" fmla="*/ 134 w 241"/>
                <a:gd name="T17" fmla="*/ 192 h 214"/>
                <a:gd name="T18" fmla="*/ 156 w 241"/>
                <a:gd name="T19" fmla="*/ 192 h 214"/>
                <a:gd name="T20" fmla="*/ 174 w 241"/>
                <a:gd name="T21" fmla="*/ 174 h 214"/>
                <a:gd name="T22" fmla="*/ 205 w 241"/>
                <a:gd name="T23" fmla="*/ 147 h 214"/>
                <a:gd name="T24" fmla="*/ 232 w 241"/>
                <a:gd name="T25" fmla="*/ 112 h 214"/>
                <a:gd name="T26" fmla="*/ 237 w 241"/>
                <a:gd name="T27" fmla="*/ 94 h 214"/>
                <a:gd name="T28" fmla="*/ 241 w 241"/>
                <a:gd name="T29" fmla="*/ 89 h 214"/>
                <a:gd name="T30" fmla="*/ 228 w 241"/>
                <a:gd name="T31" fmla="*/ 80 h 214"/>
                <a:gd name="T32" fmla="*/ 210 w 241"/>
                <a:gd name="T33" fmla="*/ 85 h 214"/>
                <a:gd name="T34" fmla="*/ 210 w 241"/>
                <a:gd name="T35" fmla="*/ 63 h 214"/>
                <a:gd name="T36" fmla="*/ 223 w 241"/>
                <a:gd name="T37" fmla="*/ 63 h 214"/>
                <a:gd name="T38" fmla="*/ 228 w 241"/>
                <a:gd name="T39" fmla="*/ 58 h 214"/>
                <a:gd name="T40" fmla="*/ 223 w 241"/>
                <a:gd name="T41" fmla="*/ 13 h 214"/>
                <a:gd name="T42" fmla="*/ 201 w 241"/>
                <a:gd name="T43" fmla="*/ 0 h 214"/>
                <a:gd name="T44" fmla="*/ 187 w 241"/>
                <a:gd name="T45" fmla="*/ 4 h 214"/>
                <a:gd name="T46" fmla="*/ 152 w 241"/>
                <a:gd name="T47" fmla="*/ 31 h 214"/>
                <a:gd name="T48" fmla="*/ 138 w 241"/>
                <a:gd name="T49" fmla="*/ 45 h 214"/>
                <a:gd name="T50" fmla="*/ 111 w 241"/>
                <a:gd name="T51" fmla="*/ 63 h 214"/>
                <a:gd name="T52" fmla="*/ 103 w 241"/>
                <a:gd name="T53" fmla="*/ 54 h 214"/>
                <a:gd name="T54" fmla="*/ 85 w 241"/>
                <a:gd name="T55" fmla="*/ 76 h 214"/>
                <a:gd name="T56" fmla="*/ 62 w 241"/>
                <a:gd name="T57" fmla="*/ 71 h 214"/>
                <a:gd name="T58" fmla="*/ 53 w 241"/>
                <a:gd name="T59" fmla="*/ 45 h 214"/>
                <a:gd name="T60" fmla="*/ 44 w 241"/>
                <a:gd name="T61" fmla="*/ 107 h 214"/>
                <a:gd name="T62" fmla="*/ 27 w 241"/>
                <a:gd name="T63" fmla="*/ 112 h 214"/>
                <a:gd name="T64" fmla="*/ 13 w 241"/>
                <a:gd name="T65" fmla="*/ 103 h 214"/>
                <a:gd name="T66" fmla="*/ 0 w 241"/>
                <a:gd name="T67" fmla="*/ 107 h 214"/>
                <a:gd name="T68" fmla="*/ 170 w 241"/>
                <a:gd name="T69" fmla="*/ 138 h 214"/>
                <a:gd name="T70" fmla="*/ 187 w 241"/>
                <a:gd name="T71" fmla="*/ 130 h 214"/>
                <a:gd name="T72" fmla="*/ 183 w 241"/>
                <a:gd name="T73" fmla="*/ 107 h 214"/>
                <a:gd name="T74" fmla="*/ 156 w 241"/>
                <a:gd name="T75" fmla="*/ 121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1" h="214">
                  <a:moveTo>
                    <a:pt x="0" y="107"/>
                  </a:moveTo>
                  <a:lnTo>
                    <a:pt x="9" y="112"/>
                  </a:lnTo>
                  <a:lnTo>
                    <a:pt x="27" y="156"/>
                  </a:lnTo>
                  <a:lnTo>
                    <a:pt x="27" y="174"/>
                  </a:lnTo>
                  <a:lnTo>
                    <a:pt x="22" y="174"/>
                  </a:lnTo>
                  <a:lnTo>
                    <a:pt x="31" y="192"/>
                  </a:lnTo>
                  <a:lnTo>
                    <a:pt x="27" y="197"/>
                  </a:lnTo>
                  <a:lnTo>
                    <a:pt x="31" y="210"/>
                  </a:lnTo>
                  <a:lnTo>
                    <a:pt x="36" y="206"/>
                  </a:lnTo>
                  <a:lnTo>
                    <a:pt x="53" y="214"/>
                  </a:lnTo>
                  <a:lnTo>
                    <a:pt x="58" y="206"/>
                  </a:lnTo>
                  <a:lnTo>
                    <a:pt x="80" y="206"/>
                  </a:lnTo>
                  <a:lnTo>
                    <a:pt x="80" y="201"/>
                  </a:lnTo>
                  <a:lnTo>
                    <a:pt x="98" y="201"/>
                  </a:lnTo>
                  <a:lnTo>
                    <a:pt x="120" y="206"/>
                  </a:lnTo>
                  <a:lnTo>
                    <a:pt x="125" y="201"/>
                  </a:lnTo>
                  <a:lnTo>
                    <a:pt x="138" y="201"/>
                  </a:lnTo>
                  <a:lnTo>
                    <a:pt x="134" y="192"/>
                  </a:lnTo>
                  <a:lnTo>
                    <a:pt x="152" y="197"/>
                  </a:lnTo>
                  <a:lnTo>
                    <a:pt x="156" y="192"/>
                  </a:lnTo>
                  <a:lnTo>
                    <a:pt x="161" y="183"/>
                  </a:lnTo>
                  <a:lnTo>
                    <a:pt x="174" y="174"/>
                  </a:lnTo>
                  <a:lnTo>
                    <a:pt x="192" y="156"/>
                  </a:lnTo>
                  <a:lnTo>
                    <a:pt x="205" y="147"/>
                  </a:lnTo>
                  <a:lnTo>
                    <a:pt x="223" y="116"/>
                  </a:lnTo>
                  <a:lnTo>
                    <a:pt x="232" y="112"/>
                  </a:lnTo>
                  <a:lnTo>
                    <a:pt x="237" y="103"/>
                  </a:lnTo>
                  <a:lnTo>
                    <a:pt x="237" y="94"/>
                  </a:lnTo>
                  <a:lnTo>
                    <a:pt x="237" y="85"/>
                  </a:lnTo>
                  <a:lnTo>
                    <a:pt x="241" y="89"/>
                  </a:lnTo>
                  <a:lnTo>
                    <a:pt x="241" y="76"/>
                  </a:lnTo>
                  <a:lnTo>
                    <a:pt x="228" y="80"/>
                  </a:lnTo>
                  <a:lnTo>
                    <a:pt x="223" y="85"/>
                  </a:lnTo>
                  <a:lnTo>
                    <a:pt x="210" y="85"/>
                  </a:lnTo>
                  <a:lnTo>
                    <a:pt x="205" y="80"/>
                  </a:lnTo>
                  <a:lnTo>
                    <a:pt x="210" y="63"/>
                  </a:lnTo>
                  <a:lnTo>
                    <a:pt x="219" y="58"/>
                  </a:lnTo>
                  <a:lnTo>
                    <a:pt x="223" y="63"/>
                  </a:lnTo>
                  <a:lnTo>
                    <a:pt x="228" y="63"/>
                  </a:lnTo>
                  <a:lnTo>
                    <a:pt x="228" y="58"/>
                  </a:lnTo>
                  <a:lnTo>
                    <a:pt x="228" y="49"/>
                  </a:lnTo>
                  <a:lnTo>
                    <a:pt x="223" y="13"/>
                  </a:lnTo>
                  <a:lnTo>
                    <a:pt x="223" y="9"/>
                  </a:lnTo>
                  <a:lnTo>
                    <a:pt x="201" y="0"/>
                  </a:lnTo>
                  <a:lnTo>
                    <a:pt x="192" y="0"/>
                  </a:lnTo>
                  <a:lnTo>
                    <a:pt x="187" y="4"/>
                  </a:lnTo>
                  <a:lnTo>
                    <a:pt x="174" y="9"/>
                  </a:lnTo>
                  <a:lnTo>
                    <a:pt x="152" y="31"/>
                  </a:lnTo>
                  <a:lnTo>
                    <a:pt x="152" y="36"/>
                  </a:lnTo>
                  <a:lnTo>
                    <a:pt x="138" y="45"/>
                  </a:lnTo>
                  <a:lnTo>
                    <a:pt x="134" y="58"/>
                  </a:lnTo>
                  <a:lnTo>
                    <a:pt x="111" y="63"/>
                  </a:lnTo>
                  <a:lnTo>
                    <a:pt x="107" y="58"/>
                  </a:lnTo>
                  <a:lnTo>
                    <a:pt x="103" y="54"/>
                  </a:lnTo>
                  <a:lnTo>
                    <a:pt x="98" y="54"/>
                  </a:lnTo>
                  <a:lnTo>
                    <a:pt x="85" y="76"/>
                  </a:lnTo>
                  <a:lnTo>
                    <a:pt x="62" y="80"/>
                  </a:lnTo>
                  <a:lnTo>
                    <a:pt x="62" y="71"/>
                  </a:lnTo>
                  <a:lnTo>
                    <a:pt x="62" y="63"/>
                  </a:lnTo>
                  <a:lnTo>
                    <a:pt x="53" y="45"/>
                  </a:lnTo>
                  <a:lnTo>
                    <a:pt x="53" y="107"/>
                  </a:lnTo>
                  <a:lnTo>
                    <a:pt x="44" y="107"/>
                  </a:lnTo>
                  <a:lnTo>
                    <a:pt x="44" y="116"/>
                  </a:lnTo>
                  <a:lnTo>
                    <a:pt x="27" y="112"/>
                  </a:lnTo>
                  <a:lnTo>
                    <a:pt x="13" y="112"/>
                  </a:lnTo>
                  <a:lnTo>
                    <a:pt x="13" y="103"/>
                  </a:lnTo>
                  <a:lnTo>
                    <a:pt x="9" y="103"/>
                  </a:lnTo>
                  <a:lnTo>
                    <a:pt x="0" y="107"/>
                  </a:lnTo>
                  <a:close/>
                  <a:moveTo>
                    <a:pt x="165" y="134"/>
                  </a:moveTo>
                  <a:lnTo>
                    <a:pt x="170" y="138"/>
                  </a:lnTo>
                  <a:lnTo>
                    <a:pt x="174" y="134"/>
                  </a:lnTo>
                  <a:lnTo>
                    <a:pt x="187" y="130"/>
                  </a:lnTo>
                  <a:lnTo>
                    <a:pt x="196" y="121"/>
                  </a:lnTo>
                  <a:lnTo>
                    <a:pt x="183" y="107"/>
                  </a:lnTo>
                  <a:lnTo>
                    <a:pt x="165" y="112"/>
                  </a:lnTo>
                  <a:lnTo>
                    <a:pt x="156" y="121"/>
                  </a:lnTo>
                  <a:lnTo>
                    <a:pt x="165" y="13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401" name="Freeform 49"/>
            <p:cNvSpPr>
              <a:spLocks/>
            </p:cNvSpPr>
            <p:nvPr/>
          </p:nvSpPr>
          <p:spPr bwMode="gray">
            <a:xfrm>
              <a:off x="3040" y="3012"/>
              <a:ext cx="120" cy="107"/>
            </a:xfrm>
            <a:custGeom>
              <a:avLst/>
              <a:gdLst>
                <a:gd name="T0" fmla="*/ 67 w 120"/>
                <a:gd name="T1" fmla="*/ 98 h 107"/>
                <a:gd name="T2" fmla="*/ 67 w 120"/>
                <a:gd name="T3" fmla="*/ 93 h 107"/>
                <a:gd name="T4" fmla="*/ 53 w 120"/>
                <a:gd name="T5" fmla="*/ 93 h 107"/>
                <a:gd name="T6" fmla="*/ 40 w 120"/>
                <a:gd name="T7" fmla="*/ 76 h 107"/>
                <a:gd name="T8" fmla="*/ 13 w 120"/>
                <a:gd name="T9" fmla="*/ 53 h 107"/>
                <a:gd name="T10" fmla="*/ 0 w 120"/>
                <a:gd name="T11" fmla="*/ 31 h 107"/>
                <a:gd name="T12" fmla="*/ 27 w 120"/>
                <a:gd name="T13" fmla="*/ 35 h 107"/>
                <a:gd name="T14" fmla="*/ 45 w 120"/>
                <a:gd name="T15" fmla="*/ 18 h 107"/>
                <a:gd name="T16" fmla="*/ 58 w 120"/>
                <a:gd name="T17" fmla="*/ 9 h 107"/>
                <a:gd name="T18" fmla="*/ 62 w 120"/>
                <a:gd name="T19" fmla="*/ 4 h 107"/>
                <a:gd name="T20" fmla="*/ 80 w 120"/>
                <a:gd name="T21" fmla="*/ 0 h 107"/>
                <a:gd name="T22" fmla="*/ 85 w 120"/>
                <a:gd name="T23" fmla="*/ 4 h 107"/>
                <a:gd name="T24" fmla="*/ 98 w 120"/>
                <a:gd name="T25" fmla="*/ 4 h 107"/>
                <a:gd name="T26" fmla="*/ 116 w 120"/>
                <a:gd name="T27" fmla="*/ 13 h 107"/>
                <a:gd name="T28" fmla="*/ 120 w 120"/>
                <a:gd name="T29" fmla="*/ 49 h 107"/>
                <a:gd name="T30" fmla="*/ 116 w 120"/>
                <a:gd name="T31" fmla="*/ 58 h 107"/>
                <a:gd name="T32" fmla="*/ 120 w 120"/>
                <a:gd name="T33" fmla="*/ 67 h 107"/>
                <a:gd name="T34" fmla="*/ 112 w 120"/>
                <a:gd name="T35" fmla="*/ 89 h 107"/>
                <a:gd name="T36" fmla="*/ 98 w 120"/>
                <a:gd name="T37" fmla="*/ 107 h 107"/>
                <a:gd name="T38" fmla="*/ 76 w 120"/>
                <a:gd name="T39" fmla="*/ 98 h 107"/>
                <a:gd name="T40" fmla="*/ 67 w 120"/>
                <a:gd name="T41" fmla="*/ 9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0" h="107">
                  <a:moveTo>
                    <a:pt x="67" y="98"/>
                  </a:moveTo>
                  <a:lnTo>
                    <a:pt x="67" y="93"/>
                  </a:lnTo>
                  <a:lnTo>
                    <a:pt x="53" y="93"/>
                  </a:lnTo>
                  <a:lnTo>
                    <a:pt x="40" y="76"/>
                  </a:lnTo>
                  <a:lnTo>
                    <a:pt x="13" y="53"/>
                  </a:lnTo>
                  <a:lnTo>
                    <a:pt x="0" y="31"/>
                  </a:lnTo>
                  <a:lnTo>
                    <a:pt x="27" y="35"/>
                  </a:lnTo>
                  <a:lnTo>
                    <a:pt x="45" y="18"/>
                  </a:lnTo>
                  <a:lnTo>
                    <a:pt x="58" y="9"/>
                  </a:lnTo>
                  <a:lnTo>
                    <a:pt x="62" y="4"/>
                  </a:lnTo>
                  <a:lnTo>
                    <a:pt x="80" y="0"/>
                  </a:lnTo>
                  <a:lnTo>
                    <a:pt x="85" y="4"/>
                  </a:lnTo>
                  <a:lnTo>
                    <a:pt x="98" y="4"/>
                  </a:lnTo>
                  <a:lnTo>
                    <a:pt x="116" y="13"/>
                  </a:lnTo>
                  <a:lnTo>
                    <a:pt x="120" y="49"/>
                  </a:lnTo>
                  <a:lnTo>
                    <a:pt x="116" y="58"/>
                  </a:lnTo>
                  <a:lnTo>
                    <a:pt x="120" y="67"/>
                  </a:lnTo>
                  <a:lnTo>
                    <a:pt x="112" y="89"/>
                  </a:lnTo>
                  <a:lnTo>
                    <a:pt x="98" y="107"/>
                  </a:lnTo>
                  <a:lnTo>
                    <a:pt x="76" y="98"/>
                  </a:lnTo>
                  <a:lnTo>
                    <a:pt x="67" y="98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402" name="Freeform 50"/>
            <p:cNvSpPr>
              <a:spLocks/>
            </p:cNvSpPr>
            <p:nvPr/>
          </p:nvSpPr>
          <p:spPr bwMode="gray">
            <a:xfrm>
              <a:off x="2441" y="2359"/>
              <a:ext cx="116" cy="107"/>
            </a:xfrm>
            <a:custGeom>
              <a:avLst/>
              <a:gdLst>
                <a:gd name="T0" fmla="*/ 54 w 116"/>
                <a:gd name="T1" fmla="*/ 0 h 107"/>
                <a:gd name="T2" fmla="*/ 45 w 116"/>
                <a:gd name="T3" fmla="*/ 23 h 107"/>
                <a:gd name="T4" fmla="*/ 36 w 116"/>
                <a:gd name="T5" fmla="*/ 27 h 107"/>
                <a:gd name="T6" fmla="*/ 36 w 116"/>
                <a:gd name="T7" fmla="*/ 36 h 107"/>
                <a:gd name="T8" fmla="*/ 27 w 116"/>
                <a:gd name="T9" fmla="*/ 49 h 107"/>
                <a:gd name="T10" fmla="*/ 14 w 116"/>
                <a:gd name="T11" fmla="*/ 58 h 107"/>
                <a:gd name="T12" fmla="*/ 9 w 116"/>
                <a:gd name="T13" fmla="*/ 72 h 107"/>
                <a:gd name="T14" fmla="*/ 9 w 116"/>
                <a:gd name="T15" fmla="*/ 76 h 107"/>
                <a:gd name="T16" fmla="*/ 0 w 116"/>
                <a:gd name="T17" fmla="*/ 90 h 107"/>
                <a:gd name="T18" fmla="*/ 0 w 116"/>
                <a:gd name="T19" fmla="*/ 94 h 107"/>
                <a:gd name="T20" fmla="*/ 0 w 116"/>
                <a:gd name="T21" fmla="*/ 103 h 107"/>
                <a:gd name="T22" fmla="*/ 5 w 116"/>
                <a:gd name="T23" fmla="*/ 107 h 107"/>
                <a:gd name="T24" fmla="*/ 54 w 116"/>
                <a:gd name="T25" fmla="*/ 103 h 107"/>
                <a:gd name="T26" fmla="*/ 54 w 116"/>
                <a:gd name="T27" fmla="*/ 76 h 107"/>
                <a:gd name="T28" fmla="*/ 58 w 116"/>
                <a:gd name="T29" fmla="*/ 72 h 107"/>
                <a:gd name="T30" fmla="*/ 67 w 116"/>
                <a:gd name="T31" fmla="*/ 72 h 107"/>
                <a:gd name="T32" fmla="*/ 72 w 116"/>
                <a:gd name="T33" fmla="*/ 31 h 107"/>
                <a:gd name="T34" fmla="*/ 116 w 116"/>
                <a:gd name="T35" fmla="*/ 31 h 107"/>
                <a:gd name="T36" fmla="*/ 116 w 116"/>
                <a:gd name="T37" fmla="*/ 14 h 107"/>
                <a:gd name="T38" fmla="*/ 116 w 116"/>
                <a:gd name="T39" fmla="*/ 5 h 107"/>
                <a:gd name="T40" fmla="*/ 54 w 116"/>
                <a:gd name="T41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6" h="107">
                  <a:moveTo>
                    <a:pt x="54" y="0"/>
                  </a:moveTo>
                  <a:lnTo>
                    <a:pt x="45" y="23"/>
                  </a:lnTo>
                  <a:lnTo>
                    <a:pt x="36" y="27"/>
                  </a:lnTo>
                  <a:lnTo>
                    <a:pt x="36" y="36"/>
                  </a:lnTo>
                  <a:lnTo>
                    <a:pt x="27" y="49"/>
                  </a:lnTo>
                  <a:lnTo>
                    <a:pt x="14" y="58"/>
                  </a:lnTo>
                  <a:lnTo>
                    <a:pt x="9" y="72"/>
                  </a:lnTo>
                  <a:lnTo>
                    <a:pt x="9" y="76"/>
                  </a:lnTo>
                  <a:lnTo>
                    <a:pt x="0" y="90"/>
                  </a:lnTo>
                  <a:lnTo>
                    <a:pt x="0" y="94"/>
                  </a:lnTo>
                  <a:lnTo>
                    <a:pt x="0" y="103"/>
                  </a:lnTo>
                  <a:lnTo>
                    <a:pt x="5" y="107"/>
                  </a:lnTo>
                  <a:lnTo>
                    <a:pt x="54" y="103"/>
                  </a:lnTo>
                  <a:lnTo>
                    <a:pt x="54" y="76"/>
                  </a:lnTo>
                  <a:lnTo>
                    <a:pt x="58" y="72"/>
                  </a:lnTo>
                  <a:lnTo>
                    <a:pt x="67" y="72"/>
                  </a:lnTo>
                  <a:lnTo>
                    <a:pt x="72" y="31"/>
                  </a:lnTo>
                  <a:lnTo>
                    <a:pt x="116" y="31"/>
                  </a:lnTo>
                  <a:lnTo>
                    <a:pt x="116" y="14"/>
                  </a:lnTo>
                  <a:lnTo>
                    <a:pt x="116" y="5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403" name="Freeform 51"/>
            <p:cNvSpPr>
              <a:spLocks/>
            </p:cNvSpPr>
            <p:nvPr/>
          </p:nvSpPr>
          <p:spPr bwMode="gray">
            <a:xfrm>
              <a:off x="2995" y="2435"/>
              <a:ext cx="241" cy="291"/>
            </a:xfrm>
            <a:custGeom>
              <a:avLst/>
              <a:gdLst>
                <a:gd name="T0" fmla="*/ 9 w 241"/>
                <a:gd name="T1" fmla="*/ 174 h 291"/>
                <a:gd name="T2" fmla="*/ 0 w 241"/>
                <a:gd name="T3" fmla="*/ 157 h 291"/>
                <a:gd name="T4" fmla="*/ 14 w 241"/>
                <a:gd name="T5" fmla="*/ 139 h 291"/>
                <a:gd name="T6" fmla="*/ 14 w 241"/>
                <a:gd name="T7" fmla="*/ 130 h 291"/>
                <a:gd name="T8" fmla="*/ 27 w 241"/>
                <a:gd name="T9" fmla="*/ 116 h 291"/>
                <a:gd name="T10" fmla="*/ 27 w 241"/>
                <a:gd name="T11" fmla="*/ 49 h 291"/>
                <a:gd name="T12" fmla="*/ 45 w 241"/>
                <a:gd name="T13" fmla="*/ 23 h 291"/>
                <a:gd name="T14" fmla="*/ 170 w 241"/>
                <a:gd name="T15" fmla="*/ 27 h 291"/>
                <a:gd name="T16" fmla="*/ 188 w 241"/>
                <a:gd name="T17" fmla="*/ 14 h 291"/>
                <a:gd name="T18" fmla="*/ 192 w 241"/>
                <a:gd name="T19" fmla="*/ 0 h 291"/>
                <a:gd name="T20" fmla="*/ 215 w 241"/>
                <a:gd name="T21" fmla="*/ 27 h 291"/>
                <a:gd name="T22" fmla="*/ 219 w 241"/>
                <a:gd name="T23" fmla="*/ 36 h 291"/>
                <a:gd name="T24" fmla="*/ 237 w 241"/>
                <a:gd name="T25" fmla="*/ 72 h 291"/>
                <a:gd name="T26" fmla="*/ 228 w 241"/>
                <a:gd name="T27" fmla="*/ 85 h 291"/>
                <a:gd name="T28" fmla="*/ 219 w 241"/>
                <a:gd name="T29" fmla="*/ 112 h 291"/>
                <a:gd name="T30" fmla="*/ 215 w 241"/>
                <a:gd name="T31" fmla="*/ 139 h 291"/>
                <a:gd name="T32" fmla="*/ 197 w 241"/>
                <a:gd name="T33" fmla="*/ 157 h 291"/>
                <a:gd name="T34" fmla="*/ 188 w 241"/>
                <a:gd name="T35" fmla="*/ 188 h 291"/>
                <a:gd name="T36" fmla="*/ 179 w 241"/>
                <a:gd name="T37" fmla="*/ 224 h 291"/>
                <a:gd name="T38" fmla="*/ 165 w 241"/>
                <a:gd name="T39" fmla="*/ 237 h 291"/>
                <a:gd name="T40" fmla="*/ 192 w 241"/>
                <a:gd name="T41" fmla="*/ 255 h 291"/>
                <a:gd name="T42" fmla="*/ 201 w 241"/>
                <a:gd name="T43" fmla="*/ 268 h 291"/>
                <a:gd name="T44" fmla="*/ 179 w 241"/>
                <a:gd name="T45" fmla="*/ 277 h 291"/>
                <a:gd name="T46" fmla="*/ 170 w 241"/>
                <a:gd name="T47" fmla="*/ 286 h 291"/>
                <a:gd name="T48" fmla="*/ 152 w 241"/>
                <a:gd name="T49" fmla="*/ 291 h 291"/>
                <a:gd name="T50" fmla="*/ 134 w 241"/>
                <a:gd name="T51" fmla="*/ 286 h 291"/>
                <a:gd name="T52" fmla="*/ 116 w 241"/>
                <a:gd name="T53" fmla="*/ 277 h 291"/>
                <a:gd name="T54" fmla="*/ 81 w 241"/>
                <a:gd name="T55" fmla="*/ 273 h 291"/>
                <a:gd name="T56" fmla="*/ 67 w 241"/>
                <a:gd name="T57" fmla="*/ 255 h 291"/>
                <a:gd name="T58" fmla="*/ 40 w 241"/>
                <a:gd name="T59" fmla="*/ 224 h 291"/>
                <a:gd name="T60" fmla="*/ 23 w 241"/>
                <a:gd name="T61" fmla="*/ 215 h 291"/>
                <a:gd name="T62" fmla="*/ 14 w 241"/>
                <a:gd name="T63" fmla="*/ 183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91">
                  <a:moveTo>
                    <a:pt x="14" y="183"/>
                  </a:moveTo>
                  <a:lnTo>
                    <a:pt x="9" y="174"/>
                  </a:lnTo>
                  <a:lnTo>
                    <a:pt x="9" y="170"/>
                  </a:lnTo>
                  <a:lnTo>
                    <a:pt x="0" y="157"/>
                  </a:lnTo>
                  <a:lnTo>
                    <a:pt x="5" y="143"/>
                  </a:lnTo>
                  <a:lnTo>
                    <a:pt x="14" y="139"/>
                  </a:lnTo>
                  <a:lnTo>
                    <a:pt x="9" y="134"/>
                  </a:lnTo>
                  <a:lnTo>
                    <a:pt x="14" y="130"/>
                  </a:lnTo>
                  <a:lnTo>
                    <a:pt x="14" y="121"/>
                  </a:lnTo>
                  <a:lnTo>
                    <a:pt x="27" y="116"/>
                  </a:lnTo>
                  <a:lnTo>
                    <a:pt x="27" y="58"/>
                  </a:lnTo>
                  <a:lnTo>
                    <a:pt x="27" y="49"/>
                  </a:lnTo>
                  <a:lnTo>
                    <a:pt x="49" y="49"/>
                  </a:lnTo>
                  <a:lnTo>
                    <a:pt x="45" y="23"/>
                  </a:lnTo>
                  <a:lnTo>
                    <a:pt x="165" y="18"/>
                  </a:lnTo>
                  <a:lnTo>
                    <a:pt x="170" y="27"/>
                  </a:lnTo>
                  <a:lnTo>
                    <a:pt x="183" y="14"/>
                  </a:lnTo>
                  <a:lnTo>
                    <a:pt x="188" y="14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215" y="14"/>
                  </a:lnTo>
                  <a:lnTo>
                    <a:pt x="215" y="27"/>
                  </a:lnTo>
                  <a:lnTo>
                    <a:pt x="224" y="31"/>
                  </a:lnTo>
                  <a:lnTo>
                    <a:pt x="219" y="36"/>
                  </a:lnTo>
                  <a:lnTo>
                    <a:pt x="224" y="67"/>
                  </a:lnTo>
                  <a:lnTo>
                    <a:pt x="237" y="72"/>
                  </a:lnTo>
                  <a:lnTo>
                    <a:pt x="241" y="81"/>
                  </a:lnTo>
                  <a:lnTo>
                    <a:pt x="228" y="85"/>
                  </a:lnTo>
                  <a:lnTo>
                    <a:pt x="219" y="94"/>
                  </a:lnTo>
                  <a:lnTo>
                    <a:pt x="219" y="112"/>
                  </a:lnTo>
                  <a:lnTo>
                    <a:pt x="210" y="121"/>
                  </a:lnTo>
                  <a:lnTo>
                    <a:pt x="215" y="139"/>
                  </a:lnTo>
                  <a:lnTo>
                    <a:pt x="210" y="157"/>
                  </a:lnTo>
                  <a:lnTo>
                    <a:pt x="197" y="157"/>
                  </a:lnTo>
                  <a:lnTo>
                    <a:pt x="188" y="179"/>
                  </a:lnTo>
                  <a:lnTo>
                    <a:pt x="188" y="188"/>
                  </a:lnTo>
                  <a:lnTo>
                    <a:pt x="179" y="188"/>
                  </a:lnTo>
                  <a:lnTo>
                    <a:pt x="179" y="224"/>
                  </a:lnTo>
                  <a:lnTo>
                    <a:pt x="165" y="224"/>
                  </a:lnTo>
                  <a:lnTo>
                    <a:pt x="165" y="237"/>
                  </a:lnTo>
                  <a:lnTo>
                    <a:pt x="179" y="241"/>
                  </a:lnTo>
                  <a:lnTo>
                    <a:pt x="192" y="255"/>
                  </a:lnTo>
                  <a:lnTo>
                    <a:pt x="188" y="264"/>
                  </a:lnTo>
                  <a:lnTo>
                    <a:pt x="201" y="268"/>
                  </a:lnTo>
                  <a:lnTo>
                    <a:pt x="201" y="277"/>
                  </a:lnTo>
                  <a:lnTo>
                    <a:pt x="179" y="277"/>
                  </a:lnTo>
                  <a:lnTo>
                    <a:pt x="174" y="282"/>
                  </a:lnTo>
                  <a:lnTo>
                    <a:pt x="170" y="286"/>
                  </a:lnTo>
                  <a:lnTo>
                    <a:pt x="161" y="286"/>
                  </a:lnTo>
                  <a:lnTo>
                    <a:pt x="152" y="291"/>
                  </a:lnTo>
                  <a:lnTo>
                    <a:pt x="143" y="286"/>
                  </a:lnTo>
                  <a:lnTo>
                    <a:pt x="134" y="286"/>
                  </a:lnTo>
                  <a:lnTo>
                    <a:pt x="130" y="291"/>
                  </a:lnTo>
                  <a:lnTo>
                    <a:pt x="116" y="277"/>
                  </a:lnTo>
                  <a:lnTo>
                    <a:pt x="94" y="282"/>
                  </a:lnTo>
                  <a:lnTo>
                    <a:pt x="81" y="273"/>
                  </a:lnTo>
                  <a:lnTo>
                    <a:pt x="81" y="259"/>
                  </a:lnTo>
                  <a:lnTo>
                    <a:pt x="67" y="255"/>
                  </a:lnTo>
                  <a:lnTo>
                    <a:pt x="54" y="228"/>
                  </a:lnTo>
                  <a:lnTo>
                    <a:pt x="40" y="224"/>
                  </a:lnTo>
                  <a:lnTo>
                    <a:pt x="36" y="219"/>
                  </a:lnTo>
                  <a:lnTo>
                    <a:pt x="23" y="215"/>
                  </a:lnTo>
                  <a:lnTo>
                    <a:pt x="18" y="201"/>
                  </a:lnTo>
                  <a:lnTo>
                    <a:pt x="14" y="18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404" name="Freeform 52"/>
            <p:cNvSpPr>
              <a:spLocks/>
            </p:cNvSpPr>
            <p:nvPr/>
          </p:nvSpPr>
          <p:spPr bwMode="gray">
            <a:xfrm>
              <a:off x="3120" y="3168"/>
              <a:ext cx="23" cy="27"/>
            </a:xfrm>
            <a:custGeom>
              <a:avLst/>
              <a:gdLst>
                <a:gd name="T0" fmla="*/ 23 w 23"/>
                <a:gd name="T1" fmla="*/ 22 h 27"/>
                <a:gd name="T2" fmla="*/ 18 w 23"/>
                <a:gd name="T3" fmla="*/ 27 h 27"/>
                <a:gd name="T4" fmla="*/ 5 w 23"/>
                <a:gd name="T5" fmla="*/ 27 h 27"/>
                <a:gd name="T6" fmla="*/ 0 w 23"/>
                <a:gd name="T7" fmla="*/ 22 h 27"/>
                <a:gd name="T8" fmla="*/ 5 w 23"/>
                <a:gd name="T9" fmla="*/ 5 h 27"/>
                <a:gd name="T10" fmla="*/ 14 w 23"/>
                <a:gd name="T11" fmla="*/ 0 h 27"/>
                <a:gd name="T12" fmla="*/ 18 w 23"/>
                <a:gd name="T13" fmla="*/ 5 h 27"/>
                <a:gd name="T14" fmla="*/ 23 w 23"/>
                <a:gd name="T15" fmla="*/ 5 h 27"/>
                <a:gd name="T16" fmla="*/ 23 w 23"/>
                <a:gd name="T17" fmla="*/ 9 h 27"/>
                <a:gd name="T18" fmla="*/ 23 w 23"/>
                <a:gd name="T19" fmla="*/ 2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7">
                  <a:moveTo>
                    <a:pt x="23" y="22"/>
                  </a:moveTo>
                  <a:lnTo>
                    <a:pt x="18" y="27"/>
                  </a:lnTo>
                  <a:lnTo>
                    <a:pt x="5" y="27"/>
                  </a:lnTo>
                  <a:lnTo>
                    <a:pt x="0" y="22"/>
                  </a:lnTo>
                  <a:lnTo>
                    <a:pt x="5" y="5"/>
                  </a:lnTo>
                  <a:lnTo>
                    <a:pt x="14" y="0"/>
                  </a:lnTo>
                  <a:lnTo>
                    <a:pt x="18" y="5"/>
                  </a:lnTo>
                  <a:lnTo>
                    <a:pt x="23" y="5"/>
                  </a:lnTo>
                  <a:lnTo>
                    <a:pt x="23" y="9"/>
                  </a:lnTo>
                  <a:lnTo>
                    <a:pt x="23" y="2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405" name="Freeform 53"/>
            <p:cNvSpPr>
              <a:spLocks/>
            </p:cNvSpPr>
            <p:nvPr/>
          </p:nvSpPr>
          <p:spPr bwMode="gray">
            <a:xfrm>
              <a:off x="2683" y="2614"/>
              <a:ext cx="31" cy="76"/>
            </a:xfrm>
            <a:custGeom>
              <a:avLst/>
              <a:gdLst>
                <a:gd name="T0" fmla="*/ 13 w 31"/>
                <a:gd name="T1" fmla="*/ 0 h 76"/>
                <a:gd name="T2" fmla="*/ 4 w 31"/>
                <a:gd name="T3" fmla="*/ 0 h 76"/>
                <a:gd name="T4" fmla="*/ 0 w 31"/>
                <a:gd name="T5" fmla="*/ 9 h 76"/>
                <a:gd name="T6" fmla="*/ 8 w 31"/>
                <a:gd name="T7" fmla="*/ 13 h 76"/>
                <a:gd name="T8" fmla="*/ 8 w 31"/>
                <a:gd name="T9" fmla="*/ 36 h 76"/>
                <a:gd name="T10" fmla="*/ 4 w 31"/>
                <a:gd name="T11" fmla="*/ 40 h 76"/>
                <a:gd name="T12" fmla="*/ 8 w 31"/>
                <a:gd name="T13" fmla="*/ 54 h 76"/>
                <a:gd name="T14" fmla="*/ 8 w 31"/>
                <a:gd name="T15" fmla="*/ 62 h 76"/>
                <a:gd name="T16" fmla="*/ 13 w 31"/>
                <a:gd name="T17" fmla="*/ 71 h 76"/>
                <a:gd name="T18" fmla="*/ 17 w 31"/>
                <a:gd name="T19" fmla="*/ 76 h 76"/>
                <a:gd name="T20" fmla="*/ 31 w 31"/>
                <a:gd name="T21" fmla="*/ 76 h 76"/>
                <a:gd name="T22" fmla="*/ 26 w 31"/>
                <a:gd name="T23" fmla="*/ 62 h 76"/>
                <a:gd name="T24" fmla="*/ 26 w 31"/>
                <a:gd name="T25" fmla="*/ 36 h 76"/>
                <a:gd name="T26" fmla="*/ 22 w 31"/>
                <a:gd name="T27" fmla="*/ 36 h 76"/>
                <a:gd name="T28" fmla="*/ 22 w 31"/>
                <a:gd name="T29" fmla="*/ 22 h 76"/>
                <a:gd name="T30" fmla="*/ 13 w 31"/>
                <a:gd name="T31" fmla="*/ 13 h 76"/>
                <a:gd name="T32" fmla="*/ 13 w 31"/>
                <a:gd name="T3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76">
                  <a:moveTo>
                    <a:pt x="13" y="0"/>
                  </a:moveTo>
                  <a:lnTo>
                    <a:pt x="4" y="0"/>
                  </a:lnTo>
                  <a:lnTo>
                    <a:pt x="0" y="9"/>
                  </a:lnTo>
                  <a:lnTo>
                    <a:pt x="8" y="13"/>
                  </a:lnTo>
                  <a:lnTo>
                    <a:pt x="8" y="36"/>
                  </a:lnTo>
                  <a:lnTo>
                    <a:pt x="4" y="40"/>
                  </a:lnTo>
                  <a:lnTo>
                    <a:pt x="8" y="54"/>
                  </a:lnTo>
                  <a:lnTo>
                    <a:pt x="8" y="62"/>
                  </a:lnTo>
                  <a:lnTo>
                    <a:pt x="13" y="71"/>
                  </a:lnTo>
                  <a:lnTo>
                    <a:pt x="17" y="76"/>
                  </a:lnTo>
                  <a:lnTo>
                    <a:pt x="31" y="76"/>
                  </a:lnTo>
                  <a:lnTo>
                    <a:pt x="26" y="62"/>
                  </a:lnTo>
                  <a:lnTo>
                    <a:pt x="26" y="36"/>
                  </a:lnTo>
                  <a:lnTo>
                    <a:pt x="22" y="36"/>
                  </a:lnTo>
                  <a:lnTo>
                    <a:pt x="22" y="22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406" name="Freeform 54"/>
            <p:cNvSpPr>
              <a:spLocks/>
            </p:cNvSpPr>
            <p:nvPr/>
          </p:nvSpPr>
          <p:spPr bwMode="gray">
            <a:xfrm>
              <a:off x="2790" y="2189"/>
              <a:ext cx="62" cy="134"/>
            </a:xfrm>
            <a:custGeom>
              <a:avLst/>
              <a:gdLst>
                <a:gd name="T0" fmla="*/ 22 w 62"/>
                <a:gd name="T1" fmla="*/ 134 h 134"/>
                <a:gd name="T2" fmla="*/ 22 w 62"/>
                <a:gd name="T3" fmla="*/ 99 h 134"/>
                <a:gd name="T4" fmla="*/ 13 w 62"/>
                <a:gd name="T5" fmla="*/ 94 h 134"/>
                <a:gd name="T6" fmla="*/ 4 w 62"/>
                <a:gd name="T7" fmla="*/ 81 h 134"/>
                <a:gd name="T8" fmla="*/ 0 w 62"/>
                <a:gd name="T9" fmla="*/ 63 h 134"/>
                <a:gd name="T10" fmla="*/ 13 w 62"/>
                <a:gd name="T11" fmla="*/ 45 h 134"/>
                <a:gd name="T12" fmla="*/ 9 w 62"/>
                <a:gd name="T13" fmla="*/ 18 h 134"/>
                <a:gd name="T14" fmla="*/ 18 w 62"/>
                <a:gd name="T15" fmla="*/ 9 h 134"/>
                <a:gd name="T16" fmla="*/ 22 w 62"/>
                <a:gd name="T17" fmla="*/ 5 h 134"/>
                <a:gd name="T18" fmla="*/ 35 w 62"/>
                <a:gd name="T19" fmla="*/ 0 h 134"/>
                <a:gd name="T20" fmla="*/ 35 w 62"/>
                <a:gd name="T21" fmla="*/ 9 h 134"/>
                <a:gd name="T22" fmla="*/ 35 w 62"/>
                <a:gd name="T23" fmla="*/ 9 h 134"/>
                <a:gd name="T24" fmla="*/ 44 w 62"/>
                <a:gd name="T25" fmla="*/ 5 h 134"/>
                <a:gd name="T26" fmla="*/ 44 w 62"/>
                <a:gd name="T27" fmla="*/ 9 h 134"/>
                <a:gd name="T28" fmla="*/ 40 w 62"/>
                <a:gd name="T29" fmla="*/ 18 h 134"/>
                <a:gd name="T30" fmla="*/ 40 w 62"/>
                <a:gd name="T31" fmla="*/ 27 h 134"/>
                <a:gd name="T32" fmla="*/ 49 w 62"/>
                <a:gd name="T33" fmla="*/ 36 h 134"/>
                <a:gd name="T34" fmla="*/ 49 w 62"/>
                <a:gd name="T35" fmla="*/ 45 h 134"/>
                <a:gd name="T36" fmla="*/ 35 w 62"/>
                <a:gd name="T37" fmla="*/ 54 h 134"/>
                <a:gd name="T38" fmla="*/ 40 w 62"/>
                <a:gd name="T39" fmla="*/ 63 h 134"/>
                <a:gd name="T40" fmla="*/ 44 w 62"/>
                <a:gd name="T41" fmla="*/ 67 h 134"/>
                <a:gd name="T42" fmla="*/ 44 w 62"/>
                <a:gd name="T43" fmla="*/ 58 h 134"/>
                <a:gd name="T44" fmla="*/ 49 w 62"/>
                <a:gd name="T45" fmla="*/ 63 h 134"/>
                <a:gd name="T46" fmla="*/ 49 w 62"/>
                <a:gd name="T47" fmla="*/ 72 h 134"/>
                <a:gd name="T48" fmla="*/ 53 w 62"/>
                <a:gd name="T49" fmla="*/ 72 h 134"/>
                <a:gd name="T50" fmla="*/ 62 w 62"/>
                <a:gd name="T51" fmla="*/ 76 h 134"/>
                <a:gd name="T52" fmla="*/ 58 w 62"/>
                <a:gd name="T53" fmla="*/ 81 h 134"/>
                <a:gd name="T54" fmla="*/ 58 w 62"/>
                <a:gd name="T55" fmla="*/ 90 h 134"/>
                <a:gd name="T56" fmla="*/ 49 w 62"/>
                <a:gd name="T57" fmla="*/ 99 h 134"/>
                <a:gd name="T58" fmla="*/ 40 w 62"/>
                <a:gd name="T59" fmla="*/ 103 h 134"/>
                <a:gd name="T60" fmla="*/ 40 w 62"/>
                <a:gd name="T61" fmla="*/ 126 h 134"/>
                <a:gd name="T62" fmla="*/ 27 w 62"/>
                <a:gd name="T63" fmla="*/ 130 h 134"/>
                <a:gd name="T64" fmla="*/ 22 w 62"/>
                <a:gd name="T65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2" h="134">
                  <a:moveTo>
                    <a:pt x="22" y="134"/>
                  </a:moveTo>
                  <a:lnTo>
                    <a:pt x="22" y="99"/>
                  </a:lnTo>
                  <a:lnTo>
                    <a:pt x="13" y="94"/>
                  </a:lnTo>
                  <a:lnTo>
                    <a:pt x="4" y="81"/>
                  </a:lnTo>
                  <a:lnTo>
                    <a:pt x="0" y="63"/>
                  </a:lnTo>
                  <a:lnTo>
                    <a:pt x="13" y="45"/>
                  </a:lnTo>
                  <a:lnTo>
                    <a:pt x="9" y="18"/>
                  </a:lnTo>
                  <a:lnTo>
                    <a:pt x="18" y="9"/>
                  </a:lnTo>
                  <a:lnTo>
                    <a:pt x="22" y="5"/>
                  </a:lnTo>
                  <a:lnTo>
                    <a:pt x="35" y="0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44" y="5"/>
                  </a:lnTo>
                  <a:lnTo>
                    <a:pt x="44" y="9"/>
                  </a:lnTo>
                  <a:lnTo>
                    <a:pt x="40" y="18"/>
                  </a:lnTo>
                  <a:lnTo>
                    <a:pt x="40" y="27"/>
                  </a:lnTo>
                  <a:lnTo>
                    <a:pt x="49" y="36"/>
                  </a:lnTo>
                  <a:lnTo>
                    <a:pt x="49" y="45"/>
                  </a:lnTo>
                  <a:lnTo>
                    <a:pt x="35" y="54"/>
                  </a:lnTo>
                  <a:lnTo>
                    <a:pt x="40" y="63"/>
                  </a:lnTo>
                  <a:lnTo>
                    <a:pt x="44" y="67"/>
                  </a:lnTo>
                  <a:lnTo>
                    <a:pt x="44" y="58"/>
                  </a:lnTo>
                  <a:lnTo>
                    <a:pt x="49" y="63"/>
                  </a:lnTo>
                  <a:lnTo>
                    <a:pt x="49" y="72"/>
                  </a:lnTo>
                  <a:lnTo>
                    <a:pt x="53" y="72"/>
                  </a:lnTo>
                  <a:lnTo>
                    <a:pt x="62" y="76"/>
                  </a:lnTo>
                  <a:lnTo>
                    <a:pt x="58" y="81"/>
                  </a:lnTo>
                  <a:lnTo>
                    <a:pt x="58" y="90"/>
                  </a:lnTo>
                  <a:lnTo>
                    <a:pt x="49" y="99"/>
                  </a:lnTo>
                  <a:lnTo>
                    <a:pt x="40" y="103"/>
                  </a:lnTo>
                  <a:lnTo>
                    <a:pt x="40" y="126"/>
                  </a:lnTo>
                  <a:lnTo>
                    <a:pt x="27" y="130"/>
                  </a:lnTo>
                  <a:lnTo>
                    <a:pt x="22" y="13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407" name="Freeform 55"/>
            <p:cNvSpPr>
              <a:spLocks/>
            </p:cNvSpPr>
            <p:nvPr/>
          </p:nvSpPr>
          <p:spPr bwMode="gray">
            <a:xfrm>
              <a:off x="3111" y="2717"/>
              <a:ext cx="72" cy="85"/>
            </a:xfrm>
            <a:custGeom>
              <a:avLst/>
              <a:gdLst>
                <a:gd name="T0" fmla="*/ 0 w 72"/>
                <a:gd name="T1" fmla="*/ 85 h 85"/>
                <a:gd name="T2" fmla="*/ 0 w 72"/>
                <a:gd name="T3" fmla="*/ 53 h 85"/>
                <a:gd name="T4" fmla="*/ 18 w 72"/>
                <a:gd name="T5" fmla="*/ 31 h 85"/>
                <a:gd name="T6" fmla="*/ 14 w 72"/>
                <a:gd name="T7" fmla="*/ 27 h 85"/>
                <a:gd name="T8" fmla="*/ 14 w 72"/>
                <a:gd name="T9" fmla="*/ 9 h 85"/>
                <a:gd name="T10" fmla="*/ 18 w 72"/>
                <a:gd name="T11" fmla="*/ 4 h 85"/>
                <a:gd name="T12" fmla="*/ 27 w 72"/>
                <a:gd name="T13" fmla="*/ 4 h 85"/>
                <a:gd name="T14" fmla="*/ 36 w 72"/>
                <a:gd name="T15" fmla="*/ 9 h 85"/>
                <a:gd name="T16" fmla="*/ 45 w 72"/>
                <a:gd name="T17" fmla="*/ 4 h 85"/>
                <a:gd name="T18" fmla="*/ 54 w 72"/>
                <a:gd name="T19" fmla="*/ 4 h 85"/>
                <a:gd name="T20" fmla="*/ 58 w 72"/>
                <a:gd name="T21" fmla="*/ 0 h 85"/>
                <a:gd name="T22" fmla="*/ 67 w 72"/>
                <a:gd name="T23" fmla="*/ 9 h 85"/>
                <a:gd name="T24" fmla="*/ 72 w 72"/>
                <a:gd name="T25" fmla="*/ 22 h 85"/>
                <a:gd name="T26" fmla="*/ 67 w 72"/>
                <a:gd name="T27" fmla="*/ 44 h 85"/>
                <a:gd name="T28" fmla="*/ 63 w 72"/>
                <a:gd name="T29" fmla="*/ 58 h 85"/>
                <a:gd name="T30" fmla="*/ 49 w 72"/>
                <a:gd name="T31" fmla="*/ 58 h 85"/>
                <a:gd name="T32" fmla="*/ 32 w 72"/>
                <a:gd name="T33" fmla="*/ 62 h 85"/>
                <a:gd name="T34" fmla="*/ 32 w 72"/>
                <a:gd name="T35" fmla="*/ 76 h 85"/>
                <a:gd name="T36" fmla="*/ 9 w 72"/>
                <a:gd name="T37" fmla="*/ 80 h 85"/>
                <a:gd name="T38" fmla="*/ 0 w 72"/>
                <a:gd name="T3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85">
                  <a:moveTo>
                    <a:pt x="0" y="85"/>
                  </a:moveTo>
                  <a:lnTo>
                    <a:pt x="0" y="53"/>
                  </a:lnTo>
                  <a:lnTo>
                    <a:pt x="18" y="31"/>
                  </a:lnTo>
                  <a:lnTo>
                    <a:pt x="14" y="27"/>
                  </a:lnTo>
                  <a:lnTo>
                    <a:pt x="14" y="9"/>
                  </a:lnTo>
                  <a:lnTo>
                    <a:pt x="18" y="4"/>
                  </a:lnTo>
                  <a:lnTo>
                    <a:pt x="27" y="4"/>
                  </a:lnTo>
                  <a:lnTo>
                    <a:pt x="36" y="9"/>
                  </a:lnTo>
                  <a:lnTo>
                    <a:pt x="45" y="4"/>
                  </a:lnTo>
                  <a:lnTo>
                    <a:pt x="54" y="4"/>
                  </a:lnTo>
                  <a:lnTo>
                    <a:pt x="58" y="0"/>
                  </a:lnTo>
                  <a:lnTo>
                    <a:pt x="67" y="9"/>
                  </a:lnTo>
                  <a:lnTo>
                    <a:pt x="72" y="22"/>
                  </a:lnTo>
                  <a:lnTo>
                    <a:pt x="67" y="44"/>
                  </a:lnTo>
                  <a:lnTo>
                    <a:pt x="63" y="58"/>
                  </a:lnTo>
                  <a:lnTo>
                    <a:pt x="49" y="58"/>
                  </a:lnTo>
                  <a:lnTo>
                    <a:pt x="32" y="62"/>
                  </a:lnTo>
                  <a:lnTo>
                    <a:pt x="32" y="76"/>
                  </a:lnTo>
                  <a:lnTo>
                    <a:pt x="9" y="80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408" name="Freeform 56"/>
            <p:cNvSpPr>
              <a:spLocks/>
            </p:cNvSpPr>
            <p:nvPr/>
          </p:nvSpPr>
          <p:spPr bwMode="gray">
            <a:xfrm>
              <a:off x="3035" y="2292"/>
              <a:ext cx="157" cy="170"/>
            </a:xfrm>
            <a:custGeom>
              <a:avLst/>
              <a:gdLst>
                <a:gd name="T0" fmla="*/ 5 w 157"/>
                <a:gd name="T1" fmla="*/ 166 h 170"/>
                <a:gd name="T2" fmla="*/ 5 w 157"/>
                <a:gd name="T3" fmla="*/ 40 h 170"/>
                <a:gd name="T4" fmla="*/ 0 w 157"/>
                <a:gd name="T5" fmla="*/ 31 h 170"/>
                <a:gd name="T6" fmla="*/ 5 w 157"/>
                <a:gd name="T7" fmla="*/ 23 h 170"/>
                <a:gd name="T8" fmla="*/ 0 w 157"/>
                <a:gd name="T9" fmla="*/ 14 h 170"/>
                <a:gd name="T10" fmla="*/ 9 w 157"/>
                <a:gd name="T11" fmla="*/ 0 h 170"/>
                <a:gd name="T12" fmla="*/ 18 w 157"/>
                <a:gd name="T13" fmla="*/ 0 h 170"/>
                <a:gd name="T14" fmla="*/ 36 w 157"/>
                <a:gd name="T15" fmla="*/ 5 h 170"/>
                <a:gd name="T16" fmla="*/ 45 w 157"/>
                <a:gd name="T17" fmla="*/ 5 h 170"/>
                <a:gd name="T18" fmla="*/ 63 w 157"/>
                <a:gd name="T19" fmla="*/ 14 h 170"/>
                <a:gd name="T20" fmla="*/ 72 w 157"/>
                <a:gd name="T21" fmla="*/ 9 h 170"/>
                <a:gd name="T22" fmla="*/ 81 w 157"/>
                <a:gd name="T23" fmla="*/ 9 h 170"/>
                <a:gd name="T24" fmla="*/ 81 w 157"/>
                <a:gd name="T25" fmla="*/ 5 h 170"/>
                <a:gd name="T26" fmla="*/ 94 w 157"/>
                <a:gd name="T27" fmla="*/ 0 h 170"/>
                <a:gd name="T28" fmla="*/ 103 w 157"/>
                <a:gd name="T29" fmla="*/ 5 h 170"/>
                <a:gd name="T30" fmla="*/ 108 w 157"/>
                <a:gd name="T31" fmla="*/ 14 h 170"/>
                <a:gd name="T32" fmla="*/ 125 w 157"/>
                <a:gd name="T33" fmla="*/ 14 h 170"/>
                <a:gd name="T34" fmla="*/ 139 w 157"/>
                <a:gd name="T35" fmla="*/ 5 h 170"/>
                <a:gd name="T36" fmla="*/ 143 w 157"/>
                <a:gd name="T37" fmla="*/ 9 h 170"/>
                <a:gd name="T38" fmla="*/ 139 w 157"/>
                <a:gd name="T39" fmla="*/ 18 h 170"/>
                <a:gd name="T40" fmla="*/ 148 w 157"/>
                <a:gd name="T41" fmla="*/ 40 h 170"/>
                <a:gd name="T42" fmla="*/ 143 w 157"/>
                <a:gd name="T43" fmla="*/ 40 h 170"/>
                <a:gd name="T44" fmla="*/ 134 w 157"/>
                <a:gd name="T45" fmla="*/ 58 h 170"/>
                <a:gd name="T46" fmla="*/ 134 w 157"/>
                <a:gd name="T47" fmla="*/ 67 h 170"/>
                <a:gd name="T48" fmla="*/ 130 w 157"/>
                <a:gd name="T49" fmla="*/ 63 h 170"/>
                <a:gd name="T50" fmla="*/ 117 w 157"/>
                <a:gd name="T51" fmla="*/ 40 h 170"/>
                <a:gd name="T52" fmla="*/ 112 w 157"/>
                <a:gd name="T53" fmla="*/ 36 h 170"/>
                <a:gd name="T54" fmla="*/ 108 w 157"/>
                <a:gd name="T55" fmla="*/ 36 h 170"/>
                <a:gd name="T56" fmla="*/ 112 w 157"/>
                <a:gd name="T57" fmla="*/ 45 h 170"/>
                <a:gd name="T58" fmla="*/ 125 w 157"/>
                <a:gd name="T59" fmla="*/ 63 h 170"/>
                <a:gd name="T60" fmla="*/ 130 w 157"/>
                <a:gd name="T61" fmla="*/ 76 h 170"/>
                <a:gd name="T62" fmla="*/ 130 w 157"/>
                <a:gd name="T63" fmla="*/ 81 h 170"/>
                <a:gd name="T64" fmla="*/ 148 w 157"/>
                <a:gd name="T65" fmla="*/ 121 h 170"/>
                <a:gd name="T66" fmla="*/ 157 w 157"/>
                <a:gd name="T67" fmla="*/ 130 h 170"/>
                <a:gd name="T68" fmla="*/ 152 w 157"/>
                <a:gd name="T69" fmla="*/ 130 h 170"/>
                <a:gd name="T70" fmla="*/ 152 w 157"/>
                <a:gd name="T71" fmla="*/ 143 h 170"/>
                <a:gd name="T72" fmla="*/ 152 w 157"/>
                <a:gd name="T73" fmla="*/ 143 h 170"/>
                <a:gd name="T74" fmla="*/ 148 w 157"/>
                <a:gd name="T75" fmla="*/ 157 h 170"/>
                <a:gd name="T76" fmla="*/ 143 w 157"/>
                <a:gd name="T77" fmla="*/ 157 h 170"/>
                <a:gd name="T78" fmla="*/ 130 w 157"/>
                <a:gd name="T79" fmla="*/ 170 h 170"/>
                <a:gd name="T80" fmla="*/ 125 w 157"/>
                <a:gd name="T81" fmla="*/ 161 h 170"/>
                <a:gd name="T82" fmla="*/ 5 w 157"/>
                <a:gd name="T83" fmla="*/ 16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7" h="170">
                  <a:moveTo>
                    <a:pt x="5" y="166"/>
                  </a:moveTo>
                  <a:lnTo>
                    <a:pt x="5" y="40"/>
                  </a:lnTo>
                  <a:lnTo>
                    <a:pt x="0" y="31"/>
                  </a:lnTo>
                  <a:lnTo>
                    <a:pt x="5" y="23"/>
                  </a:lnTo>
                  <a:lnTo>
                    <a:pt x="0" y="14"/>
                  </a:lnTo>
                  <a:lnTo>
                    <a:pt x="9" y="0"/>
                  </a:lnTo>
                  <a:lnTo>
                    <a:pt x="18" y="0"/>
                  </a:lnTo>
                  <a:lnTo>
                    <a:pt x="36" y="5"/>
                  </a:lnTo>
                  <a:lnTo>
                    <a:pt x="45" y="5"/>
                  </a:lnTo>
                  <a:lnTo>
                    <a:pt x="63" y="14"/>
                  </a:lnTo>
                  <a:lnTo>
                    <a:pt x="72" y="9"/>
                  </a:lnTo>
                  <a:lnTo>
                    <a:pt x="81" y="9"/>
                  </a:lnTo>
                  <a:lnTo>
                    <a:pt x="81" y="5"/>
                  </a:lnTo>
                  <a:lnTo>
                    <a:pt x="94" y="0"/>
                  </a:lnTo>
                  <a:lnTo>
                    <a:pt x="103" y="5"/>
                  </a:lnTo>
                  <a:lnTo>
                    <a:pt x="108" y="14"/>
                  </a:lnTo>
                  <a:lnTo>
                    <a:pt x="125" y="14"/>
                  </a:lnTo>
                  <a:lnTo>
                    <a:pt x="139" y="5"/>
                  </a:lnTo>
                  <a:lnTo>
                    <a:pt x="143" y="9"/>
                  </a:lnTo>
                  <a:lnTo>
                    <a:pt x="139" y="18"/>
                  </a:lnTo>
                  <a:lnTo>
                    <a:pt x="148" y="40"/>
                  </a:lnTo>
                  <a:lnTo>
                    <a:pt x="143" y="40"/>
                  </a:lnTo>
                  <a:lnTo>
                    <a:pt x="134" y="58"/>
                  </a:lnTo>
                  <a:lnTo>
                    <a:pt x="134" y="67"/>
                  </a:lnTo>
                  <a:lnTo>
                    <a:pt x="130" y="63"/>
                  </a:lnTo>
                  <a:lnTo>
                    <a:pt x="117" y="40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5"/>
                  </a:lnTo>
                  <a:lnTo>
                    <a:pt x="125" y="63"/>
                  </a:lnTo>
                  <a:lnTo>
                    <a:pt x="130" y="76"/>
                  </a:lnTo>
                  <a:lnTo>
                    <a:pt x="130" y="81"/>
                  </a:lnTo>
                  <a:lnTo>
                    <a:pt x="148" y="121"/>
                  </a:lnTo>
                  <a:lnTo>
                    <a:pt x="157" y="130"/>
                  </a:lnTo>
                  <a:lnTo>
                    <a:pt x="152" y="130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48" y="157"/>
                  </a:lnTo>
                  <a:lnTo>
                    <a:pt x="143" y="157"/>
                  </a:lnTo>
                  <a:lnTo>
                    <a:pt x="130" y="170"/>
                  </a:lnTo>
                  <a:lnTo>
                    <a:pt x="125" y="161"/>
                  </a:lnTo>
                  <a:lnTo>
                    <a:pt x="5" y="166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409" name="Freeform 57"/>
            <p:cNvSpPr>
              <a:spLocks noEditPoints="1"/>
            </p:cNvSpPr>
            <p:nvPr/>
          </p:nvSpPr>
          <p:spPr bwMode="gray">
            <a:xfrm>
              <a:off x="3107" y="2793"/>
              <a:ext cx="161" cy="161"/>
            </a:xfrm>
            <a:custGeom>
              <a:avLst/>
              <a:gdLst>
                <a:gd name="T0" fmla="*/ 0 w 161"/>
                <a:gd name="T1" fmla="*/ 53 h 161"/>
                <a:gd name="T2" fmla="*/ 4 w 161"/>
                <a:gd name="T3" fmla="*/ 53 h 161"/>
                <a:gd name="T4" fmla="*/ 22 w 161"/>
                <a:gd name="T5" fmla="*/ 40 h 161"/>
                <a:gd name="T6" fmla="*/ 22 w 161"/>
                <a:gd name="T7" fmla="*/ 31 h 161"/>
                <a:gd name="T8" fmla="*/ 18 w 161"/>
                <a:gd name="T9" fmla="*/ 31 h 161"/>
                <a:gd name="T10" fmla="*/ 18 w 161"/>
                <a:gd name="T11" fmla="*/ 22 h 161"/>
                <a:gd name="T12" fmla="*/ 18 w 161"/>
                <a:gd name="T13" fmla="*/ 9 h 161"/>
                <a:gd name="T14" fmla="*/ 13 w 161"/>
                <a:gd name="T15" fmla="*/ 4 h 161"/>
                <a:gd name="T16" fmla="*/ 36 w 161"/>
                <a:gd name="T17" fmla="*/ 0 h 161"/>
                <a:gd name="T18" fmla="*/ 36 w 161"/>
                <a:gd name="T19" fmla="*/ 4 h 161"/>
                <a:gd name="T20" fmla="*/ 31 w 161"/>
                <a:gd name="T21" fmla="*/ 18 h 161"/>
                <a:gd name="T22" fmla="*/ 36 w 161"/>
                <a:gd name="T23" fmla="*/ 26 h 161"/>
                <a:gd name="T24" fmla="*/ 40 w 161"/>
                <a:gd name="T25" fmla="*/ 22 h 161"/>
                <a:gd name="T26" fmla="*/ 58 w 161"/>
                <a:gd name="T27" fmla="*/ 22 h 161"/>
                <a:gd name="T28" fmla="*/ 62 w 161"/>
                <a:gd name="T29" fmla="*/ 18 h 161"/>
                <a:gd name="T30" fmla="*/ 53 w 161"/>
                <a:gd name="T31" fmla="*/ 18 h 161"/>
                <a:gd name="T32" fmla="*/ 53 w 161"/>
                <a:gd name="T33" fmla="*/ 9 h 161"/>
                <a:gd name="T34" fmla="*/ 58 w 161"/>
                <a:gd name="T35" fmla="*/ 13 h 161"/>
                <a:gd name="T36" fmla="*/ 62 w 161"/>
                <a:gd name="T37" fmla="*/ 0 h 161"/>
                <a:gd name="T38" fmla="*/ 103 w 161"/>
                <a:gd name="T39" fmla="*/ 26 h 161"/>
                <a:gd name="T40" fmla="*/ 138 w 161"/>
                <a:gd name="T41" fmla="*/ 53 h 161"/>
                <a:gd name="T42" fmla="*/ 134 w 161"/>
                <a:gd name="T43" fmla="*/ 80 h 161"/>
                <a:gd name="T44" fmla="*/ 147 w 161"/>
                <a:gd name="T45" fmla="*/ 89 h 161"/>
                <a:gd name="T46" fmla="*/ 143 w 161"/>
                <a:gd name="T47" fmla="*/ 102 h 161"/>
                <a:gd name="T48" fmla="*/ 147 w 161"/>
                <a:gd name="T49" fmla="*/ 102 h 161"/>
                <a:gd name="T50" fmla="*/ 143 w 161"/>
                <a:gd name="T51" fmla="*/ 111 h 161"/>
                <a:gd name="T52" fmla="*/ 147 w 161"/>
                <a:gd name="T53" fmla="*/ 134 h 161"/>
                <a:gd name="T54" fmla="*/ 161 w 161"/>
                <a:gd name="T55" fmla="*/ 138 h 161"/>
                <a:gd name="T56" fmla="*/ 156 w 161"/>
                <a:gd name="T57" fmla="*/ 138 h 161"/>
                <a:gd name="T58" fmla="*/ 143 w 161"/>
                <a:gd name="T59" fmla="*/ 147 h 161"/>
                <a:gd name="T60" fmla="*/ 120 w 161"/>
                <a:gd name="T61" fmla="*/ 147 h 161"/>
                <a:gd name="T62" fmla="*/ 116 w 161"/>
                <a:gd name="T63" fmla="*/ 156 h 161"/>
                <a:gd name="T64" fmla="*/ 107 w 161"/>
                <a:gd name="T65" fmla="*/ 152 h 161"/>
                <a:gd name="T66" fmla="*/ 98 w 161"/>
                <a:gd name="T67" fmla="*/ 161 h 161"/>
                <a:gd name="T68" fmla="*/ 89 w 161"/>
                <a:gd name="T69" fmla="*/ 152 h 161"/>
                <a:gd name="T70" fmla="*/ 76 w 161"/>
                <a:gd name="T71" fmla="*/ 156 h 161"/>
                <a:gd name="T72" fmla="*/ 71 w 161"/>
                <a:gd name="T73" fmla="*/ 152 h 161"/>
                <a:gd name="T74" fmla="*/ 71 w 161"/>
                <a:gd name="T75" fmla="*/ 134 h 161"/>
                <a:gd name="T76" fmla="*/ 62 w 161"/>
                <a:gd name="T77" fmla="*/ 125 h 161"/>
                <a:gd name="T78" fmla="*/ 62 w 161"/>
                <a:gd name="T79" fmla="*/ 129 h 161"/>
                <a:gd name="T80" fmla="*/ 53 w 161"/>
                <a:gd name="T81" fmla="*/ 120 h 161"/>
                <a:gd name="T82" fmla="*/ 49 w 161"/>
                <a:gd name="T83" fmla="*/ 125 h 161"/>
                <a:gd name="T84" fmla="*/ 36 w 161"/>
                <a:gd name="T85" fmla="*/ 120 h 161"/>
                <a:gd name="T86" fmla="*/ 27 w 161"/>
                <a:gd name="T87" fmla="*/ 111 h 161"/>
                <a:gd name="T88" fmla="*/ 18 w 161"/>
                <a:gd name="T89" fmla="*/ 107 h 161"/>
                <a:gd name="T90" fmla="*/ 9 w 161"/>
                <a:gd name="T91" fmla="*/ 80 h 161"/>
                <a:gd name="T92" fmla="*/ 4 w 161"/>
                <a:gd name="T93" fmla="*/ 80 h 161"/>
                <a:gd name="T94" fmla="*/ 4 w 161"/>
                <a:gd name="T95" fmla="*/ 76 h 161"/>
                <a:gd name="T96" fmla="*/ 0 w 161"/>
                <a:gd name="T97" fmla="*/ 53 h 161"/>
                <a:gd name="T98" fmla="*/ 143 w 161"/>
                <a:gd name="T99" fmla="*/ 71 h 161"/>
                <a:gd name="T100" fmla="*/ 138 w 161"/>
                <a:gd name="T101" fmla="*/ 76 h 161"/>
                <a:gd name="T102" fmla="*/ 143 w 161"/>
                <a:gd name="T103" fmla="*/ 80 h 161"/>
                <a:gd name="T104" fmla="*/ 147 w 161"/>
                <a:gd name="T105" fmla="*/ 85 h 161"/>
                <a:gd name="T106" fmla="*/ 147 w 161"/>
                <a:gd name="T107" fmla="*/ 76 h 161"/>
                <a:gd name="T108" fmla="*/ 143 w 161"/>
                <a:gd name="T109" fmla="*/ 7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1" h="161">
                  <a:moveTo>
                    <a:pt x="0" y="53"/>
                  </a:moveTo>
                  <a:lnTo>
                    <a:pt x="4" y="53"/>
                  </a:lnTo>
                  <a:lnTo>
                    <a:pt x="22" y="40"/>
                  </a:lnTo>
                  <a:lnTo>
                    <a:pt x="22" y="31"/>
                  </a:lnTo>
                  <a:lnTo>
                    <a:pt x="18" y="31"/>
                  </a:lnTo>
                  <a:lnTo>
                    <a:pt x="18" y="22"/>
                  </a:lnTo>
                  <a:lnTo>
                    <a:pt x="18" y="9"/>
                  </a:lnTo>
                  <a:lnTo>
                    <a:pt x="13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1" y="18"/>
                  </a:lnTo>
                  <a:lnTo>
                    <a:pt x="36" y="26"/>
                  </a:lnTo>
                  <a:lnTo>
                    <a:pt x="40" y="22"/>
                  </a:lnTo>
                  <a:lnTo>
                    <a:pt x="58" y="22"/>
                  </a:lnTo>
                  <a:lnTo>
                    <a:pt x="62" y="18"/>
                  </a:lnTo>
                  <a:lnTo>
                    <a:pt x="53" y="18"/>
                  </a:lnTo>
                  <a:lnTo>
                    <a:pt x="53" y="9"/>
                  </a:lnTo>
                  <a:lnTo>
                    <a:pt x="58" y="13"/>
                  </a:lnTo>
                  <a:lnTo>
                    <a:pt x="62" y="0"/>
                  </a:lnTo>
                  <a:lnTo>
                    <a:pt x="103" y="26"/>
                  </a:lnTo>
                  <a:lnTo>
                    <a:pt x="138" y="53"/>
                  </a:lnTo>
                  <a:lnTo>
                    <a:pt x="134" y="80"/>
                  </a:lnTo>
                  <a:lnTo>
                    <a:pt x="147" y="89"/>
                  </a:lnTo>
                  <a:lnTo>
                    <a:pt x="143" y="102"/>
                  </a:lnTo>
                  <a:lnTo>
                    <a:pt x="147" y="102"/>
                  </a:lnTo>
                  <a:lnTo>
                    <a:pt x="143" y="111"/>
                  </a:lnTo>
                  <a:lnTo>
                    <a:pt x="147" y="134"/>
                  </a:lnTo>
                  <a:lnTo>
                    <a:pt x="161" y="138"/>
                  </a:lnTo>
                  <a:lnTo>
                    <a:pt x="156" y="138"/>
                  </a:lnTo>
                  <a:lnTo>
                    <a:pt x="143" y="147"/>
                  </a:lnTo>
                  <a:lnTo>
                    <a:pt x="120" y="147"/>
                  </a:lnTo>
                  <a:lnTo>
                    <a:pt x="116" y="156"/>
                  </a:lnTo>
                  <a:lnTo>
                    <a:pt x="107" y="152"/>
                  </a:lnTo>
                  <a:lnTo>
                    <a:pt x="98" y="161"/>
                  </a:lnTo>
                  <a:lnTo>
                    <a:pt x="89" y="152"/>
                  </a:lnTo>
                  <a:lnTo>
                    <a:pt x="76" y="156"/>
                  </a:lnTo>
                  <a:lnTo>
                    <a:pt x="71" y="152"/>
                  </a:lnTo>
                  <a:lnTo>
                    <a:pt x="71" y="134"/>
                  </a:lnTo>
                  <a:lnTo>
                    <a:pt x="62" y="125"/>
                  </a:lnTo>
                  <a:lnTo>
                    <a:pt x="62" y="129"/>
                  </a:lnTo>
                  <a:lnTo>
                    <a:pt x="53" y="120"/>
                  </a:lnTo>
                  <a:lnTo>
                    <a:pt x="49" y="125"/>
                  </a:lnTo>
                  <a:lnTo>
                    <a:pt x="36" y="120"/>
                  </a:lnTo>
                  <a:lnTo>
                    <a:pt x="27" y="111"/>
                  </a:lnTo>
                  <a:lnTo>
                    <a:pt x="18" y="107"/>
                  </a:lnTo>
                  <a:lnTo>
                    <a:pt x="9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0" y="53"/>
                  </a:lnTo>
                  <a:close/>
                  <a:moveTo>
                    <a:pt x="143" y="71"/>
                  </a:moveTo>
                  <a:lnTo>
                    <a:pt x="138" y="76"/>
                  </a:lnTo>
                  <a:lnTo>
                    <a:pt x="143" y="80"/>
                  </a:lnTo>
                  <a:lnTo>
                    <a:pt x="147" y="85"/>
                  </a:lnTo>
                  <a:lnTo>
                    <a:pt x="147" y="76"/>
                  </a:lnTo>
                  <a:lnTo>
                    <a:pt x="143" y="7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410" name="Freeform 58"/>
            <p:cNvSpPr>
              <a:spLocks/>
            </p:cNvSpPr>
            <p:nvPr/>
          </p:nvSpPr>
          <p:spPr bwMode="gray">
            <a:xfrm>
              <a:off x="2602" y="2556"/>
              <a:ext cx="112" cy="89"/>
            </a:xfrm>
            <a:custGeom>
              <a:avLst/>
              <a:gdLst>
                <a:gd name="T0" fmla="*/ 0 w 112"/>
                <a:gd name="T1" fmla="*/ 71 h 89"/>
                <a:gd name="T2" fmla="*/ 9 w 112"/>
                <a:gd name="T3" fmla="*/ 45 h 89"/>
                <a:gd name="T4" fmla="*/ 18 w 112"/>
                <a:gd name="T5" fmla="*/ 40 h 89"/>
                <a:gd name="T6" fmla="*/ 22 w 112"/>
                <a:gd name="T7" fmla="*/ 22 h 89"/>
                <a:gd name="T8" fmla="*/ 31 w 112"/>
                <a:gd name="T9" fmla="*/ 27 h 89"/>
                <a:gd name="T10" fmla="*/ 67 w 112"/>
                <a:gd name="T11" fmla="*/ 0 h 89"/>
                <a:gd name="T12" fmla="*/ 85 w 112"/>
                <a:gd name="T13" fmla="*/ 4 h 89"/>
                <a:gd name="T14" fmla="*/ 85 w 112"/>
                <a:gd name="T15" fmla="*/ 13 h 89"/>
                <a:gd name="T16" fmla="*/ 94 w 112"/>
                <a:gd name="T17" fmla="*/ 27 h 89"/>
                <a:gd name="T18" fmla="*/ 94 w 112"/>
                <a:gd name="T19" fmla="*/ 36 h 89"/>
                <a:gd name="T20" fmla="*/ 103 w 112"/>
                <a:gd name="T21" fmla="*/ 40 h 89"/>
                <a:gd name="T22" fmla="*/ 112 w 112"/>
                <a:gd name="T23" fmla="*/ 36 h 89"/>
                <a:gd name="T24" fmla="*/ 112 w 112"/>
                <a:gd name="T25" fmla="*/ 49 h 89"/>
                <a:gd name="T26" fmla="*/ 103 w 112"/>
                <a:gd name="T27" fmla="*/ 58 h 89"/>
                <a:gd name="T28" fmla="*/ 94 w 112"/>
                <a:gd name="T29" fmla="*/ 58 h 89"/>
                <a:gd name="T30" fmla="*/ 85 w 112"/>
                <a:gd name="T31" fmla="*/ 58 h 89"/>
                <a:gd name="T32" fmla="*/ 81 w 112"/>
                <a:gd name="T33" fmla="*/ 58 h 89"/>
                <a:gd name="T34" fmla="*/ 72 w 112"/>
                <a:gd name="T35" fmla="*/ 62 h 89"/>
                <a:gd name="T36" fmla="*/ 40 w 112"/>
                <a:gd name="T37" fmla="*/ 62 h 89"/>
                <a:gd name="T38" fmla="*/ 40 w 112"/>
                <a:gd name="T39" fmla="*/ 76 h 89"/>
                <a:gd name="T40" fmla="*/ 40 w 112"/>
                <a:gd name="T41" fmla="*/ 89 h 89"/>
                <a:gd name="T42" fmla="*/ 36 w 112"/>
                <a:gd name="T43" fmla="*/ 85 h 89"/>
                <a:gd name="T44" fmla="*/ 31 w 112"/>
                <a:gd name="T45" fmla="*/ 80 h 89"/>
                <a:gd name="T46" fmla="*/ 18 w 112"/>
                <a:gd name="T47" fmla="*/ 85 h 89"/>
                <a:gd name="T48" fmla="*/ 0 w 112"/>
                <a:gd name="T49" fmla="*/ 7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89">
                  <a:moveTo>
                    <a:pt x="0" y="71"/>
                  </a:moveTo>
                  <a:lnTo>
                    <a:pt x="9" y="45"/>
                  </a:lnTo>
                  <a:lnTo>
                    <a:pt x="18" y="40"/>
                  </a:lnTo>
                  <a:lnTo>
                    <a:pt x="22" y="22"/>
                  </a:lnTo>
                  <a:lnTo>
                    <a:pt x="31" y="27"/>
                  </a:lnTo>
                  <a:lnTo>
                    <a:pt x="67" y="0"/>
                  </a:lnTo>
                  <a:lnTo>
                    <a:pt x="85" y="4"/>
                  </a:lnTo>
                  <a:lnTo>
                    <a:pt x="85" y="13"/>
                  </a:lnTo>
                  <a:lnTo>
                    <a:pt x="94" y="27"/>
                  </a:lnTo>
                  <a:lnTo>
                    <a:pt x="94" y="36"/>
                  </a:lnTo>
                  <a:lnTo>
                    <a:pt x="103" y="40"/>
                  </a:lnTo>
                  <a:lnTo>
                    <a:pt x="112" y="36"/>
                  </a:lnTo>
                  <a:lnTo>
                    <a:pt x="112" y="49"/>
                  </a:lnTo>
                  <a:lnTo>
                    <a:pt x="103" y="58"/>
                  </a:lnTo>
                  <a:lnTo>
                    <a:pt x="94" y="58"/>
                  </a:lnTo>
                  <a:lnTo>
                    <a:pt x="85" y="58"/>
                  </a:lnTo>
                  <a:lnTo>
                    <a:pt x="81" y="58"/>
                  </a:lnTo>
                  <a:lnTo>
                    <a:pt x="72" y="62"/>
                  </a:lnTo>
                  <a:lnTo>
                    <a:pt x="40" y="62"/>
                  </a:lnTo>
                  <a:lnTo>
                    <a:pt x="40" y="76"/>
                  </a:lnTo>
                  <a:lnTo>
                    <a:pt x="40" y="89"/>
                  </a:lnTo>
                  <a:lnTo>
                    <a:pt x="36" y="85"/>
                  </a:lnTo>
                  <a:lnTo>
                    <a:pt x="31" y="80"/>
                  </a:lnTo>
                  <a:lnTo>
                    <a:pt x="18" y="85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411" name="Freeform 59"/>
            <p:cNvSpPr>
              <a:spLocks/>
            </p:cNvSpPr>
            <p:nvPr/>
          </p:nvSpPr>
          <p:spPr bwMode="gray">
            <a:xfrm>
              <a:off x="2995" y="2904"/>
              <a:ext cx="170" cy="143"/>
            </a:xfrm>
            <a:custGeom>
              <a:avLst/>
              <a:gdLst>
                <a:gd name="T0" fmla="*/ 23 w 170"/>
                <a:gd name="T1" fmla="*/ 134 h 143"/>
                <a:gd name="T2" fmla="*/ 0 w 170"/>
                <a:gd name="T3" fmla="*/ 112 h 143"/>
                <a:gd name="T4" fmla="*/ 5 w 170"/>
                <a:gd name="T5" fmla="*/ 67 h 143"/>
                <a:gd name="T6" fmla="*/ 27 w 170"/>
                <a:gd name="T7" fmla="*/ 63 h 143"/>
                <a:gd name="T8" fmla="*/ 31 w 170"/>
                <a:gd name="T9" fmla="*/ 54 h 143"/>
                <a:gd name="T10" fmla="*/ 31 w 170"/>
                <a:gd name="T11" fmla="*/ 32 h 143"/>
                <a:gd name="T12" fmla="*/ 40 w 170"/>
                <a:gd name="T13" fmla="*/ 41 h 143"/>
                <a:gd name="T14" fmla="*/ 49 w 170"/>
                <a:gd name="T15" fmla="*/ 36 h 143"/>
                <a:gd name="T16" fmla="*/ 58 w 170"/>
                <a:gd name="T17" fmla="*/ 50 h 143"/>
                <a:gd name="T18" fmla="*/ 81 w 170"/>
                <a:gd name="T19" fmla="*/ 45 h 143"/>
                <a:gd name="T20" fmla="*/ 85 w 170"/>
                <a:gd name="T21" fmla="*/ 54 h 143"/>
                <a:gd name="T22" fmla="*/ 94 w 170"/>
                <a:gd name="T23" fmla="*/ 58 h 143"/>
                <a:gd name="T24" fmla="*/ 103 w 170"/>
                <a:gd name="T25" fmla="*/ 67 h 143"/>
                <a:gd name="T26" fmla="*/ 121 w 170"/>
                <a:gd name="T27" fmla="*/ 67 h 143"/>
                <a:gd name="T28" fmla="*/ 121 w 170"/>
                <a:gd name="T29" fmla="*/ 50 h 143"/>
                <a:gd name="T30" fmla="*/ 107 w 170"/>
                <a:gd name="T31" fmla="*/ 58 h 143"/>
                <a:gd name="T32" fmla="*/ 94 w 170"/>
                <a:gd name="T33" fmla="*/ 45 h 143"/>
                <a:gd name="T34" fmla="*/ 98 w 170"/>
                <a:gd name="T35" fmla="*/ 18 h 143"/>
                <a:gd name="T36" fmla="*/ 103 w 170"/>
                <a:gd name="T37" fmla="*/ 5 h 143"/>
                <a:gd name="T38" fmla="*/ 125 w 170"/>
                <a:gd name="T39" fmla="*/ 0 h 143"/>
                <a:gd name="T40" fmla="*/ 125 w 170"/>
                <a:gd name="T41" fmla="*/ 5 h 143"/>
                <a:gd name="T42" fmla="*/ 134 w 170"/>
                <a:gd name="T43" fmla="*/ 5 h 143"/>
                <a:gd name="T44" fmla="*/ 139 w 170"/>
                <a:gd name="T45" fmla="*/ 0 h 143"/>
                <a:gd name="T46" fmla="*/ 148 w 170"/>
                <a:gd name="T47" fmla="*/ 9 h 143"/>
                <a:gd name="T48" fmla="*/ 161 w 170"/>
                <a:gd name="T49" fmla="*/ 14 h 143"/>
                <a:gd name="T50" fmla="*/ 170 w 170"/>
                <a:gd name="T51" fmla="*/ 27 h 143"/>
                <a:gd name="T52" fmla="*/ 170 w 170"/>
                <a:gd name="T53" fmla="*/ 36 h 143"/>
                <a:gd name="T54" fmla="*/ 165 w 170"/>
                <a:gd name="T55" fmla="*/ 36 h 143"/>
                <a:gd name="T56" fmla="*/ 165 w 170"/>
                <a:gd name="T57" fmla="*/ 58 h 143"/>
                <a:gd name="T58" fmla="*/ 161 w 170"/>
                <a:gd name="T59" fmla="*/ 63 h 143"/>
                <a:gd name="T60" fmla="*/ 157 w 170"/>
                <a:gd name="T61" fmla="*/ 76 h 143"/>
                <a:gd name="T62" fmla="*/ 161 w 170"/>
                <a:gd name="T63" fmla="*/ 81 h 143"/>
                <a:gd name="T64" fmla="*/ 125 w 170"/>
                <a:gd name="T65" fmla="*/ 99 h 143"/>
                <a:gd name="T66" fmla="*/ 125 w 170"/>
                <a:gd name="T67" fmla="*/ 108 h 143"/>
                <a:gd name="T68" fmla="*/ 107 w 170"/>
                <a:gd name="T69" fmla="*/ 112 h 143"/>
                <a:gd name="T70" fmla="*/ 103 w 170"/>
                <a:gd name="T71" fmla="*/ 117 h 143"/>
                <a:gd name="T72" fmla="*/ 90 w 170"/>
                <a:gd name="T73" fmla="*/ 126 h 143"/>
                <a:gd name="T74" fmla="*/ 72 w 170"/>
                <a:gd name="T75" fmla="*/ 143 h 143"/>
                <a:gd name="T76" fmla="*/ 45 w 170"/>
                <a:gd name="T77" fmla="*/ 139 h 143"/>
                <a:gd name="T78" fmla="*/ 31 w 170"/>
                <a:gd name="T79" fmla="*/ 130 h 143"/>
                <a:gd name="T80" fmla="*/ 23 w 170"/>
                <a:gd name="T81" fmla="*/ 1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70" h="143">
                  <a:moveTo>
                    <a:pt x="23" y="134"/>
                  </a:moveTo>
                  <a:lnTo>
                    <a:pt x="0" y="112"/>
                  </a:lnTo>
                  <a:lnTo>
                    <a:pt x="5" y="67"/>
                  </a:lnTo>
                  <a:lnTo>
                    <a:pt x="27" y="63"/>
                  </a:lnTo>
                  <a:lnTo>
                    <a:pt x="31" y="54"/>
                  </a:lnTo>
                  <a:lnTo>
                    <a:pt x="31" y="32"/>
                  </a:lnTo>
                  <a:lnTo>
                    <a:pt x="40" y="41"/>
                  </a:lnTo>
                  <a:lnTo>
                    <a:pt x="49" y="36"/>
                  </a:lnTo>
                  <a:lnTo>
                    <a:pt x="58" y="50"/>
                  </a:lnTo>
                  <a:lnTo>
                    <a:pt x="81" y="45"/>
                  </a:lnTo>
                  <a:lnTo>
                    <a:pt x="85" y="54"/>
                  </a:lnTo>
                  <a:lnTo>
                    <a:pt x="94" y="58"/>
                  </a:lnTo>
                  <a:lnTo>
                    <a:pt x="103" y="67"/>
                  </a:lnTo>
                  <a:lnTo>
                    <a:pt x="121" y="67"/>
                  </a:lnTo>
                  <a:lnTo>
                    <a:pt x="121" y="50"/>
                  </a:lnTo>
                  <a:lnTo>
                    <a:pt x="107" y="58"/>
                  </a:lnTo>
                  <a:lnTo>
                    <a:pt x="94" y="45"/>
                  </a:lnTo>
                  <a:lnTo>
                    <a:pt x="98" y="18"/>
                  </a:lnTo>
                  <a:lnTo>
                    <a:pt x="103" y="5"/>
                  </a:lnTo>
                  <a:lnTo>
                    <a:pt x="125" y="0"/>
                  </a:lnTo>
                  <a:lnTo>
                    <a:pt x="125" y="5"/>
                  </a:lnTo>
                  <a:lnTo>
                    <a:pt x="134" y="5"/>
                  </a:lnTo>
                  <a:lnTo>
                    <a:pt x="139" y="0"/>
                  </a:lnTo>
                  <a:lnTo>
                    <a:pt x="148" y="9"/>
                  </a:lnTo>
                  <a:lnTo>
                    <a:pt x="161" y="14"/>
                  </a:lnTo>
                  <a:lnTo>
                    <a:pt x="170" y="27"/>
                  </a:lnTo>
                  <a:lnTo>
                    <a:pt x="170" y="36"/>
                  </a:lnTo>
                  <a:lnTo>
                    <a:pt x="165" y="36"/>
                  </a:lnTo>
                  <a:lnTo>
                    <a:pt x="165" y="58"/>
                  </a:lnTo>
                  <a:lnTo>
                    <a:pt x="161" y="63"/>
                  </a:lnTo>
                  <a:lnTo>
                    <a:pt x="157" y="76"/>
                  </a:lnTo>
                  <a:lnTo>
                    <a:pt x="161" y="81"/>
                  </a:lnTo>
                  <a:lnTo>
                    <a:pt x="125" y="99"/>
                  </a:lnTo>
                  <a:lnTo>
                    <a:pt x="125" y="108"/>
                  </a:lnTo>
                  <a:lnTo>
                    <a:pt x="107" y="112"/>
                  </a:lnTo>
                  <a:lnTo>
                    <a:pt x="103" y="117"/>
                  </a:lnTo>
                  <a:lnTo>
                    <a:pt x="90" y="126"/>
                  </a:lnTo>
                  <a:lnTo>
                    <a:pt x="72" y="143"/>
                  </a:lnTo>
                  <a:lnTo>
                    <a:pt x="45" y="139"/>
                  </a:lnTo>
                  <a:lnTo>
                    <a:pt x="31" y="130"/>
                  </a:lnTo>
                  <a:lnTo>
                    <a:pt x="23" y="13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412" name="Freeform 60"/>
            <p:cNvSpPr>
              <a:spLocks/>
            </p:cNvSpPr>
            <p:nvPr/>
          </p:nvSpPr>
          <p:spPr bwMode="gray">
            <a:xfrm>
              <a:off x="3451" y="2592"/>
              <a:ext cx="18" cy="9"/>
            </a:xfrm>
            <a:custGeom>
              <a:avLst/>
              <a:gdLst>
                <a:gd name="T0" fmla="*/ 0 w 18"/>
                <a:gd name="T1" fmla="*/ 4 h 9"/>
                <a:gd name="T2" fmla="*/ 9 w 18"/>
                <a:gd name="T3" fmla="*/ 9 h 9"/>
                <a:gd name="T4" fmla="*/ 18 w 18"/>
                <a:gd name="T5" fmla="*/ 4 h 9"/>
                <a:gd name="T6" fmla="*/ 4 w 18"/>
                <a:gd name="T7" fmla="*/ 0 h 9"/>
                <a:gd name="T8" fmla="*/ 0 w 18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9">
                  <a:moveTo>
                    <a:pt x="0" y="4"/>
                  </a:moveTo>
                  <a:lnTo>
                    <a:pt x="9" y="9"/>
                  </a:lnTo>
                  <a:lnTo>
                    <a:pt x="18" y="4"/>
                  </a:lnTo>
                  <a:lnTo>
                    <a:pt x="4" y="0"/>
                  </a:lnTo>
                  <a:lnTo>
                    <a:pt x="0" y="4"/>
                  </a:lnTo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8413" name="Freeform 61"/>
            <p:cNvSpPr>
              <a:spLocks/>
            </p:cNvSpPr>
            <p:nvPr/>
          </p:nvSpPr>
          <p:spPr bwMode="gray">
            <a:xfrm>
              <a:off x="3120" y="2904"/>
              <a:ext cx="14" cy="5"/>
            </a:xfrm>
            <a:custGeom>
              <a:avLst/>
              <a:gdLst>
                <a:gd name="T0" fmla="*/ 14 w 14"/>
                <a:gd name="T1" fmla="*/ 0 h 5"/>
                <a:gd name="T2" fmla="*/ 9 w 14"/>
                <a:gd name="T3" fmla="*/ 5 h 5"/>
                <a:gd name="T4" fmla="*/ 0 w 14"/>
                <a:gd name="T5" fmla="*/ 5 h 5"/>
                <a:gd name="T6" fmla="*/ 0 w 1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5">
                  <a:moveTo>
                    <a:pt x="14" y="0"/>
                  </a:moveTo>
                  <a:lnTo>
                    <a:pt x="9" y="5"/>
                  </a:lnTo>
                  <a:lnTo>
                    <a:pt x="0" y="5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0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489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04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mericas</a:t>
            </a:r>
          </a:p>
        </p:txBody>
      </p:sp>
      <p:grpSp>
        <p:nvGrpSpPr>
          <p:cNvPr id="2790403" name="Group 3"/>
          <p:cNvGrpSpPr>
            <a:grpSpLocks/>
          </p:cNvGrpSpPr>
          <p:nvPr/>
        </p:nvGrpSpPr>
        <p:grpSpPr bwMode="auto">
          <a:xfrm>
            <a:off x="4545014" y="1514475"/>
            <a:ext cx="3076575" cy="4554538"/>
            <a:chOff x="253" y="898"/>
            <a:chExt cx="1938" cy="2869"/>
          </a:xfrm>
        </p:grpSpPr>
        <p:sp>
          <p:nvSpPr>
            <p:cNvPr id="2790404" name="Freeform 4"/>
            <p:cNvSpPr>
              <a:spLocks noEditPoints="1"/>
            </p:cNvSpPr>
            <p:nvPr/>
          </p:nvSpPr>
          <p:spPr bwMode="gray">
            <a:xfrm>
              <a:off x="1633" y="3110"/>
              <a:ext cx="286" cy="639"/>
            </a:xfrm>
            <a:custGeom>
              <a:avLst/>
              <a:gdLst>
                <a:gd name="T0" fmla="*/ 76 w 286"/>
                <a:gd name="T1" fmla="*/ 576 h 639"/>
                <a:gd name="T2" fmla="*/ 67 w 286"/>
                <a:gd name="T3" fmla="*/ 532 h 639"/>
                <a:gd name="T4" fmla="*/ 80 w 286"/>
                <a:gd name="T5" fmla="*/ 523 h 639"/>
                <a:gd name="T6" fmla="*/ 85 w 286"/>
                <a:gd name="T7" fmla="*/ 500 h 639"/>
                <a:gd name="T8" fmla="*/ 116 w 286"/>
                <a:gd name="T9" fmla="*/ 456 h 639"/>
                <a:gd name="T10" fmla="*/ 89 w 286"/>
                <a:gd name="T11" fmla="*/ 438 h 639"/>
                <a:gd name="T12" fmla="*/ 103 w 286"/>
                <a:gd name="T13" fmla="*/ 411 h 639"/>
                <a:gd name="T14" fmla="*/ 125 w 286"/>
                <a:gd name="T15" fmla="*/ 375 h 639"/>
                <a:gd name="T16" fmla="*/ 129 w 286"/>
                <a:gd name="T17" fmla="*/ 362 h 639"/>
                <a:gd name="T18" fmla="*/ 143 w 286"/>
                <a:gd name="T19" fmla="*/ 362 h 639"/>
                <a:gd name="T20" fmla="*/ 134 w 286"/>
                <a:gd name="T21" fmla="*/ 353 h 639"/>
                <a:gd name="T22" fmla="*/ 125 w 286"/>
                <a:gd name="T23" fmla="*/ 326 h 639"/>
                <a:gd name="T24" fmla="*/ 165 w 286"/>
                <a:gd name="T25" fmla="*/ 331 h 639"/>
                <a:gd name="T26" fmla="*/ 170 w 286"/>
                <a:gd name="T27" fmla="*/ 290 h 639"/>
                <a:gd name="T28" fmla="*/ 228 w 286"/>
                <a:gd name="T29" fmla="*/ 277 h 639"/>
                <a:gd name="T30" fmla="*/ 241 w 286"/>
                <a:gd name="T31" fmla="*/ 241 h 639"/>
                <a:gd name="T32" fmla="*/ 232 w 286"/>
                <a:gd name="T33" fmla="*/ 237 h 639"/>
                <a:gd name="T34" fmla="*/ 219 w 286"/>
                <a:gd name="T35" fmla="*/ 214 h 639"/>
                <a:gd name="T36" fmla="*/ 219 w 286"/>
                <a:gd name="T37" fmla="*/ 188 h 639"/>
                <a:gd name="T38" fmla="*/ 219 w 286"/>
                <a:gd name="T39" fmla="*/ 165 h 639"/>
                <a:gd name="T40" fmla="*/ 232 w 286"/>
                <a:gd name="T41" fmla="*/ 134 h 639"/>
                <a:gd name="T42" fmla="*/ 268 w 286"/>
                <a:gd name="T43" fmla="*/ 94 h 639"/>
                <a:gd name="T44" fmla="*/ 286 w 286"/>
                <a:gd name="T45" fmla="*/ 58 h 639"/>
                <a:gd name="T46" fmla="*/ 272 w 286"/>
                <a:gd name="T47" fmla="*/ 76 h 639"/>
                <a:gd name="T48" fmla="*/ 241 w 286"/>
                <a:gd name="T49" fmla="*/ 89 h 639"/>
                <a:gd name="T50" fmla="*/ 214 w 286"/>
                <a:gd name="T51" fmla="*/ 85 h 639"/>
                <a:gd name="T52" fmla="*/ 228 w 286"/>
                <a:gd name="T53" fmla="*/ 49 h 639"/>
                <a:gd name="T54" fmla="*/ 183 w 286"/>
                <a:gd name="T55" fmla="*/ 31 h 639"/>
                <a:gd name="T56" fmla="*/ 152 w 286"/>
                <a:gd name="T57" fmla="*/ 0 h 639"/>
                <a:gd name="T58" fmla="*/ 134 w 286"/>
                <a:gd name="T59" fmla="*/ 13 h 639"/>
                <a:gd name="T60" fmla="*/ 103 w 286"/>
                <a:gd name="T61" fmla="*/ 0 h 639"/>
                <a:gd name="T62" fmla="*/ 89 w 286"/>
                <a:gd name="T63" fmla="*/ 31 h 639"/>
                <a:gd name="T64" fmla="*/ 62 w 286"/>
                <a:gd name="T65" fmla="*/ 71 h 639"/>
                <a:gd name="T66" fmla="*/ 58 w 286"/>
                <a:gd name="T67" fmla="*/ 94 h 639"/>
                <a:gd name="T68" fmla="*/ 53 w 286"/>
                <a:gd name="T69" fmla="*/ 138 h 639"/>
                <a:gd name="T70" fmla="*/ 40 w 286"/>
                <a:gd name="T71" fmla="*/ 156 h 639"/>
                <a:gd name="T72" fmla="*/ 53 w 286"/>
                <a:gd name="T73" fmla="*/ 183 h 639"/>
                <a:gd name="T74" fmla="*/ 44 w 286"/>
                <a:gd name="T75" fmla="*/ 214 h 639"/>
                <a:gd name="T76" fmla="*/ 31 w 286"/>
                <a:gd name="T77" fmla="*/ 250 h 639"/>
                <a:gd name="T78" fmla="*/ 27 w 286"/>
                <a:gd name="T79" fmla="*/ 290 h 639"/>
                <a:gd name="T80" fmla="*/ 22 w 286"/>
                <a:gd name="T81" fmla="*/ 308 h 639"/>
                <a:gd name="T82" fmla="*/ 27 w 286"/>
                <a:gd name="T83" fmla="*/ 349 h 639"/>
                <a:gd name="T84" fmla="*/ 27 w 286"/>
                <a:gd name="T85" fmla="*/ 375 h 639"/>
                <a:gd name="T86" fmla="*/ 31 w 286"/>
                <a:gd name="T87" fmla="*/ 398 h 639"/>
                <a:gd name="T88" fmla="*/ 22 w 286"/>
                <a:gd name="T89" fmla="*/ 407 h 639"/>
                <a:gd name="T90" fmla="*/ 22 w 286"/>
                <a:gd name="T91" fmla="*/ 424 h 639"/>
                <a:gd name="T92" fmla="*/ 13 w 286"/>
                <a:gd name="T93" fmla="*/ 487 h 639"/>
                <a:gd name="T94" fmla="*/ 0 w 286"/>
                <a:gd name="T95" fmla="*/ 509 h 639"/>
                <a:gd name="T96" fmla="*/ 13 w 286"/>
                <a:gd name="T97" fmla="*/ 536 h 639"/>
                <a:gd name="T98" fmla="*/ 22 w 286"/>
                <a:gd name="T99" fmla="*/ 563 h 639"/>
                <a:gd name="T100" fmla="*/ 71 w 286"/>
                <a:gd name="T101" fmla="*/ 635 h 639"/>
                <a:gd name="T102" fmla="*/ 94 w 286"/>
                <a:gd name="T103" fmla="*/ 635 h 639"/>
                <a:gd name="T104" fmla="*/ 107 w 286"/>
                <a:gd name="T105" fmla="*/ 635 h 639"/>
                <a:gd name="T106" fmla="*/ 125 w 286"/>
                <a:gd name="T107" fmla="*/ 626 h 639"/>
                <a:gd name="T108" fmla="*/ 89 w 286"/>
                <a:gd name="T109" fmla="*/ 617 h 639"/>
                <a:gd name="T110" fmla="*/ 71 w 286"/>
                <a:gd name="T111" fmla="*/ 594 h 639"/>
                <a:gd name="T112" fmla="*/ 71 w 286"/>
                <a:gd name="T113" fmla="*/ 576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6" h="639">
                  <a:moveTo>
                    <a:pt x="62" y="567"/>
                  </a:moveTo>
                  <a:lnTo>
                    <a:pt x="76" y="576"/>
                  </a:lnTo>
                  <a:lnTo>
                    <a:pt x="67" y="541"/>
                  </a:lnTo>
                  <a:lnTo>
                    <a:pt x="67" y="532"/>
                  </a:lnTo>
                  <a:lnTo>
                    <a:pt x="76" y="523"/>
                  </a:lnTo>
                  <a:lnTo>
                    <a:pt x="80" y="523"/>
                  </a:lnTo>
                  <a:lnTo>
                    <a:pt x="89" y="505"/>
                  </a:lnTo>
                  <a:lnTo>
                    <a:pt x="85" y="500"/>
                  </a:lnTo>
                  <a:lnTo>
                    <a:pt x="111" y="478"/>
                  </a:lnTo>
                  <a:lnTo>
                    <a:pt x="116" y="456"/>
                  </a:lnTo>
                  <a:lnTo>
                    <a:pt x="103" y="451"/>
                  </a:lnTo>
                  <a:lnTo>
                    <a:pt x="89" y="438"/>
                  </a:lnTo>
                  <a:lnTo>
                    <a:pt x="94" y="424"/>
                  </a:lnTo>
                  <a:lnTo>
                    <a:pt x="103" y="411"/>
                  </a:lnTo>
                  <a:lnTo>
                    <a:pt x="120" y="411"/>
                  </a:lnTo>
                  <a:lnTo>
                    <a:pt x="125" y="375"/>
                  </a:lnTo>
                  <a:lnTo>
                    <a:pt x="134" y="366"/>
                  </a:lnTo>
                  <a:lnTo>
                    <a:pt x="129" y="362"/>
                  </a:lnTo>
                  <a:lnTo>
                    <a:pt x="138" y="366"/>
                  </a:lnTo>
                  <a:lnTo>
                    <a:pt x="143" y="362"/>
                  </a:lnTo>
                  <a:lnTo>
                    <a:pt x="143" y="353"/>
                  </a:lnTo>
                  <a:lnTo>
                    <a:pt x="134" y="353"/>
                  </a:lnTo>
                  <a:lnTo>
                    <a:pt x="125" y="349"/>
                  </a:lnTo>
                  <a:lnTo>
                    <a:pt x="125" y="326"/>
                  </a:lnTo>
                  <a:lnTo>
                    <a:pt x="147" y="335"/>
                  </a:lnTo>
                  <a:lnTo>
                    <a:pt x="165" y="331"/>
                  </a:lnTo>
                  <a:lnTo>
                    <a:pt x="161" y="313"/>
                  </a:lnTo>
                  <a:lnTo>
                    <a:pt x="170" y="290"/>
                  </a:lnTo>
                  <a:lnTo>
                    <a:pt x="210" y="286"/>
                  </a:lnTo>
                  <a:lnTo>
                    <a:pt x="228" y="277"/>
                  </a:lnTo>
                  <a:lnTo>
                    <a:pt x="241" y="255"/>
                  </a:lnTo>
                  <a:lnTo>
                    <a:pt x="241" y="241"/>
                  </a:lnTo>
                  <a:lnTo>
                    <a:pt x="237" y="246"/>
                  </a:lnTo>
                  <a:lnTo>
                    <a:pt x="232" y="237"/>
                  </a:lnTo>
                  <a:lnTo>
                    <a:pt x="237" y="228"/>
                  </a:lnTo>
                  <a:lnTo>
                    <a:pt x="219" y="214"/>
                  </a:lnTo>
                  <a:lnTo>
                    <a:pt x="214" y="206"/>
                  </a:lnTo>
                  <a:lnTo>
                    <a:pt x="219" y="188"/>
                  </a:lnTo>
                  <a:lnTo>
                    <a:pt x="223" y="183"/>
                  </a:lnTo>
                  <a:lnTo>
                    <a:pt x="219" y="165"/>
                  </a:lnTo>
                  <a:lnTo>
                    <a:pt x="228" y="138"/>
                  </a:lnTo>
                  <a:lnTo>
                    <a:pt x="232" y="134"/>
                  </a:lnTo>
                  <a:lnTo>
                    <a:pt x="232" y="130"/>
                  </a:lnTo>
                  <a:lnTo>
                    <a:pt x="268" y="94"/>
                  </a:lnTo>
                  <a:lnTo>
                    <a:pt x="286" y="80"/>
                  </a:lnTo>
                  <a:lnTo>
                    <a:pt x="286" y="58"/>
                  </a:lnTo>
                  <a:lnTo>
                    <a:pt x="277" y="58"/>
                  </a:lnTo>
                  <a:lnTo>
                    <a:pt x="272" y="76"/>
                  </a:lnTo>
                  <a:lnTo>
                    <a:pt x="259" y="89"/>
                  </a:lnTo>
                  <a:lnTo>
                    <a:pt x="241" y="89"/>
                  </a:lnTo>
                  <a:lnTo>
                    <a:pt x="228" y="85"/>
                  </a:lnTo>
                  <a:lnTo>
                    <a:pt x="214" y="85"/>
                  </a:lnTo>
                  <a:lnTo>
                    <a:pt x="228" y="58"/>
                  </a:lnTo>
                  <a:lnTo>
                    <a:pt x="228" y="49"/>
                  </a:lnTo>
                  <a:lnTo>
                    <a:pt x="192" y="31"/>
                  </a:lnTo>
                  <a:lnTo>
                    <a:pt x="183" y="31"/>
                  </a:lnTo>
                  <a:lnTo>
                    <a:pt x="156" y="4"/>
                  </a:lnTo>
                  <a:lnTo>
                    <a:pt x="152" y="0"/>
                  </a:lnTo>
                  <a:lnTo>
                    <a:pt x="138" y="0"/>
                  </a:lnTo>
                  <a:lnTo>
                    <a:pt x="134" y="13"/>
                  </a:lnTo>
                  <a:lnTo>
                    <a:pt x="125" y="4"/>
                  </a:lnTo>
                  <a:lnTo>
                    <a:pt x="103" y="0"/>
                  </a:lnTo>
                  <a:lnTo>
                    <a:pt x="89" y="13"/>
                  </a:lnTo>
                  <a:lnTo>
                    <a:pt x="89" y="31"/>
                  </a:lnTo>
                  <a:lnTo>
                    <a:pt x="67" y="45"/>
                  </a:lnTo>
                  <a:lnTo>
                    <a:pt x="62" y="71"/>
                  </a:lnTo>
                  <a:lnTo>
                    <a:pt x="67" y="80"/>
                  </a:lnTo>
                  <a:lnTo>
                    <a:pt x="58" y="94"/>
                  </a:lnTo>
                  <a:lnTo>
                    <a:pt x="49" y="121"/>
                  </a:lnTo>
                  <a:lnTo>
                    <a:pt x="53" y="138"/>
                  </a:lnTo>
                  <a:lnTo>
                    <a:pt x="44" y="143"/>
                  </a:lnTo>
                  <a:lnTo>
                    <a:pt x="40" y="156"/>
                  </a:lnTo>
                  <a:lnTo>
                    <a:pt x="49" y="183"/>
                  </a:lnTo>
                  <a:lnTo>
                    <a:pt x="53" y="183"/>
                  </a:lnTo>
                  <a:lnTo>
                    <a:pt x="53" y="201"/>
                  </a:lnTo>
                  <a:lnTo>
                    <a:pt x="44" y="214"/>
                  </a:lnTo>
                  <a:lnTo>
                    <a:pt x="40" y="237"/>
                  </a:lnTo>
                  <a:lnTo>
                    <a:pt x="31" y="250"/>
                  </a:lnTo>
                  <a:lnTo>
                    <a:pt x="36" y="286"/>
                  </a:lnTo>
                  <a:lnTo>
                    <a:pt x="27" y="290"/>
                  </a:lnTo>
                  <a:lnTo>
                    <a:pt x="27" y="304"/>
                  </a:lnTo>
                  <a:lnTo>
                    <a:pt x="22" y="308"/>
                  </a:lnTo>
                  <a:lnTo>
                    <a:pt x="22" y="326"/>
                  </a:lnTo>
                  <a:lnTo>
                    <a:pt x="27" y="349"/>
                  </a:lnTo>
                  <a:lnTo>
                    <a:pt x="22" y="362"/>
                  </a:lnTo>
                  <a:lnTo>
                    <a:pt x="27" y="375"/>
                  </a:lnTo>
                  <a:lnTo>
                    <a:pt x="22" y="398"/>
                  </a:lnTo>
                  <a:lnTo>
                    <a:pt x="31" y="398"/>
                  </a:lnTo>
                  <a:lnTo>
                    <a:pt x="31" y="407"/>
                  </a:lnTo>
                  <a:lnTo>
                    <a:pt x="22" y="407"/>
                  </a:lnTo>
                  <a:lnTo>
                    <a:pt x="31" y="416"/>
                  </a:lnTo>
                  <a:lnTo>
                    <a:pt x="22" y="424"/>
                  </a:lnTo>
                  <a:lnTo>
                    <a:pt x="22" y="442"/>
                  </a:lnTo>
                  <a:lnTo>
                    <a:pt x="13" y="487"/>
                  </a:lnTo>
                  <a:lnTo>
                    <a:pt x="9" y="492"/>
                  </a:lnTo>
                  <a:lnTo>
                    <a:pt x="0" y="509"/>
                  </a:lnTo>
                  <a:lnTo>
                    <a:pt x="4" y="536"/>
                  </a:lnTo>
                  <a:lnTo>
                    <a:pt x="13" y="536"/>
                  </a:lnTo>
                  <a:lnTo>
                    <a:pt x="13" y="554"/>
                  </a:lnTo>
                  <a:lnTo>
                    <a:pt x="22" y="563"/>
                  </a:lnTo>
                  <a:lnTo>
                    <a:pt x="62" y="567"/>
                  </a:lnTo>
                  <a:close/>
                  <a:moveTo>
                    <a:pt x="71" y="635"/>
                  </a:moveTo>
                  <a:lnTo>
                    <a:pt x="80" y="635"/>
                  </a:lnTo>
                  <a:lnTo>
                    <a:pt x="94" y="635"/>
                  </a:lnTo>
                  <a:lnTo>
                    <a:pt x="103" y="639"/>
                  </a:lnTo>
                  <a:lnTo>
                    <a:pt x="107" y="635"/>
                  </a:lnTo>
                  <a:lnTo>
                    <a:pt x="120" y="635"/>
                  </a:lnTo>
                  <a:lnTo>
                    <a:pt x="125" y="626"/>
                  </a:lnTo>
                  <a:lnTo>
                    <a:pt x="107" y="626"/>
                  </a:lnTo>
                  <a:lnTo>
                    <a:pt x="89" y="617"/>
                  </a:lnTo>
                  <a:lnTo>
                    <a:pt x="80" y="594"/>
                  </a:lnTo>
                  <a:lnTo>
                    <a:pt x="71" y="594"/>
                  </a:lnTo>
                  <a:lnTo>
                    <a:pt x="76" y="585"/>
                  </a:lnTo>
                  <a:lnTo>
                    <a:pt x="71" y="576"/>
                  </a:lnTo>
                  <a:lnTo>
                    <a:pt x="71" y="63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05" name="Freeform 5"/>
            <p:cNvSpPr>
              <a:spLocks noEditPoints="1"/>
            </p:cNvSpPr>
            <p:nvPr/>
          </p:nvSpPr>
          <p:spPr bwMode="gray">
            <a:xfrm>
              <a:off x="1557" y="2373"/>
              <a:ext cx="85" cy="98"/>
            </a:xfrm>
            <a:custGeom>
              <a:avLst/>
              <a:gdLst>
                <a:gd name="T0" fmla="*/ 4 w 85"/>
                <a:gd name="T1" fmla="*/ 4 h 98"/>
                <a:gd name="T2" fmla="*/ 0 w 85"/>
                <a:gd name="T3" fmla="*/ 9 h 98"/>
                <a:gd name="T4" fmla="*/ 9 w 85"/>
                <a:gd name="T5" fmla="*/ 9 h 98"/>
                <a:gd name="T6" fmla="*/ 13 w 85"/>
                <a:gd name="T7" fmla="*/ 9 h 98"/>
                <a:gd name="T8" fmla="*/ 13 w 85"/>
                <a:gd name="T9" fmla="*/ 4 h 98"/>
                <a:gd name="T10" fmla="*/ 4 w 85"/>
                <a:gd name="T11" fmla="*/ 4 h 98"/>
                <a:gd name="T12" fmla="*/ 9 w 85"/>
                <a:gd name="T13" fmla="*/ 26 h 98"/>
                <a:gd name="T14" fmla="*/ 4 w 85"/>
                <a:gd name="T15" fmla="*/ 40 h 98"/>
                <a:gd name="T16" fmla="*/ 13 w 85"/>
                <a:gd name="T17" fmla="*/ 40 h 98"/>
                <a:gd name="T18" fmla="*/ 13 w 85"/>
                <a:gd name="T19" fmla="*/ 40 h 98"/>
                <a:gd name="T20" fmla="*/ 9 w 85"/>
                <a:gd name="T21" fmla="*/ 26 h 98"/>
                <a:gd name="T22" fmla="*/ 9 w 85"/>
                <a:gd name="T23" fmla="*/ 26 h 98"/>
                <a:gd name="T24" fmla="*/ 18 w 85"/>
                <a:gd name="T25" fmla="*/ 26 h 98"/>
                <a:gd name="T26" fmla="*/ 18 w 85"/>
                <a:gd name="T27" fmla="*/ 35 h 98"/>
                <a:gd name="T28" fmla="*/ 22 w 85"/>
                <a:gd name="T29" fmla="*/ 31 h 98"/>
                <a:gd name="T30" fmla="*/ 22 w 85"/>
                <a:gd name="T31" fmla="*/ 31 h 98"/>
                <a:gd name="T32" fmla="*/ 22 w 85"/>
                <a:gd name="T33" fmla="*/ 26 h 98"/>
                <a:gd name="T34" fmla="*/ 18 w 85"/>
                <a:gd name="T35" fmla="*/ 26 h 98"/>
                <a:gd name="T36" fmla="*/ 18 w 85"/>
                <a:gd name="T37" fmla="*/ 0 h 98"/>
                <a:gd name="T38" fmla="*/ 22 w 85"/>
                <a:gd name="T39" fmla="*/ 9 h 98"/>
                <a:gd name="T40" fmla="*/ 22 w 85"/>
                <a:gd name="T41" fmla="*/ 13 h 98"/>
                <a:gd name="T42" fmla="*/ 22 w 85"/>
                <a:gd name="T43" fmla="*/ 17 h 98"/>
                <a:gd name="T44" fmla="*/ 27 w 85"/>
                <a:gd name="T45" fmla="*/ 9 h 98"/>
                <a:gd name="T46" fmla="*/ 22 w 85"/>
                <a:gd name="T47" fmla="*/ 4 h 98"/>
                <a:gd name="T48" fmla="*/ 18 w 85"/>
                <a:gd name="T49" fmla="*/ 0 h 98"/>
                <a:gd name="T50" fmla="*/ 18 w 85"/>
                <a:gd name="T51" fmla="*/ 53 h 98"/>
                <a:gd name="T52" fmla="*/ 18 w 85"/>
                <a:gd name="T53" fmla="*/ 44 h 98"/>
                <a:gd name="T54" fmla="*/ 13 w 85"/>
                <a:gd name="T55" fmla="*/ 44 h 98"/>
                <a:gd name="T56" fmla="*/ 13 w 85"/>
                <a:gd name="T57" fmla="*/ 53 h 98"/>
                <a:gd name="T58" fmla="*/ 18 w 85"/>
                <a:gd name="T59" fmla="*/ 53 h 98"/>
                <a:gd name="T60" fmla="*/ 31 w 85"/>
                <a:gd name="T61" fmla="*/ 22 h 98"/>
                <a:gd name="T62" fmla="*/ 27 w 85"/>
                <a:gd name="T63" fmla="*/ 22 h 98"/>
                <a:gd name="T64" fmla="*/ 31 w 85"/>
                <a:gd name="T65" fmla="*/ 26 h 98"/>
                <a:gd name="T66" fmla="*/ 36 w 85"/>
                <a:gd name="T67" fmla="*/ 31 h 98"/>
                <a:gd name="T68" fmla="*/ 36 w 85"/>
                <a:gd name="T69" fmla="*/ 35 h 98"/>
                <a:gd name="T70" fmla="*/ 40 w 85"/>
                <a:gd name="T71" fmla="*/ 26 h 98"/>
                <a:gd name="T72" fmla="*/ 31 w 85"/>
                <a:gd name="T73" fmla="*/ 22 h 98"/>
                <a:gd name="T74" fmla="*/ 45 w 85"/>
                <a:gd name="T75" fmla="*/ 35 h 98"/>
                <a:gd name="T76" fmla="*/ 49 w 85"/>
                <a:gd name="T77" fmla="*/ 44 h 98"/>
                <a:gd name="T78" fmla="*/ 45 w 85"/>
                <a:gd name="T79" fmla="*/ 49 h 98"/>
                <a:gd name="T80" fmla="*/ 53 w 85"/>
                <a:gd name="T81" fmla="*/ 49 h 98"/>
                <a:gd name="T82" fmla="*/ 49 w 85"/>
                <a:gd name="T83" fmla="*/ 44 h 98"/>
                <a:gd name="T84" fmla="*/ 45 w 85"/>
                <a:gd name="T85" fmla="*/ 35 h 98"/>
                <a:gd name="T86" fmla="*/ 49 w 85"/>
                <a:gd name="T87" fmla="*/ 53 h 98"/>
                <a:gd name="T88" fmla="*/ 49 w 85"/>
                <a:gd name="T89" fmla="*/ 53 h 98"/>
                <a:gd name="T90" fmla="*/ 49 w 85"/>
                <a:gd name="T91" fmla="*/ 62 h 98"/>
                <a:gd name="T92" fmla="*/ 58 w 85"/>
                <a:gd name="T93" fmla="*/ 67 h 98"/>
                <a:gd name="T94" fmla="*/ 53 w 85"/>
                <a:gd name="T95" fmla="*/ 58 h 98"/>
                <a:gd name="T96" fmla="*/ 49 w 85"/>
                <a:gd name="T97" fmla="*/ 53 h 98"/>
                <a:gd name="T98" fmla="*/ 62 w 85"/>
                <a:gd name="T99" fmla="*/ 62 h 98"/>
                <a:gd name="T100" fmla="*/ 62 w 85"/>
                <a:gd name="T101" fmla="*/ 67 h 98"/>
                <a:gd name="T102" fmla="*/ 67 w 85"/>
                <a:gd name="T103" fmla="*/ 67 h 98"/>
                <a:gd name="T104" fmla="*/ 67 w 85"/>
                <a:gd name="T105" fmla="*/ 71 h 98"/>
                <a:gd name="T106" fmla="*/ 67 w 85"/>
                <a:gd name="T107" fmla="*/ 80 h 98"/>
                <a:gd name="T108" fmla="*/ 71 w 85"/>
                <a:gd name="T109" fmla="*/ 71 h 98"/>
                <a:gd name="T110" fmla="*/ 71 w 85"/>
                <a:gd name="T111" fmla="*/ 67 h 98"/>
                <a:gd name="T112" fmla="*/ 67 w 85"/>
                <a:gd name="T113" fmla="*/ 67 h 98"/>
                <a:gd name="T114" fmla="*/ 62 w 85"/>
                <a:gd name="T115" fmla="*/ 62 h 98"/>
                <a:gd name="T116" fmla="*/ 71 w 85"/>
                <a:gd name="T117" fmla="*/ 93 h 98"/>
                <a:gd name="T118" fmla="*/ 80 w 85"/>
                <a:gd name="T119" fmla="*/ 98 h 98"/>
                <a:gd name="T120" fmla="*/ 85 w 85"/>
                <a:gd name="T121" fmla="*/ 89 h 98"/>
                <a:gd name="T122" fmla="*/ 76 w 85"/>
                <a:gd name="T123" fmla="*/ 89 h 98"/>
                <a:gd name="T124" fmla="*/ 71 w 85"/>
                <a:gd name="T125" fmla="*/ 93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" h="98">
                  <a:moveTo>
                    <a:pt x="4" y="4"/>
                  </a:moveTo>
                  <a:lnTo>
                    <a:pt x="0" y="9"/>
                  </a:lnTo>
                  <a:lnTo>
                    <a:pt x="9" y="9"/>
                  </a:lnTo>
                  <a:lnTo>
                    <a:pt x="13" y="9"/>
                  </a:lnTo>
                  <a:lnTo>
                    <a:pt x="13" y="4"/>
                  </a:lnTo>
                  <a:lnTo>
                    <a:pt x="4" y="4"/>
                  </a:lnTo>
                  <a:close/>
                  <a:moveTo>
                    <a:pt x="9" y="26"/>
                  </a:moveTo>
                  <a:lnTo>
                    <a:pt x="4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9" y="26"/>
                  </a:lnTo>
                  <a:lnTo>
                    <a:pt x="9" y="26"/>
                  </a:lnTo>
                  <a:close/>
                  <a:moveTo>
                    <a:pt x="18" y="26"/>
                  </a:moveTo>
                  <a:lnTo>
                    <a:pt x="18" y="35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18" y="26"/>
                  </a:lnTo>
                  <a:close/>
                  <a:moveTo>
                    <a:pt x="18" y="0"/>
                  </a:moveTo>
                  <a:lnTo>
                    <a:pt x="22" y="9"/>
                  </a:lnTo>
                  <a:lnTo>
                    <a:pt x="22" y="13"/>
                  </a:lnTo>
                  <a:lnTo>
                    <a:pt x="22" y="17"/>
                  </a:lnTo>
                  <a:lnTo>
                    <a:pt x="27" y="9"/>
                  </a:lnTo>
                  <a:lnTo>
                    <a:pt x="22" y="4"/>
                  </a:lnTo>
                  <a:lnTo>
                    <a:pt x="18" y="0"/>
                  </a:lnTo>
                  <a:close/>
                  <a:moveTo>
                    <a:pt x="18" y="53"/>
                  </a:moveTo>
                  <a:lnTo>
                    <a:pt x="18" y="44"/>
                  </a:lnTo>
                  <a:lnTo>
                    <a:pt x="13" y="44"/>
                  </a:lnTo>
                  <a:lnTo>
                    <a:pt x="13" y="53"/>
                  </a:lnTo>
                  <a:lnTo>
                    <a:pt x="18" y="53"/>
                  </a:lnTo>
                  <a:close/>
                  <a:moveTo>
                    <a:pt x="31" y="22"/>
                  </a:moveTo>
                  <a:lnTo>
                    <a:pt x="27" y="22"/>
                  </a:lnTo>
                  <a:lnTo>
                    <a:pt x="31" y="26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40" y="26"/>
                  </a:lnTo>
                  <a:lnTo>
                    <a:pt x="31" y="22"/>
                  </a:lnTo>
                  <a:close/>
                  <a:moveTo>
                    <a:pt x="45" y="35"/>
                  </a:moveTo>
                  <a:lnTo>
                    <a:pt x="49" y="44"/>
                  </a:lnTo>
                  <a:lnTo>
                    <a:pt x="45" y="49"/>
                  </a:lnTo>
                  <a:lnTo>
                    <a:pt x="53" y="49"/>
                  </a:lnTo>
                  <a:lnTo>
                    <a:pt x="49" y="44"/>
                  </a:lnTo>
                  <a:lnTo>
                    <a:pt x="45" y="35"/>
                  </a:lnTo>
                  <a:close/>
                  <a:moveTo>
                    <a:pt x="49" y="53"/>
                  </a:moveTo>
                  <a:lnTo>
                    <a:pt x="49" y="53"/>
                  </a:lnTo>
                  <a:lnTo>
                    <a:pt x="49" y="62"/>
                  </a:lnTo>
                  <a:lnTo>
                    <a:pt x="58" y="67"/>
                  </a:lnTo>
                  <a:lnTo>
                    <a:pt x="53" y="58"/>
                  </a:lnTo>
                  <a:lnTo>
                    <a:pt x="49" y="53"/>
                  </a:lnTo>
                  <a:close/>
                  <a:moveTo>
                    <a:pt x="62" y="62"/>
                  </a:moveTo>
                  <a:lnTo>
                    <a:pt x="62" y="67"/>
                  </a:lnTo>
                  <a:lnTo>
                    <a:pt x="67" y="67"/>
                  </a:lnTo>
                  <a:lnTo>
                    <a:pt x="67" y="71"/>
                  </a:lnTo>
                  <a:lnTo>
                    <a:pt x="67" y="80"/>
                  </a:lnTo>
                  <a:lnTo>
                    <a:pt x="71" y="71"/>
                  </a:lnTo>
                  <a:lnTo>
                    <a:pt x="71" y="67"/>
                  </a:lnTo>
                  <a:lnTo>
                    <a:pt x="67" y="67"/>
                  </a:lnTo>
                  <a:lnTo>
                    <a:pt x="62" y="62"/>
                  </a:lnTo>
                  <a:close/>
                  <a:moveTo>
                    <a:pt x="71" y="93"/>
                  </a:moveTo>
                  <a:lnTo>
                    <a:pt x="80" y="98"/>
                  </a:lnTo>
                  <a:lnTo>
                    <a:pt x="85" y="89"/>
                  </a:lnTo>
                  <a:lnTo>
                    <a:pt x="76" y="89"/>
                  </a:lnTo>
                  <a:lnTo>
                    <a:pt x="71" y="9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06" name="Freeform 6"/>
            <p:cNvSpPr>
              <a:spLocks/>
            </p:cNvSpPr>
            <p:nvPr/>
          </p:nvSpPr>
          <p:spPr bwMode="gray">
            <a:xfrm>
              <a:off x="1834" y="2583"/>
              <a:ext cx="4" cy="9"/>
            </a:xfrm>
            <a:custGeom>
              <a:avLst/>
              <a:gdLst>
                <a:gd name="T0" fmla="*/ 0 w 4"/>
                <a:gd name="T1" fmla="*/ 0 h 9"/>
                <a:gd name="T2" fmla="*/ 0 w 4"/>
                <a:gd name="T3" fmla="*/ 4 h 9"/>
                <a:gd name="T4" fmla="*/ 0 w 4"/>
                <a:gd name="T5" fmla="*/ 9 h 9"/>
                <a:gd name="T6" fmla="*/ 4 w 4"/>
                <a:gd name="T7" fmla="*/ 4 h 9"/>
                <a:gd name="T8" fmla="*/ 0 w 4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9">
                  <a:moveTo>
                    <a:pt x="0" y="0"/>
                  </a:moveTo>
                  <a:lnTo>
                    <a:pt x="0" y="4"/>
                  </a:lnTo>
                  <a:lnTo>
                    <a:pt x="0" y="9"/>
                  </a:lnTo>
                  <a:lnTo>
                    <a:pt x="4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07" name="Freeform 7"/>
            <p:cNvSpPr>
              <a:spLocks/>
            </p:cNvSpPr>
            <p:nvPr/>
          </p:nvSpPr>
          <p:spPr bwMode="gray">
            <a:xfrm>
              <a:off x="1691" y="2922"/>
              <a:ext cx="170" cy="201"/>
            </a:xfrm>
            <a:custGeom>
              <a:avLst/>
              <a:gdLst>
                <a:gd name="T0" fmla="*/ 0 w 170"/>
                <a:gd name="T1" fmla="*/ 121 h 201"/>
                <a:gd name="T2" fmla="*/ 4 w 170"/>
                <a:gd name="T3" fmla="*/ 130 h 201"/>
                <a:gd name="T4" fmla="*/ 9 w 170"/>
                <a:gd name="T5" fmla="*/ 143 h 201"/>
                <a:gd name="T6" fmla="*/ 9 w 170"/>
                <a:gd name="T7" fmla="*/ 161 h 201"/>
                <a:gd name="T8" fmla="*/ 22 w 170"/>
                <a:gd name="T9" fmla="*/ 197 h 201"/>
                <a:gd name="T10" fmla="*/ 31 w 170"/>
                <a:gd name="T11" fmla="*/ 201 h 201"/>
                <a:gd name="T12" fmla="*/ 45 w 170"/>
                <a:gd name="T13" fmla="*/ 188 h 201"/>
                <a:gd name="T14" fmla="*/ 67 w 170"/>
                <a:gd name="T15" fmla="*/ 192 h 201"/>
                <a:gd name="T16" fmla="*/ 76 w 170"/>
                <a:gd name="T17" fmla="*/ 201 h 201"/>
                <a:gd name="T18" fmla="*/ 80 w 170"/>
                <a:gd name="T19" fmla="*/ 188 h 201"/>
                <a:gd name="T20" fmla="*/ 94 w 170"/>
                <a:gd name="T21" fmla="*/ 188 h 201"/>
                <a:gd name="T22" fmla="*/ 98 w 170"/>
                <a:gd name="T23" fmla="*/ 192 h 201"/>
                <a:gd name="T24" fmla="*/ 103 w 170"/>
                <a:gd name="T25" fmla="*/ 179 h 201"/>
                <a:gd name="T26" fmla="*/ 103 w 170"/>
                <a:gd name="T27" fmla="*/ 166 h 201"/>
                <a:gd name="T28" fmla="*/ 112 w 170"/>
                <a:gd name="T29" fmla="*/ 157 h 201"/>
                <a:gd name="T30" fmla="*/ 147 w 170"/>
                <a:gd name="T31" fmla="*/ 148 h 201"/>
                <a:gd name="T32" fmla="*/ 161 w 170"/>
                <a:gd name="T33" fmla="*/ 152 h 201"/>
                <a:gd name="T34" fmla="*/ 165 w 170"/>
                <a:gd name="T35" fmla="*/ 166 h 201"/>
                <a:gd name="T36" fmla="*/ 170 w 170"/>
                <a:gd name="T37" fmla="*/ 161 h 201"/>
                <a:gd name="T38" fmla="*/ 170 w 170"/>
                <a:gd name="T39" fmla="*/ 157 h 201"/>
                <a:gd name="T40" fmla="*/ 165 w 170"/>
                <a:gd name="T41" fmla="*/ 152 h 201"/>
                <a:gd name="T42" fmla="*/ 170 w 170"/>
                <a:gd name="T43" fmla="*/ 125 h 201"/>
                <a:gd name="T44" fmla="*/ 170 w 170"/>
                <a:gd name="T45" fmla="*/ 116 h 201"/>
                <a:gd name="T46" fmla="*/ 156 w 170"/>
                <a:gd name="T47" fmla="*/ 116 h 201"/>
                <a:gd name="T48" fmla="*/ 161 w 170"/>
                <a:gd name="T49" fmla="*/ 99 h 201"/>
                <a:gd name="T50" fmla="*/ 134 w 170"/>
                <a:gd name="T51" fmla="*/ 99 h 201"/>
                <a:gd name="T52" fmla="*/ 129 w 170"/>
                <a:gd name="T53" fmla="*/ 85 h 201"/>
                <a:gd name="T54" fmla="*/ 134 w 170"/>
                <a:gd name="T55" fmla="*/ 67 h 201"/>
                <a:gd name="T56" fmla="*/ 129 w 170"/>
                <a:gd name="T57" fmla="*/ 58 h 201"/>
                <a:gd name="T58" fmla="*/ 116 w 170"/>
                <a:gd name="T59" fmla="*/ 58 h 201"/>
                <a:gd name="T60" fmla="*/ 80 w 170"/>
                <a:gd name="T61" fmla="*/ 40 h 201"/>
                <a:gd name="T62" fmla="*/ 62 w 170"/>
                <a:gd name="T63" fmla="*/ 32 h 201"/>
                <a:gd name="T64" fmla="*/ 62 w 170"/>
                <a:gd name="T65" fmla="*/ 0 h 201"/>
                <a:gd name="T66" fmla="*/ 40 w 170"/>
                <a:gd name="T67" fmla="*/ 5 h 201"/>
                <a:gd name="T68" fmla="*/ 13 w 170"/>
                <a:gd name="T69" fmla="*/ 23 h 201"/>
                <a:gd name="T70" fmla="*/ 0 w 170"/>
                <a:gd name="T71" fmla="*/ 23 h 201"/>
                <a:gd name="T72" fmla="*/ 9 w 170"/>
                <a:gd name="T73" fmla="*/ 40 h 201"/>
                <a:gd name="T74" fmla="*/ 4 w 170"/>
                <a:gd name="T75" fmla="*/ 49 h 201"/>
                <a:gd name="T76" fmla="*/ 4 w 170"/>
                <a:gd name="T77" fmla="*/ 72 h 201"/>
                <a:gd name="T78" fmla="*/ 0 w 170"/>
                <a:gd name="T79" fmla="*/ 94 h 201"/>
                <a:gd name="T80" fmla="*/ 4 w 170"/>
                <a:gd name="T81" fmla="*/ 99 h 201"/>
                <a:gd name="T82" fmla="*/ 0 w 170"/>
                <a:gd name="T83" fmla="*/ 112 h 201"/>
                <a:gd name="T84" fmla="*/ 0 w 170"/>
                <a:gd name="T85" fmla="*/ 12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0" h="201">
                  <a:moveTo>
                    <a:pt x="0" y="121"/>
                  </a:moveTo>
                  <a:lnTo>
                    <a:pt x="4" y="130"/>
                  </a:lnTo>
                  <a:lnTo>
                    <a:pt x="9" y="143"/>
                  </a:lnTo>
                  <a:lnTo>
                    <a:pt x="9" y="161"/>
                  </a:lnTo>
                  <a:lnTo>
                    <a:pt x="22" y="197"/>
                  </a:lnTo>
                  <a:lnTo>
                    <a:pt x="31" y="201"/>
                  </a:lnTo>
                  <a:lnTo>
                    <a:pt x="45" y="188"/>
                  </a:lnTo>
                  <a:lnTo>
                    <a:pt x="67" y="192"/>
                  </a:lnTo>
                  <a:lnTo>
                    <a:pt x="76" y="201"/>
                  </a:lnTo>
                  <a:lnTo>
                    <a:pt x="80" y="188"/>
                  </a:lnTo>
                  <a:lnTo>
                    <a:pt x="94" y="188"/>
                  </a:lnTo>
                  <a:lnTo>
                    <a:pt x="98" y="192"/>
                  </a:lnTo>
                  <a:lnTo>
                    <a:pt x="103" y="179"/>
                  </a:lnTo>
                  <a:lnTo>
                    <a:pt x="103" y="166"/>
                  </a:lnTo>
                  <a:lnTo>
                    <a:pt x="112" y="157"/>
                  </a:lnTo>
                  <a:lnTo>
                    <a:pt x="147" y="148"/>
                  </a:lnTo>
                  <a:lnTo>
                    <a:pt x="161" y="152"/>
                  </a:lnTo>
                  <a:lnTo>
                    <a:pt x="165" y="166"/>
                  </a:lnTo>
                  <a:lnTo>
                    <a:pt x="170" y="161"/>
                  </a:lnTo>
                  <a:lnTo>
                    <a:pt x="170" y="157"/>
                  </a:lnTo>
                  <a:lnTo>
                    <a:pt x="165" y="152"/>
                  </a:lnTo>
                  <a:lnTo>
                    <a:pt x="170" y="125"/>
                  </a:lnTo>
                  <a:lnTo>
                    <a:pt x="170" y="116"/>
                  </a:lnTo>
                  <a:lnTo>
                    <a:pt x="156" y="116"/>
                  </a:lnTo>
                  <a:lnTo>
                    <a:pt x="161" y="99"/>
                  </a:lnTo>
                  <a:lnTo>
                    <a:pt x="134" y="99"/>
                  </a:lnTo>
                  <a:lnTo>
                    <a:pt x="129" y="85"/>
                  </a:lnTo>
                  <a:lnTo>
                    <a:pt x="134" y="67"/>
                  </a:lnTo>
                  <a:lnTo>
                    <a:pt x="129" y="58"/>
                  </a:lnTo>
                  <a:lnTo>
                    <a:pt x="116" y="58"/>
                  </a:lnTo>
                  <a:lnTo>
                    <a:pt x="80" y="40"/>
                  </a:lnTo>
                  <a:lnTo>
                    <a:pt x="62" y="32"/>
                  </a:lnTo>
                  <a:lnTo>
                    <a:pt x="62" y="0"/>
                  </a:lnTo>
                  <a:lnTo>
                    <a:pt x="40" y="5"/>
                  </a:lnTo>
                  <a:lnTo>
                    <a:pt x="13" y="23"/>
                  </a:lnTo>
                  <a:lnTo>
                    <a:pt x="0" y="23"/>
                  </a:lnTo>
                  <a:lnTo>
                    <a:pt x="9" y="40"/>
                  </a:lnTo>
                  <a:lnTo>
                    <a:pt x="4" y="49"/>
                  </a:lnTo>
                  <a:lnTo>
                    <a:pt x="4" y="72"/>
                  </a:lnTo>
                  <a:lnTo>
                    <a:pt x="0" y="94"/>
                  </a:lnTo>
                  <a:lnTo>
                    <a:pt x="4" y="99"/>
                  </a:lnTo>
                  <a:lnTo>
                    <a:pt x="0" y="112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08" name="Freeform 8"/>
            <p:cNvSpPr>
              <a:spLocks/>
            </p:cNvSpPr>
            <p:nvPr/>
          </p:nvSpPr>
          <p:spPr bwMode="gray">
            <a:xfrm>
              <a:off x="1624" y="2703"/>
              <a:ext cx="567" cy="608"/>
            </a:xfrm>
            <a:custGeom>
              <a:avLst/>
              <a:gdLst>
                <a:gd name="T0" fmla="*/ 45 w 567"/>
                <a:gd name="T1" fmla="*/ 143 h 608"/>
                <a:gd name="T2" fmla="*/ 13 w 567"/>
                <a:gd name="T3" fmla="*/ 170 h 608"/>
                <a:gd name="T4" fmla="*/ 9 w 567"/>
                <a:gd name="T5" fmla="*/ 219 h 608"/>
                <a:gd name="T6" fmla="*/ 49 w 567"/>
                <a:gd name="T7" fmla="*/ 215 h 608"/>
                <a:gd name="T8" fmla="*/ 80 w 567"/>
                <a:gd name="T9" fmla="*/ 242 h 608"/>
                <a:gd name="T10" fmla="*/ 129 w 567"/>
                <a:gd name="T11" fmla="*/ 251 h 608"/>
                <a:gd name="T12" fmla="*/ 196 w 567"/>
                <a:gd name="T13" fmla="*/ 277 h 608"/>
                <a:gd name="T14" fmla="*/ 201 w 567"/>
                <a:gd name="T15" fmla="*/ 318 h 608"/>
                <a:gd name="T16" fmla="*/ 237 w 567"/>
                <a:gd name="T17" fmla="*/ 335 h 608"/>
                <a:gd name="T18" fmla="*/ 237 w 567"/>
                <a:gd name="T19" fmla="*/ 376 h 608"/>
                <a:gd name="T20" fmla="*/ 232 w 567"/>
                <a:gd name="T21" fmla="*/ 411 h 608"/>
                <a:gd name="T22" fmla="*/ 268 w 567"/>
                <a:gd name="T23" fmla="*/ 416 h 608"/>
                <a:gd name="T24" fmla="*/ 286 w 567"/>
                <a:gd name="T25" fmla="*/ 443 h 608"/>
                <a:gd name="T26" fmla="*/ 295 w 567"/>
                <a:gd name="T27" fmla="*/ 465 h 608"/>
                <a:gd name="T28" fmla="*/ 241 w 567"/>
                <a:gd name="T29" fmla="*/ 537 h 608"/>
                <a:gd name="T30" fmla="*/ 259 w 567"/>
                <a:gd name="T31" fmla="*/ 554 h 608"/>
                <a:gd name="T32" fmla="*/ 290 w 567"/>
                <a:gd name="T33" fmla="*/ 568 h 608"/>
                <a:gd name="T34" fmla="*/ 295 w 567"/>
                <a:gd name="T35" fmla="*/ 608 h 608"/>
                <a:gd name="T36" fmla="*/ 362 w 567"/>
                <a:gd name="T37" fmla="*/ 514 h 608"/>
                <a:gd name="T38" fmla="*/ 366 w 567"/>
                <a:gd name="T39" fmla="*/ 461 h 608"/>
                <a:gd name="T40" fmla="*/ 415 w 567"/>
                <a:gd name="T41" fmla="*/ 443 h 608"/>
                <a:gd name="T42" fmla="*/ 464 w 567"/>
                <a:gd name="T43" fmla="*/ 420 h 608"/>
                <a:gd name="T44" fmla="*/ 496 w 567"/>
                <a:gd name="T45" fmla="*/ 367 h 608"/>
                <a:gd name="T46" fmla="*/ 505 w 567"/>
                <a:gd name="T47" fmla="*/ 277 h 608"/>
                <a:gd name="T48" fmla="*/ 531 w 567"/>
                <a:gd name="T49" fmla="*/ 237 h 608"/>
                <a:gd name="T50" fmla="*/ 567 w 567"/>
                <a:gd name="T51" fmla="*/ 184 h 608"/>
                <a:gd name="T52" fmla="*/ 527 w 567"/>
                <a:gd name="T53" fmla="*/ 143 h 608"/>
                <a:gd name="T54" fmla="*/ 487 w 567"/>
                <a:gd name="T55" fmla="*/ 116 h 608"/>
                <a:gd name="T56" fmla="*/ 424 w 567"/>
                <a:gd name="T57" fmla="*/ 116 h 608"/>
                <a:gd name="T58" fmla="*/ 411 w 567"/>
                <a:gd name="T59" fmla="*/ 103 h 608"/>
                <a:gd name="T60" fmla="*/ 357 w 567"/>
                <a:gd name="T61" fmla="*/ 103 h 608"/>
                <a:gd name="T62" fmla="*/ 357 w 567"/>
                <a:gd name="T63" fmla="*/ 94 h 608"/>
                <a:gd name="T64" fmla="*/ 335 w 567"/>
                <a:gd name="T65" fmla="*/ 76 h 608"/>
                <a:gd name="T66" fmla="*/ 348 w 567"/>
                <a:gd name="T67" fmla="*/ 49 h 608"/>
                <a:gd name="T68" fmla="*/ 321 w 567"/>
                <a:gd name="T69" fmla="*/ 14 h 608"/>
                <a:gd name="T70" fmla="*/ 299 w 567"/>
                <a:gd name="T71" fmla="*/ 49 h 608"/>
                <a:gd name="T72" fmla="*/ 259 w 567"/>
                <a:gd name="T73" fmla="*/ 41 h 608"/>
                <a:gd name="T74" fmla="*/ 228 w 567"/>
                <a:gd name="T75" fmla="*/ 54 h 608"/>
                <a:gd name="T76" fmla="*/ 201 w 567"/>
                <a:gd name="T77" fmla="*/ 45 h 608"/>
                <a:gd name="T78" fmla="*/ 201 w 567"/>
                <a:gd name="T79" fmla="*/ 14 h 608"/>
                <a:gd name="T80" fmla="*/ 192 w 567"/>
                <a:gd name="T81" fmla="*/ 14 h 608"/>
                <a:gd name="T82" fmla="*/ 134 w 567"/>
                <a:gd name="T83" fmla="*/ 9 h 608"/>
                <a:gd name="T84" fmla="*/ 138 w 567"/>
                <a:gd name="T85" fmla="*/ 41 h 608"/>
                <a:gd name="T86" fmla="*/ 134 w 567"/>
                <a:gd name="T87" fmla="*/ 54 h 608"/>
                <a:gd name="T88" fmla="*/ 94 w 567"/>
                <a:gd name="T89" fmla="*/ 58 h 608"/>
                <a:gd name="T90" fmla="*/ 62 w 567"/>
                <a:gd name="T91" fmla="*/ 54 h 608"/>
                <a:gd name="T92" fmla="*/ 67 w 567"/>
                <a:gd name="T93" fmla="*/ 76 h 608"/>
                <a:gd name="T94" fmla="*/ 67 w 567"/>
                <a:gd name="T95" fmla="*/ 85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67" h="608">
                  <a:moveTo>
                    <a:pt x="53" y="139"/>
                  </a:moveTo>
                  <a:lnTo>
                    <a:pt x="58" y="143"/>
                  </a:lnTo>
                  <a:lnTo>
                    <a:pt x="45" y="143"/>
                  </a:lnTo>
                  <a:lnTo>
                    <a:pt x="27" y="148"/>
                  </a:lnTo>
                  <a:lnTo>
                    <a:pt x="18" y="157"/>
                  </a:lnTo>
                  <a:lnTo>
                    <a:pt x="13" y="170"/>
                  </a:lnTo>
                  <a:lnTo>
                    <a:pt x="0" y="188"/>
                  </a:lnTo>
                  <a:lnTo>
                    <a:pt x="9" y="206"/>
                  </a:lnTo>
                  <a:lnTo>
                    <a:pt x="9" y="219"/>
                  </a:lnTo>
                  <a:lnTo>
                    <a:pt x="22" y="219"/>
                  </a:lnTo>
                  <a:lnTo>
                    <a:pt x="27" y="228"/>
                  </a:lnTo>
                  <a:lnTo>
                    <a:pt x="49" y="215"/>
                  </a:lnTo>
                  <a:lnTo>
                    <a:pt x="49" y="242"/>
                  </a:lnTo>
                  <a:lnTo>
                    <a:pt x="67" y="242"/>
                  </a:lnTo>
                  <a:lnTo>
                    <a:pt x="80" y="242"/>
                  </a:lnTo>
                  <a:lnTo>
                    <a:pt x="107" y="224"/>
                  </a:lnTo>
                  <a:lnTo>
                    <a:pt x="129" y="219"/>
                  </a:lnTo>
                  <a:lnTo>
                    <a:pt x="129" y="251"/>
                  </a:lnTo>
                  <a:lnTo>
                    <a:pt x="147" y="259"/>
                  </a:lnTo>
                  <a:lnTo>
                    <a:pt x="183" y="277"/>
                  </a:lnTo>
                  <a:lnTo>
                    <a:pt x="196" y="277"/>
                  </a:lnTo>
                  <a:lnTo>
                    <a:pt x="201" y="286"/>
                  </a:lnTo>
                  <a:lnTo>
                    <a:pt x="196" y="304"/>
                  </a:lnTo>
                  <a:lnTo>
                    <a:pt x="201" y="318"/>
                  </a:lnTo>
                  <a:lnTo>
                    <a:pt x="228" y="318"/>
                  </a:lnTo>
                  <a:lnTo>
                    <a:pt x="223" y="335"/>
                  </a:lnTo>
                  <a:lnTo>
                    <a:pt x="237" y="335"/>
                  </a:lnTo>
                  <a:lnTo>
                    <a:pt x="237" y="344"/>
                  </a:lnTo>
                  <a:lnTo>
                    <a:pt x="232" y="371"/>
                  </a:lnTo>
                  <a:lnTo>
                    <a:pt x="237" y="376"/>
                  </a:lnTo>
                  <a:lnTo>
                    <a:pt x="237" y="380"/>
                  </a:lnTo>
                  <a:lnTo>
                    <a:pt x="237" y="394"/>
                  </a:lnTo>
                  <a:lnTo>
                    <a:pt x="232" y="411"/>
                  </a:lnTo>
                  <a:lnTo>
                    <a:pt x="246" y="411"/>
                  </a:lnTo>
                  <a:lnTo>
                    <a:pt x="259" y="407"/>
                  </a:lnTo>
                  <a:lnTo>
                    <a:pt x="268" y="416"/>
                  </a:lnTo>
                  <a:lnTo>
                    <a:pt x="268" y="443"/>
                  </a:lnTo>
                  <a:lnTo>
                    <a:pt x="281" y="438"/>
                  </a:lnTo>
                  <a:lnTo>
                    <a:pt x="286" y="443"/>
                  </a:lnTo>
                  <a:lnTo>
                    <a:pt x="281" y="461"/>
                  </a:lnTo>
                  <a:lnTo>
                    <a:pt x="286" y="465"/>
                  </a:lnTo>
                  <a:lnTo>
                    <a:pt x="295" y="465"/>
                  </a:lnTo>
                  <a:lnTo>
                    <a:pt x="295" y="487"/>
                  </a:lnTo>
                  <a:lnTo>
                    <a:pt x="277" y="501"/>
                  </a:lnTo>
                  <a:lnTo>
                    <a:pt x="241" y="537"/>
                  </a:lnTo>
                  <a:lnTo>
                    <a:pt x="241" y="541"/>
                  </a:lnTo>
                  <a:lnTo>
                    <a:pt x="250" y="541"/>
                  </a:lnTo>
                  <a:lnTo>
                    <a:pt x="259" y="554"/>
                  </a:lnTo>
                  <a:lnTo>
                    <a:pt x="268" y="550"/>
                  </a:lnTo>
                  <a:lnTo>
                    <a:pt x="277" y="563"/>
                  </a:lnTo>
                  <a:lnTo>
                    <a:pt x="290" y="568"/>
                  </a:lnTo>
                  <a:lnTo>
                    <a:pt x="299" y="586"/>
                  </a:lnTo>
                  <a:lnTo>
                    <a:pt x="295" y="595"/>
                  </a:lnTo>
                  <a:lnTo>
                    <a:pt x="295" y="608"/>
                  </a:lnTo>
                  <a:lnTo>
                    <a:pt x="308" y="599"/>
                  </a:lnTo>
                  <a:lnTo>
                    <a:pt x="317" y="577"/>
                  </a:lnTo>
                  <a:lnTo>
                    <a:pt x="362" y="514"/>
                  </a:lnTo>
                  <a:lnTo>
                    <a:pt x="366" y="501"/>
                  </a:lnTo>
                  <a:lnTo>
                    <a:pt x="371" y="465"/>
                  </a:lnTo>
                  <a:lnTo>
                    <a:pt x="366" y="461"/>
                  </a:lnTo>
                  <a:lnTo>
                    <a:pt x="375" y="461"/>
                  </a:lnTo>
                  <a:lnTo>
                    <a:pt x="397" y="443"/>
                  </a:lnTo>
                  <a:lnTo>
                    <a:pt x="415" y="443"/>
                  </a:lnTo>
                  <a:lnTo>
                    <a:pt x="415" y="434"/>
                  </a:lnTo>
                  <a:lnTo>
                    <a:pt x="447" y="425"/>
                  </a:lnTo>
                  <a:lnTo>
                    <a:pt x="464" y="420"/>
                  </a:lnTo>
                  <a:lnTo>
                    <a:pt x="464" y="416"/>
                  </a:lnTo>
                  <a:lnTo>
                    <a:pt x="473" y="411"/>
                  </a:lnTo>
                  <a:lnTo>
                    <a:pt x="496" y="367"/>
                  </a:lnTo>
                  <a:lnTo>
                    <a:pt x="496" y="349"/>
                  </a:lnTo>
                  <a:lnTo>
                    <a:pt x="505" y="340"/>
                  </a:lnTo>
                  <a:lnTo>
                    <a:pt x="505" y="277"/>
                  </a:lnTo>
                  <a:lnTo>
                    <a:pt x="509" y="264"/>
                  </a:lnTo>
                  <a:lnTo>
                    <a:pt x="514" y="268"/>
                  </a:lnTo>
                  <a:lnTo>
                    <a:pt x="531" y="237"/>
                  </a:lnTo>
                  <a:lnTo>
                    <a:pt x="540" y="237"/>
                  </a:lnTo>
                  <a:lnTo>
                    <a:pt x="567" y="197"/>
                  </a:lnTo>
                  <a:lnTo>
                    <a:pt x="567" y="184"/>
                  </a:lnTo>
                  <a:lnTo>
                    <a:pt x="558" y="152"/>
                  </a:lnTo>
                  <a:lnTo>
                    <a:pt x="536" y="152"/>
                  </a:lnTo>
                  <a:lnTo>
                    <a:pt x="527" y="143"/>
                  </a:lnTo>
                  <a:lnTo>
                    <a:pt x="523" y="143"/>
                  </a:lnTo>
                  <a:lnTo>
                    <a:pt x="500" y="121"/>
                  </a:lnTo>
                  <a:lnTo>
                    <a:pt x="487" y="116"/>
                  </a:lnTo>
                  <a:lnTo>
                    <a:pt x="460" y="116"/>
                  </a:lnTo>
                  <a:lnTo>
                    <a:pt x="438" y="112"/>
                  </a:lnTo>
                  <a:lnTo>
                    <a:pt x="424" y="116"/>
                  </a:lnTo>
                  <a:lnTo>
                    <a:pt x="424" y="103"/>
                  </a:lnTo>
                  <a:lnTo>
                    <a:pt x="420" y="94"/>
                  </a:lnTo>
                  <a:lnTo>
                    <a:pt x="411" y="103"/>
                  </a:lnTo>
                  <a:lnTo>
                    <a:pt x="406" y="94"/>
                  </a:lnTo>
                  <a:lnTo>
                    <a:pt x="375" y="90"/>
                  </a:lnTo>
                  <a:lnTo>
                    <a:pt x="357" y="103"/>
                  </a:lnTo>
                  <a:lnTo>
                    <a:pt x="348" y="116"/>
                  </a:lnTo>
                  <a:lnTo>
                    <a:pt x="353" y="99"/>
                  </a:lnTo>
                  <a:lnTo>
                    <a:pt x="357" y="94"/>
                  </a:lnTo>
                  <a:lnTo>
                    <a:pt x="366" y="85"/>
                  </a:lnTo>
                  <a:lnTo>
                    <a:pt x="339" y="81"/>
                  </a:lnTo>
                  <a:lnTo>
                    <a:pt x="335" y="76"/>
                  </a:lnTo>
                  <a:lnTo>
                    <a:pt x="353" y="76"/>
                  </a:lnTo>
                  <a:lnTo>
                    <a:pt x="344" y="72"/>
                  </a:lnTo>
                  <a:lnTo>
                    <a:pt x="348" y="49"/>
                  </a:lnTo>
                  <a:lnTo>
                    <a:pt x="335" y="45"/>
                  </a:lnTo>
                  <a:lnTo>
                    <a:pt x="330" y="18"/>
                  </a:lnTo>
                  <a:lnTo>
                    <a:pt x="321" y="14"/>
                  </a:lnTo>
                  <a:lnTo>
                    <a:pt x="321" y="23"/>
                  </a:lnTo>
                  <a:lnTo>
                    <a:pt x="313" y="41"/>
                  </a:lnTo>
                  <a:lnTo>
                    <a:pt x="299" y="49"/>
                  </a:lnTo>
                  <a:lnTo>
                    <a:pt x="286" y="49"/>
                  </a:lnTo>
                  <a:lnTo>
                    <a:pt x="277" y="41"/>
                  </a:lnTo>
                  <a:lnTo>
                    <a:pt x="259" y="41"/>
                  </a:lnTo>
                  <a:lnTo>
                    <a:pt x="259" y="54"/>
                  </a:lnTo>
                  <a:lnTo>
                    <a:pt x="254" y="49"/>
                  </a:lnTo>
                  <a:lnTo>
                    <a:pt x="228" y="54"/>
                  </a:lnTo>
                  <a:lnTo>
                    <a:pt x="219" y="63"/>
                  </a:lnTo>
                  <a:lnTo>
                    <a:pt x="210" y="58"/>
                  </a:lnTo>
                  <a:lnTo>
                    <a:pt x="201" y="45"/>
                  </a:lnTo>
                  <a:lnTo>
                    <a:pt x="201" y="23"/>
                  </a:lnTo>
                  <a:lnTo>
                    <a:pt x="210" y="14"/>
                  </a:lnTo>
                  <a:lnTo>
                    <a:pt x="201" y="14"/>
                  </a:lnTo>
                  <a:lnTo>
                    <a:pt x="201" y="0"/>
                  </a:lnTo>
                  <a:lnTo>
                    <a:pt x="192" y="0"/>
                  </a:lnTo>
                  <a:lnTo>
                    <a:pt x="192" y="14"/>
                  </a:lnTo>
                  <a:lnTo>
                    <a:pt x="161" y="18"/>
                  </a:lnTo>
                  <a:lnTo>
                    <a:pt x="147" y="18"/>
                  </a:lnTo>
                  <a:lnTo>
                    <a:pt x="134" y="9"/>
                  </a:lnTo>
                  <a:lnTo>
                    <a:pt x="129" y="18"/>
                  </a:lnTo>
                  <a:lnTo>
                    <a:pt x="134" y="23"/>
                  </a:lnTo>
                  <a:lnTo>
                    <a:pt x="138" y="41"/>
                  </a:lnTo>
                  <a:lnTo>
                    <a:pt x="152" y="45"/>
                  </a:lnTo>
                  <a:lnTo>
                    <a:pt x="143" y="45"/>
                  </a:lnTo>
                  <a:lnTo>
                    <a:pt x="134" y="54"/>
                  </a:lnTo>
                  <a:lnTo>
                    <a:pt x="112" y="63"/>
                  </a:lnTo>
                  <a:lnTo>
                    <a:pt x="103" y="58"/>
                  </a:lnTo>
                  <a:lnTo>
                    <a:pt x="94" y="58"/>
                  </a:lnTo>
                  <a:lnTo>
                    <a:pt x="94" y="45"/>
                  </a:lnTo>
                  <a:lnTo>
                    <a:pt x="80" y="54"/>
                  </a:lnTo>
                  <a:lnTo>
                    <a:pt x="62" y="54"/>
                  </a:lnTo>
                  <a:lnTo>
                    <a:pt x="58" y="67"/>
                  </a:lnTo>
                  <a:lnTo>
                    <a:pt x="71" y="67"/>
                  </a:lnTo>
                  <a:lnTo>
                    <a:pt x="67" y="76"/>
                  </a:lnTo>
                  <a:lnTo>
                    <a:pt x="53" y="76"/>
                  </a:lnTo>
                  <a:lnTo>
                    <a:pt x="58" y="85"/>
                  </a:lnTo>
                  <a:lnTo>
                    <a:pt x="67" y="85"/>
                  </a:lnTo>
                  <a:lnTo>
                    <a:pt x="71" y="94"/>
                  </a:lnTo>
                  <a:lnTo>
                    <a:pt x="53" y="13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09" name="Freeform 9"/>
            <p:cNvSpPr>
              <a:spLocks/>
            </p:cNvSpPr>
            <p:nvPr/>
          </p:nvSpPr>
          <p:spPr bwMode="gray">
            <a:xfrm>
              <a:off x="1401" y="2507"/>
              <a:ext cx="22" cy="40"/>
            </a:xfrm>
            <a:custGeom>
              <a:avLst/>
              <a:gdLst>
                <a:gd name="T0" fmla="*/ 4 w 22"/>
                <a:gd name="T1" fmla="*/ 9 h 40"/>
                <a:gd name="T2" fmla="*/ 0 w 22"/>
                <a:gd name="T3" fmla="*/ 26 h 40"/>
                <a:gd name="T4" fmla="*/ 4 w 22"/>
                <a:gd name="T5" fmla="*/ 40 h 40"/>
                <a:gd name="T6" fmla="*/ 8 w 22"/>
                <a:gd name="T7" fmla="*/ 40 h 40"/>
                <a:gd name="T8" fmla="*/ 13 w 22"/>
                <a:gd name="T9" fmla="*/ 35 h 40"/>
                <a:gd name="T10" fmla="*/ 17 w 22"/>
                <a:gd name="T11" fmla="*/ 31 h 40"/>
                <a:gd name="T12" fmla="*/ 22 w 22"/>
                <a:gd name="T13" fmla="*/ 26 h 40"/>
                <a:gd name="T14" fmla="*/ 17 w 22"/>
                <a:gd name="T15" fmla="*/ 4 h 40"/>
                <a:gd name="T16" fmla="*/ 13 w 22"/>
                <a:gd name="T17" fmla="*/ 0 h 40"/>
                <a:gd name="T18" fmla="*/ 4 w 22"/>
                <a:gd name="T19" fmla="*/ 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40">
                  <a:moveTo>
                    <a:pt x="4" y="9"/>
                  </a:moveTo>
                  <a:lnTo>
                    <a:pt x="0" y="26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13" y="35"/>
                  </a:lnTo>
                  <a:lnTo>
                    <a:pt x="17" y="31"/>
                  </a:lnTo>
                  <a:lnTo>
                    <a:pt x="22" y="26"/>
                  </a:lnTo>
                  <a:lnTo>
                    <a:pt x="17" y="4"/>
                  </a:lnTo>
                  <a:lnTo>
                    <a:pt x="13" y="0"/>
                  </a:lnTo>
                  <a:lnTo>
                    <a:pt x="4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10" name="Freeform 10"/>
            <p:cNvSpPr>
              <a:spLocks noEditPoints="1"/>
            </p:cNvSpPr>
            <p:nvPr/>
          </p:nvSpPr>
          <p:spPr bwMode="gray">
            <a:xfrm>
              <a:off x="659" y="898"/>
              <a:ext cx="1273" cy="1202"/>
            </a:xfrm>
            <a:custGeom>
              <a:avLst/>
              <a:gdLst>
                <a:gd name="T0" fmla="*/ 161 w 1273"/>
                <a:gd name="T1" fmla="*/ 894 h 1202"/>
                <a:gd name="T2" fmla="*/ 188 w 1273"/>
                <a:gd name="T3" fmla="*/ 1001 h 1202"/>
                <a:gd name="T4" fmla="*/ 733 w 1273"/>
                <a:gd name="T5" fmla="*/ 1081 h 1202"/>
                <a:gd name="T6" fmla="*/ 858 w 1273"/>
                <a:gd name="T7" fmla="*/ 1162 h 1202"/>
                <a:gd name="T8" fmla="*/ 1014 w 1273"/>
                <a:gd name="T9" fmla="*/ 1099 h 1202"/>
                <a:gd name="T10" fmla="*/ 1197 w 1273"/>
                <a:gd name="T11" fmla="*/ 934 h 1202"/>
                <a:gd name="T12" fmla="*/ 1121 w 1273"/>
                <a:gd name="T13" fmla="*/ 818 h 1202"/>
                <a:gd name="T14" fmla="*/ 956 w 1273"/>
                <a:gd name="T15" fmla="*/ 710 h 1202"/>
                <a:gd name="T16" fmla="*/ 902 w 1273"/>
                <a:gd name="T17" fmla="*/ 979 h 1202"/>
                <a:gd name="T18" fmla="*/ 692 w 1273"/>
                <a:gd name="T19" fmla="*/ 813 h 1202"/>
                <a:gd name="T20" fmla="*/ 755 w 1273"/>
                <a:gd name="T21" fmla="*/ 612 h 1202"/>
                <a:gd name="T22" fmla="*/ 817 w 1273"/>
                <a:gd name="T23" fmla="*/ 581 h 1202"/>
                <a:gd name="T24" fmla="*/ 817 w 1273"/>
                <a:gd name="T25" fmla="*/ 438 h 1202"/>
                <a:gd name="T26" fmla="*/ 728 w 1273"/>
                <a:gd name="T27" fmla="*/ 456 h 1202"/>
                <a:gd name="T28" fmla="*/ 643 w 1273"/>
                <a:gd name="T29" fmla="*/ 407 h 1202"/>
                <a:gd name="T30" fmla="*/ 616 w 1273"/>
                <a:gd name="T31" fmla="*/ 500 h 1202"/>
                <a:gd name="T32" fmla="*/ 478 w 1273"/>
                <a:gd name="T33" fmla="*/ 541 h 1202"/>
                <a:gd name="T34" fmla="*/ 237 w 1273"/>
                <a:gd name="T35" fmla="*/ 424 h 1202"/>
                <a:gd name="T36" fmla="*/ 121 w 1273"/>
                <a:gd name="T37" fmla="*/ 938 h 1202"/>
                <a:gd name="T38" fmla="*/ 232 w 1273"/>
                <a:gd name="T39" fmla="*/ 1041 h 1202"/>
                <a:gd name="T40" fmla="*/ 304 w 1273"/>
                <a:gd name="T41" fmla="*/ 348 h 1202"/>
                <a:gd name="T42" fmla="*/ 295 w 1273"/>
                <a:gd name="T43" fmla="*/ 112 h 1202"/>
                <a:gd name="T44" fmla="*/ 317 w 1273"/>
                <a:gd name="T45" fmla="*/ 18 h 1202"/>
                <a:gd name="T46" fmla="*/ 420 w 1273"/>
                <a:gd name="T47" fmla="*/ 411 h 1202"/>
                <a:gd name="T48" fmla="*/ 554 w 1273"/>
                <a:gd name="T49" fmla="*/ 478 h 1202"/>
                <a:gd name="T50" fmla="*/ 487 w 1273"/>
                <a:gd name="T51" fmla="*/ 344 h 1202"/>
                <a:gd name="T52" fmla="*/ 380 w 1273"/>
                <a:gd name="T53" fmla="*/ 259 h 1202"/>
                <a:gd name="T54" fmla="*/ 344 w 1273"/>
                <a:gd name="T55" fmla="*/ 594 h 1202"/>
                <a:gd name="T56" fmla="*/ 241 w 1273"/>
                <a:gd name="T57" fmla="*/ 585 h 1202"/>
                <a:gd name="T58" fmla="*/ 451 w 1273"/>
                <a:gd name="T59" fmla="*/ 702 h 1202"/>
                <a:gd name="T60" fmla="*/ 362 w 1273"/>
                <a:gd name="T61" fmla="*/ 89 h 1202"/>
                <a:gd name="T62" fmla="*/ 407 w 1273"/>
                <a:gd name="T63" fmla="*/ 156 h 1202"/>
                <a:gd name="T64" fmla="*/ 509 w 1273"/>
                <a:gd name="T65" fmla="*/ 165 h 1202"/>
                <a:gd name="T66" fmla="*/ 456 w 1273"/>
                <a:gd name="T67" fmla="*/ 152 h 1202"/>
                <a:gd name="T68" fmla="*/ 616 w 1273"/>
                <a:gd name="T69" fmla="*/ 179 h 1202"/>
                <a:gd name="T70" fmla="*/ 563 w 1273"/>
                <a:gd name="T71" fmla="*/ 89 h 1202"/>
                <a:gd name="T72" fmla="*/ 572 w 1273"/>
                <a:gd name="T73" fmla="*/ 259 h 1202"/>
                <a:gd name="T74" fmla="*/ 634 w 1273"/>
                <a:gd name="T75" fmla="*/ 264 h 1202"/>
                <a:gd name="T76" fmla="*/ 688 w 1273"/>
                <a:gd name="T77" fmla="*/ 295 h 1202"/>
                <a:gd name="T78" fmla="*/ 679 w 1273"/>
                <a:gd name="T79" fmla="*/ 62 h 1202"/>
                <a:gd name="T80" fmla="*/ 809 w 1273"/>
                <a:gd name="T81" fmla="*/ 205 h 1202"/>
                <a:gd name="T82" fmla="*/ 773 w 1273"/>
                <a:gd name="T83" fmla="*/ 143 h 1202"/>
                <a:gd name="T84" fmla="*/ 804 w 1273"/>
                <a:gd name="T85" fmla="*/ 688 h 1202"/>
                <a:gd name="T86" fmla="*/ 791 w 1273"/>
                <a:gd name="T87" fmla="*/ 657 h 1202"/>
                <a:gd name="T88" fmla="*/ 759 w 1273"/>
                <a:gd name="T89" fmla="*/ 89 h 1202"/>
                <a:gd name="T90" fmla="*/ 849 w 1273"/>
                <a:gd name="T91" fmla="*/ 40 h 1202"/>
                <a:gd name="T92" fmla="*/ 844 w 1273"/>
                <a:gd name="T93" fmla="*/ 688 h 1202"/>
                <a:gd name="T94" fmla="*/ 929 w 1273"/>
                <a:gd name="T95" fmla="*/ 438 h 1202"/>
                <a:gd name="T96" fmla="*/ 978 w 1273"/>
                <a:gd name="T97" fmla="*/ 563 h 1202"/>
                <a:gd name="T98" fmla="*/ 1005 w 1273"/>
                <a:gd name="T99" fmla="*/ 693 h 1202"/>
                <a:gd name="T100" fmla="*/ 1117 w 1273"/>
                <a:gd name="T101" fmla="*/ 626 h 1202"/>
                <a:gd name="T102" fmla="*/ 1041 w 1273"/>
                <a:gd name="T103" fmla="*/ 420 h 1202"/>
                <a:gd name="T104" fmla="*/ 951 w 1273"/>
                <a:gd name="T105" fmla="*/ 308 h 1202"/>
                <a:gd name="T106" fmla="*/ 804 w 1273"/>
                <a:gd name="T107" fmla="*/ 273 h 1202"/>
                <a:gd name="T108" fmla="*/ 737 w 1273"/>
                <a:gd name="T109" fmla="*/ 366 h 1202"/>
                <a:gd name="T110" fmla="*/ 889 w 1273"/>
                <a:gd name="T111" fmla="*/ 706 h 1202"/>
                <a:gd name="T112" fmla="*/ 1054 w 1273"/>
                <a:gd name="T113" fmla="*/ 1135 h 1202"/>
                <a:gd name="T114" fmla="*/ 1161 w 1273"/>
                <a:gd name="T115" fmla="*/ 1122 h 1202"/>
                <a:gd name="T116" fmla="*/ 1085 w 1273"/>
                <a:gd name="T117" fmla="*/ 1050 h 1202"/>
                <a:gd name="T118" fmla="*/ 1108 w 1273"/>
                <a:gd name="T119" fmla="*/ 1041 h 1202"/>
                <a:gd name="T120" fmla="*/ 1224 w 1273"/>
                <a:gd name="T121" fmla="*/ 1086 h 1202"/>
                <a:gd name="T122" fmla="*/ 1260 w 1273"/>
                <a:gd name="T123" fmla="*/ 1077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73" h="1202">
                  <a:moveTo>
                    <a:pt x="0" y="442"/>
                  </a:moveTo>
                  <a:lnTo>
                    <a:pt x="0" y="777"/>
                  </a:lnTo>
                  <a:lnTo>
                    <a:pt x="4" y="782"/>
                  </a:lnTo>
                  <a:lnTo>
                    <a:pt x="13" y="782"/>
                  </a:lnTo>
                  <a:lnTo>
                    <a:pt x="22" y="773"/>
                  </a:lnTo>
                  <a:lnTo>
                    <a:pt x="27" y="777"/>
                  </a:lnTo>
                  <a:lnTo>
                    <a:pt x="31" y="782"/>
                  </a:lnTo>
                  <a:lnTo>
                    <a:pt x="45" y="800"/>
                  </a:lnTo>
                  <a:lnTo>
                    <a:pt x="49" y="809"/>
                  </a:lnTo>
                  <a:lnTo>
                    <a:pt x="63" y="804"/>
                  </a:lnTo>
                  <a:lnTo>
                    <a:pt x="71" y="791"/>
                  </a:lnTo>
                  <a:lnTo>
                    <a:pt x="85" y="791"/>
                  </a:lnTo>
                  <a:lnTo>
                    <a:pt x="103" y="804"/>
                  </a:lnTo>
                  <a:lnTo>
                    <a:pt x="121" y="840"/>
                  </a:lnTo>
                  <a:lnTo>
                    <a:pt x="134" y="867"/>
                  </a:lnTo>
                  <a:lnTo>
                    <a:pt x="152" y="885"/>
                  </a:lnTo>
                  <a:lnTo>
                    <a:pt x="161" y="885"/>
                  </a:lnTo>
                  <a:lnTo>
                    <a:pt x="161" y="894"/>
                  </a:lnTo>
                  <a:lnTo>
                    <a:pt x="165" y="903"/>
                  </a:lnTo>
                  <a:lnTo>
                    <a:pt x="161" y="920"/>
                  </a:lnTo>
                  <a:lnTo>
                    <a:pt x="156" y="929"/>
                  </a:lnTo>
                  <a:lnTo>
                    <a:pt x="156" y="938"/>
                  </a:lnTo>
                  <a:lnTo>
                    <a:pt x="152" y="938"/>
                  </a:lnTo>
                  <a:lnTo>
                    <a:pt x="152" y="943"/>
                  </a:lnTo>
                  <a:lnTo>
                    <a:pt x="161" y="943"/>
                  </a:lnTo>
                  <a:lnTo>
                    <a:pt x="156" y="956"/>
                  </a:lnTo>
                  <a:lnTo>
                    <a:pt x="165" y="965"/>
                  </a:lnTo>
                  <a:lnTo>
                    <a:pt x="174" y="956"/>
                  </a:lnTo>
                  <a:lnTo>
                    <a:pt x="179" y="956"/>
                  </a:lnTo>
                  <a:lnTo>
                    <a:pt x="170" y="965"/>
                  </a:lnTo>
                  <a:lnTo>
                    <a:pt x="179" y="979"/>
                  </a:lnTo>
                  <a:lnTo>
                    <a:pt x="183" y="979"/>
                  </a:lnTo>
                  <a:lnTo>
                    <a:pt x="183" y="970"/>
                  </a:lnTo>
                  <a:lnTo>
                    <a:pt x="188" y="970"/>
                  </a:lnTo>
                  <a:lnTo>
                    <a:pt x="188" y="983"/>
                  </a:lnTo>
                  <a:lnTo>
                    <a:pt x="188" y="1001"/>
                  </a:lnTo>
                  <a:lnTo>
                    <a:pt x="197" y="1001"/>
                  </a:lnTo>
                  <a:lnTo>
                    <a:pt x="197" y="1005"/>
                  </a:lnTo>
                  <a:lnTo>
                    <a:pt x="206" y="1014"/>
                  </a:lnTo>
                  <a:lnTo>
                    <a:pt x="219" y="1023"/>
                  </a:lnTo>
                  <a:lnTo>
                    <a:pt x="237" y="1028"/>
                  </a:lnTo>
                  <a:lnTo>
                    <a:pt x="237" y="1037"/>
                  </a:lnTo>
                  <a:lnTo>
                    <a:pt x="246" y="1046"/>
                  </a:lnTo>
                  <a:lnTo>
                    <a:pt x="264" y="1055"/>
                  </a:lnTo>
                  <a:lnTo>
                    <a:pt x="268" y="1059"/>
                  </a:lnTo>
                  <a:lnTo>
                    <a:pt x="268" y="1063"/>
                  </a:lnTo>
                  <a:lnTo>
                    <a:pt x="657" y="1063"/>
                  </a:lnTo>
                  <a:lnTo>
                    <a:pt x="666" y="1059"/>
                  </a:lnTo>
                  <a:lnTo>
                    <a:pt x="670" y="1068"/>
                  </a:lnTo>
                  <a:lnTo>
                    <a:pt x="692" y="1068"/>
                  </a:lnTo>
                  <a:lnTo>
                    <a:pt x="701" y="1072"/>
                  </a:lnTo>
                  <a:lnTo>
                    <a:pt x="710" y="1081"/>
                  </a:lnTo>
                  <a:lnTo>
                    <a:pt x="724" y="1077"/>
                  </a:lnTo>
                  <a:lnTo>
                    <a:pt x="733" y="1081"/>
                  </a:lnTo>
                  <a:lnTo>
                    <a:pt x="750" y="1072"/>
                  </a:lnTo>
                  <a:lnTo>
                    <a:pt x="759" y="1068"/>
                  </a:lnTo>
                  <a:lnTo>
                    <a:pt x="764" y="1059"/>
                  </a:lnTo>
                  <a:lnTo>
                    <a:pt x="786" y="1063"/>
                  </a:lnTo>
                  <a:lnTo>
                    <a:pt x="795" y="1081"/>
                  </a:lnTo>
                  <a:lnTo>
                    <a:pt x="809" y="1081"/>
                  </a:lnTo>
                  <a:lnTo>
                    <a:pt x="809" y="1099"/>
                  </a:lnTo>
                  <a:lnTo>
                    <a:pt x="817" y="1113"/>
                  </a:lnTo>
                  <a:lnTo>
                    <a:pt x="826" y="1117"/>
                  </a:lnTo>
                  <a:lnTo>
                    <a:pt x="867" y="1122"/>
                  </a:lnTo>
                  <a:lnTo>
                    <a:pt x="889" y="1148"/>
                  </a:lnTo>
                  <a:lnTo>
                    <a:pt x="876" y="1144"/>
                  </a:lnTo>
                  <a:lnTo>
                    <a:pt x="880" y="1153"/>
                  </a:lnTo>
                  <a:lnTo>
                    <a:pt x="867" y="1148"/>
                  </a:lnTo>
                  <a:lnTo>
                    <a:pt x="858" y="1135"/>
                  </a:lnTo>
                  <a:lnTo>
                    <a:pt x="853" y="1135"/>
                  </a:lnTo>
                  <a:lnTo>
                    <a:pt x="862" y="1148"/>
                  </a:lnTo>
                  <a:lnTo>
                    <a:pt x="858" y="1162"/>
                  </a:lnTo>
                  <a:lnTo>
                    <a:pt x="858" y="1171"/>
                  </a:lnTo>
                  <a:lnTo>
                    <a:pt x="844" y="1189"/>
                  </a:lnTo>
                  <a:lnTo>
                    <a:pt x="844" y="1193"/>
                  </a:lnTo>
                  <a:lnTo>
                    <a:pt x="840" y="1198"/>
                  </a:lnTo>
                  <a:lnTo>
                    <a:pt x="844" y="1202"/>
                  </a:lnTo>
                  <a:lnTo>
                    <a:pt x="862" y="1189"/>
                  </a:lnTo>
                  <a:lnTo>
                    <a:pt x="876" y="1193"/>
                  </a:lnTo>
                  <a:lnTo>
                    <a:pt x="876" y="1189"/>
                  </a:lnTo>
                  <a:lnTo>
                    <a:pt x="893" y="1184"/>
                  </a:lnTo>
                  <a:lnTo>
                    <a:pt x="893" y="1180"/>
                  </a:lnTo>
                  <a:lnTo>
                    <a:pt x="880" y="1175"/>
                  </a:lnTo>
                  <a:lnTo>
                    <a:pt x="889" y="1171"/>
                  </a:lnTo>
                  <a:lnTo>
                    <a:pt x="911" y="1162"/>
                  </a:lnTo>
                  <a:lnTo>
                    <a:pt x="925" y="1166"/>
                  </a:lnTo>
                  <a:lnTo>
                    <a:pt x="929" y="1157"/>
                  </a:lnTo>
                  <a:lnTo>
                    <a:pt x="934" y="1157"/>
                  </a:lnTo>
                  <a:lnTo>
                    <a:pt x="992" y="1108"/>
                  </a:lnTo>
                  <a:lnTo>
                    <a:pt x="1014" y="1099"/>
                  </a:lnTo>
                  <a:lnTo>
                    <a:pt x="1032" y="1072"/>
                  </a:lnTo>
                  <a:lnTo>
                    <a:pt x="1041" y="1059"/>
                  </a:lnTo>
                  <a:lnTo>
                    <a:pt x="1063" y="1050"/>
                  </a:lnTo>
                  <a:lnTo>
                    <a:pt x="1072" y="1032"/>
                  </a:lnTo>
                  <a:lnTo>
                    <a:pt x="1170" y="1032"/>
                  </a:lnTo>
                  <a:lnTo>
                    <a:pt x="1193" y="1001"/>
                  </a:lnTo>
                  <a:lnTo>
                    <a:pt x="1215" y="996"/>
                  </a:lnTo>
                  <a:lnTo>
                    <a:pt x="1228" y="983"/>
                  </a:lnTo>
                  <a:lnTo>
                    <a:pt x="1228" y="974"/>
                  </a:lnTo>
                  <a:lnTo>
                    <a:pt x="1224" y="974"/>
                  </a:lnTo>
                  <a:lnTo>
                    <a:pt x="1228" y="965"/>
                  </a:lnTo>
                  <a:lnTo>
                    <a:pt x="1228" y="956"/>
                  </a:lnTo>
                  <a:lnTo>
                    <a:pt x="1219" y="943"/>
                  </a:lnTo>
                  <a:lnTo>
                    <a:pt x="1211" y="947"/>
                  </a:lnTo>
                  <a:lnTo>
                    <a:pt x="1202" y="952"/>
                  </a:lnTo>
                  <a:lnTo>
                    <a:pt x="1206" y="938"/>
                  </a:lnTo>
                  <a:lnTo>
                    <a:pt x="1206" y="934"/>
                  </a:lnTo>
                  <a:lnTo>
                    <a:pt x="1197" y="934"/>
                  </a:lnTo>
                  <a:lnTo>
                    <a:pt x="1170" y="956"/>
                  </a:lnTo>
                  <a:lnTo>
                    <a:pt x="1170" y="943"/>
                  </a:lnTo>
                  <a:lnTo>
                    <a:pt x="1184" y="938"/>
                  </a:lnTo>
                  <a:lnTo>
                    <a:pt x="1193" y="929"/>
                  </a:lnTo>
                  <a:lnTo>
                    <a:pt x="1197" y="925"/>
                  </a:lnTo>
                  <a:lnTo>
                    <a:pt x="1197" y="916"/>
                  </a:lnTo>
                  <a:lnTo>
                    <a:pt x="1184" y="925"/>
                  </a:lnTo>
                  <a:lnTo>
                    <a:pt x="1184" y="912"/>
                  </a:lnTo>
                  <a:lnTo>
                    <a:pt x="1161" y="912"/>
                  </a:lnTo>
                  <a:lnTo>
                    <a:pt x="1161" y="894"/>
                  </a:lnTo>
                  <a:lnTo>
                    <a:pt x="1139" y="885"/>
                  </a:lnTo>
                  <a:lnTo>
                    <a:pt x="1135" y="871"/>
                  </a:lnTo>
                  <a:lnTo>
                    <a:pt x="1148" y="871"/>
                  </a:lnTo>
                  <a:lnTo>
                    <a:pt x="1135" y="840"/>
                  </a:lnTo>
                  <a:lnTo>
                    <a:pt x="1126" y="836"/>
                  </a:lnTo>
                  <a:lnTo>
                    <a:pt x="1130" y="827"/>
                  </a:lnTo>
                  <a:lnTo>
                    <a:pt x="1117" y="822"/>
                  </a:lnTo>
                  <a:lnTo>
                    <a:pt x="1121" y="818"/>
                  </a:lnTo>
                  <a:lnTo>
                    <a:pt x="1094" y="769"/>
                  </a:lnTo>
                  <a:lnTo>
                    <a:pt x="1090" y="791"/>
                  </a:lnTo>
                  <a:lnTo>
                    <a:pt x="1081" y="809"/>
                  </a:lnTo>
                  <a:lnTo>
                    <a:pt x="1077" y="809"/>
                  </a:lnTo>
                  <a:lnTo>
                    <a:pt x="1059" y="831"/>
                  </a:lnTo>
                  <a:lnTo>
                    <a:pt x="1045" y="809"/>
                  </a:lnTo>
                  <a:lnTo>
                    <a:pt x="1027" y="813"/>
                  </a:lnTo>
                  <a:lnTo>
                    <a:pt x="1032" y="804"/>
                  </a:lnTo>
                  <a:lnTo>
                    <a:pt x="1027" y="800"/>
                  </a:lnTo>
                  <a:lnTo>
                    <a:pt x="1027" y="777"/>
                  </a:lnTo>
                  <a:lnTo>
                    <a:pt x="1023" y="764"/>
                  </a:lnTo>
                  <a:lnTo>
                    <a:pt x="1032" y="760"/>
                  </a:lnTo>
                  <a:lnTo>
                    <a:pt x="1027" y="751"/>
                  </a:lnTo>
                  <a:lnTo>
                    <a:pt x="1018" y="755"/>
                  </a:lnTo>
                  <a:lnTo>
                    <a:pt x="1001" y="746"/>
                  </a:lnTo>
                  <a:lnTo>
                    <a:pt x="987" y="715"/>
                  </a:lnTo>
                  <a:lnTo>
                    <a:pt x="969" y="702"/>
                  </a:lnTo>
                  <a:lnTo>
                    <a:pt x="956" y="710"/>
                  </a:lnTo>
                  <a:lnTo>
                    <a:pt x="911" y="697"/>
                  </a:lnTo>
                  <a:lnTo>
                    <a:pt x="902" y="706"/>
                  </a:lnTo>
                  <a:lnTo>
                    <a:pt x="902" y="719"/>
                  </a:lnTo>
                  <a:lnTo>
                    <a:pt x="907" y="733"/>
                  </a:lnTo>
                  <a:lnTo>
                    <a:pt x="902" y="760"/>
                  </a:lnTo>
                  <a:lnTo>
                    <a:pt x="907" y="760"/>
                  </a:lnTo>
                  <a:lnTo>
                    <a:pt x="911" y="782"/>
                  </a:lnTo>
                  <a:lnTo>
                    <a:pt x="920" y="782"/>
                  </a:lnTo>
                  <a:lnTo>
                    <a:pt x="898" y="809"/>
                  </a:lnTo>
                  <a:lnTo>
                    <a:pt x="898" y="818"/>
                  </a:lnTo>
                  <a:lnTo>
                    <a:pt x="902" y="822"/>
                  </a:lnTo>
                  <a:lnTo>
                    <a:pt x="925" y="849"/>
                  </a:lnTo>
                  <a:lnTo>
                    <a:pt x="929" y="880"/>
                  </a:lnTo>
                  <a:lnTo>
                    <a:pt x="902" y="912"/>
                  </a:lnTo>
                  <a:lnTo>
                    <a:pt x="880" y="920"/>
                  </a:lnTo>
                  <a:lnTo>
                    <a:pt x="898" y="938"/>
                  </a:lnTo>
                  <a:lnTo>
                    <a:pt x="893" y="961"/>
                  </a:lnTo>
                  <a:lnTo>
                    <a:pt x="902" y="979"/>
                  </a:lnTo>
                  <a:lnTo>
                    <a:pt x="898" y="988"/>
                  </a:lnTo>
                  <a:lnTo>
                    <a:pt x="902" y="1001"/>
                  </a:lnTo>
                  <a:lnTo>
                    <a:pt x="898" y="1005"/>
                  </a:lnTo>
                  <a:lnTo>
                    <a:pt x="889" y="996"/>
                  </a:lnTo>
                  <a:lnTo>
                    <a:pt x="880" y="1010"/>
                  </a:lnTo>
                  <a:lnTo>
                    <a:pt x="862" y="988"/>
                  </a:lnTo>
                  <a:lnTo>
                    <a:pt x="853" y="983"/>
                  </a:lnTo>
                  <a:lnTo>
                    <a:pt x="858" y="979"/>
                  </a:lnTo>
                  <a:lnTo>
                    <a:pt x="844" y="961"/>
                  </a:lnTo>
                  <a:lnTo>
                    <a:pt x="849" y="947"/>
                  </a:lnTo>
                  <a:lnTo>
                    <a:pt x="844" y="934"/>
                  </a:lnTo>
                  <a:lnTo>
                    <a:pt x="849" y="912"/>
                  </a:lnTo>
                  <a:lnTo>
                    <a:pt x="809" y="907"/>
                  </a:lnTo>
                  <a:lnTo>
                    <a:pt x="773" y="885"/>
                  </a:lnTo>
                  <a:lnTo>
                    <a:pt x="755" y="867"/>
                  </a:lnTo>
                  <a:lnTo>
                    <a:pt x="728" y="853"/>
                  </a:lnTo>
                  <a:lnTo>
                    <a:pt x="706" y="867"/>
                  </a:lnTo>
                  <a:lnTo>
                    <a:pt x="692" y="813"/>
                  </a:lnTo>
                  <a:lnTo>
                    <a:pt x="675" y="818"/>
                  </a:lnTo>
                  <a:lnTo>
                    <a:pt x="666" y="809"/>
                  </a:lnTo>
                  <a:lnTo>
                    <a:pt x="670" y="773"/>
                  </a:lnTo>
                  <a:lnTo>
                    <a:pt x="688" y="724"/>
                  </a:lnTo>
                  <a:lnTo>
                    <a:pt x="706" y="706"/>
                  </a:lnTo>
                  <a:lnTo>
                    <a:pt x="706" y="697"/>
                  </a:lnTo>
                  <a:lnTo>
                    <a:pt x="724" y="693"/>
                  </a:lnTo>
                  <a:lnTo>
                    <a:pt x="724" y="675"/>
                  </a:lnTo>
                  <a:lnTo>
                    <a:pt x="652" y="657"/>
                  </a:lnTo>
                  <a:lnTo>
                    <a:pt x="652" y="643"/>
                  </a:lnTo>
                  <a:lnTo>
                    <a:pt x="688" y="657"/>
                  </a:lnTo>
                  <a:lnTo>
                    <a:pt x="724" y="670"/>
                  </a:lnTo>
                  <a:lnTo>
                    <a:pt x="733" y="666"/>
                  </a:lnTo>
                  <a:lnTo>
                    <a:pt x="737" y="652"/>
                  </a:lnTo>
                  <a:lnTo>
                    <a:pt x="755" y="657"/>
                  </a:lnTo>
                  <a:lnTo>
                    <a:pt x="768" y="648"/>
                  </a:lnTo>
                  <a:lnTo>
                    <a:pt x="777" y="612"/>
                  </a:lnTo>
                  <a:lnTo>
                    <a:pt x="755" y="612"/>
                  </a:lnTo>
                  <a:lnTo>
                    <a:pt x="742" y="590"/>
                  </a:lnTo>
                  <a:lnTo>
                    <a:pt x="768" y="608"/>
                  </a:lnTo>
                  <a:lnTo>
                    <a:pt x="782" y="608"/>
                  </a:lnTo>
                  <a:lnTo>
                    <a:pt x="795" y="585"/>
                  </a:lnTo>
                  <a:lnTo>
                    <a:pt x="782" y="581"/>
                  </a:lnTo>
                  <a:lnTo>
                    <a:pt x="782" y="572"/>
                  </a:lnTo>
                  <a:lnTo>
                    <a:pt x="804" y="567"/>
                  </a:lnTo>
                  <a:lnTo>
                    <a:pt x="804" y="581"/>
                  </a:lnTo>
                  <a:lnTo>
                    <a:pt x="813" y="585"/>
                  </a:lnTo>
                  <a:lnTo>
                    <a:pt x="809" y="590"/>
                  </a:lnTo>
                  <a:lnTo>
                    <a:pt x="813" y="603"/>
                  </a:lnTo>
                  <a:lnTo>
                    <a:pt x="813" y="603"/>
                  </a:lnTo>
                  <a:lnTo>
                    <a:pt x="813" y="590"/>
                  </a:lnTo>
                  <a:lnTo>
                    <a:pt x="817" y="585"/>
                  </a:lnTo>
                  <a:lnTo>
                    <a:pt x="826" y="603"/>
                  </a:lnTo>
                  <a:lnTo>
                    <a:pt x="831" y="603"/>
                  </a:lnTo>
                  <a:lnTo>
                    <a:pt x="826" y="590"/>
                  </a:lnTo>
                  <a:lnTo>
                    <a:pt x="817" y="581"/>
                  </a:lnTo>
                  <a:lnTo>
                    <a:pt x="822" y="581"/>
                  </a:lnTo>
                  <a:lnTo>
                    <a:pt x="822" y="567"/>
                  </a:lnTo>
                  <a:lnTo>
                    <a:pt x="822" y="563"/>
                  </a:lnTo>
                  <a:lnTo>
                    <a:pt x="831" y="581"/>
                  </a:lnTo>
                  <a:lnTo>
                    <a:pt x="853" y="563"/>
                  </a:lnTo>
                  <a:lnTo>
                    <a:pt x="853" y="554"/>
                  </a:lnTo>
                  <a:lnTo>
                    <a:pt x="867" y="545"/>
                  </a:lnTo>
                  <a:lnTo>
                    <a:pt x="867" y="527"/>
                  </a:lnTo>
                  <a:lnTo>
                    <a:pt x="858" y="514"/>
                  </a:lnTo>
                  <a:lnTo>
                    <a:pt x="849" y="491"/>
                  </a:lnTo>
                  <a:lnTo>
                    <a:pt x="858" y="491"/>
                  </a:lnTo>
                  <a:lnTo>
                    <a:pt x="867" y="478"/>
                  </a:lnTo>
                  <a:lnTo>
                    <a:pt x="858" y="474"/>
                  </a:lnTo>
                  <a:lnTo>
                    <a:pt x="867" y="469"/>
                  </a:lnTo>
                  <a:lnTo>
                    <a:pt x="867" y="460"/>
                  </a:lnTo>
                  <a:lnTo>
                    <a:pt x="849" y="442"/>
                  </a:lnTo>
                  <a:lnTo>
                    <a:pt x="826" y="442"/>
                  </a:lnTo>
                  <a:lnTo>
                    <a:pt x="817" y="438"/>
                  </a:lnTo>
                  <a:lnTo>
                    <a:pt x="804" y="438"/>
                  </a:lnTo>
                  <a:lnTo>
                    <a:pt x="804" y="460"/>
                  </a:lnTo>
                  <a:lnTo>
                    <a:pt x="809" y="465"/>
                  </a:lnTo>
                  <a:lnTo>
                    <a:pt x="804" y="474"/>
                  </a:lnTo>
                  <a:lnTo>
                    <a:pt x="795" y="478"/>
                  </a:lnTo>
                  <a:lnTo>
                    <a:pt x="795" y="505"/>
                  </a:lnTo>
                  <a:lnTo>
                    <a:pt x="786" y="518"/>
                  </a:lnTo>
                  <a:lnTo>
                    <a:pt x="773" y="536"/>
                  </a:lnTo>
                  <a:lnTo>
                    <a:pt x="759" y="496"/>
                  </a:lnTo>
                  <a:lnTo>
                    <a:pt x="764" y="478"/>
                  </a:lnTo>
                  <a:lnTo>
                    <a:pt x="764" y="460"/>
                  </a:lnTo>
                  <a:lnTo>
                    <a:pt x="750" y="447"/>
                  </a:lnTo>
                  <a:lnTo>
                    <a:pt x="746" y="447"/>
                  </a:lnTo>
                  <a:lnTo>
                    <a:pt x="737" y="496"/>
                  </a:lnTo>
                  <a:lnTo>
                    <a:pt x="728" y="496"/>
                  </a:lnTo>
                  <a:lnTo>
                    <a:pt x="728" y="469"/>
                  </a:lnTo>
                  <a:lnTo>
                    <a:pt x="719" y="456"/>
                  </a:lnTo>
                  <a:lnTo>
                    <a:pt x="728" y="456"/>
                  </a:lnTo>
                  <a:lnTo>
                    <a:pt x="733" y="451"/>
                  </a:lnTo>
                  <a:lnTo>
                    <a:pt x="719" y="442"/>
                  </a:lnTo>
                  <a:lnTo>
                    <a:pt x="710" y="451"/>
                  </a:lnTo>
                  <a:lnTo>
                    <a:pt x="701" y="442"/>
                  </a:lnTo>
                  <a:lnTo>
                    <a:pt x="706" y="429"/>
                  </a:lnTo>
                  <a:lnTo>
                    <a:pt x="701" y="420"/>
                  </a:lnTo>
                  <a:lnTo>
                    <a:pt x="715" y="420"/>
                  </a:lnTo>
                  <a:lnTo>
                    <a:pt x="706" y="393"/>
                  </a:lnTo>
                  <a:lnTo>
                    <a:pt x="692" y="389"/>
                  </a:lnTo>
                  <a:lnTo>
                    <a:pt x="692" y="366"/>
                  </a:lnTo>
                  <a:lnTo>
                    <a:pt x="679" y="348"/>
                  </a:lnTo>
                  <a:lnTo>
                    <a:pt x="661" y="344"/>
                  </a:lnTo>
                  <a:lnTo>
                    <a:pt x="652" y="348"/>
                  </a:lnTo>
                  <a:lnTo>
                    <a:pt x="661" y="357"/>
                  </a:lnTo>
                  <a:lnTo>
                    <a:pt x="652" y="362"/>
                  </a:lnTo>
                  <a:lnTo>
                    <a:pt x="643" y="389"/>
                  </a:lnTo>
                  <a:lnTo>
                    <a:pt x="657" y="393"/>
                  </a:lnTo>
                  <a:lnTo>
                    <a:pt x="643" y="407"/>
                  </a:lnTo>
                  <a:lnTo>
                    <a:pt x="643" y="424"/>
                  </a:lnTo>
                  <a:lnTo>
                    <a:pt x="652" y="442"/>
                  </a:lnTo>
                  <a:lnTo>
                    <a:pt x="688" y="451"/>
                  </a:lnTo>
                  <a:lnTo>
                    <a:pt x="675" y="460"/>
                  </a:lnTo>
                  <a:lnTo>
                    <a:pt x="670" y="478"/>
                  </a:lnTo>
                  <a:lnTo>
                    <a:pt x="683" y="469"/>
                  </a:lnTo>
                  <a:lnTo>
                    <a:pt x="683" y="487"/>
                  </a:lnTo>
                  <a:lnTo>
                    <a:pt x="670" y="505"/>
                  </a:lnTo>
                  <a:lnTo>
                    <a:pt x="661" y="505"/>
                  </a:lnTo>
                  <a:lnTo>
                    <a:pt x="657" y="518"/>
                  </a:lnTo>
                  <a:lnTo>
                    <a:pt x="666" y="527"/>
                  </a:lnTo>
                  <a:lnTo>
                    <a:pt x="657" y="536"/>
                  </a:lnTo>
                  <a:lnTo>
                    <a:pt x="648" y="527"/>
                  </a:lnTo>
                  <a:lnTo>
                    <a:pt x="652" y="496"/>
                  </a:lnTo>
                  <a:lnTo>
                    <a:pt x="643" y="509"/>
                  </a:lnTo>
                  <a:lnTo>
                    <a:pt x="639" y="491"/>
                  </a:lnTo>
                  <a:lnTo>
                    <a:pt x="625" y="487"/>
                  </a:lnTo>
                  <a:lnTo>
                    <a:pt x="616" y="500"/>
                  </a:lnTo>
                  <a:lnTo>
                    <a:pt x="616" y="509"/>
                  </a:lnTo>
                  <a:lnTo>
                    <a:pt x="603" y="514"/>
                  </a:lnTo>
                  <a:lnTo>
                    <a:pt x="567" y="514"/>
                  </a:lnTo>
                  <a:lnTo>
                    <a:pt x="549" y="505"/>
                  </a:lnTo>
                  <a:lnTo>
                    <a:pt x="536" y="509"/>
                  </a:lnTo>
                  <a:lnTo>
                    <a:pt x="518" y="496"/>
                  </a:lnTo>
                  <a:lnTo>
                    <a:pt x="518" y="478"/>
                  </a:lnTo>
                  <a:lnTo>
                    <a:pt x="509" y="469"/>
                  </a:lnTo>
                  <a:lnTo>
                    <a:pt x="491" y="483"/>
                  </a:lnTo>
                  <a:lnTo>
                    <a:pt x="474" y="483"/>
                  </a:lnTo>
                  <a:lnTo>
                    <a:pt x="469" y="500"/>
                  </a:lnTo>
                  <a:lnTo>
                    <a:pt x="478" y="500"/>
                  </a:lnTo>
                  <a:lnTo>
                    <a:pt x="509" y="487"/>
                  </a:lnTo>
                  <a:lnTo>
                    <a:pt x="514" y="496"/>
                  </a:lnTo>
                  <a:lnTo>
                    <a:pt x="482" y="523"/>
                  </a:lnTo>
                  <a:lnTo>
                    <a:pt x="482" y="554"/>
                  </a:lnTo>
                  <a:lnTo>
                    <a:pt x="474" y="559"/>
                  </a:lnTo>
                  <a:lnTo>
                    <a:pt x="478" y="541"/>
                  </a:lnTo>
                  <a:lnTo>
                    <a:pt x="465" y="532"/>
                  </a:lnTo>
                  <a:lnTo>
                    <a:pt x="465" y="523"/>
                  </a:lnTo>
                  <a:lnTo>
                    <a:pt x="447" y="514"/>
                  </a:lnTo>
                  <a:lnTo>
                    <a:pt x="407" y="532"/>
                  </a:lnTo>
                  <a:lnTo>
                    <a:pt x="371" y="527"/>
                  </a:lnTo>
                  <a:lnTo>
                    <a:pt x="375" y="505"/>
                  </a:lnTo>
                  <a:lnTo>
                    <a:pt x="389" y="505"/>
                  </a:lnTo>
                  <a:lnTo>
                    <a:pt x="393" y="496"/>
                  </a:lnTo>
                  <a:lnTo>
                    <a:pt x="380" y="469"/>
                  </a:lnTo>
                  <a:lnTo>
                    <a:pt x="353" y="460"/>
                  </a:lnTo>
                  <a:lnTo>
                    <a:pt x="357" y="474"/>
                  </a:lnTo>
                  <a:lnTo>
                    <a:pt x="340" y="460"/>
                  </a:lnTo>
                  <a:lnTo>
                    <a:pt x="304" y="451"/>
                  </a:lnTo>
                  <a:lnTo>
                    <a:pt x="259" y="433"/>
                  </a:lnTo>
                  <a:lnTo>
                    <a:pt x="255" y="447"/>
                  </a:lnTo>
                  <a:lnTo>
                    <a:pt x="241" y="451"/>
                  </a:lnTo>
                  <a:lnTo>
                    <a:pt x="241" y="424"/>
                  </a:lnTo>
                  <a:lnTo>
                    <a:pt x="237" y="424"/>
                  </a:lnTo>
                  <a:lnTo>
                    <a:pt x="237" y="447"/>
                  </a:lnTo>
                  <a:lnTo>
                    <a:pt x="228" y="442"/>
                  </a:lnTo>
                  <a:lnTo>
                    <a:pt x="197" y="393"/>
                  </a:lnTo>
                  <a:lnTo>
                    <a:pt x="188" y="402"/>
                  </a:lnTo>
                  <a:lnTo>
                    <a:pt x="192" y="429"/>
                  </a:lnTo>
                  <a:lnTo>
                    <a:pt x="130" y="460"/>
                  </a:lnTo>
                  <a:lnTo>
                    <a:pt x="130" y="451"/>
                  </a:lnTo>
                  <a:lnTo>
                    <a:pt x="165" y="433"/>
                  </a:lnTo>
                  <a:lnTo>
                    <a:pt x="170" y="420"/>
                  </a:lnTo>
                  <a:lnTo>
                    <a:pt x="147" y="424"/>
                  </a:lnTo>
                  <a:lnTo>
                    <a:pt x="139" y="438"/>
                  </a:lnTo>
                  <a:lnTo>
                    <a:pt x="134" y="429"/>
                  </a:lnTo>
                  <a:lnTo>
                    <a:pt x="103" y="451"/>
                  </a:lnTo>
                  <a:lnTo>
                    <a:pt x="98" y="433"/>
                  </a:lnTo>
                  <a:lnTo>
                    <a:pt x="71" y="460"/>
                  </a:lnTo>
                  <a:lnTo>
                    <a:pt x="31" y="447"/>
                  </a:lnTo>
                  <a:lnTo>
                    <a:pt x="0" y="442"/>
                  </a:lnTo>
                  <a:close/>
                  <a:moveTo>
                    <a:pt x="121" y="938"/>
                  </a:moveTo>
                  <a:lnTo>
                    <a:pt x="121" y="956"/>
                  </a:lnTo>
                  <a:lnTo>
                    <a:pt x="130" y="974"/>
                  </a:lnTo>
                  <a:lnTo>
                    <a:pt x="143" y="988"/>
                  </a:lnTo>
                  <a:lnTo>
                    <a:pt x="134" y="970"/>
                  </a:lnTo>
                  <a:lnTo>
                    <a:pt x="139" y="965"/>
                  </a:lnTo>
                  <a:lnTo>
                    <a:pt x="134" y="952"/>
                  </a:lnTo>
                  <a:lnTo>
                    <a:pt x="139" y="943"/>
                  </a:lnTo>
                  <a:lnTo>
                    <a:pt x="121" y="938"/>
                  </a:lnTo>
                  <a:close/>
                  <a:moveTo>
                    <a:pt x="183" y="1019"/>
                  </a:moveTo>
                  <a:lnTo>
                    <a:pt x="192" y="1028"/>
                  </a:lnTo>
                  <a:lnTo>
                    <a:pt x="197" y="1041"/>
                  </a:lnTo>
                  <a:lnTo>
                    <a:pt x="201" y="1037"/>
                  </a:lnTo>
                  <a:lnTo>
                    <a:pt x="210" y="1046"/>
                  </a:lnTo>
                  <a:lnTo>
                    <a:pt x="232" y="1063"/>
                  </a:lnTo>
                  <a:lnTo>
                    <a:pt x="259" y="1072"/>
                  </a:lnTo>
                  <a:lnTo>
                    <a:pt x="259" y="1068"/>
                  </a:lnTo>
                  <a:lnTo>
                    <a:pt x="246" y="1055"/>
                  </a:lnTo>
                  <a:lnTo>
                    <a:pt x="232" y="1041"/>
                  </a:lnTo>
                  <a:lnTo>
                    <a:pt x="228" y="1032"/>
                  </a:lnTo>
                  <a:lnTo>
                    <a:pt x="197" y="1019"/>
                  </a:lnTo>
                  <a:lnTo>
                    <a:pt x="183" y="1019"/>
                  </a:lnTo>
                  <a:close/>
                  <a:moveTo>
                    <a:pt x="241" y="223"/>
                  </a:moveTo>
                  <a:lnTo>
                    <a:pt x="250" y="228"/>
                  </a:lnTo>
                  <a:lnTo>
                    <a:pt x="259" y="246"/>
                  </a:lnTo>
                  <a:lnTo>
                    <a:pt x="241" y="281"/>
                  </a:lnTo>
                  <a:lnTo>
                    <a:pt x="250" y="290"/>
                  </a:lnTo>
                  <a:lnTo>
                    <a:pt x="237" y="290"/>
                  </a:lnTo>
                  <a:lnTo>
                    <a:pt x="228" y="331"/>
                  </a:lnTo>
                  <a:lnTo>
                    <a:pt x="237" y="331"/>
                  </a:lnTo>
                  <a:lnTo>
                    <a:pt x="255" y="344"/>
                  </a:lnTo>
                  <a:lnTo>
                    <a:pt x="255" y="366"/>
                  </a:lnTo>
                  <a:lnTo>
                    <a:pt x="264" y="375"/>
                  </a:lnTo>
                  <a:lnTo>
                    <a:pt x="273" y="371"/>
                  </a:lnTo>
                  <a:lnTo>
                    <a:pt x="281" y="353"/>
                  </a:lnTo>
                  <a:lnTo>
                    <a:pt x="290" y="362"/>
                  </a:lnTo>
                  <a:lnTo>
                    <a:pt x="304" y="348"/>
                  </a:lnTo>
                  <a:lnTo>
                    <a:pt x="304" y="322"/>
                  </a:lnTo>
                  <a:lnTo>
                    <a:pt x="313" y="313"/>
                  </a:lnTo>
                  <a:lnTo>
                    <a:pt x="308" y="304"/>
                  </a:lnTo>
                  <a:lnTo>
                    <a:pt x="313" y="290"/>
                  </a:lnTo>
                  <a:lnTo>
                    <a:pt x="335" y="277"/>
                  </a:lnTo>
                  <a:lnTo>
                    <a:pt x="353" y="268"/>
                  </a:lnTo>
                  <a:lnTo>
                    <a:pt x="371" y="255"/>
                  </a:lnTo>
                  <a:lnTo>
                    <a:pt x="348" y="232"/>
                  </a:lnTo>
                  <a:lnTo>
                    <a:pt x="340" y="210"/>
                  </a:lnTo>
                  <a:lnTo>
                    <a:pt x="322" y="214"/>
                  </a:lnTo>
                  <a:lnTo>
                    <a:pt x="317" y="219"/>
                  </a:lnTo>
                  <a:lnTo>
                    <a:pt x="290" y="205"/>
                  </a:lnTo>
                  <a:lnTo>
                    <a:pt x="241" y="223"/>
                  </a:lnTo>
                  <a:close/>
                  <a:moveTo>
                    <a:pt x="259" y="89"/>
                  </a:moveTo>
                  <a:lnTo>
                    <a:pt x="264" y="98"/>
                  </a:lnTo>
                  <a:lnTo>
                    <a:pt x="281" y="98"/>
                  </a:lnTo>
                  <a:lnTo>
                    <a:pt x="286" y="89"/>
                  </a:lnTo>
                  <a:lnTo>
                    <a:pt x="295" y="112"/>
                  </a:lnTo>
                  <a:lnTo>
                    <a:pt x="308" y="98"/>
                  </a:lnTo>
                  <a:lnTo>
                    <a:pt x="308" y="80"/>
                  </a:lnTo>
                  <a:lnTo>
                    <a:pt x="313" y="94"/>
                  </a:lnTo>
                  <a:lnTo>
                    <a:pt x="322" y="76"/>
                  </a:lnTo>
                  <a:lnTo>
                    <a:pt x="322" y="49"/>
                  </a:lnTo>
                  <a:lnTo>
                    <a:pt x="335" y="45"/>
                  </a:lnTo>
                  <a:lnTo>
                    <a:pt x="335" y="71"/>
                  </a:lnTo>
                  <a:lnTo>
                    <a:pt x="344" y="89"/>
                  </a:lnTo>
                  <a:lnTo>
                    <a:pt x="348" y="80"/>
                  </a:lnTo>
                  <a:lnTo>
                    <a:pt x="348" y="67"/>
                  </a:lnTo>
                  <a:lnTo>
                    <a:pt x="362" y="71"/>
                  </a:lnTo>
                  <a:lnTo>
                    <a:pt x="366" y="49"/>
                  </a:lnTo>
                  <a:lnTo>
                    <a:pt x="362" y="36"/>
                  </a:lnTo>
                  <a:lnTo>
                    <a:pt x="371" y="27"/>
                  </a:lnTo>
                  <a:lnTo>
                    <a:pt x="357" y="9"/>
                  </a:lnTo>
                  <a:lnTo>
                    <a:pt x="353" y="9"/>
                  </a:lnTo>
                  <a:lnTo>
                    <a:pt x="348" y="22"/>
                  </a:lnTo>
                  <a:lnTo>
                    <a:pt x="317" y="18"/>
                  </a:lnTo>
                  <a:lnTo>
                    <a:pt x="299" y="49"/>
                  </a:lnTo>
                  <a:lnTo>
                    <a:pt x="286" y="54"/>
                  </a:lnTo>
                  <a:lnTo>
                    <a:pt x="286" y="67"/>
                  </a:lnTo>
                  <a:lnTo>
                    <a:pt x="264" y="76"/>
                  </a:lnTo>
                  <a:lnTo>
                    <a:pt x="259" y="89"/>
                  </a:lnTo>
                  <a:close/>
                  <a:moveTo>
                    <a:pt x="322" y="362"/>
                  </a:moveTo>
                  <a:lnTo>
                    <a:pt x="335" y="353"/>
                  </a:lnTo>
                  <a:lnTo>
                    <a:pt x="362" y="348"/>
                  </a:lnTo>
                  <a:lnTo>
                    <a:pt x="375" y="353"/>
                  </a:lnTo>
                  <a:lnTo>
                    <a:pt x="348" y="362"/>
                  </a:lnTo>
                  <a:lnTo>
                    <a:pt x="326" y="375"/>
                  </a:lnTo>
                  <a:lnTo>
                    <a:pt x="326" y="384"/>
                  </a:lnTo>
                  <a:lnTo>
                    <a:pt x="340" y="393"/>
                  </a:lnTo>
                  <a:lnTo>
                    <a:pt x="375" y="398"/>
                  </a:lnTo>
                  <a:lnTo>
                    <a:pt x="398" y="389"/>
                  </a:lnTo>
                  <a:lnTo>
                    <a:pt x="433" y="398"/>
                  </a:lnTo>
                  <a:lnTo>
                    <a:pt x="438" y="402"/>
                  </a:lnTo>
                  <a:lnTo>
                    <a:pt x="420" y="411"/>
                  </a:lnTo>
                  <a:lnTo>
                    <a:pt x="398" y="407"/>
                  </a:lnTo>
                  <a:lnTo>
                    <a:pt x="353" y="416"/>
                  </a:lnTo>
                  <a:lnTo>
                    <a:pt x="344" y="429"/>
                  </a:lnTo>
                  <a:lnTo>
                    <a:pt x="357" y="451"/>
                  </a:lnTo>
                  <a:lnTo>
                    <a:pt x="402" y="451"/>
                  </a:lnTo>
                  <a:lnTo>
                    <a:pt x="402" y="460"/>
                  </a:lnTo>
                  <a:lnTo>
                    <a:pt x="393" y="469"/>
                  </a:lnTo>
                  <a:lnTo>
                    <a:pt x="393" y="483"/>
                  </a:lnTo>
                  <a:lnTo>
                    <a:pt x="407" y="496"/>
                  </a:lnTo>
                  <a:lnTo>
                    <a:pt x="451" y="491"/>
                  </a:lnTo>
                  <a:lnTo>
                    <a:pt x="474" y="474"/>
                  </a:lnTo>
                  <a:lnTo>
                    <a:pt x="482" y="474"/>
                  </a:lnTo>
                  <a:lnTo>
                    <a:pt x="491" y="465"/>
                  </a:lnTo>
                  <a:lnTo>
                    <a:pt x="496" y="447"/>
                  </a:lnTo>
                  <a:lnTo>
                    <a:pt x="500" y="465"/>
                  </a:lnTo>
                  <a:lnTo>
                    <a:pt x="527" y="460"/>
                  </a:lnTo>
                  <a:lnTo>
                    <a:pt x="518" y="474"/>
                  </a:lnTo>
                  <a:lnTo>
                    <a:pt x="554" y="478"/>
                  </a:lnTo>
                  <a:lnTo>
                    <a:pt x="572" y="465"/>
                  </a:lnTo>
                  <a:lnTo>
                    <a:pt x="563" y="447"/>
                  </a:lnTo>
                  <a:lnTo>
                    <a:pt x="554" y="451"/>
                  </a:lnTo>
                  <a:lnTo>
                    <a:pt x="549" y="442"/>
                  </a:lnTo>
                  <a:lnTo>
                    <a:pt x="567" y="438"/>
                  </a:lnTo>
                  <a:lnTo>
                    <a:pt x="581" y="442"/>
                  </a:lnTo>
                  <a:lnTo>
                    <a:pt x="581" y="420"/>
                  </a:lnTo>
                  <a:lnTo>
                    <a:pt x="558" y="411"/>
                  </a:lnTo>
                  <a:lnTo>
                    <a:pt x="554" y="398"/>
                  </a:lnTo>
                  <a:lnTo>
                    <a:pt x="545" y="407"/>
                  </a:lnTo>
                  <a:lnTo>
                    <a:pt x="527" y="380"/>
                  </a:lnTo>
                  <a:lnTo>
                    <a:pt x="527" y="348"/>
                  </a:lnTo>
                  <a:lnTo>
                    <a:pt x="509" y="281"/>
                  </a:lnTo>
                  <a:lnTo>
                    <a:pt x="491" y="264"/>
                  </a:lnTo>
                  <a:lnTo>
                    <a:pt x="491" y="273"/>
                  </a:lnTo>
                  <a:lnTo>
                    <a:pt x="478" y="268"/>
                  </a:lnTo>
                  <a:lnTo>
                    <a:pt x="478" y="281"/>
                  </a:lnTo>
                  <a:lnTo>
                    <a:pt x="487" y="344"/>
                  </a:lnTo>
                  <a:lnTo>
                    <a:pt x="478" y="353"/>
                  </a:lnTo>
                  <a:lnTo>
                    <a:pt x="474" y="344"/>
                  </a:lnTo>
                  <a:lnTo>
                    <a:pt x="469" y="304"/>
                  </a:lnTo>
                  <a:lnTo>
                    <a:pt x="456" y="286"/>
                  </a:lnTo>
                  <a:lnTo>
                    <a:pt x="442" y="286"/>
                  </a:lnTo>
                  <a:lnTo>
                    <a:pt x="447" y="299"/>
                  </a:lnTo>
                  <a:lnTo>
                    <a:pt x="451" y="299"/>
                  </a:lnTo>
                  <a:lnTo>
                    <a:pt x="451" y="322"/>
                  </a:lnTo>
                  <a:lnTo>
                    <a:pt x="433" y="322"/>
                  </a:lnTo>
                  <a:lnTo>
                    <a:pt x="424" y="326"/>
                  </a:lnTo>
                  <a:lnTo>
                    <a:pt x="438" y="299"/>
                  </a:lnTo>
                  <a:lnTo>
                    <a:pt x="424" y="286"/>
                  </a:lnTo>
                  <a:lnTo>
                    <a:pt x="402" y="277"/>
                  </a:lnTo>
                  <a:lnTo>
                    <a:pt x="398" y="304"/>
                  </a:lnTo>
                  <a:lnTo>
                    <a:pt x="384" y="313"/>
                  </a:lnTo>
                  <a:lnTo>
                    <a:pt x="389" y="295"/>
                  </a:lnTo>
                  <a:lnTo>
                    <a:pt x="389" y="259"/>
                  </a:lnTo>
                  <a:lnTo>
                    <a:pt x="380" y="259"/>
                  </a:lnTo>
                  <a:lnTo>
                    <a:pt x="322" y="295"/>
                  </a:lnTo>
                  <a:lnTo>
                    <a:pt x="322" y="304"/>
                  </a:lnTo>
                  <a:lnTo>
                    <a:pt x="322" y="313"/>
                  </a:lnTo>
                  <a:lnTo>
                    <a:pt x="335" y="308"/>
                  </a:lnTo>
                  <a:lnTo>
                    <a:pt x="331" y="317"/>
                  </a:lnTo>
                  <a:lnTo>
                    <a:pt x="317" y="322"/>
                  </a:lnTo>
                  <a:lnTo>
                    <a:pt x="308" y="340"/>
                  </a:lnTo>
                  <a:lnTo>
                    <a:pt x="308" y="348"/>
                  </a:lnTo>
                  <a:lnTo>
                    <a:pt x="317" y="340"/>
                  </a:lnTo>
                  <a:lnTo>
                    <a:pt x="326" y="344"/>
                  </a:lnTo>
                  <a:lnTo>
                    <a:pt x="322" y="353"/>
                  </a:lnTo>
                  <a:lnTo>
                    <a:pt x="322" y="362"/>
                  </a:lnTo>
                  <a:close/>
                  <a:moveTo>
                    <a:pt x="322" y="550"/>
                  </a:moveTo>
                  <a:lnTo>
                    <a:pt x="299" y="572"/>
                  </a:lnTo>
                  <a:lnTo>
                    <a:pt x="322" y="581"/>
                  </a:lnTo>
                  <a:lnTo>
                    <a:pt x="344" y="572"/>
                  </a:lnTo>
                  <a:lnTo>
                    <a:pt x="348" y="576"/>
                  </a:lnTo>
                  <a:lnTo>
                    <a:pt x="344" y="594"/>
                  </a:lnTo>
                  <a:lnTo>
                    <a:pt x="322" y="599"/>
                  </a:lnTo>
                  <a:lnTo>
                    <a:pt x="322" y="590"/>
                  </a:lnTo>
                  <a:lnTo>
                    <a:pt x="313" y="590"/>
                  </a:lnTo>
                  <a:lnTo>
                    <a:pt x="308" y="599"/>
                  </a:lnTo>
                  <a:lnTo>
                    <a:pt x="313" y="608"/>
                  </a:lnTo>
                  <a:lnTo>
                    <a:pt x="308" y="612"/>
                  </a:lnTo>
                  <a:lnTo>
                    <a:pt x="295" y="630"/>
                  </a:lnTo>
                  <a:lnTo>
                    <a:pt x="290" y="626"/>
                  </a:lnTo>
                  <a:lnTo>
                    <a:pt x="299" y="603"/>
                  </a:lnTo>
                  <a:lnTo>
                    <a:pt x="295" y="599"/>
                  </a:lnTo>
                  <a:lnTo>
                    <a:pt x="281" y="626"/>
                  </a:lnTo>
                  <a:lnTo>
                    <a:pt x="255" y="617"/>
                  </a:lnTo>
                  <a:lnTo>
                    <a:pt x="268" y="612"/>
                  </a:lnTo>
                  <a:lnTo>
                    <a:pt x="273" y="599"/>
                  </a:lnTo>
                  <a:lnTo>
                    <a:pt x="268" y="590"/>
                  </a:lnTo>
                  <a:lnTo>
                    <a:pt x="286" y="590"/>
                  </a:lnTo>
                  <a:lnTo>
                    <a:pt x="281" y="581"/>
                  </a:lnTo>
                  <a:lnTo>
                    <a:pt x="241" y="585"/>
                  </a:lnTo>
                  <a:lnTo>
                    <a:pt x="232" y="590"/>
                  </a:lnTo>
                  <a:lnTo>
                    <a:pt x="237" y="576"/>
                  </a:lnTo>
                  <a:lnTo>
                    <a:pt x="246" y="581"/>
                  </a:lnTo>
                  <a:lnTo>
                    <a:pt x="268" y="572"/>
                  </a:lnTo>
                  <a:lnTo>
                    <a:pt x="308" y="545"/>
                  </a:lnTo>
                  <a:lnTo>
                    <a:pt x="322" y="550"/>
                  </a:lnTo>
                  <a:close/>
                  <a:moveTo>
                    <a:pt x="335" y="107"/>
                  </a:moveTo>
                  <a:lnTo>
                    <a:pt x="313" y="143"/>
                  </a:lnTo>
                  <a:lnTo>
                    <a:pt x="313" y="152"/>
                  </a:lnTo>
                  <a:lnTo>
                    <a:pt x="326" y="156"/>
                  </a:lnTo>
                  <a:lnTo>
                    <a:pt x="340" y="107"/>
                  </a:lnTo>
                  <a:lnTo>
                    <a:pt x="335" y="107"/>
                  </a:lnTo>
                  <a:close/>
                  <a:moveTo>
                    <a:pt x="357" y="684"/>
                  </a:moveTo>
                  <a:lnTo>
                    <a:pt x="402" y="715"/>
                  </a:lnTo>
                  <a:lnTo>
                    <a:pt x="415" y="715"/>
                  </a:lnTo>
                  <a:lnTo>
                    <a:pt x="433" y="697"/>
                  </a:lnTo>
                  <a:lnTo>
                    <a:pt x="451" y="693"/>
                  </a:lnTo>
                  <a:lnTo>
                    <a:pt x="451" y="702"/>
                  </a:lnTo>
                  <a:lnTo>
                    <a:pt x="433" y="710"/>
                  </a:lnTo>
                  <a:lnTo>
                    <a:pt x="411" y="737"/>
                  </a:lnTo>
                  <a:lnTo>
                    <a:pt x="402" y="737"/>
                  </a:lnTo>
                  <a:lnTo>
                    <a:pt x="402" y="746"/>
                  </a:lnTo>
                  <a:lnTo>
                    <a:pt x="371" y="755"/>
                  </a:lnTo>
                  <a:lnTo>
                    <a:pt x="348" y="751"/>
                  </a:lnTo>
                  <a:lnTo>
                    <a:pt x="322" y="737"/>
                  </a:lnTo>
                  <a:lnTo>
                    <a:pt x="326" y="733"/>
                  </a:lnTo>
                  <a:lnTo>
                    <a:pt x="348" y="742"/>
                  </a:lnTo>
                  <a:lnTo>
                    <a:pt x="366" y="742"/>
                  </a:lnTo>
                  <a:lnTo>
                    <a:pt x="371" y="724"/>
                  </a:lnTo>
                  <a:lnTo>
                    <a:pt x="384" y="719"/>
                  </a:lnTo>
                  <a:lnTo>
                    <a:pt x="375" y="702"/>
                  </a:lnTo>
                  <a:lnTo>
                    <a:pt x="366" y="706"/>
                  </a:lnTo>
                  <a:lnTo>
                    <a:pt x="357" y="684"/>
                  </a:lnTo>
                  <a:close/>
                  <a:moveTo>
                    <a:pt x="384" y="71"/>
                  </a:moveTo>
                  <a:lnTo>
                    <a:pt x="375" y="76"/>
                  </a:lnTo>
                  <a:lnTo>
                    <a:pt x="362" y="89"/>
                  </a:lnTo>
                  <a:lnTo>
                    <a:pt x="375" y="98"/>
                  </a:lnTo>
                  <a:lnTo>
                    <a:pt x="357" y="98"/>
                  </a:lnTo>
                  <a:lnTo>
                    <a:pt x="353" y="107"/>
                  </a:lnTo>
                  <a:lnTo>
                    <a:pt x="348" y="121"/>
                  </a:lnTo>
                  <a:lnTo>
                    <a:pt x="371" y="121"/>
                  </a:lnTo>
                  <a:lnTo>
                    <a:pt x="348" y="134"/>
                  </a:lnTo>
                  <a:lnTo>
                    <a:pt x="344" y="152"/>
                  </a:lnTo>
                  <a:lnTo>
                    <a:pt x="375" y="147"/>
                  </a:lnTo>
                  <a:lnTo>
                    <a:pt x="357" y="161"/>
                  </a:lnTo>
                  <a:lnTo>
                    <a:pt x="344" y="161"/>
                  </a:lnTo>
                  <a:lnTo>
                    <a:pt x="340" y="174"/>
                  </a:lnTo>
                  <a:lnTo>
                    <a:pt x="357" y="174"/>
                  </a:lnTo>
                  <a:lnTo>
                    <a:pt x="366" y="174"/>
                  </a:lnTo>
                  <a:lnTo>
                    <a:pt x="371" y="183"/>
                  </a:lnTo>
                  <a:lnTo>
                    <a:pt x="380" y="183"/>
                  </a:lnTo>
                  <a:lnTo>
                    <a:pt x="389" y="179"/>
                  </a:lnTo>
                  <a:lnTo>
                    <a:pt x="398" y="156"/>
                  </a:lnTo>
                  <a:lnTo>
                    <a:pt x="407" y="156"/>
                  </a:lnTo>
                  <a:lnTo>
                    <a:pt x="398" y="174"/>
                  </a:lnTo>
                  <a:lnTo>
                    <a:pt x="398" y="179"/>
                  </a:lnTo>
                  <a:lnTo>
                    <a:pt x="411" y="170"/>
                  </a:lnTo>
                  <a:lnTo>
                    <a:pt x="433" y="170"/>
                  </a:lnTo>
                  <a:lnTo>
                    <a:pt x="429" y="179"/>
                  </a:lnTo>
                  <a:lnTo>
                    <a:pt x="407" y="183"/>
                  </a:lnTo>
                  <a:lnTo>
                    <a:pt x="384" y="188"/>
                  </a:lnTo>
                  <a:lnTo>
                    <a:pt x="384" y="197"/>
                  </a:lnTo>
                  <a:lnTo>
                    <a:pt x="389" y="210"/>
                  </a:lnTo>
                  <a:lnTo>
                    <a:pt x="402" y="214"/>
                  </a:lnTo>
                  <a:lnTo>
                    <a:pt x="420" y="210"/>
                  </a:lnTo>
                  <a:lnTo>
                    <a:pt x="433" y="201"/>
                  </a:lnTo>
                  <a:lnTo>
                    <a:pt x="438" y="192"/>
                  </a:lnTo>
                  <a:lnTo>
                    <a:pt x="456" y="192"/>
                  </a:lnTo>
                  <a:lnTo>
                    <a:pt x="460" y="183"/>
                  </a:lnTo>
                  <a:lnTo>
                    <a:pt x="496" y="188"/>
                  </a:lnTo>
                  <a:lnTo>
                    <a:pt x="509" y="174"/>
                  </a:lnTo>
                  <a:lnTo>
                    <a:pt x="509" y="165"/>
                  </a:lnTo>
                  <a:lnTo>
                    <a:pt x="523" y="134"/>
                  </a:lnTo>
                  <a:lnTo>
                    <a:pt x="514" y="116"/>
                  </a:lnTo>
                  <a:lnTo>
                    <a:pt x="505" y="107"/>
                  </a:lnTo>
                  <a:lnTo>
                    <a:pt x="496" y="116"/>
                  </a:lnTo>
                  <a:lnTo>
                    <a:pt x="482" y="121"/>
                  </a:lnTo>
                  <a:lnTo>
                    <a:pt x="482" y="112"/>
                  </a:lnTo>
                  <a:lnTo>
                    <a:pt x="469" y="107"/>
                  </a:lnTo>
                  <a:lnTo>
                    <a:pt x="469" y="89"/>
                  </a:lnTo>
                  <a:lnTo>
                    <a:pt x="465" y="71"/>
                  </a:lnTo>
                  <a:lnTo>
                    <a:pt x="456" y="67"/>
                  </a:lnTo>
                  <a:lnTo>
                    <a:pt x="460" y="58"/>
                  </a:lnTo>
                  <a:lnTo>
                    <a:pt x="456" y="54"/>
                  </a:lnTo>
                  <a:lnTo>
                    <a:pt x="451" y="58"/>
                  </a:lnTo>
                  <a:lnTo>
                    <a:pt x="438" y="76"/>
                  </a:lnTo>
                  <a:lnTo>
                    <a:pt x="456" y="107"/>
                  </a:lnTo>
                  <a:lnTo>
                    <a:pt x="442" y="121"/>
                  </a:lnTo>
                  <a:lnTo>
                    <a:pt x="460" y="143"/>
                  </a:lnTo>
                  <a:lnTo>
                    <a:pt x="456" y="152"/>
                  </a:lnTo>
                  <a:lnTo>
                    <a:pt x="433" y="152"/>
                  </a:lnTo>
                  <a:lnTo>
                    <a:pt x="424" y="134"/>
                  </a:lnTo>
                  <a:lnTo>
                    <a:pt x="407" y="130"/>
                  </a:lnTo>
                  <a:lnTo>
                    <a:pt x="420" y="125"/>
                  </a:lnTo>
                  <a:lnTo>
                    <a:pt x="407" y="89"/>
                  </a:lnTo>
                  <a:lnTo>
                    <a:pt x="393" y="94"/>
                  </a:lnTo>
                  <a:lnTo>
                    <a:pt x="389" y="71"/>
                  </a:lnTo>
                  <a:lnTo>
                    <a:pt x="384" y="71"/>
                  </a:lnTo>
                  <a:close/>
                  <a:moveTo>
                    <a:pt x="500" y="246"/>
                  </a:moveTo>
                  <a:lnTo>
                    <a:pt x="496" y="255"/>
                  </a:lnTo>
                  <a:lnTo>
                    <a:pt x="505" y="264"/>
                  </a:lnTo>
                  <a:lnTo>
                    <a:pt x="518" y="286"/>
                  </a:lnTo>
                  <a:lnTo>
                    <a:pt x="527" y="273"/>
                  </a:lnTo>
                  <a:lnTo>
                    <a:pt x="532" y="259"/>
                  </a:lnTo>
                  <a:lnTo>
                    <a:pt x="523" y="241"/>
                  </a:lnTo>
                  <a:lnTo>
                    <a:pt x="500" y="246"/>
                  </a:lnTo>
                  <a:close/>
                  <a:moveTo>
                    <a:pt x="585" y="183"/>
                  </a:moveTo>
                  <a:lnTo>
                    <a:pt x="616" y="179"/>
                  </a:lnTo>
                  <a:lnTo>
                    <a:pt x="621" y="156"/>
                  </a:lnTo>
                  <a:lnTo>
                    <a:pt x="630" y="161"/>
                  </a:lnTo>
                  <a:lnTo>
                    <a:pt x="625" y="143"/>
                  </a:lnTo>
                  <a:lnTo>
                    <a:pt x="621" y="143"/>
                  </a:lnTo>
                  <a:lnTo>
                    <a:pt x="634" y="112"/>
                  </a:lnTo>
                  <a:lnTo>
                    <a:pt x="630" y="76"/>
                  </a:lnTo>
                  <a:lnTo>
                    <a:pt x="612" y="71"/>
                  </a:lnTo>
                  <a:lnTo>
                    <a:pt x="608" y="85"/>
                  </a:lnTo>
                  <a:lnTo>
                    <a:pt x="599" y="76"/>
                  </a:lnTo>
                  <a:lnTo>
                    <a:pt x="590" y="71"/>
                  </a:lnTo>
                  <a:lnTo>
                    <a:pt x="581" y="80"/>
                  </a:lnTo>
                  <a:lnTo>
                    <a:pt x="590" y="98"/>
                  </a:lnTo>
                  <a:lnTo>
                    <a:pt x="599" y="103"/>
                  </a:lnTo>
                  <a:lnTo>
                    <a:pt x="594" y="107"/>
                  </a:lnTo>
                  <a:lnTo>
                    <a:pt x="594" y="125"/>
                  </a:lnTo>
                  <a:lnTo>
                    <a:pt x="581" y="103"/>
                  </a:lnTo>
                  <a:lnTo>
                    <a:pt x="576" y="89"/>
                  </a:lnTo>
                  <a:lnTo>
                    <a:pt x="563" y="89"/>
                  </a:lnTo>
                  <a:lnTo>
                    <a:pt x="563" y="103"/>
                  </a:lnTo>
                  <a:lnTo>
                    <a:pt x="572" y="103"/>
                  </a:lnTo>
                  <a:lnTo>
                    <a:pt x="567" y="112"/>
                  </a:lnTo>
                  <a:lnTo>
                    <a:pt x="576" y="138"/>
                  </a:lnTo>
                  <a:lnTo>
                    <a:pt x="572" y="143"/>
                  </a:lnTo>
                  <a:lnTo>
                    <a:pt x="563" y="138"/>
                  </a:lnTo>
                  <a:lnTo>
                    <a:pt x="549" y="152"/>
                  </a:lnTo>
                  <a:lnTo>
                    <a:pt x="549" y="161"/>
                  </a:lnTo>
                  <a:lnTo>
                    <a:pt x="576" y="152"/>
                  </a:lnTo>
                  <a:lnTo>
                    <a:pt x="594" y="152"/>
                  </a:lnTo>
                  <a:lnTo>
                    <a:pt x="585" y="161"/>
                  </a:lnTo>
                  <a:lnTo>
                    <a:pt x="585" y="174"/>
                  </a:lnTo>
                  <a:lnTo>
                    <a:pt x="585" y="183"/>
                  </a:lnTo>
                  <a:close/>
                  <a:moveTo>
                    <a:pt x="603" y="246"/>
                  </a:moveTo>
                  <a:lnTo>
                    <a:pt x="594" y="237"/>
                  </a:lnTo>
                  <a:lnTo>
                    <a:pt x="581" y="246"/>
                  </a:lnTo>
                  <a:lnTo>
                    <a:pt x="581" y="255"/>
                  </a:lnTo>
                  <a:lnTo>
                    <a:pt x="572" y="259"/>
                  </a:lnTo>
                  <a:lnTo>
                    <a:pt x="594" y="290"/>
                  </a:lnTo>
                  <a:lnTo>
                    <a:pt x="590" y="295"/>
                  </a:lnTo>
                  <a:lnTo>
                    <a:pt x="567" y="273"/>
                  </a:lnTo>
                  <a:lnTo>
                    <a:pt x="558" y="277"/>
                  </a:lnTo>
                  <a:lnTo>
                    <a:pt x="554" y="290"/>
                  </a:lnTo>
                  <a:lnTo>
                    <a:pt x="567" y="308"/>
                  </a:lnTo>
                  <a:lnTo>
                    <a:pt x="563" y="317"/>
                  </a:lnTo>
                  <a:lnTo>
                    <a:pt x="585" y="317"/>
                  </a:lnTo>
                  <a:lnTo>
                    <a:pt x="603" y="348"/>
                  </a:lnTo>
                  <a:lnTo>
                    <a:pt x="603" y="371"/>
                  </a:lnTo>
                  <a:lnTo>
                    <a:pt x="621" y="371"/>
                  </a:lnTo>
                  <a:lnTo>
                    <a:pt x="625" y="357"/>
                  </a:lnTo>
                  <a:lnTo>
                    <a:pt x="621" y="344"/>
                  </a:lnTo>
                  <a:lnTo>
                    <a:pt x="639" y="340"/>
                  </a:lnTo>
                  <a:lnTo>
                    <a:pt x="639" y="286"/>
                  </a:lnTo>
                  <a:lnTo>
                    <a:pt x="630" y="295"/>
                  </a:lnTo>
                  <a:lnTo>
                    <a:pt x="621" y="277"/>
                  </a:lnTo>
                  <a:lnTo>
                    <a:pt x="634" y="264"/>
                  </a:lnTo>
                  <a:lnTo>
                    <a:pt x="634" y="255"/>
                  </a:lnTo>
                  <a:lnTo>
                    <a:pt x="639" y="246"/>
                  </a:lnTo>
                  <a:lnTo>
                    <a:pt x="639" y="237"/>
                  </a:lnTo>
                  <a:lnTo>
                    <a:pt x="603" y="246"/>
                  </a:lnTo>
                  <a:close/>
                  <a:moveTo>
                    <a:pt x="657" y="241"/>
                  </a:moveTo>
                  <a:lnTo>
                    <a:pt x="666" y="250"/>
                  </a:lnTo>
                  <a:lnTo>
                    <a:pt x="652" y="246"/>
                  </a:lnTo>
                  <a:lnTo>
                    <a:pt x="652" y="273"/>
                  </a:lnTo>
                  <a:lnTo>
                    <a:pt x="652" y="308"/>
                  </a:lnTo>
                  <a:lnTo>
                    <a:pt x="661" y="313"/>
                  </a:lnTo>
                  <a:lnTo>
                    <a:pt x="661" y="340"/>
                  </a:lnTo>
                  <a:lnTo>
                    <a:pt x="675" y="344"/>
                  </a:lnTo>
                  <a:lnTo>
                    <a:pt x="675" y="335"/>
                  </a:lnTo>
                  <a:lnTo>
                    <a:pt x="688" y="322"/>
                  </a:lnTo>
                  <a:lnTo>
                    <a:pt x="683" y="304"/>
                  </a:lnTo>
                  <a:lnTo>
                    <a:pt x="666" y="304"/>
                  </a:lnTo>
                  <a:lnTo>
                    <a:pt x="666" y="295"/>
                  </a:lnTo>
                  <a:lnTo>
                    <a:pt x="688" y="295"/>
                  </a:lnTo>
                  <a:lnTo>
                    <a:pt x="715" y="304"/>
                  </a:lnTo>
                  <a:lnTo>
                    <a:pt x="733" y="250"/>
                  </a:lnTo>
                  <a:lnTo>
                    <a:pt x="719" y="241"/>
                  </a:lnTo>
                  <a:lnTo>
                    <a:pt x="679" y="228"/>
                  </a:lnTo>
                  <a:lnTo>
                    <a:pt x="657" y="241"/>
                  </a:lnTo>
                  <a:close/>
                  <a:moveTo>
                    <a:pt x="666" y="143"/>
                  </a:moveTo>
                  <a:lnTo>
                    <a:pt x="652" y="152"/>
                  </a:lnTo>
                  <a:lnTo>
                    <a:pt x="643" y="170"/>
                  </a:lnTo>
                  <a:lnTo>
                    <a:pt x="643" y="179"/>
                  </a:lnTo>
                  <a:lnTo>
                    <a:pt x="657" y="179"/>
                  </a:lnTo>
                  <a:lnTo>
                    <a:pt x="683" y="197"/>
                  </a:lnTo>
                  <a:lnTo>
                    <a:pt x="688" y="192"/>
                  </a:lnTo>
                  <a:lnTo>
                    <a:pt x="683" y="161"/>
                  </a:lnTo>
                  <a:lnTo>
                    <a:pt x="666" y="143"/>
                  </a:lnTo>
                  <a:close/>
                  <a:moveTo>
                    <a:pt x="697" y="76"/>
                  </a:moveTo>
                  <a:lnTo>
                    <a:pt x="688" y="89"/>
                  </a:lnTo>
                  <a:lnTo>
                    <a:pt x="692" y="71"/>
                  </a:lnTo>
                  <a:lnTo>
                    <a:pt x="679" y="62"/>
                  </a:lnTo>
                  <a:lnTo>
                    <a:pt x="657" y="54"/>
                  </a:lnTo>
                  <a:lnTo>
                    <a:pt x="634" y="58"/>
                  </a:lnTo>
                  <a:lnTo>
                    <a:pt x="639" y="76"/>
                  </a:lnTo>
                  <a:lnTo>
                    <a:pt x="661" y="103"/>
                  </a:lnTo>
                  <a:lnTo>
                    <a:pt x="683" y="107"/>
                  </a:lnTo>
                  <a:lnTo>
                    <a:pt x="697" y="98"/>
                  </a:lnTo>
                  <a:lnTo>
                    <a:pt x="710" y="138"/>
                  </a:lnTo>
                  <a:lnTo>
                    <a:pt x="701" y="152"/>
                  </a:lnTo>
                  <a:lnTo>
                    <a:pt x="710" y="197"/>
                  </a:lnTo>
                  <a:lnTo>
                    <a:pt x="719" y="205"/>
                  </a:lnTo>
                  <a:lnTo>
                    <a:pt x="724" y="197"/>
                  </a:lnTo>
                  <a:lnTo>
                    <a:pt x="737" y="210"/>
                  </a:lnTo>
                  <a:lnTo>
                    <a:pt x="746" y="205"/>
                  </a:lnTo>
                  <a:lnTo>
                    <a:pt x="750" y="197"/>
                  </a:lnTo>
                  <a:lnTo>
                    <a:pt x="759" y="192"/>
                  </a:lnTo>
                  <a:lnTo>
                    <a:pt x="759" y="205"/>
                  </a:lnTo>
                  <a:lnTo>
                    <a:pt x="782" y="205"/>
                  </a:lnTo>
                  <a:lnTo>
                    <a:pt x="809" y="205"/>
                  </a:lnTo>
                  <a:lnTo>
                    <a:pt x="826" y="205"/>
                  </a:lnTo>
                  <a:lnTo>
                    <a:pt x="835" y="192"/>
                  </a:lnTo>
                  <a:lnTo>
                    <a:pt x="840" y="201"/>
                  </a:lnTo>
                  <a:lnTo>
                    <a:pt x="853" y="210"/>
                  </a:lnTo>
                  <a:lnTo>
                    <a:pt x="871" y="201"/>
                  </a:lnTo>
                  <a:lnTo>
                    <a:pt x="871" y="192"/>
                  </a:lnTo>
                  <a:lnTo>
                    <a:pt x="884" y="188"/>
                  </a:lnTo>
                  <a:lnTo>
                    <a:pt x="880" y="179"/>
                  </a:lnTo>
                  <a:lnTo>
                    <a:pt x="871" y="179"/>
                  </a:lnTo>
                  <a:lnTo>
                    <a:pt x="884" y="165"/>
                  </a:lnTo>
                  <a:lnTo>
                    <a:pt x="884" y="143"/>
                  </a:lnTo>
                  <a:lnTo>
                    <a:pt x="867" y="134"/>
                  </a:lnTo>
                  <a:lnTo>
                    <a:pt x="849" y="130"/>
                  </a:lnTo>
                  <a:lnTo>
                    <a:pt x="835" y="134"/>
                  </a:lnTo>
                  <a:lnTo>
                    <a:pt x="826" y="130"/>
                  </a:lnTo>
                  <a:lnTo>
                    <a:pt x="800" y="138"/>
                  </a:lnTo>
                  <a:lnTo>
                    <a:pt x="791" y="152"/>
                  </a:lnTo>
                  <a:lnTo>
                    <a:pt x="773" y="143"/>
                  </a:lnTo>
                  <a:lnTo>
                    <a:pt x="759" y="138"/>
                  </a:lnTo>
                  <a:lnTo>
                    <a:pt x="750" y="143"/>
                  </a:lnTo>
                  <a:lnTo>
                    <a:pt x="737" y="134"/>
                  </a:lnTo>
                  <a:lnTo>
                    <a:pt x="737" y="125"/>
                  </a:lnTo>
                  <a:lnTo>
                    <a:pt x="724" y="121"/>
                  </a:lnTo>
                  <a:lnTo>
                    <a:pt x="733" y="116"/>
                  </a:lnTo>
                  <a:lnTo>
                    <a:pt x="724" y="112"/>
                  </a:lnTo>
                  <a:lnTo>
                    <a:pt x="724" y="107"/>
                  </a:lnTo>
                  <a:lnTo>
                    <a:pt x="746" y="107"/>
                  </a:lnTo>
                  <a:lnTo>
                    <a:pt x="750" y="103"/>
                  </a:lnTo>
                  <a:lnTo>
                    <a:pt x="719" y="89"/>
                  </a:lnTo>
                  <a:lnTo>
                    <a:pt x="728" y="85"/>
                  </a:lnTo>
                  <a:lnTo>
                    <a:pt x="710" y="67"/>
                  </a:lnTo>
                  <a:lnTo>
                    <a:pt x="701" y="76"/>
                  </a:lnTo>
                  <a:lnTo>
                    <a:pt x="697" y="76"/>
                  </a:lnTo>
                  <a:close/>
                  <a:moveTo>
                    <a:pt x="777" y="670"/>
                  </a:moveTo>
                  <a:lnTo>
                    <a:pt x="800" y="666"/>
                  </a:lnTo>
                  <a:lnTo>
                    <a:pt x="804" y="688"/>
                  </a:lnTo>
                  <a:lnTo>
                    <a:pt x="817" y="675"/>
                  </a:lnTo>
                  <a:lnTo>
                    <a:pt x="822" y="666"/>
                  </a:lnTo>
                  <a:lnTo>
                    <a:pt x="831" y="652"/>
                  </a:lnTo>
                  <a:lnTo>
                    <a:pt x="849" y="657"/>
                  </a:lnTo>
                  <a:lnTo>
                    <a:pt x="844" y="666"/>
                  </a:lnTo>
                  <a:lnTo>
                    <a:pt x="867" y="670"/>
                  </a:lnTo>
                  <a:lnTo>
                    <a:pt x="876" y="661"/>
                  </a:lnTo>
                  <a:lnTo>
                    <a:pt x="867" y="652"/>
                  </a:lnTo>
                  <a:lnTo>
                    <a:pt x="853" y="652"/>
                  </a:lnTo>
                  <a:lnTo>
                    <a:pt x="853" y="639"/>
                  </a:lnTo>
                  <a:lnTo>
                    <a:pt x="822" y="612"/>
                  </a:lnTo>
                  <a:lnTo>
                    <a:pt x="817" y="608"/>
                  </a:lnTo>
                  <a:lnTo>
                    <a:pt x="813" y="617"/>
                  </a:lnTo>
                  <a:lnTo>
                    <a:pt x="804" y="599"/>
                  </a:lnTo>
                  <a:lnTo>
                    <a:pt x="800" y="594"/>
                  </a:lnTo>
                  <a:lnTo>
                    <a:pt x="791" y="612"/>
                  </a:lnTo>
                  <a:lnTo>
                    <a:pt x="786" y="634"/>
                  </a:lnTo>
                  <a:lnTo>
                    <a:pt x="791" y="657"/>
                  </a:lnTo>
                  <a:lnTo>
                    <a:pt x="777" y="657"/>
                  </a:lnTo>
                  <a:lnTo>
                    <a:pt x="777" y="670"/>
                  </a:lnTo>
                  <a:close/>
                  <a:moveTo>
                    <a:pt x="791" y="0"/>
                  </a:moveTo>
                  <a:lnTo>
                    <a:pt x="800" y="13"/>
                  </a:lnTo>
                  <a:lnTo>
                    <a:pt x="809" y="18"/>
                  </a:lnTo>
                  <a:lnTo>
                    <a:pt x="826" y="18"/>
                  </a:lnTo>
                  <a:lnTo>
                    <a:pt x="831" y="31"/>
                  </a:lnTo>
                  <a:lnTo>
                    <a:pt x="791" y="22"/>
                  </a:lnTo>
                  <a:lnTo>
                    <a:pt x="782" y="4"/>
                  </a:lnTo>
                  <a:lnTo>
                    <a:pt x="768" y="0"/>
                  </a:lnTo>
                  <a:lnTo>
                    <a:pt x="755" y="9"/>
                  </a:lnTo>
                  <a:lnTo>
                    <a:pt x="768" y="31"/>
                  </a:lnTo>
                  <a:lnTo>
                    <a:pt x="777" y="31"/>
                  </a:lnTo>
                  <a:lnTo>
                    <a:pt x="777" y="40"/>
                  </a:lnTo>
                  <a:lnTo>
                    <a:pt x="759" y="45"/>
                  </a:lnTo>
                  <a:lnTo>
                    <a:pt x="746" y="62"/>
                  </a:lnTo>
                  <a:lnTo>
                    <a:pt x="742" y="80"/>
                  </a:lnTo>
                  <a:lnTo>
                    <a:pt x="759" y="89"/>
                  </a:lnTo>
                  <a:lnTo>
                    <a:pt x="782" y="98"/>
                  </a:lnTo>
                  <a:lnTo>
                    <a:pt x="809" y="98"/>
                  </a:lnTo>
                  <a:lnTo>
                    <a:pt x="809" y="89"/>
                  </a:lnTo>
                  <a:lnTo>
                    <a:pt x="817" y="85"/>
                  </a:lnTo>
                  <a:lnTo>
                    <a:pt x="822" y="76"/>
                  </a:lnTo>
                  <a:lnTo>
                    <a:pt x="831" y="94"/>
                  </a:lnTo>
                  <a:lnTo>
                    <a:pt x="858" y="85"/>
                  </a:lnTo>
                  <a:lnTo>
                    <a:pt x="867" y="94"/>
                  </a:lnTo>
                  <a:lnTo>
                    <a:pt x="862" y="107"/>
                  </a:lnTo>
                  <a:lnTo>
                    <a:pt x="867" y="112"/>
                  </a:lnTo>
                  <a:lnTo>
                    <a:pt x="893" y="89"/>
                  </a:lnTo>
                  <a:lnTo>
                    <a:pt x="907" y="71"/>
                  </a:lnTo>
                  <a:lnTo>
                    <a:pt x="907" y="58"/>
                  </a:lnTo>
                  <a:lnTo>
                    <a:pt x="889" y="58"/>
                  </a:lnTo>
                  <a:lnTo>
                    <a:pt x="889" y="40"/>
                  </a:lnTo>
                  <a:lnTo>
                    <a:pt x="867" y="36"/>
                  </a:lnTo>
                  <a:lnTo>
                    <a:pt x="853" y="45"/>
                  </a:lnTo>
                  <a:lnTo>
                    <a:pt x="849" y="40"/>
                  </a:lnTo>
                  <a:lnTo>
                    <a:pt x="858" y="36"/>
                  </a:lnTo>
                  <a:lnTo>
                    <a:pt x="849" y="22"/>
                  </a:lnTo>
                  <a:lnTo>
                    <a:pt x="858" y="18"/>
                  </a:lnTo>
                  <a:lnTo>
                    <a:pt x="871" y="31"/>
                  </a:lnTo>
                  <a:lnTo>
                    <a:pt x="902" y="31"/>
                  </a:lnTo>
                  <a:lnTo>
                    <a:pt x="911" y="18"/>
                  </a:lnTo>
                  <a:lnTo>
                    <a:pt x="907" y="18"/>
                  </a:lnTo>
                  <a:lnTo>
                    <a:pt x="911" y="4"/>
                  </a:lnTo>
                  <a:lnTo>
                    <a:pt x="925" y="0"/>
                  </a:lnTo>
                  <a:lnTo>
                    <a:pt x="925" y="0"/>
                  </a:lnTo>
                  <a:lnTo>
                    <a:pt x="791" y="0"/>
                  </a:lnTo>
                  <a:close/>
                  <a:moveTo>
                    <a:pt x="831" y="693"/>
                  </a:moveTo>
                  <a:lnTo>
                    <a:pt x="822" y="706"/>
                  </a:lnTo>
                  <a:lnTo>
                    <a:pt x="826" y="715"/>
                  </a:lnTo>
                  <a:lnTo>
                    <a:pt x="835" y="715"/>
                  </a:lnTo>
                  <a:lnTo>
                    <a:pt x="849" y="697"/>
                  </a:lnTo>
                  <a:lnTo>
                    <a:pt x="849" y="688"/>
                  </a:lnTo>
                  <a:lnTo>
                    <a:pt x="844" y="688"/>
                  </a:lnTo>
                  <a:lnTo>
                    <a:pt x="840" y="693"/>
                  </a:lnTo>
                  <a:lnTo>
                    <a:pt x="831" y="693"/>
                  </a:lnTo>
                  <a:close/>
                  <a:moveTo>
                    <a:pt x="831" y="1122"/>
                  </a:moveTo>
                  <a:lnTo>
                    <a:pt x="849" y="1131"/>
                  </a:lnTo>
                  <a:lnTo>
                    <a:pt x="853" y="1122"/>
                  </a:lnTo>
                  <a:lnTo>
                    <a:pt x="831" y="1122"/>
                  </a:lnTo>
                  <a:close/>
                  <a:moveTo>
                    <a:pt x="871" y="438"/>
                  </a:moveTo>
                  <a:lnTo>
                    <a:pt x="880" y="451"/>
                  </a:lnTo>
                  <a:lnTo>
                    <a:pt x="889" y="442"/>
                  </a:lnTo>
                  <a:lnTo>
                    <a:pt x="889" y="433"/>
                  </a:lnTo>
                  <a:lnTo>
                    <a:pt x="902" y="429"/>
                  </a:lnTo>
                  <a:lnTo>
                    <a:pt x="898" y="411"/>
                  </a:lnTo>
                  <a:lnTo>
                    <a:pt x="889" y="402"/>
                  </a:lnTo>
                  <a:lnTo>
                    <a:pt x="893" y="398"/>
                  </a:lnTo>
                  <a:lnTo>
                    <a:pt x="907" y="416"/>
                  </a:lnTo>
                  <a:lnTo>
                    <a:pt x="916" y="416"/>
                  </a:lnTo>
                  <a:lnTo>
                    <a:pt x="916" y="438"/>
                  </a:lnTo>
                  <a:lnTo>
                    <a:pt x="929" y="438"/>
                  </a:lnTo>
                  <a:lnTo>
                    <a:pt x="920" y="447"/>
                  </a:lnTo>
                  <a:lnTo>
                    <a:pt x="943" y="460"/>
                  </a:lnTo>
                  <a:lnTo>
                    <a:pt x="929" y="469"/>
                  </a:lnTo>
                  <a:lnTo>
                    <a:pt x="929" y="483"/>
                  </a:lnTo>
                  <a:lnTo>
                    <a:pt x="947" y="465"/>
                  </a:lnTo>
                  <a:lnTo>
                    <a:pt x="965" y="487"/>
                  </a:lnTo>
                  <a:lnTo>
                    <a:pt x="969" y="500"/>
                  </a:lnTo>
                  <a:lnTo>
                    <a:pt x="983" y="500"/>
                  </a:lnTo>
                  <a:lnTo>
                    <a:pt x="992" y="527"/>
                  </a:lnTo>
                  <a:lnTo>
                    <a:pt x="1005" y="527"/>
                  </a:lnTo>
                  <a:lnTo>
                    <a:pt x="992" y="532"/>
                  </a:lnTo>
                  <a:lnTo>
                    <a:pt x="983" y="559"/>
                  </a:lnTo>
                  <a:lnTo>
                    <a:pt x="1005" y="559"/>
                  </a:lnTo>
                  <a:lnTo>
                    <a:pt x="1010" y="541"/>
                  </a:lnTo>
                  <a:lnTo>
                    <a:pt x="1036" y="572"/>
                  </a:lnTo>
                  <a:lnTo>
                    <a:pt x="1010" y="585"/>
                  </a:lnTo>
                  <a:lnTo>
                    <a:pt x="1001" y="567"/>
                  </a:lnTo>
                  <a:lnTo>
                    <a:pt x="978" y="563"/>
                  </a:lnTo>
                  <a:lnTo>
                    <a:pt x="960" y="585"/>
                  </a:lnTo>
                  <a:lnTo>
                    <a:pt x="974" y="594"/>
                  </a:lnTo>
                  <a:lnTo>
                    <a:pt x="974" y="612"/>
                  </a:lnTo>
                  <a:lnTo>
                    <a:pt x="965" y="608"/>
                  </a:lnTo>
                  <a:lnTo>
                    <a:pt x="934" y="612"/>
                  </a:lnTo>
                  <a:lnTo>
                    <a:pt x="916" y="603"/>
                  </a:lnTo>
                  <a:lnTo>
                    <a:pt x="902" y="626"/>
                  </a:lnTo>
                  <a:lnTo>
                    <a:pt x="902" y="639"/>
                  </a:lnTo>
                  <a:lnTo>
                    <a:pt x="911" y="648"/>
                  </a:lnTo>
                  <a:lnTo>
                    <a:pt x="925" y="648"/>
                  </a:lnTo>
                  <a:lnTo>
                    <a:pt x="929" y="643"/>
                  </a:lnTo>
                  <a:lnTo>
                    <a:pt x="965" y="643"/>
                  </a:lnTo>
                  <a:lnTo>
                    <a:pt x="1001" y="666"/>
                  </a:lnTo>
                  <a:lnTo>
                    <a:pt x="992" y="675"/>
                  </a:lnTo>
                  <a:lnTo>
                    <a:pt x="996" y="688"/>
                  </a:lnTo>
                  <a:lnTo>
                    <a:pt x="1010" y="688"/>
                  </a:lnTo>
                  <a:lnTo>
                    <a:pt x="1014" y="697"/>
                  </a:lnTo>
                  <a:lnTo>
                    <a:pt x="1005" y="693"/>
                  </a:lnTo>
                  <a:lnTo>
                    <a:pt x="1010" y="706"/>
                  </a:lnTo>
                  <a:lnTo>
                    <a:pt x="1018" y="706"/>
                  </a:lnTo>
                  <a:lnTo>
                    <a:pt x="1023" y="697"/>
                  </a:lnTo>
                  <a:lnTo>
                    <a:pt x="1081" y="724"/>
                  </a:lnTo>
                  <a:lnTo>
                    <a:pt x="1081" y="710"/>
                  </a:lnTo>
                  <a:lnTo>
                    <a:pt x="1041" y="666"/>
                  </a:lnTo>
                  <a:lnTo>
                    <a:pt x="1041" y="657"/>
                  </a:lnTo>
                  <a:lnTo>
                    <a:pt x="1094" y="693"/>
                  </a:lnTo>
                  <a:lnTo>
                    <a:pt x="1103" y="661"/>
                  </a:lnTo>
                  <a:lnTo>
                    <a:pt x="1094" y="634"/>
                  </a:lnTo>
                  <a:lnTo>
                    <a:pt x="1072" y="626"/>
                  </a:lnTo>
                  <a:lnTo>
                    <a:pt x="1050" y="590"/>
                  </a:lnTo>
                  <a:lnTo>
                    <a:pt x="1063" y="590"/>
                  </a:lnTo>
                  <a:lnTo>
                    <a:pt x="1063" y="585"/>
                  </a:lnTo>
                  <a:lnTo>
                    <a:pt x="1063" y="581"/>
                  </a:lnTo>
                  <a:lnTo>
                    <a:pt x="1072" y="576"/>
                  </a:lnTo>
                  <a:lnTo>
                    <a:pt x="1103" y="621"/>
                  </a:lnTo>
                  <a:lnTo>
                    <a:pt x="1117" y="626"/>
                  </a:lnTo>
                  <a:lnTo>
                    <a:pt x="1117" y="599"/>
                  </a:lnTo>
                  <a:lnTo>
                    <a:pt x="1135" y="603"/>
                  </a:lnTo>
                  <a:lnTo>
                    <a:pt x="1139" y="585"/>
                  </a:lnTo>
                  <a:lnTo>
                    <a:pt x="1152" y="567"/>
                  </a:lnTo>
                  <a:lnTo>
                    <a:pt x="1139" y="545"/>
                  </a:lnTo>
                  <a:lnTo>
                    <a:pt x="1121" y="541"/>
                  </a:lnTo>
                  <a:lnTo>
                    <a:pt x="1121" y="532"/>
                  </a:lnTo>
                  <a:lnTo>
                    <a:pt x="1094" y="505"/>
                  </a:lnTo>
                  <a:lnTo>
                    <a:pt x="1068" y="500"/>
                  </a:lnTo>
                  <a:lnTo>
                    <a:pt x="1068" y="487"/>
                  </a:lnTo>
                  <a:lnTo>
                    <a:pt x="1054" y="487"/>
                  </a:lnTo>
                  <a:lnTo>
                    <a:pt x="1054" y="456"/>
                  </a:lnTo>
                  <a:lnTo>
                    <a:pt x="1068" y="460"/>
                  </a:lnTo>
                  <a:lnTo>
                    <a:pt x="1077" y="451"/>
                  </a:lnTo>
                  <a:lnTo>
                    <a:pt x="1054" y="438"/>
                  </a:lnTo>
                  <a:lnTo>
                    <a:pt x="1068" y="433"/>
                  </a:lnTo>
                  <a:lnTo>
                    <a:pt x="1054" y="411"/>
                  </a:lnTo>
                  <a:lnTo>
                    <a:pt x="1041" y="420"/>
                  </a:lnTo>
                  <a:lnTo>
                    <a:pt x="1050" y="407"/>
                  </a:lnTo>
                  <a:lnTo>
                    <a:pt x="1023" y="398"/>
                  </a:lnTo>
                  <a:lnTo>
                    <a:pt x="1005" y="407"/>
                  </a:lnTo>
                  <a:lnTo>
                    <a:pt x="1014" y="389"/>
                  </a:lnTo>
                  <a:lnTo>
                    <a:pt x="1014" y="375"/>
                  </a:lnTo>
                  <a:lnTo>
                    <a:pt x="1005" y="375"/>
                  </a:lnTo>
                  <a:lnTo>
                    <a:pt x="1010" y="362"/>
                  </a:lnTo>
                  <a:lnTo>
                    <a:pt x="1005" y="353"/>
                  </a:lnTo>
                  <a:lnTo>
                    <a:pt x="983" y="344"/>
                  </a:lnTo>
                  <a:lnTo>
                    <a:pt x="978" y="357"/>
                  </a:lnTo>
                  <a:lnTo>
                    <a:pt x="969" y="335"/>
                  </a:lnTo>
                  <a:lnTo>
                    <a:pt x="956" y="344"/>
                  </a:lnTo>
                  <a:lnTo>
                    <a:pt x="956" y="335"/>
                  </a:lnTo>
                  <a:lnTo>
                    <a:pt x="965" y="326"/>
                  </a:lnTo>
                  <a:lnTo>
                    <a:pt x="960" y="317"/>
                  </a:lnTo>
                  <a:lnTo>
                    <a:pt x="951" y="317"/>
                  </a:lnTo>
                  <a:lnTo>
                    <a:pt x="947" y="313"/>
                  </a:lnTo>
                  <a:lnTo>
                    <a:pt x="951" y="308"/>
                  </a:lnTo>
                  <a:lnTo>
                    <a:pt x="951" y="295"/>
                  </a:lnTo>
                  <a:lnTo>
                    <a:pt x="920" y="281"/>
                  </a:lnTo>
                  <a:lnTo>
                    <a:pt x="907" y="295"/>
                  </a:lnTo>
                  <a:lnTo>
                    <a:pt x="911" y="304"/>
                  </a:lnTo>
                  <a:lnTo>
                    <a:pt x="902" y="304"/>
                  </a:lnTo>
                  <a:lnTo>
                    <a:pt x="902" y="313"/>
                  </a:lnTo>
                  <a:lnTo>
                    <a:pt x="889" y="304"/>
                  </a:lnTo>
                  <a:lnTo>
                    <a:pt x="884" y="308"/>
                  </a:lnTo>
                  <a:lnTo>
                    <a:pt x="880" y="299"/>
                  </a:lnTo>
                  <a:lnTo>
                    <a:pt x="871" y="326"/>
                  </a:lnTo>
                  <a:lnTo>
                    <a:pt x="871" y="290"/>
                  </a:lnTo>
                  <a:lnTo>
                    <a:pt x="867" y="268"/>
                  </a:lnTo>
                  <a:lnTo>
                    <a:pt x="862" y="264"/>
                  </a:lnTo>
                  <a:lnTo>
                    <a:pt x="858" y="241"/>
                  </a:lnTo>
                  <a:lnTo>
                    <a:pt x="840" y="241"/>
                  </a:lnTo>
                  <a:lnTo>
                    <a:pt x="809" y="259"/>
                  </a:lnTo>
                  <a:lnTo>
                    <a:pt x="813" y="268"/>
                  </a:lnTo>
                  <a:lnTo>
                    <a:pt x="804" y="273"/>
                  </a:lnTo>
                  <a:lnTo>
                    <a:pt x="804" y="304"/>
                  </a:lnTo>
                  <a:lnTo>
                    <a:pt x="809" y="308"/>
                  </a:lnTo>
                  <a:lnTo>
                    <a:pt x="804" y="331"/>
                  </a:lnTo>
                  <a:lnTo>
                    <a:pt x="804" y="344"/>
                  </a:lnTo>
                  <a:lnTo>
                    <a:pt x="817" y="344"/>
                  </a:lnTo>
                  <a:lnTo>
                    <a:pt x="813" y="371"/>
                  </a:lnTo>
                  <a:lnTo>
                    <a:pt x="795" y="375"/>
                  </a:lnTo>
                  <a:lnTo>
                    <a:pt x="795" y="371"/>
                  </a:lnTo>
                  <a:lnTo>
                    <a:pt x="809" y="362"/>
                  </a:lnTo>
                  <a:lnTo>
                    <a:pt x="804" y="357"/>
                  </a:lnTo>
                  <a:lnTo>
                    <a:pt x="791" y="322"/>
                  </a:lnTo>
                  <a:lnTo>
                    <a:pt x="795" y="304"/>
                  </a:lnTo>
                  <a:lnTo>
                    <a:pt x="791" y="290"/>
                  </a:lnTo>
                  <a:lnTo>
                    <a:pt x="809" y="241"/>
                  </a:lnTo>
                  <a:lnTo>
                    <a:pt x="791" y="237"/>
                  </a:lnTo>
                  <a:lnTo>
                    <a:pt x="755" y="264"/>
                  </a:lnTo>
                  <a:lnTo>
                    <a:pt x="737" y="322"/>
                  </a:lnTo>
                  <a:lnTo>
                    <a:pt x="737" y="366"/>
                  </a:lnTo>
                  <a:lnTo>
                    <a:pt x="768" y="371"/>
                  </a:lnTo>
                  <a:lnTo>
                    <a:pt x="777" y="384"/>
                  </a:lnTo>
                  <a:lnTo>
                    <a:pt x="759" y="380"/>
                  </a:lnTo>
                  <a:lnTo>
                    <a:pt x="742" y="380"/>
                  </a:lnTo>
                  <a:lnTo>
                    <a:pt x="759" y="416"/>
                  </a:lnTo>
                  <a:lnTo>
                    <a:pt x="773" y="420"/>
                  </a:lnTo>
                  <a:lnTo>
                    <a:pt x="786" y="411"/>
                  </a:lnTo>
                  <a:lnTo>
                    <a:pt x="800" y="429"/>
                  </a:lnTo>
                  <a:lnTo>
                    <a:pt x="831" y="429"/>
                  </a:lnTo>
                  <a:lnTo>
                    <a:pt x="853" y="438"/>
                  </a:lnTo>
                  <a:lnTo>
                    <a:pt x="858" y="429"/>
                  </a:lnTo>
                  <a:lnTo>
                    <a:pt x="871" y="438"/>
                  </a:lnTo>
                  <a:close/>
                  <a:moveTo>
                    <a:pt x="880" y="702"/>
                  </a:moveTo>
                  <a:lnTo>
                    <a:pt x="871" y="715"/>
                  </a:lnTo>
                  <a:lnTo>
                    <a:pt x="871" y="724"/>
                  </a:lnTo>
                  <a:lnTo>
                    <a:pt x="880" y="728"/>
                  </a:lnTo>
                  <a:lnTo>
                    <a:pt x="884" y="733"/>
                  </a:lnTo>
                  <a:lnTo>
                    <a:pt x="889" y="706"/>
                  </a:lnTo>
                  <a:lnTo>
                    <a:pt x="884" y="702"/>
                  </a:lnTo>
                  <a:lnTo>
                    <a:pt x="880" y="702"/>
                  </a:lnTo>
                  <a:close/>
                  <a:moveTo>
                    <a:pt x="934" y="496"/>
                  </a:moveTo>
                  <a:lnTo>
                    <a:pt x="920" y="514"/>
                  </a:lnTo>
                  <a:lnTo>
                    <a:pt x="920" y="536"/>
                  </a:lnTo>
                  <a:lnTo>
                    <a:pt x="929" y="536"/>
                  </a:lnTo>
                  <a:lnTo>
                    <a:pt x="943" y="536"/>
                  </a:lnTo>
                  <a:lnTo>
                    <a:pt x="951" y="523"/>
                  </a:lnTo>
                  <a:lnTo>
                    <a:pt x="947" y="505"/>
                  </a:lnTo>
                  <a:lnTo>
                    <a:pt x="951" y="496"/>
                  </a:lnTo>
                  <a:lnTo>
                    <a:pt x="934" y="496"/>
                  </a:lnTo>
                  <a:close/>
                  <a:moveTo>
                    <a:pt x="956" y="1148"/>
                  </a:moveTo>
                  <a:lnTo>
                    <a:pt x="1001" y="1144"/>
                  </a:lnTo>
                  <a:lnTo>
                    <a:pt x="1014" y="1122"/>
                  </a:lnTo>
                  <a:lnTo>
                    <a:pt x="1032" y="1095"/>
                  </a:lnTo>
                  <a:lnTo>
                    <a:pt x="1036" y="1099"/>
                  </a:lnTo>
                  <a:lnTo>
                    <a:pt x="1045" y="1095"/>
                  </a:lnTo>
                  <a:lnTo>
                    <a:pt x="1054" y="1135"/>
                  </a:lnTo>
                  <a:lnTo>
                    <a:pt x="1063" y="1139"/>
                  </a:lnTo>
                  <a:lnTo>
                    <a:pt x="1077" y="1139"/>
                  </a:lnTo>
                  <a:lnTo>
                    <a:pt x="1094" y="1135"/>
                  </a:lnTo>
                  <a:lnTo>
                    <a:pt x="1108" y="1139"/>
                  </a:lnTo>
                  <a:lnTo>
                    <a:pt x="1099" y="1139"/>
                  </a:lnTo>
                  <a:lnTo>
                    <a:pt x="1081" y="1153"/>
                  </a:lnTo>
                  <a:lnTo>
                    <a:pt x="1077" y="1166"/>
                  </a:lnTo>
                  <a:lnTo>
                    <a:pt x="1090" y="1175"/>
                  </a:lnTo>
                  <a:lnTo>
                    <a:pt x="1103" y="1153"/>
                  </a:lnTo>
                  <a:lnTo>
                    <a:pt x="1117" y="1157"/>
                  </a:lnTo>
                  <a:lnTo>
                    <a:pt x="1152" y="1139"/>
                  </a:lnTo>
                  <a:lnTo>
                    <a:pt x="1152" y="1131"/>
                  </a:lnTo>
                  <a:lnTo>
                    <a:pt x="1157" y="1135"/>
                  </a:lnTo>
                  <a:lnTo>
                    <a:pt x="1166" y="1131"/>
                  </a:lnTo>
                  <a:lnTo>
                    <a:pt x="1175" y="1122"/>
                  </a:lnTo>
                  <a:lnTo>
                    <a:pt x="1170" y="1117"/>
                  </a:lnTo>
                  <a:lnTo>
                    <a:pt x="1166" y="1117"/>
                  </a:lnTo>
                  <a:lnTo>
                    <a:pt x="1161" y="1122"/>
                  </a:lnTo>
                  <a:lnTo>
                    <a:pt x="1166" y="1099"/>
                  </a:lnTo>
                  <a:lnTo>
                    <a:pt x="1157" y="1099"/>
                  </a:lnTo>
                  <a:lnTo>
                    <a:pt x="1148" y="1122"/>
                  </a:lnTo>
                  <a:lnTo>
                    <a:pt x="1152" y="1131"/>
                  </a:lnTo>
                  <a:lnTo>
                    <a:pt x="1139" y="1126"/>
                  </a:lnTo>
                  <a:lnTo>
                    <a:pt x="1126" y="1131"/>
                  </a:lnTo>
                  <a:lnTo>
                    <a:pt x="1108" y="1122"/>
                  </a:lnTo>
                  <a:lnTo>
                    <a:pt x="1094" y="1104"/>
                  </a:lnTo>
                  <a:lnTo>
                    <a:pt x="1099" y="1090"/>
                  </a:lnTo>
                  <a:lnTo>
                    <a:pt x="1094" y="1086"/>
                  </a:lnTo>
                  <a:lnTo>
                    <a:pt x="1085" y="1095"/>
                  </a:lnTo>
                  <a:lnTo>
                    <a:pt x="1077" y="1081"/>
                  </a:lnTo>
                  <a:lnTo>
                    <a:pt x="1077" y="1077"/>
                  </a:lnTo>
                  <a:lnTo>
                    <a:pt x="1090" y="1081"/>
                  </a:lnTo>
                  <a:lnTo>
                    <a:pt x="1108" y="1072"/>
                  </a:lnTo>
                  <a:lnTo>
                    <a:pt x="1103" y="1059"/>
                  </a:lnTo>
                  <a:lnTo>
                    <a:pt x="1094" y="1055"/>
                  </a:lnTo>
                  <a:lnTo>
                    <a:pt x="1085" y="1050"/>
                  </a:lnTo>
                  <a:lnTo>
                    <a:pt x="1077" y="1055"/>
                  </a:lnTo>
                  <a:lnTo>
                    <a:pt x="1045" y="1068"/>
                  </a:lnTo>
                  <a:lnTo>
                    <a:pt x="1023" y="1095"/>
                  </a:lnTo>
                  <a:lnTo>
                    <a:pt x="1014" y="1108"/>
                  </a:lnTo>
                  <a:lnTo>
                    <a:pt x="996" y="1113"/>
                  </a:lnTo>
                  <a:lnTo>
                    <a:pt x="956" y="1148"/>
                  </a:lnTo>
                  <a:close/>
                  <a:moveTo>
                    <a:pt x="1085" y="733"/>
                  </a:moveTo>
                  <a:lnTo>
                    <a:pt x="1099" y="746"/>
                  </a:lnTo>
                  <a:lnTo>
                    <a:pt x="1103" y="733"/>
                  </a:lnTo>
                  <a:lnTo>
                    <a:pt x="1099" y="728"/>
                  </a:lnTo>
                  <a:lnTo>
                    <a:pt x="1085" y="733"/>
                  </a:lnTo>
                  <a:close/>
                  <a:moveTo>
                    <a:pt x="1103" y="1041"/>
                  </a:moveTo>
                  <a:lnTo>
                    <a:pt x="1117" y="1050"/>
                  </a:lnTo>
                  <a:lnTo>
                    <a:pt x="1117" y="1055"/>
                  </a:lnTo>
                  <a:lnTo>
                    <a:pt x="1144" y="1059"/>
                  </a:lnTo>
                  <a:lnTo>
                    <a:pt x="1144" y="1050"/>
                  </a:lnTo>
                  <a:lnTo>
                    <a:pt x="1130" y="1046"/>
                  </a:lnTo>
                  <a:lnTo>
                    <a:pt x="1108" y="1041"/>
                  </a:lnTo>
                  <a:lnTo>
                    <a:pt x="1103" y="1041"/>
                  </a:lnTo>
                  <a:close/>
                  <a:moveTo>
                    <a:pt x="1112" y="1099"/>
                  </a:moveTo>
                  <a:lnTo>
                    <a:pt x="1103" y="1108"/>
                  </a:lnTo>
                  <a:lnTo>
                    <a:pt x="1117" y="1122"/>
                  </a:lnTo>
                  <a:lnTo>
                    <a:pt x="1130" y="1122"/>
                  </a:lnTo>
                  <a:lnTo>
                    <a:pt x="1139" y="1113"/>
                  </a:lnTo>
                  <a:lnTo>
                    <a:pt x="1117" y="1113"/>
                  </a:lnTo>
                  <a:lnTo>
                    <a:pt x="1112" y="1099"/>
                  </a:lnTo>
                  <a:close/>
                  <a:moveTo>
                    <a:pt x="1237" y="996"/>
                  </a:moveTo>
                  <a:lnTo>
                    <a:pt x="1228" y="996"/>
                  </a:lnTo>
                  <a:lnTo>
                    <a:pt x="1215" y="1005"/>
                  </a:lnTo>
                  <a:lnTo>
                    <a:pt x="1211" y="1010"/>
                  </a:lnTo>
                  <a:lnTo>
                    <a:pt x="1184" y="1068"/>
                  </a:lnTo>
                  <a:lnTo>
                    <a:pt x="1188" y="1072"/>
                  </a:lnTo>
                  <a:lnTo>
                    <a:pt x="1175" y="1081"/>
                  </a:lnTo>
                  <a:lnTo>
                    <a:pt x="1179" y="1090"/>
                  </a:lnTo>
                  <a:lnTo>
                    <a:pt x="1215" y="1090"/>
                  </a:lnTo>
                  <a:lnTo>
                    <a:pt x="1224" y="1086"/>
                  </a:lnTo>
                  <a:lnTo>
                    <a:pt x="1228" y="1090"/>
                  </a:lnTo>
                  <a:lnTo>
                    <a:pt x="1233" y="1086"/>
                  </a:lnTo>
                  <a:lnTo>
                    <a:pt x="1237" y="1086"/>
                  </a:lnTo>
                  <a:lnTo>
                    <a:pt x="1224" y="1104"/>
                  </a:lnTo>
                  <a:lnTo>
                    <a:pt x="1233" y="1104"/>
                  </a:lnTo>
                  <a:lnTo>
                    <a:pt x="1237" y="1095"/>
                  </a:lnTo>
                  <a:lnTo>
                    <a:pt x="1251" y="1081"/>
                  </a:lnTo>
                  <a:lnTo>
                    <a:pt x="1246" y="1099"/>
                  </a:lnTo>
                  <a:lnTo>
                    <a:pt x="1246" y="1108"/>
                  </a:lnTo>
                  <a:lnTo>
                    <a:pt x="1255" y="1095"/>
                  </a:lnTo>
                  <a:lnTo>
                    <a:pt x="1260" y="1108"/>
                  </a:lnTo>
                  <a:lnTo>
                    <a:pt x="1269" y="1104"/>
                  </a:lnTo>
                  <a:lnTo>
                    <a:pt x="1273" y="1095"/>
                  </a:lnTo>
                  <a:lnTo>
                    <a:pt x="1273" y="1086"/>
                  </a:lnTo>
                  <a:lnTo>
                    <a:pt x="1264" y="1095"/>
                  </a:lnTo>
                  <a:lnTo>
                    <a:pt x="1269" y="1077"/>
                  </a:lnTo>
                  <a:lnTo>
                    <a:pt x="1255" y="1086"/>
                  </a:lnTo>
                  <a:lnTo>
                    <a:pt x="1260" y="1077"/>
                  </a:lnTo>
                  <a:lnTo>
                    <a:pt x="1269" y="1072"/>
                  </a:lnTo>
                  <a:lnTo>
                    <a:pt x="1269" y="1063"/>
                  </a:lnTo>
                  <a:lnTo>
                    <a:pt x="1255" y="1072"/>
                  </a:lnTo>
                  <a:lnTo>
                    <a:pt x="1255" y="1063"/>
                  </a:lnTo>
                  <a:lnTo>
                    <a:pt x="1260" y="1055"/>
                  </a:lnTo>
                  <a:lnTo>
                    <a:pt x="1251" y="1046"/>
                  </a:lnTo>
                  <a:lnTo>
                    <a:pt x="1237" y="1055"/>
                  </a:lnTo>
                  <a:lnTo>
                    <a:pt x="1228" y="1055"/>
                  </a:lnTo>
                  <a:lnTo>
                    <a:pt x="1233" y="1037"/>
                  </a:lnTo>
                  <a:lnTo>
                    <a:pt x="1224" y="1032"/>
                  </a:lnTo>
                  <a:lnTo>
                    <a:pt x="1215" y="1050"/>
                  </a:lnTo>
                  <a:lnTo>
                    <a:pt x="1211" y="1046"/>
                  </a:lnTo>
                  <a:lnTo>
                    <a:pt x="1228" y="1019"/>
                  </a:lnTo>
                  <a:lnTo>
                    <a:pt x="1237" y="996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11" name="Freeform 11"/>
            <p:cNvSpPr>
              <a:spLocks noEditPoints="1"/>
            </p:cNvSpPr>
            <p:nvPr/>
          </p:nvSpPr>
          <p:spPr bwMode="gray">
            <a:xfrm>
              <a:off x="1606" y="3043"/>
              <a:ext cx="125" cy="724"/>
            </a:xfrm>
            <a:custGeom>
              <a:avLst/>
              <a:gdLst>
                <a:gd name="T0" fmla="*/ 71 w 125"/>
                <a:gd name="T1" fmla="*/ 80 h 724"/>
                <a:gd name="T2" fmla="*/ 67 w 125"/>
                <a:gd name="T3" fmla="*/ 125 h 724"/>
                <a:gd name="T4" fmla="*/ 58 w 125"/>
                <a:gd name="T5" fmla="*/ 197 h 724"/>
                <a:gd name="T6" fmla="*/ 49 w 125"/>
                <a:gd name="T7" fmla="*/ 250 h 724"/>
                <a:gd name="T8" fmla="*/ 31 w 125"/>
                <a:gd name="T9" fmla="*/ 375 h 724"/>
                <a:gd name="T10" fmla="*/ 27 w 125"/>
                <a:gd name="T11" fmla="*/ 407 h 724"/>
                <a:gd name="T12" fmla="*/ 27 w 125"/>
                <a:gd name="T13" fmla="*/ 438 h 724"/>
                <a:gd name="T14" fmla="*/ 27 w 125"/>
                <a:gd name="T15" fmla="*/ 465 h 724"/>
                <a:gd name="T16" fmla="*/ 9 w 125"/>
                <a:gd name="T17" fmla="*/ 500 h 724"/>
                <a:gd name="T18" fmla="*/ 4 w 125"/>
                <a:gd name="T19" fmla="*/ 518 h 724"/>
                <a:gd name="T20" fmla="*/ 18 w 125"/>
                <a:gd name="T21" fmla="*/ 527 h 724"/>
                <a:gd name="T22" fmla="*/ 13 w 125"/>
                <a:gd name="T23" fmla="*/ 599 h 724"/>
                <a:gd name="T24" fmla="*/ 18 w 125"/>
                <a:gd name="T25" fmla="*/ 626 h 724"/>
                <a:gd name="T26" fmla="*/ 27 w 125"/>
                <a:gd name="T27" fmla="*/ 652 h 724"/>
                <a:gd name="T28" fmla="*/ 49 w 125"/>
                <a:gd name="T29" fmla="*/ 666 h 724"/>
                <a:gd name="T30" fmla="*/ 85 w 125"/>
                <a:gd name="T31" fmla="*/ 643 h 724"/>
                <a:gd name="T32" fmla="*/ 40 w 125"/>
                <a:gd name="T33" fmla="*/ 621 h 724"/>
                <a:gd name="T34" fmla="*/ 27 w 125"/>
                <a:gd name="T35" fmla="*/ 576 h 724"/>
                <a:gd name="T36" fmla="*/ 49 w 125"/>
                <a:gd name="T37" fmla="*/ 509 h 724"/>
                <a:gd name="T38" fmla="*/ 49 w 125"/>
                <a:gd name="T39" fmla="*/ 474 h 724"/>
                <a:gd name="T40" fmla="*/ 49 w 125"/>
                <a:gd name="T41" fmla="*/ 465 h 724"/>
                <a:gd name="T42" fmla="*/ 54 w 125"/>
                <a:gd name="T43" fmla="*/ 416 h 724"/>
                <a:gd name="T44" fmla="*/ 54 w 125"/>
                <a:gd name="T45" fmla="*/ 371 h 724"/>
                <a:gd name="T46" fmla="*/ 58 w 125"/>
                <a:gd name="T47" fmla="*/ 317 h 724"/>
                <a:gd name="T48" fmla="*/ 80 w 125"/>
                <a:gd name="T49" fmla="*/ 268 h 724"/>
                <a:gd name="T50" fmla="*/ 67 w 125"/>
                <a:gd name="T51" fmla="*/ 223 h 724"/>
                <a:gd name="T52" fmla="*/ 76 w 125"/>
                <a:gd name="T53" fmla="*/ 188 h 724"/>
                <a:gd name="T54" fmla="*/ 89 w 125"/>
                <a:gd name="T55" fmla="*/ 138 h 724"/>
                <a:gd name="T56" fmla="*/ 116 w 125"/>
                <a:gd name="T57" fmla="*/ 80 h 724"/>
                <a:gd name="T58" fmla="*/ 94 w 125"/>
                <a:gd name="T59" fmla="*/ 22 h 724"/>
                <a:gd name="T60" fmla="*/ 71 w 125"/>
                <a:gd name="T61" fmla="*/ 9 h 724"/>
                <a:gd name="T62" fmla="*/ 67 w 125"/>
                <a:gd name="T63" fmla="*/ 675 h 724"/>
                <a:gd name="T64" fmla="*/ 71 w 125"/>
                <a:gd name="T65" fmla="*/ 675 h 724"/>
                <a:gd name="T66" fmla="*/ 98 w 125"/>
                <a:gd name="T67" fmla="*/ 643 h 724"/>
                <a:gd name="T68" fmla="*/ 76 w 125"/>
                <a:gd name="T69" fmla="*/ 666 h 724"/>
                <a:gd name="T70" fmla="*/ 80 w 125"/>
                <a:gd name="T71" fmla="*/ 679 h 724"/>
                <a:gd name="T72" fmla="*/ 13 w 125"/>
                <a:gd name="T73" fmla="*/ 648 h 724"/>
                <a:gd name="T74" fmla="*/ 27 w 125"/>
                <a:gd name="T75" fmla="*/ 670 h 724"/>
                <a:gd name="T76" fmla="*/ 49 w 125"/>
                <a:gd name="T77" fmla="*/ 679 h 724"/>
                <a:gd name="T78" fmla="*/ 54 w 125"/>
                <a:gd name="T79" fmla="*/ 697 h 724"/>
                <a:gd name="T80" fmla="*/ 71 w 125"/>
                <a:gd name="T81" fmla="*/ 702 h 724"/>
                <a:gd name="T82" fmla="*/ 76 w 125"/>
                <a:gd name="T83" fmla="*/ 702 h 724"/>
                <a:gd name="T84" fmla="*/ 89 w 125"/>
                <a:gd name="T85" fmla="*/ 724 h 724"/>
                <a:gd name="T86" fmla="*/ 94 w 125"/>
                <a:gd name="T87" fmla="*/ 724 h 724"/>
                <a:gd name="T88" fmla="*/ 107 w 125"/>
                <a:gd name="T89" fmla="*/ 715 h 724"/>
                <a:gd name="T90" fmla="*/ 107 w 125"/>
                <a:gd name="T91" fmla="*/ 710 h 724"/>
                <a:gd name="T92" fmla="*/ 121 w 125"/>
                <a:gd name="T93" fmla="*/ 706 h 724"/>
                <a:gd name="T94" fmla="*/ 98 w 125"/>
                <a:gd name="T95" fmla="*/ 702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" h="724">
                  <a:moveTo>
                    <a:pt x="71" y="9"/>
                  </a:moveTo>
                  <a:lnTo>
                    <a:pt x="71" y="31"/>
                  </a:lnTo>
                  <a:lnTo>
                    <a:pt x="71" y="80"/>
                  </a:lnTo>
                  <a:lnTo>
                    <a:pt x="67" y="85"/>
                  </a:lnTo>
                  <a:lnTo>
                    <a:pt x="67" y="121"/>
                  </a:lnTo>
                  <a:lnTo>
                    <a:pt x="67" y="125"/>
                  </a:lnTo>
                  <a:lnTo>
                    <a:pt x="67" y="138"/>
                  </a:lnTo>
                  <a:lnTo>
                    <a:pt x="54" y="183"/>
                  </a:lnTo>
                  <a:lnTo>
                    <a:pt x="58" y="197"/>
                  </a:lnTo>
                  <a:lnTo>
                    <a:pt x="49" y="205"/>
                  </a:lnTo>
                  <a:lnTo>
                    <a:pt x="54" y="241"/>
                  </a:lnTo>
                  <a:lnTo>
                    <a:pt x="49" y="250"/>
                  </a:lnTo>
                  <a:lnTo>
                    <a:pt x="54" y="259"/>
                  </a:lnTo>
                  <a:lnTo>
                    <a:pt x="27" y="326"/>
                  </a:lnTo>
                  <a:lnTo>
                    <a:pt x="31" y="375"/>
                  </a:lnTo>
                  <a:lnTo>
                    <a:pt x="22" y="380"/>
                  </a:lnTo>
                  <a:lnTo>
                    <a:pt x="27" y="398"/>
                  </a:lnTo>
                  <a:lnTo>
                    <a:pt x="27" y="407"/>
                  </a:lnTo>
                  <a:lnTo>
                    <a:pt x="22" y="411"/>
                  </a:lnTo>
                  <a:lnTo>
                    <a:pt x="22" y="442"/>
                  </a:lnTo>
                  <a:lnTo>
                    <a:pt x="27" y="438"/>
                  </a:lnTo>
                  <a:lnTo>
                    <a:pt x="31" y="416"/>
                  </a:lnTo>
                  <a:lnTo>
                    <a:pt x="40" y="416"/>
                  </a:lnTo>
                  <a:lnTo>
                    <a:pt x="27" y="465"/>
                  </a:lnTo>
                  <a:lnTo>
                    <a:pt x="27" y="451"/>
                  </a:lnTo>
                  <a:lnTo>
                    <a:pt x="22" y="456"/>
                  </a:lnTo>
                  <a:lnTo>
                    <a:pt x="9" y="500"/>
                  </a:lnTo>
                  <a:lnTo>
                    <a:pt x="0" y="509"/>
                  </a:lnTo>
                  <a:lnTo>
                    <a:pt x="0" y="523"/>
                  </a:lnTo>
                  <a:lnTo>
                    <a:pt x="4" y="518"/>
                  </a:lnTo>
                  <a:lnTo>
                    <a:pt x="9" y="509"/>
                  </a:lnTo>
                  <a:lnTo>
                    <a:pt x="22" y="518"/>
                  </a:lnTo>
                  <a:lnTo>
                    <a:pt x="18" y="527"/>
                  </a:lnTo>
                  <a:lnTo>
                    <a:pt x="4" y="541"/>
                  </a:lnTo>
                  <a:lnTo>
                    <a:pt x="4" y="603"/>
                  </a:lnTo>
                  <a:lnTo>
                    <a:pt x="13" y="599"/>
                  </a:lnTo>
                  <a:lnTo>
                    <a:pt x="4" y="617"/>
                  </a:lnTo>
                  <a:lnTo>
                    <a:pt x="9" y="643"/>
                  </a:lnTo>
                  <a:lnTo>
                    <a:pt x="18" y="626"/>
                  </a:lnTo>
                  <a:lnTo>
                    <a:pt x="18" y="648"/>
                  </a:lnTo>
                  <a:lnTo>
                    <a:pt x="27" y="643"/>
                  </a:lnTo>
                  <a:lnTo>
                    <a:pt x="27" y="652"/>
                  </a:lnTo>
                  <a:lnTo>
                    <a:pt x="40" y="657"/>
                  </a:lnTo>
                  <a:lnTo>
                    <a:pt x="36" y="661"/>
                  </a:lnTo>
                  <a:lnTo>
                    <a:pt x="49" y="666"/>
                  </a:lnTo>
                  <a:lnTo>
                    <a:pt x="63" y="675"/>
                  </a:lnTo>
                  <a:lnTo>
                    <a:pt x="67" y="648"/>
                  </a:lnTo>
                  <a:lnTo>
                    <a:pt x="85" y="643"/>
                  </a:lnTo>
                  <a:lnTo>
                    <a:pt x="89" y="634"/>
                  </a:lnTo>
                  <a:lnTo>
                    <a:pt x="49" y="630"/>
                  </a:lnTo>
                  <a:lnTo>
                    <a:pt x="40" y="621"/>
                  </a:lnTo>
                  <a:lnTo>
                    <a:pt x="40" y="603"/>
                  </a:lnTo>
                  <a:lnTo>
                    <a:pt x="31" y="603"/>
                  </a:lnTo>
                  <a:lnTo>
                    <a:pt x="27" y="576"/>
                  </a:lnTo>
                  <a:lnTo>
                    <a:pt x="36" y="559"/>
                  </a:lnTo>
                  <a:lnTo>
                    <a:pt x="40" y="554"/>
                  </a:lnTo>
                  <a:lnTo>
                    <a:pt x="49" y="509"/>
                  </a:lnTo>
                  <a:lnTo>
                    <a:pt x="49" y="491"/>
                  </a:lnTo>
                  <a:lnTo>
                    <a:pt x="58" y="483"/>
                  </a:lnTo>
                  <a:lnTo>
                    <a:pt x="49" y="474"/>
                  </a:lnTo>
                  <a:lnTo>
                    <a:pt x="58" y="474"/>
                  </a:lnTo>
                  <a:lnTo>
                    <a:pt x="58" y="465"/>
                  </a:lnTo>
                  <a:lnTo>
                    <a:pt x="49" y="465"/>
                  </a:lnTo>
                  <a:lnTo>
                    <a:pt x="54" y="442"/>
                  </a:lnTo>
                  <a:lnTo>
                    <a:pt x="49" y="429"/>
                  </a:lnTo>
                  <a:lnTo>
                    <a:pt x="54" y="416"/>
                  </a:lnTo>
                  <a:lnTo>
                    <a:pt x="49" y="393"/>
                  </a:lnTo>
                  <a:lnTo>
                    <a:pt x="49" y="375"/>
                  </a:lnTo>
                  <a:lnTo>
                    <a:pt x="54" y="371"/>
                  </a:lnTo>
                  <a:lnTo>
                    <a:pt x="54" y="357"/>
                  </a:lnTo>
                  <a:lnTo>
                    <a:pt x="63" y="353"/>
                  </a:lnTo>
                  <a:lnTo>
                    <a:pt x="58" y="317"/>
                  </a:lnTo>
                  <a:lnTo>
                    <a:pt x="67" y="304"/>
                  </a:lnTo>
                  <a:lnTo>
                    <a:pt x="71" y="281"/>
                  </a:lnTo>
                  <a:lnTo>
                    <a:pt x="80" y="268"/>
                  </a:lnTo>
                  <a:lnTo>
                    <a:pt x="80" y="250"/>
                  </a:lnTo>
                  <a:lnTo>
                    <a:pt x="76" y="250"/>
                  </a:lnTo>
                  <a:lnTo>
                    <a:pt x="67" y="223"/>
                  </a:lnTo>
                  <a:lnTo>
                    <a:pt x="71" y="210"/>
                  </a:lnTo>
                  <a:lnTo>
                    <a:pt x="80" y="205"/>
                  </a:lnTo>
                  <a:lnTo>
                    <a:pt x="76" y="188"/>
                  </a:lnTo>
                  <a:lnTo>
                    <a:pt x="85" y="161"/>
                  </a:lnTo>
                  <a:lnTo>
                    <a:pt x="94" y="147"/>
                  </a:lnTo>
                  <a:lnTo>
                    <a:pt x="89" y="138"/>
                  </a:lnTo>
                  <a:lnTo>
                    <a:pt x="94" y="112"/>
                  </a:lnTo>
                  <a:lnTo>
                    <a:pt x="116" y="98"/>
                  </a:lnTo>
                  <a:lnTo>
                    <a:pt x="116" y="80"/>
                  </a:lnTo>
                  <a:lnTo>
                    <a:pt x="107" y="76"/>
                  </a:lnTo>
                  <a:lnTo>
                    <a:pt x="94" y="40"/>
                  </a:lnTo>
                  <a:lnTo>
                    <a:pt x="94" y="22"/>
                  </a:lnTo>
                  <a:lnTo>
                    <a:pt x="89" y="9"/>
                  </a:lnTo>
                  <a:lnTo>
                    <a:pt x="85" y="0"/>
                  </a:lnTo>
                  <a:lnTo>
                    <a:pt x="71" y="9"/>
                  </a:lnTo>
                  <a:close/>
                  <a:moveTo>
                    <a:pt x="71" y="666"/>
                  </a:moveTo>
                  <a:lnTo>
                    <a:pt x="71" y="670"/>
                  </a:lnTo>
                  <a:lnTo>
                    <a:pt x="67" y="675"/>
                  </a:lnTo>
                  <a:lnTo>
                    <a:pt x="67" y="679"/>
                  </a:lnTo>
                  <a:lnTo>
                    <a:pt x="71" y="679"/>
                  </a:lnTo>
                  <a:lnTo>
                    <a:pt x="71" y="675"/>
                  </a:lnTo>
                  <a:lnTo>
                    <a:pt x="76" y="675"/>
                  </a:lnTo>
                  <a:lnTo>
                    <a:pt x="71" y="666"/>
                  </a:lnTo>
                  <a:close/>
                  <a:moveTo>
                    <a:pt x="98" y="643"/>
                  </a:moveTo>
                  <a:lnTo>
                    <a:pt x="89" y="643"/>
                  </a:lnTo>
                  <a:lnTo>
                    <a:pt x="76" y="648"/>
                  </a:lnTo>
                  <a:lnTo>
                    <a:pt x="76" y="666"/>
                  </a:lnTo>
                  <a:lnTo>
                    <a:pt x="89" y="661"/>
                  </a:lnTo>
                  <a:lnTo>
                    <a:pt x="80" y="670"/>
                  </a:lnTo>
                  <a:lnTo>
                    <a:pt x="80" y="679"/>
                  </a:lnTo>
                  <a:lnTo>
                    <a:pt x="94" y="693"/>
                  </a:lnTo>
                  <a:lnTo>
                    <a:pt x="67" y="684"/>
                  </a:lnTo>
                  <a:lnTo>
                    <a:pt x="13" y="648"/>
                  </a:lnTo>
                  <a:lnTo>
                    <a:pt x="13" y="657"/>
                  </a:lnTo>
                  <a:lnTo>
                    <a:pt x="31" y="666"/>
                  </a:lnTo>
                  <a:lnTo>
                    <a:pt x="27" y="670"/>
                  </a:lnTo>
                  <a:lnTo>
                    <a:pt x="31" y="679"/>
                  </a:lnTo>
                  <a:lnTo>
                    <a:pt x="40" y="684"/>
                  </a:lnTo>
                  <a:lnTo>
                    <a:pt x="49" y="679"/>
                  </a:lnTo>
                  <a:lnTo>
                    <a:pt x="63" y="688"/>
                  </a:lnTo>
                  <a:lnTo>
                    <a:pt x="49" y="688"/>
                  </a:lnTo>
                  <a:lnTo>
                    <a:pt x="54" y="697"/>
                  </a:lnTo>
                  <a:lnTo>
                    <a:pt x="63" y="693"/>
                  </a:lnTo>
                  <a:lnTo>
                    <a:pt x="71" y="697"/>
                  </a:lnTo>
                  <a:lnTo>
                    <a:pt x="71" y="702"/>
                  </a:lnTo>
                  <a:lnTo>
                    <a:pt x="63" y="702"/>
                  </a:lnTo>
                  <a:lnTo>
                    <a:pt x="76" y="706"/>
                  </a:lnTo>
                  <a:lnTo>
                    <a:pt x="76" y="702"/>
                  </a:lnTo>
                  <a:lnTo>
                    <a:pt x="80" y="706"/>
                  </a:lnTo>
                  <a:lnTo>
                    <a:pt x="76" y="715"/>
                  </a:lnTo>
                  <a:lnTo>
                    <a:pt x="89" y="724"/>
                  </a:lnTo>
                  <a:lnTo>
                    <a:pt x="89" y="715"/>
                  </a:lnTo>
                  <a:lnTo>
                    <a:pt x="94" y="715"/>
                  </a:lnTo>
                  <a:lnTo>
                    <a:pt x="94" y="724"/>
                  </a:lnTo>
                  <a:lnTo>
                    <a:pt x="103" y="719"/>
                  </a:lnTo>
                  <a:lnTo>
                    <a:pt x="107" y="724"/>
                  </a:lnTo>
                  <a:lnTo>
                    <a:pt x="107" y="715"/>
                  </a:lnTo>
                  <a:lnTo>
                    <a:pt x="103" y="715"/>
                  </a:lnTo>
                  <a:lnTo>
                    <a:pt x="103" y="706"/>
                  </a:lnTo>
                  <a:lnTo>
                    <a:pt x="107" y="710"/>
                  </a:lnTo>
                  <a:lnTo>
                    <a:pt x="121" y="715"/>
                  </a:lnTo>
                  <a:lnTo>
                    <a:pt x="125" y="710"/>
                  </a:lnTo>
                  <a:lnTo>
                    <a:pt x="121" y="706"/>
                  </a:lnTo>
                  <a:lnTo>
                    <a:pt x="103" y="702"/>
                  </a:lnTo>
                  <a:lnTo>
                    <a:pt x="94" y="702"/>
                  </a:lnTo>
                  <a:lnTo>
                    <a:pt x="98" y="702"/>
                  </a:lnTo>
                  <a:lnTo>
                    <a:pt x="98" y="64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12" name="Freeform 12"/>
            <p:cNvSpPr>
              <a:spLocks/>
            </p:cNvSpPr>
            <p:nvPr/>
          </p:nvSpPr>
          <p:spPr bwMode="gray">
            <a:xfrm>
              <a:off x="1548" y="2596"/>
              <a:ext cx="179" cy="246"/>
            </a:xfrm>
            <a:custGeom>
              <a:avLst/>
              <a:gdLst>
                <a:gd name="T0" fmla="*/ 22 w 179"/>
                <a:gd name="T1" fmla="*/ 174 h 246"/>
                <a:gd name="T2" fmla="*/ 36 w 179"/>
                <a:gd name="T3" fmla="*/ 174 h 246"/>
                <a:gd name="T4" fmla="*/ 71 w 179"/>
                <a:gd name="T5" fmla="*/ 192 h 246"/>
                <a:gd name="T6" fmla="*/ 107 w 179"/>
                <a:gd name="T7" fmla="*/ 210 h 246"/>
                <a:gd name="T8" fmla="*/ 121 w 179"/>
                <a:gd name="T9" fmla="*/ 241 h 246"/>
                <a:gd name="T10" fmla="*/ 147 w 179"/>
                <a:gd name="T11" fmla="*/ 201 h 246"/>
                <a:gd name="T12" fmla="*/ 134 w 179"/>
                <a:gd name="T13" fmla="*/ 192 h 246"/>
                <a:gd name="T14" fmla="*/ 143 w 179"/>
                <a:gd name="T15" fmla="*/ 183 h 246"/>
                <a:gd name="T16" fmla="*/ 134 w 179"/>
                <a:gd name="T17" fmla="*/ 174 h 246"/>
                <a:gd name="T18" fmla="*/ 156 w 179"/>
                <a:gd name="T19" fmla="*/ 161 h 246"/>
                <a:gd name="T20" fmla="*/ 170 w 179"/>
                <a:gd name="T21" fmla="*/ 165 h 246"/>
                <a:gd name="T22" fmla="*/ 174 w 179"/>
                <a:gd name="T23" fmla="*/ 143 h 246"/>
                <a:gd name="T24" fmla="*/ 170 w 179"/>
                <a:gd name="T25" fmla="*/ 134 h 246"/>
                <a:gd name="T26" fmla="*/ 165 w 179"/>
                <a:gd name="T27" fmla="*/ 112 h 246"/>
                <a:gd name="T28" fmla="*/ 143 w 179"/>
                <a:gd name="T29" fmla="*/ 94 h 246"/>
                <a:gd name="T30" fmla="*/ 107 w 179"/>
                <a:gd name="T31" fmla="*/ 85 h 246"/>
                <a:gd name="T32" fmla="*/ 98 w 179"/>
                <a:gd name="T33" fmla="*/ 63 h 246"/>
                <a:gd name="T34" fmla="*/ 85 w 179"/>
                <a:gd name="T35" fmla="*/ 54 h 246"/>
                <a:gd name="T36" fmla="*/ 89 w 179"/>
                <a:gd name="T37" fmla="*/ 31 h 246"/>
                <a:gd name="T38" fmla="*/ 107 w 179"/>
                <a:gd name="T39" fmla="*/ 9 h 246"/>
                <a:gd name="T40" fmla="*/ 116 w 179"/>
                <a:gd name="T41" fmla="*/ 0 h 246"/>
                <a:gd name="T42" fmla="*/ 85 w 179"/>
                <a:gd name="T43" fmla="*/ 18 h 246"/>
                <a:gd name="T44" fmla="*/ 71 w 179"/>
                <a:gd name="T45" fmla="*/ 22 h 246"/>
                <a:gd name="T46" fmla="*/ 49 w 179"/>
                <a:gd name="T47" fmla="*/ 31 h 246"/>
                <a:gd name="T48" fmla="*/ 49 w 179"/>
                <a:gd name="T49" fmla="*/ 40 h 246"/>
                <a:gd name="T50" fmla="*/ 31 w 179"/>
                <a:gd name="T51" fmla="*/ 58 h 246"/>
                <a:gd name="T52" fmla="*/ 27 w 179"/>
                <a:gd name="T53" fmla="*/ 58 h 246"/>
                <a:gd name="T54" fmla="*/ 18 w 179"/>
                <a:gd name="T55" fmla="*/ 76 h 246"/>
                <a:gd name="T56" fmla="*/ 27 w 179"/>
                <a:gd name="T57" fmla="*/ 89 h 246"/>
                <a:gd name="T58" fmla="*/ 27 w 179"/>
                <a:gd name="T59" fmla="*/ 121 h 246"/>
                <a:gd name="T60" fmla="*/ 22 w 179"/>
                <a:gd name="T61" fmla="*/ 143 h 246"/>
                <a:gd name="T62" fmla="*/ 9 w 179"/>
                <a:gd name="T63" fmla="*/ 152 h 246"/>
                <a:gd name="T64" fmla="*/ 0 w 179"/>
                <a:gd name="T65" fmla="*/ 161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9" h="246">
                  <a:moveTo>
                    <a:pt x="9" y="161"/>
                  </a:moveTo>
                  <a:lnTo>
                    <a:pt x="22" y="174"/>
                  </a:lnTo>
                  <a:lnTo>
                    <a:pt x="27" y="179"/>
                  </a:lnTo>
                  <a:lnTo>
                    <a:pt x="36" y="174"/>
                  </a:lnTo>
                  <a:lnTo>
                    <a:pt x="58" y="188"/>
                  </a:lnTo>
                  <a:lnTo>
                    <a:pt x="71" y="192"/>
                  </a:lnTo>
                  <a:lnTo>
                    <a:pt x="94" y="215"/>
                  </a:lnTo>
                  <a:lnTo>
                    <a:pt x="107" y="210"/>
                  </a:lnTo>
                  <a:lnTo>
                    <a:pt x="134" y="219"/>
                  </a:lnTo>
                  <a:lnTo>
                    <a:pt x="121" y="241"/>
                  </a:lnTo>
                  <a:lnTo>
                    <a:pt x="129" y="246"/>
                  </a:lnTo>
                  <a:lnTo>
                    <a:pt x="147" y="201"/>
                  </a:lnTo>
                  <a:lnTo>
                    <a:pt x="143" y="192"/>
                  </a:lnTo>
                  <a:lnTo>
                    <a:pt x="134" y="192"/>
                  </a:lnTo>
                  <a:lnTo>
                    <a:pt x="129" y="183"/>
                  </a:lnTo>
                  <a:lnTo>
                    <a:pt x="143" y="183"/>
                  </a:lnTo>
                  <a:lnTo>
                    <a:pt x="147" y="174"/>
                  </a:lnTo>
                  <a:lnTo>
                    <a:pt x="134" y="174"/>
                  </a:lnTo>
                  <a:lnTo>
                    <a:pt x="138" y="161"/>
                  </a:lnTo>
                  <a:lnTo>
                    <a:pt x="156" y="161"/>
                  </a:lnTo>
                  <a:lnTo>
                    <a:pt x="170" y="152"/>
                  </a:lnTo>
                  <a:lnTo>
                    <a:pt x="170" y="165"/>
                  </a:lnTo>
                  <a:lnTo>
                    <a:pt x="179" y="165"/>
                  </a:lnTo>
                  <a:lnTo>
                    <a:pt x="174" y="143"/>
                  </a:lnTo>
                  <a:lnTo>
                    <a:pt x="161" y="148"/>
                  </a:lnTo>
                  <a:lnTo>
                    <a:pt x="170" y="134"/>
                  </a:lnTo>
                  <a:lnTo>
                    <a:pt x="165" y="130"/>
                  </a:lnTo>
                  <a:lnTo>
                    <a:pt x="165" y="112"/>
                  </a:lnTo>
                  <a:lnTo>
                    <a:pt x="170" y="89"/>
                  </a:lnTo>
                  <a:lnTo>
                    <a:pt x="143" y="94"/>
                  </a:lnTo>
                  <a:lnTo>
                    <a:pt x="134" y="80"/>
                  </a:lnTo>
                  <a:lnTo>
                    <a:pt x="107" y="85"/>
                  </a:lnTo>
                  <a:lnTo>
                    <a:pt x="94" y="72"/>
                  </a:lnTo>
                  <a:lnTo>
                    <a:pt x="98" y="63"/>
                  </a:lnTo>
                  <a:lnTo>
                    <a:pt x="89" y="54"/>
                  </a:lnTo>
                  <a:lnTo>
                    <a:pt x="85" y="54"/>
                  </a:lnTo>
                  <a:lnTo>
                    <a:pt x="89" y="49"/>
                  </a:lnTo>
                  <a:lnTo>
                    <a:pt x="89" y="31"/>
                  </a:lnTo>
                  <a:lnTo>
                    <a:pt x="98" y="18"/>
                  </a:lnTo>
                  <a:lnTo>
                    <a:pt x="107" y="9"/>
                  </a:lnTo>
                  <a:lnTo>
                    <a:pt x="116" y="9"/>
                  </a:lnTo>
                  <a:lnTo>
                    <a:pt x="116" y="0"/>
                  </a:lnTo>
                  <a:lnTo>
                    <a:pt x="107" y="0"/>
                  </a:lnTo>
                  <a:lnTo>
                    <a:pt x="85" y="18"/>
                  </a:lnTo>
                  <a:lnTo>
                    <a:pt x="76" y="18"/>
                  </a:lnTo>
                  <a:lnTo>
                    <a:pt x="71" y="22"/>
                  </a:lnTo>
                  <a:lnTo>
                    <a:pt x="62" y="22"/>
                  </a:lnTo>
                  <a:lnTo>
                    <a:pt x="49" y="31"/>
                  </a:lnTo>
                  <a:lnTo>
                    <a:pt x="45" y="40"/>
                  </a:lnTo>
                  <a:lnTo>
                    <a:pt x="49" y="40"/>
                  </a:lnTo>
                  <a:lnTo>
                    <a:pt x="49" y="49"/>
                  </a:lnTo>
                  <a:lnTo>
                    <a:pt x="31" y="58"/>
                  </a:lnTo>
                  <a:lnTo>
                    <a:pt x="31" y="72"/>
                  </a:lnTo>
                  <a:lnTo>
                    <a:pt x="27" y="58"/>
                  </a:lnTo>
                  <a:lnTo>
                    <a:pt x="27" y="72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27" y="89"/>
                  </a:lnTo>
                  <a:lnTo>
                    <a:pt x="22" y="98"/>
                  </a:lnTo>
                  <a:lnTo>
                    <a:pt x="27" y="121"/>
                  </a:lnTo>
                  <a:lnTo>
                    <a:pt x="27" y="125"/>
                  </a:lnTo>
                  <a:lnTo>
                    <a:pt x="22" y="143"/>
                  </a:lnTo>
                  <a:lnTo>
                    <a:pt x="13" y="143"/>
                  </a:lnTo>
                  <a:lnTo>
                    <a:pt x="9" y="152"/>
                  </a:lnTo>
                  <a:lnTo>
                    <a:pt x="9" y="156"/>
                  </a:lnTo>
                  <a:lnTo>
                    <a:pt x="0" y="161"/>
                  </a:lnTo>
                  <a:lnTo>
                    <a:pt x="9" y="16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13" name="Freeform 13"/>
            <p:cNvSpPr>
              <a:spLocks/>
            </p:cNvSpPr>
            <p:nvPr/>
          </p:nvSpPr>
          <p:spPr bwMode="gray">
            <a:xfrm>
              <a:off x="1454" y="2618"/>
              <a:ext cx="49" cy="41"/>
            </a:xfrm>
            <a:custGeom>
              <a:avLst/>
              <a:gdLst>
                <a:gd name="T0" fmla="*/ 0 w 49"/>
                <a:gd name="T1" fmla="*/ 0 h 41"/>
                <a:gd name="T2" fmla="*/ 0 w 49"/>
                <a:gd name="T3" fmla="*/ 9 h 41"/>
                <a:gd name="T4" fmla="*/ 5 w 49"/>
                <a:gd name="T5" fmla="*/ 9 h 41"/>
                <a:gd name="T6" fmla="*/ 0 w 49"/>
                <a:gd name="T7" fmla="*/ 14 h 41"/>
                <a:gd name="T8" fmla="*/ 0 w 49"/>
                <a:gd name="T9" fmla="*/ 23 h 41"/>
                <a:gd name="T10" fmla="*/ 14 w 49"/>
                <a:gd name="T11" fmla="*/ 27 h 41"/>
                <a:gd name="T12" fmla="*/ 18 w 49"/>
                <a:gd name="T13" fmla="*/ 23 h 41"/>
                <a:gd name="T14" fmla="*/ 18 w 49"/>
                <a:gd name="T15" fmla="*/ 18 h 41"/>
                <a:gd name="T16" fmla="*/ 22 w 49"/>
                <a:gd name="T17" fmla="*/ 27 h 41"/>
                <a:gd name="T18" fmla="*/ 31 w 49"/>
                <a:gd name="T19" fmla="*/ 36 h 41"/>
                <a:gd name="T20" fmla="*/ 31 w 49"/>
                <a:gd name="T21" fmla="*/ 41 h 41"/>
                <a:gd name="T22" fmla="*/ 40 w 49"/>
                <a:gd name="T23" fmla="*/ 41 h 41"/>
                <a:gd name="T24" fmla="*/ 40 w 49"/>
                <a:gd name="T25" fmla="*/ 36 h 41"/>
                <a:gd name="T26" fmla="*/ 40 w 49"/>
                <a:gd name="T27" fmla="*/ 41 h 41"/>
                <a:gd name="T28" fmla="*/ 40 w 49"/>
                <a:gd name="T29" fmla="*/ 27 h 41"/>
                <a:gd name="T30" fmla="*/ 49 w 49"/>
                <a:gd name="T31" fmla="*/ 23 h 41"/>
                <a:gd name="T32" fmla="*/ 40 w 49"/>
                <a:gd name="T33" fmla="*/ 18 h 41"/>
                <a:gd name="T34" fmla="*/ 36 w 49"/>
                <a:gd name="T35" fmla="*/ 5 h 41"/>
                <a:gd name="T36" fmla="*/ 31 w 49"/>
                <a:gd name="T37" fmla="*/ 5 h 41"/>
                <a:gd name="T38" fmla="*/ 31 w 49"/>
                <a:gd name="T39" fmla="*/ 5 h 41"/>
                <a:gd name="T40" fmla="*/ 18 w 49"/>
                <a:gd name="T41" fmla="*/ 0 h 41"/>
                <a:gd name="T42" fmla="*/ 0 w 49"/>
                <a:gd name="T43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9" h="41">
                  <a:moveTo>
                    <a:pt x="0" y="0"/>
                  </a:moveTo>
                  <a:lnTo>
                    <a:pt x="0" y="9"/>
                  </a:lnTo>
                  <a:lnTo>
                    <a:pt x="5" y="9"/>
                  </a:lnTo>
                  <a:lnTo>
                    <a:pt x="0" y="14"/>
                  </a:lnTo>
                  <a:lnTo>
                    <a:pt x="0" y="23"/>
                  </a:lnTo>
                  <a:lnTo>
                    <a:pt x="14" y="27"/>
                  </a:lnTo>
                  <a:lnTo>
                    <a:pt x="18" y="23"/>
                  </a:lnTo>
                  <a:lnTo>
                    <a:pt x="18" y="18"/>
                  </a:lnTo>
                  <a:lnTo>
                    <a:pt x="22" y="27"/>
                  </a:lnTo>
                  <a:lnTo>
                    <a:pt x="31" y="36"/>
                  </a:lnTo>
                  <a:lnTo>
                    <a:pt x="31" y="41"/>
                  </a:lnTo>
                  <a:lnTo>
                    <a:pt x="40" y="41"/>
                  </a:lnTo>
                  <a:lnTo>
                    <a:pt x="40" y="36"/>
                  </a:lnTo>
                  <a:lnTo>
                    <a:pt x="40" y="41"/>
                  </a:lnTo>
                  <a:lnTo>
                    <a:pt x="40" y="27"/>
                  </a:lnTo>
                  <a:lnTo>
                    <a:pt x="49" y="23"/>
                  </a:lnTo>
                  <a:lnTo>
                    <a:pt x="40" y="18"/>
                  </a:lnTo>
                  <a:lnTo>
                    <a:pt x="36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14" name="Freeform 14"/>
            <p:cNvSpPr>
              <a:spLocks noEditPoints="1"/>
            </p:cNvSpPr>
            <p:nvPr/>
          </p:nvSpPr>
          <p:spPr bwMode="gray">
            <a:xfrm>
              <a:off x="1468" y="2431"/>
              <a:ext cx="160" cy="58"/>
            </a:xfrm>
            <a:custGeom>
              <a:avLst/>
              <a:gdLst>
                <a:gd name="T0" fmla="*/ 8 w 160"/>
                <a:gd name="T1" fmla="*/ 18 h 58"/>
                <a:gd name="T2" fmla="*/ 0 w 160"/>
                <a:gd name="T3" fmla="*/ 22 h 58"/>
                <a:gd name="T4" fmla="*/ 4 w 160"/>
                <a:gd name="T5" fmla="*/ 27 h 58"/>
                <a:gd name="T6" fmla="*/ 17 w 160"/>
                <a:gd name="T7" fmla="*/ 22 h 58"/>
                <a:gd name="T8" fmla="*/ 17 w 160"/>
                <a:gd name="T9" fmla="*/ 18 h 58"/>
                <a:gd name="T10" fmla="*/ 31 w 160"/>
                <a:gd name="T11" fmla="*/ 18 h 58"/>
                <a:gd name="T12" fmla="*/ 35 w 160"/>
                <a:gd name="T13" fmla="*/ 13 h 58"/>
                <a:gd name="T14" fmla="*/ 44 w 160"/>
                <a:gd name="T15" fmla="*/ 13 h 58"/>
                <a:gd name="T16" fmla="*/ 40 w 160"/>
                <a:gd name="T17" fmla="*/ 18 h 58"/>
                <a:gd name="T18" fmla="*/ 53 w 160"/>
                <a:gd name="T19" fmla="*/ 18 h 58"/>
                <a:gd name="T20" fmla="*/ 80 w 160"/>
                <a:gd name="T21" fmla="*/ 27 h 58"/>
                <a:gd name="T22" fmla="*/ 89 w 160"/>
                <a:gd name="T23" fmla="*/ 27 h 58"/>
                <a:gd name="T24" fmla="*/ 93 w 160"/>
                <a:gd name="T25" fmla="*/ 40 h 58"/>
                <a:gd name="T26" fmla="*/ 102 w 160"/>
                <a:gd name="T27" fmla="*/ 44 h 58"/>
                <a:gd name="T28" fmla="*/ 107 w 160"/>
                <a:gd name="T29" fmla="*/ 40 h 58"/>
                <a:gd name="T30" fmla="*/ 111 w 160"/>
                <a:gd name="T31" fmla="*/ 49 h 58"/>
                <a:gd name="T32" fmla="*/ 98 w 160"/>
                <a:gd name="T33" fmla="*/ 58 h 58"/>
                <a:gd name="T34" fmla="*/ 147 w 160"/>
                <a:gd name="T35" fmla="*/ 58 h 58"/>
                <a:gd name="T36" fmla="*/ 160 w 160"/>
                <a:gd name="T37" fmla="*/ 53 h 58"/>
                <a:gd name="T38" fmla="*/ 156 w 160"/>
                <a:gd name="T39" fmla="*/ 44 h 58"/>
                <a:gd name="T40" fmla="*/ 134 w 160"/>
                <a:gd name="T41" fmla="*/ 44 h 58"/>
                <a:gd name="T42" fmla="*/ 134 w 160"/>
                <a:gd name="T43" fmla="*/ 31 h 58"/>
                <a:gd name="T44" fmla="*/ 125 w 160"/>
                <a:gd name="T45" fmla="*/ 35 h 58"/>
                <a:gd name="T46" fmla="*/ 107 w 160"/>
                <a:gd name="T47" fmla="*/ 18 h 58"/>
                <a:gd name="T48" fmla="*/ 102 w 160"/>
                <a:gd name="T49" fmla="*/ 9 h 58"/>
                <a:gd name="T50" fmla="*/ 98 w 160"/>
                <a:gd name="T51" fmla="*/ 9 h 58"/>
                <a:gd name="T52" fmla="*/ 98 w 160"/>
                <a:gd name="T53" fmla="*/ 13 h 58"/>
                <a:gd name="T54" fmla="*/ 84 w 160"/>
                <a:gd name="T55" fmla="*/ 9 h 58"/>
                <a:gd name="T56" fmla="*/ 80 w 160"/>
                <a:gd name="T57" fmla="*/ 13 h 58"/>
                <a:gd name="T58" fmla="*/ 67 w 160"/>
                <a:gd name="T59" fmla="*/ 0 h 58"/>
                <a:gd name="T60" fmla="*/ 40 w 160"/>
                <a:gd name="T61" fmla="*/ 0 h 58"/>
                <a:gd name="T62" fmla="*/ 8 w 160"/>
                <a:gd name="T63" fmla="*/ 9 h 58"/>
                <a:gd name="T64" fmla="*/ 8 w 160"/>
                <a:gd name="T65" fmla="*/ 18 h 58"/>
                <a:gd name="T66" fmla="*/ 31 w 160"/>
                <a:gd name="T67" fmla="*/ 22 h 58"/>
                <a:gd name="T68" fmla="*/ 31 w 160"/>
                <a:gd name="T69" fmla="*/ 27 h 58"/>
                <a:gd name="T70" fmla="*/ 22 w 160"/>
                <a:gd name="T71" fmla="*/ 27 h 58"/>
                <a:gd name="T72" fmla="*/ 31 w 160"/>
                <a:gd name="T73" fmla="*/ 31 h 58"/>
                <a:gd name="T74" fmla="*/ 35 w 160"/>
                <a:gd name="T75" fmla="*/ 27 h 58"/>
                <a:gd name="T76" fmla="*/ 35 w 160"/>
                <a:gd name="T77" fmla="*/ 22 h 58"/>
                <a:gd name="T78" fmla="*/ 31 w 160"/>
                <a:gd name="T79" fmla="*/ 2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0" h="58">
                  <a:moveTo>
                    <a:pt x="8" y="18"/>
                  </a:moveTo>
                  <a:lnTo>
                    <a:pt x="0" y="22"/>
                  </a:lnTo>
                  <a:lnTo>
                    <a:pt x="4" y="27"/>
                  </a:lnTo>
                  <a:lnTo>
                    <a:pt x="17" y="22"/>
                  </a:lnTo>
                  <a:lnTo>
                    <a:pt x="17" y="18"/>
                  </a:lnTo>
                  <a:lnTo>
                    <a:pt x="31" y="18"/>
                  </a:lnTo>
                  <a:lnTo>
                    <a:pt x="35" y="13"/>
                  </a:lnTo>
                  <a:lnTo>
                    <a:pt x="44" y="13"/>
                  </a:lnTo>
                  <a:lnTo>
                    <a:pt x="40" y="18"/>
                  </a:lnTo>
                  <a:lnTo>
                    <a:pt x="53" y="18"/>
                  </a:lnTo>
                  <a:lnTo>
                    <a:pt x="80" y="27"/>
                  </a:lnTo>
                  <a:lnTo>
                    <a:pt x="89" y="27"/>
                  </a:lnTo>
                  <a:lnTo>
                    <a:pt x="93" y="40"/>
                  </a:lnTo>
                  <a:lnTo>
                    <a:pt x="102" y="44"/>
                  </a:lnTo>
                  <a:lnTo>
                    <a:pt x="107" y="40"/>
                  </a:lnTo>
                  <a:lnTo>
                    <a:pt x="111" y="49"/>
                  </a:lnTo>
                  <a:lnTo>
                    <a:pt x="98" y="58"/>
                  </a:lnTo>
                  <a:lnTo>
                    <a:pt x="147" y="58"/>
                  </a:lnTo>
                  <a:lnTo>
                    <a:pt x="160" y="53"/>
                  </a:lnTo>
                  <a:lnTo>
                    <a:pt x="156" y="44"/>
                  </a:lnTo>
                  <a:lnTo>
                    <a:pt x="134" y="44"/>
                  </a:lnTo>
                  <a:lnTo>
                    <a:pt x="134" y="31"/>
                  </a:lnTo>
                  <a:lnTo>
                    <a:pt x="125" y="35"/>
                  </a:lnTo>
                  <a:lnTo>
                    <a:pt x="107" y="18"/>
                  </a:lnTo>
                  <a:lnTo>
                    <a:pt x="102" y="9"/>
                  </a:lnTo>
                  <a:lnTo>
                    <a:pt x="98" y="9"/>
                  </a:lnTo>
                  <a:lnTo>
                    <a:pt x="98" y="13"/>
                  </a:lnTo>
                  <a:lnTo>
                    <a:pt x="84" y="9"/>
                  </a:lnTo>
                  <a:lnTo>
                    <a:pt x="80" y="13"/>
                  </a:lnTo>
                  <a:lnTo>
                    <a:pt x="67" y="0"/>
                  </a:lnTo>
                  <a:lnTo>
                    <a:pt x="40" y="0"/>
                  </a:lnTo>
                  <a:lnTo>
                    <a:pt x="8" y="9"/>
                  </a:lnTo>
                  <a:lnTo>
                    <a:pt x="8" y="18"/>
                  </a:lnTo>
                  <a:close/>
                  <a:moveTo>
                    <a:pt x="31" y="22"/>
                  </a:moveTo>
                  <a:lnTo>
                    <a:pt x="31" y="27"/>
                  </a:lnTo>
                  <a:lnTo>
                    <a:pt x="22" y="27"/>
                  </a:lnTo>
                  <a:lnTo>
                    <a:pt x="31" y="31"/>
                  </a:lnTo>
                  <a:lnTo>
                    <a:pt x="35" y="27"/>
                  </a:lnTo>
                  <a:lnTo>
                    <a:pt x="35" y="22"/>
                  </a:lnTo>
                  <a:lnTo>
                    <a:pt x="31" y="2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15" name="Freeform 15"/>
            <p:cNvSpPr>
              <a:spLocks/>
            </p:cNvSpPr>
            <p:nvPr/>
          </p:nvSpPr>
          <p:spPr bwMode="gray">
            <a:xfrm>
              <a:off x="1651" y="2489"/>
              <a:ext cx="53" cy="36"/>
            </a:xfrm>
            <a:custGeom>
              <a:avLst/>
              <a:gdLst>
                <a:gd name="T0" fmla="*/ 0 w 53"/>
                <a:gd name="T1" fmla="*/ 22 h 36"/>
                <a:gd name="T2" fmla="*/ 13 w 53"/>
                <a:gd name="T3" fmla="*/ 36 h 36"/>
                <a:gd name="T4" fmla="*/ 18 w 53"/>
                <a:gd name="T5" fmla="*/ 22 h 36"/>
                <a:gd name="T6" fmla="*/ 22 w 53"/>
                <a:gd name="T7" fmla="*/ 18 h 36"/>
                <a:gd name="T8" fmla="*/ 22 w 53"/>
                <a:gd name="T9" fmla="*/ 22 h 36"/>
                <a:gd name="T10" fmla="*/ 35 w 53"/>
                <a:gd name="T11" fmla="*/ 18 h 36"/>
                <a:gd name="T12" fmla="*/ 44 w 53"/>
                <a:gd name="T13" fmla="*/ 18 h 36"/>
                <a:gd name="T14" fmla="*/ 49 w 53"/>
                <a:gd name="T15" fmla="*/ 22 h 36"/>
                <a:gd name="T16" fmla="*/ 53 w 53"/>
                <a:gd name="T17" fmla="*/ 18 h 36"/>
                <a:gd name="T18" fmla="*/ 53 w 53"/>
                <a:gd name="T19" fmla="*/ 13 h 36"/>
                <a:gd name="T20" fmla="*/ 44 w 53"/>
                <a:gd name="T21" fmla="*/ 9 h 36"/>
                <a:gd name="T22" fmla="*/ 40 w 53"/>
                <a:gd name="T23" fmla="*/ 4 h 36"/>
                <a:gd name="T24" fmla="*/ 35 w 53"/>
                <a:gd name="T25" fmla="*/ 4 h 36"/>
                <a:gd name="T26" fmla="*/ 31 w 53"/>
                <a:gd name="T27" fmla="*/ 0 h 36"/>
                <a:gd name="T28" fmla="*/ 26 w 53"/>
                <a:gd name="T29" fmla="*/ 0 h 36"/>
                <a:gd name="T30" fmla="*/ 9 w 53"/>
                <a:gd name="T31" fmla="*/ 0 h 36"/>
                <a:gd name="T32" fmla="*/ 4 w 53"/>
                <a:gd name="T33" fmla="*/ 0 h 36"/>
                <a:gd name="T34" fmla="*/ 4 w 53"/>
                <a:gd name="T35" fmla="*/ 9 h 36"/>
                <a:gd name="T36" fmla="*/ 0 w 53"/>
                <a:gd name="T37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3" h="36">
                  <a:moveTo>
                    <a:pt x="0" y="22"/>
                  </a:moveTo>
                  <a:lnTo>
                    <a:pt x="13" y="36"/>
                  </a:lnTo>
                  <a:lnTo>
                    <a:pt x="18" y="22"/>
                  </a:lnTo>
                  <a:lnTo>
                    <a:pt x="22" y="18"/>
                  </a:lnTo>
                  <a:lnTo>
                    <a:pt x="22" y="22"/>
                  </a:lnTo>
                  <a:lnTo>
                    <a:pt x="35" y="18"/>
                  </a:lnTo>
                  <a:lnTo>
                    <a:pt x="44" y="18"/>
                  </a:lnTo>
                  <a:lnTo>
                    <a:pt x="49" y="22"/>
                  </a:lnTo>
                  <a:lnTo>
                    <a:pt x="53" y="18"/>
                  </a:lnTo>
                  <a:lnTo>
                    <a:pt x="53" y="13"/>
                  </a:lnTo>
                  <a:lnTo>
                    <a:pt x="44" y="9"/>
                  </a:lnTo>
                  <a:lnTo>
                    <a:pt x="40" y="4"/>
                  </a:lnTo>
                  <a:lnTo>
                    <a:pt x="35" y="4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9" y="0"/>
                  </a:lnTo>
                  <a:lnTo>
                    <a:pt x="4" y="0"/>
                  </a:lnTo>
                  <a:lnTo>
                    <a:pt x="4" y="9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16" name="Freeform 16"/>
            <p:cNvSpPr>
              <a:spLocks noEditPoints="1"/>
            </p:cNvSpPr>
            <p:nvPr/>
          </p:nvSpPr>
          <p:spPr bwMode="gray">
            <a:xfrm>
              <a:off x="1374" y="2757"/>
              <a:ext cx="232" cy="94"/>
            </a:xfrm>
            <a:custGeom>
              <a:avLst/>
              <a:gdLst>
                <a:gd name="T0" fmla="*/ 4 w 232"/>
                <a:gd name="T1" fmla="*/ 22 h 94"/>
                <a:gd name="T2" fmla="*/ 0 w 232"/>
                <a:gd name="T3" fmla="*/ 27 h 94"/>
                <a:gd name="T4" fmla="*/ 4 w 232"/>
                <a:gd name="T5" fmla="*/ 36 h 94"/>
                <a:gd name="T6" fmla="*/ 0 w 232"/>
                <a:gd name="T7" fmla="*/ 40 h 94"/>
                <a:gd name="T8" fmla="*/ 4 w 232"/>
                <a:gd name="T9" fmla="*/ 45 h 94"/>
                <a:gd name="T10" fmla="*/ 9 w 232"/>
                <a:gd name="T11" fmla="*/ 40 h 94"/>
                <a:gd name="T12" fmla="*/ 4 w 232"/>
                <a:gd name="T13" fmla="*/ 22 h 94"/>
                <a:gd name="T14" fmla="*/ 13 w 232"/>
                <a:gd name="T15" fmla="*/ 31 h 94"/>
                <a:gd name="T16" fmla="*/ 13 w 232"/>
                <a:gd name="T17" fmla="*/ 31 h 94"/>
                <a:gd name="T18" fmla="*/ 18 w 232"/>
                <a:gd name="T19" fmla="*/ 40 h 94"/>
                <a:gd name="T20" fmla="*/ 18 w 232"/>
                <a:gd name="T21" fmla="*/ 36 h 94"/>
                <a:gd name="T22" fmla="*/ 13 w 232"/>
                <a:gd name="T23" fmla="*/ 31 h 94"/>
                <a:gd name="T24" fmla="*/ 161 w 232"/>
                <a:gd name="T25" fmla="*/ 76 h 94"/>
                <a:gd name="T26" fmla="*/ 161 w 232"/>
                <a:gd name="T27" fmla="*/ 80 h 94"/>
                <a:gd name="T28" fmla="*/ 156 w 232"/>
                <a:gd name="T29" fmla="*/ 85 h 94"/>
                <a:gd name="T30" fmla="*/ 161 w 232"/>
                <a:gd name="T31" fmla="*/ 94 h 94"/>
                <a:gd name="T32" fmla="*/ 183 w 232"/>
                <a:gd name="T33" fmla="*/ 94 h 94"/>
                <a:gd name="T34" fmla="*/ 187 w 232"/>
                <a:gd name="T35" fmla="*/ 71 h 94"/>
                <a:gd name="T36" fmla="*/ 210 w 232"/>
                <a:gd name="T37" fmla="*/ 62 h 94"/>
                <a:gd name="T38" fmla="*/ 232 w 232"/>
                <a:gd name="T39" fmla="*/ 36 h 94"/>
                <a:gd name="T40" fmla="*/ 232 w 232"/>
                <a:gd name="T41" fmla="*/ 27 h 94"/>
                <a:gd name="T42" fmla="*/ 210 w 232"/>
                <a:gd name="T43" fmla="*/ 13 h 94"/>
                <a:gd name="T44" fmla="*/ 201 w 232"/>
                <a:gd name="T45" fmla="*/ 18 h 94"/>
                <a:gd name="T46" fmla="*/ 196 w 232"/>
                <a:gd name="T47" fmla="*/ 13 h 94"/>
                <a:gd name="T48" fmla="*/ 183 w 232"/>
                <a:gd name="T49" fmla="*/ 0 h 94"/>
                <a:gd name="T50" fmla="*/ 161 w 232"/>
                <a:gd name="T51" fmla="*/ 9 h 94"/>
                <a:gd name="T52" fmla="*/ 165 w 232"/>
                <a:gd name="T53" fmla="*/ 18 h 94"/>
                <a:gd name="T54" fmla="*/ 156 w 232"/>
                <a:gd name="T55" fmla="*/ 36 h 94"/>
                <a:gd name="T56" fmla="*/ 152 w 232"/>
                <a:gd name="T57" fmla="*/ 36 h 94"/>
                <a:gd name="T58" fmla="*/ 152 w 232"/>
                <a:gd name="T59" fmla="*/ 45 h 94"/>
                <a:gd name="T60" fmla="*/ 147 w 232"/>
                <a:gd name="T61" fmla="*/ 58 h 94"/>
                <a:gd name="T62" fmla="*/ 156 w 232"/>
                <a:gd name="T63" fmla="*/ 62 h 94"/>
                <a:gd name="T64" fmla="*/ 169 w 232"/>
                <a:gd name="T65" fmla="*/ 58 h 94"/>
                <a:gd name="T66" fmla="*/ 169 w 232"/>
                <a:gd name="T67" fmla="*/ 62 h 94"/>
                <a:gd name="T68" fmla="*/ 161 w 232"/>
                <a:gd name="T69" fmla="*/ 7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2" h="94">
                  <a:moveTo>
                    <a:pt x="4" y="22"/>
                  </a:moveTo>
                  <a:lnTo>
                    <a:pt x="0" y="27"/>
                  </a:lnTo>
                  <a:lnTo>
                    <a:pt x="4" y="36"/>
                  </a:lnTo>
                  <a:lnTo>
                    <a:pt x="0" y="40"/>
                  </a:lnTo>
                  <a:lnTo>
                    <a:pt x="4" y="45"/>
                  </a:lnTo>
                  <a:lnTo>
                    <a:pt x="9" y="40"/>
                  </a:lnTo>
                  <a:lnTo>
                    <a:pt x="4" y="22"/>
                  </a:lnTo>
                  <a:close/>
                  <a:moveTo>
                    <a:pt x="13" y="31"/>
                  </a:moveTo>
                  <a:lnTo>
                    <a:pt x="13" y="31"/>
                  </a:lnTo>
                  <a:lnTo>
                    <a:pt x="18" y="40"/>
                  </a:lnTo>
                  <a:lnTo>
                    <a:pt x="18" y="36"/>
                  </a:lnTo>
                  <a:lnTo>
                    <a:pt x="13" y="31"/>
                  </a:lnTo>
                  <a:close/>
                  <a:moveTo>
                    <a:pt x="161" y="76"/>
                  </a:moveTo>
                  <a:lnTo>
                    <a:pt x="161" y="80"/>
                  </a:lnTo>
                  <a:lnTo>
                    <a:pt x="156" y="85"/>
                  </a:lnTo>
                  <a:lnTo>
                    <a:pt x="161" y="94"/>
                  </a:lnTo>
                  <a:lnTo>
                    <a:pt x="183" y="94"/>
                  </a:lnTo>
                  <a:lnTo>
                    <a:pt x="187" y="71"/>
                  </a:lnTo>
                  <a:lnTo>
                    <a:pt x="210" y="62"/>
                  </a:lnTo>
                  <a:lnTo>
                    <a:pt x="232" y="36"/>
                  </a:lnTo>
                  <a:lnTo>
                    <a:pt x="232" y="27"/>
                  </a:lnTo>
                  <a:lnTo>
                    <a:pt x="210" y="13"/>
                  </a:lnTo>
                  <a:lnTo>
                    <a:pt x="201" y="18"/>
                  </a:lnTo>
                  <a:lnTo>
                    <a:pt x="196" y="13"/>
                  </a:lnTo>
                  <a:lnTo>
                    <a:pt x="183" y="0"/>
                  </a:lnTo>
                  <a:lnTo>
                    <a:pt x="161" y="9"/>
                  </a:lnTo>
                  <a:lnTo>
                    <a:pt x="165" y="18"/>
                  </a:lnTo>
                  <a:lnTo>
                    <a:pt x="156" y="36"/>
                  </a:lnTo>
                  <a:lnTo>
                    <a:pt x="152" y="36"/>
                  </a:lnTo>
                  <a:lnTo>
                    <a:pt x="152" y="45"/>
                  </a:lnTo>
                  <a:lnTo>
                    <a:pt x="147" y="58"/>
                  </a:lnTo>
                  <a:lnTo>
                    <a:pt x="156" y="62"/>
                  </a:lnTo>
                  <a:lnTo>
                    <a:pt x="169" y="58"/>
                  </a:lnTo>
                  <a:lnTo>
                    <a:pt x="169" y="62"/>
                  </a:lnTo>
                  <a:lnTo>
                    <a:pt x="161" y="76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17" name="Freeform 17"/>
            <p:cNvSpPr>
              <a:spLocks/>
            </p:cNvSpPr>
            <p:nvPr/>
          </p:nvSpPr>
          <p:spPr bwMode="gray">
            <a:xfrm>
              <a:off x="1387" y="2569"/>
              <a:ext cx="36" cy="23"/>
            </a:xfrm>
            <a:custGeom>
              <a:avLst/>
              <a:gdLst>
                <a:gd name="T0" fmla="*/ 0 w 36"/>
                <a:gd name="T1" fmla="*/ 9 h 23"/>
                <a:gd name="T2" fmla="*/ 27 w 36"/>
                <a:gd name="T3" fmla="*/ 23 h 23"/>
                <a:gd name="T4" fmla="*/ 36 w 36"/>
                <a:gd name="T5" fmla="*/ 18 h 23"/>
                <a:gd name="T6" fmla="*/ 36 w 36"/>
                <a:gd name="T7" fmla="*/ 18 h 23"/>
                <a:gd name="T8" fmla="*/ 36 w 36"/>
                <a:gd name="T9" fmla="*/ 5 h 23"/>
                <a:gd name="T10" fmla="*/ 27 w 36"/>
                <a:gd name="T11" fmla="*/ 5 h 23"/>
                <a:gd name="T12" fmla="*/ 22 w 36"/>
                <a:gd name="T13" fmla="*/ 0 h 23"/>
                <a:gd name="T14" fmla="*/ 14 w 36"/>
                <a:gd name="T15" fmla="*/ 0 h 23"/>
                <a:gd name="T16" fmla="*/ 14 w 36"/>
                <a:gd name="T17" fmla="*/ 5 h 23"/>
                <a:gd name="T18" fmla="*/ 0 w 36"/>
                <a:gd name="T1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3">
                  <a:moveTo>
                    <a:pt x="0" y="9"/>
                  </a:moveTo>
                  <a:lnTo>
                    <a:pt x="27" y="23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5"/>
                  </a:lnTo>
                  <a:lnTo>
                    <a:pt x="27" y="5"/>
                  </a:lnTo>
                  <a:lnTo>
                    <a:pt x="22" y="0"/>
                  </a:lnTo>
                  <a:lnTo>
                    <a:pt x="14" y="0"/>
                  </a:lnTo>
                  <a:lnTo>
                    <a:pt x="14" y="5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18" name="Freeform 18"/>
            <p:cNvSpPr>
              <a:spLocks noEditPoints="1"/>
            </p:cNvSpPr>
            <p:nvPr/>
          </p:nvSpPr>
          <p:spPr bwMode="gray">
            <a:xfrm>
              <a:off x="1820" y="3655"/>
              <a:ext cx="45" cy="27"/>
            </a:xfrm>
            <a:custGeom>
              <a:avLst/>
              <a:gdLst>
                <a:gd name="T0" fmla="*/ 18 w 45"/>
                <a:gd name="T1" fmla="*/ 5 h 27"/>
                <a:gd name="T2" fmla="*/ 0 w 45"/>
                <a:gd name="T3" fmla="*/ 0 h 27"/>
                <a:gd name="T4" fmla="*/ 9 w 45"/>
                <a:gd name="T5" fmla="*/ 9 h 27"/>
                <a:gd name="T6" fmla="*/ 0 w 45"/>
                <a:gd name="T7" fmla="*/ 22 h 27"/>
                <a:gd name="T8" fmla="*/ 5 w 45"/>
                <a:gd name="T9" fmla="*/ 27 h 27"/>
                <a:gd name="T10" fmla="*/ 14 w 45"/>
                <a:gd name="T11" fmla="*/ 18 h 27"/>
                <a:gd name="T12" fmla="*/ 18 w 45"/>
                <a:gd name="T13" fmla="*/ 5 h 27"/>
                <a:gd name="T14" fmla="*/ 23 w 45"/>
                <a:gd name="T15" fmla="*/ 0 h 27"/>
                <a:gd name="T16" fmla="*/ 23 w 45"/>
                <a:gd name="T17" fmla="*/ 9 h 27"/>
                <a:gd name="T18" fmla="*/ 18 w 45"/>
                <a:gd name="T19" fmla="*/ 9 h 27"/>
                <a:gd name="T20" fmla="*/ 14 w 45"/>
                <a:gd name="T21" fmla="*/ 22 h 27"/>
                <a:gd name="T22" fmla="*/ 23 w 45"/>
                <a:gd name="T23" fmla="*/ 27 h 27"/>
                <a:gd name="T24" fmla="*/ 27 w 45"/>
                <a:gd name="T25" fmla="*/ 27 h 27"/>
                <a:gd name="T26" fmla="*/ 36 w 45"/>
                <a:gd name="T27" fmla="*/ 18 h 27"/>
                <a:gd name="T28" fmla="*/ 45 w 45"/>
                <a:gd name="T29" fmla="*/ 9 h 27"/>
                <a:gd name="T30" fmla="*/ 41 w 45"/>
                <a:gd name="T31" fmla="*/ 5 h 27"/>
                <a:gd name="T32" fmla="*/ 23 w 45"/>
                <a:gd name="T3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27">
                  <a:moveTo>
                    <a:pt x="18" y="5"/>
                  </a:moveTo>
                  <a:lnTo>
                    <a:pt x="0" y="0"/>
                  </a:lnTo>
                  <a:lnTo>
                    <a:pt x="9" y="9"/>
                  </a:lnTo>
                  <a:lnTo>
                    <a:pt x="0" y="22"/>
                  </a:lnTo>
                  <a:lnTo>
                    <a:pt x="5" y="27"/>
                  </a:lnTo>
                  <a:lnTo>
                    <a:pt x="14" y="18"/>
                  </a:lnTo>
                  <a:lnTo>
                    <a:pt x="18" y="5"/>
                  </a:lnTo>
                  <a:close/>
                  <a:moveTo>
                    <a:pt x="23" y="0"/>
                  </a:moveTo>
                  <a:lnTo>
                    <a:pt x="23" y="9"/>
                  </a:lnTo>
                  <a:lnTo>
                    <a:pt x="18" y="9"/>
                  </a:lnTo>
                  <a:lnTo>
                    <a:pt x="14" y="22"/>
                  </a:lnTo>
                  <a:lnTo>
                    <a:pt x="23" y="27"/>
                  </a:lnTo>
                  <a:lnTo>
                    <a:pt x="27" y="27"/>
                  </a:lnTo>
                  <a:lnTo>
                    <a:pt x="36" y="18"/>
                  </a:lnTo>
                  <a:lnTo>
                    <a:pt x="45" y="9"/>
                  </a:lnTo>
                  <a:lnTo>
                    <a:pt x="41" y="5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19" name="Freeform 19"/>
            <p:cNvSpPr>
              <a:spLocks/>
            </p:cNvSpPr>
            <p:nvPr/>
          </p:nvSpPr>
          <p:spPr bwMode="gray">
            <a:xfrm>
              <a:off x="1901" y="2699"/>
              <a:ext cx="44" cy="53"/>
            </a:xfrm>
            <a:custGeom>
              <a:avLst/>
              <a:gdLst>
                <a:gd name="T0" fmla="*/ 9 w 44"/>
                <a:gd name="T1" fmla="*/ 4 h 53"/>
                <a:gd name="T2" fmla="*/ 4 w 44"/>
                <a:gd name="T3" fmla="*/ 13 h 53"/>
                <a:gd name="T4" fmla="*/ 13 w 44"/>
                <a:gd name="T5" fmla="*/ 31 h 53"/>
                <a:gd name="T6" fmla="*/ 0 w 44"/>
                <a:gd name="T7" fmla="*/ 45 h 53"/>
                <a:gd name="T8" fmla="*/ 9 w 44"/>
                <a:gd name="T9" fmla="*/ 53 h 53"/>
                <a:gd name="T10" fmla="*/ 22 w 44"/>
                <a:gd name="T11" fmla="*/ 53 h 53"/>
                <a:gd name="T12" fmla="*/ 36 w 44"/>
                <a:gd name="T13" fmla="*/ 45 h 53"/>
                <a:gd name="T14" fmla="*/ 44 w 44"/>
                <a:gd name="T15" fmla="*/ 27 h 53"/>
                <a:gd name="T16" fmla="*/ 40 w 44"/>
                <a:gd name="T17" fmla="*/ 18 h 53"/>
                <a:gd name="T18" fmla="*/ 27 w 44"/>
                <a:gd name="T19" fmla="*/ 4 h 53"/>
                <a:gd name="T20" fmla="*/ 13 w 44"/>
                <a:gd name="T21" fmla="*/ 0 h 53"/>
                <a:gd name="T22" fmla="*/ 9 w 44"/>
                <a:gd name="T23" fmla="*/ 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53">
                  <a:moveTo>
                    <a:pt x="9" y="4"/>
                  </a:moveTo>
                  <a:lnTo>
                    <a:pt x="4" y="13"/>
                  </a:lnTo>
                  <a:lnTo>
                    <a:pt x="13" y="31"/>
                  </a:lnTo>
                  <a:lnTo>
                    <a:pt x="0" y="45"/>
                  </a:lnTo>
                  <a:lnTo>
                    <a:pt x="9" y="53"/>
                  </a:lnTo>
                  <a:lnTo>
                    <a:pt x="22" y="53"/>
                  </a:lnTo>
                  <a:lnTo>
                    <a:pt x="36" y="45"/>
                  </a:lnTo>
                  <a:lnTo>
                    <a:pt x="44" y="27"/>
                  </a:lnTo>
                  <a:lnTo>
                    <a:pt x="40" y="18"/>
                  </a:lnTo>
                  <a:lnTo>
                    <a:pt x="27" y="4"/>
                  </a:lnTo>
                  <a:lnTo>
                    <a:pt x="13" y="0"/>
                  </a:lnTo>
                  <a:lnTo>
                    <a:pt x="9" y="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20" name="Freeform 20"/>
            <p:cNvSpPr>
              <a:spLocks noEditPoints="1"/>
            </p:cNvSpPr>
            <p:nvPr/>
          </p:nvSpPr>
          <p:spPr bwMode="gray">
            <a:xfrm>
              <a:off x="512" y="2927"/>
              <a:ext cx="250" cy="290"/>
            </a:xfrm>
            <a:custGeom>
              <a:avLst/>
              <a:gdLst>
                <a:gd name="T0" fmla="*/ 0 w 250"/>
                <a:gd name="T1" fmla="*/ 103 h 290"/>
                <a:gd name="T2" fmla="*/ 0 w 250"/>
                <a:gd name="T3" fmla="*/ 103 h 290"/>
                <a:gd name="T4" fmla="*/ 4 w 250"/>
                <a:gd name="T5" fmla="*/ 103 h 290"/>
                <a:gd name="T6" fmla="*/ 0 w 250"/>
                <a:gd name="T7" fmla="*/ 103 h 290"/>
                <a:gd name="T8" fmla="*/ 26 w 250"/>
                <a:gd name="T9" fmla="*/ 120 h 290"/>
                <a:gd name="T10" fmla="*/ 26 w 250"/>
                <a:gd name="T11" fmla="*/ 120 h 290"/>
                <a:gd name="T12" fmla="*/ 31 w 250"/>
                <a:gd name="T13" fmla="*/ 125 h 290"/>
                <a:gd name="T14" fmla="*/ 35 w 250"/>
                <a:gd name="T15" fmla="*/ 120 h 290"/>
                <a:gd name="T16" fmla="*/ 26 w 250"/>
                <a:gd name="T17" fmla="*/ 120 h 290"/>
                <a:gd name="T18" fmla="*/ 49 w 250"/>
                <a:gd name="T19" fmla="*/ 80 h 290"/>
                <a:gd name="T20" fmla="*/ 49 w 250"/>
                <a:gd name="T21" fmla="*/ 85 h 290"/>
                <a:gd name="T22" fmla="*/ 58 w 250"/>
                <a:gd name="T23" fmla="*/ 85 h 290"/>
                <a:gd name="T24" fmla="*/ 53 w 250"/>
                <a:gd name="T25" fmla="*/ 80 h 290"/>
                <a:gd name="T26" fmla="*/ 49 w 250"/>
                <a:gd name="T27" fmla="*/ 80 h 290"/>
                <a:gd name="T28" fmla="*/ 80 w 250"/>
                <a:gd name="T29" fmla="*/ 98 h 290"/>
                <a:gd name="T30" fmla="*/ 84 w 250"/>
                <a:gd name="T31" fmla="*/ 103 h 290"/>
                <a:gd name="T32" fmla="*/ 89 w 250"/>
                <a:gd name="T33" fmla="*/ 103 h 290"/>
                <a:gd name="T34" fmla="*/ 84 w 250"/>
                <a:gd name="T35" fmla="*/ 98 h 290"/>
                <a:gd name="T36" fmla="*/ 80 w 250"/>
                <a:gd name="T37" fmla="*/ 98 h 290"/>
                <a:gd name="T38" fmla="*/ 102 w 250"/>
                <a:gd name="T39" fmla="*/ 286 h 290"/>
                <a:gd name="T40" fmla="*/ 102 w 250"/>
                <a:gd name="T41" fmla="*/ 286 h 290"/>
                <a:gd name="T42" fmla="*/ 107 w 250"/>
                <a:gd name="T43" fmla="*/ 290 h 290"/>
                <a:gd name="T44" fmla="*/ 107 w 250"/>
                <a:gd name="T45" fmla="*/ 286 h 290"/>
                <a:gd name="T46" fmla="*/ 102 w 250"/>
                <a:gd name="T47" fmla="*/ 286 h 290"/>
                <a:gd name="T48" fmla="*/ 111 w 250"/>
                <a:gd name="T49" fmla="*/ 98 h 290"/>
                <a:gd name="T50" fmla="*/ 111 w 250"/>
                <a:gd name="T51" fmla="*/ 103 h 290"/>
                <a:gd name="T52" fmla="*/ 116 w 250"/>
                <a:gd name="T53" fmla="*/ 103 h 290"/>
                <a:gd name="T54" fmla="*/ 116 w 250"/>
                <a:gd name="T55" fmla="*/ 103 h 290"/>
                <a:gd name="T56" fmla="*/ 111 w 250"/>
                <a:gd name="T57" fmla="*/ 98 h 290"/>
                <a:gd name="T58" fmla="*/ 116 w 250"/>
                <a:gd name="T59" fmla="*/ 165 h 290"/>
                <a:gd name="T60" fmla="*/ 116 w 250"/>
                <a:gd name="T61" fmla="*/ 165 h 290"/>
                <a:gd name="T62" fmla="*/ 120 w 250"/>
                <a:gd name="T63" fmla="*/ 165 h 290"/>
                <a:gd name="T64" fmla="*/ 120 w 250"/>
                <a:gd name="T65" fmla="*/ 170 h 290"/>
                <a:gd name="T66" fmla="*/ 120 w 250"/>
                <a:gd name="T67" fmla="*/ 170 h 290"/>
                <a:gd name="T68" fmla="*/ 116 w 250"/>
                <a:gd name="T69" fmla="*/ 165 h 290"/>
                <a:gd name="T70" fmla="*/ 151 w 250"/>
                <a:gd name="T71" fmla="*/ 125 h 290"/>
                <a:gd name="T72" fmla="*/ 156 w 250"/>
                <a:gd name="T73" fmla="*/ 129 h 290"/>
                <a:gd name="T74" fmla="*/ 156 w 250"/>
                <a:gd name="T75" fmla="*/ 129 h 290"/>
                <a:gd name="T76" fmla="*/ 151 w 250"/>
                <a:gd name="T77" fmla="*/ 125 h 290"/>
                <a:gd name="T78" fmla="*/ 151 w 250"/>
                <a:gd name="T79" fmla="*/ 125 h 290"/>
                <a:gd name="T80" fmla="*/ 174 w 250"/>
                <a:gd name="T81" fmla="*/ 0 h 290"/>
                <a:gd name="T82" fmla="*/ 174 w 250"/>
                <a:gd name="T83" fmla="*/ 0 h 290"/>
                <a:gd name="T84" fmla="*/ 178 w 250"/>
                <a:gd name="T85" fmla="*/ 0 h 290"/>
                <a:gd name="T86" fmla="*/ 178 w 250"/>
                <a:gd name="T87" fmla="*/ 0 h 290"/>
                <a:gd name="T88" fmla="*/ 174 w 250"/>
                <a:gd name="T89" fmla="*/ 0 h 290"/>
                <a:gd name="T90" fmla="*/ 214 w 250"/>
                <a:gd name="T91" fmla="*/ 125 h 290"/>
                <a:gd name="T92" fmla="*/ 214 w 250"/>
                <a:gd name="T93" fmla="*/ 134 h 290"/>
                <a:gd name="T94" fmla="*/ 214 w 250"/>
                <a:gd name="T95" fmla="*/ 129 h 290"/>
                <a:gd name="T96" fmla="*/ 214 w 250"/>
                <a:gd name="T97" fmla="*/ 125 h 290"/>
                <a:gd name="T98" fmla="*/ 241 w 250"/>
                <a:gd name="T99" fmla="*/ 201 h 290"/>
                <a:gd name="T100" fmla="*/ 236 w 250"/>
                <a:gd name="T101" fmla="*/ 205 h 290"/>
                <a:gd name="T102" fmla="*/ 241 w 250"/>
                <a:gd name="T103" fmla="*/ 205 h 290"/>
                <a:gd name="T104" fmla="*/ 241 w 250"/>
                <a:gd name="T105" fmla="*/ 201 h 290"/>
                <a:gd name="T106" fmla="*/ 241 w 250"/>
                <a:gd name="T107" fmla="*/ 201 h 290"/>
                <a:gd name="T108" fmla="*/ 245 w 250"/>
                <a:gd name="T109" fmla="*/ 205 h 290"/>
                <a:gd name="T110" fmla="*/ 245 w 250"/>
                <a:gd name="T111" fmla="*/ 205 h 290"/>
                <a:gd name="T112" fmla="*/ 250 w 250"/>
                <a:gd name="T113" fmla="*/ 210 h 290"/>
                <a:gd name="T114" fmla="*/ 250 w 250"/>
                <a:gd name="T115" fmla="*/ 205 h 290"/>
                <a:gd name="T116" fmla="*/ 245 w 250"/>
                <a:gd name="T117" fmla="*/ 205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0" h="290">
                  <a:moveTo>
                    <a:pt x="0" y="103"/>
                  </a:moveTo>
                  <a:lnTo>
                    <a:pt x="0" y="103"/>
                  </a:lnTo>
                  <a:lnTo>
                    <a:pt x="4" y="103"/>
                  </a:lnTo>
                  <a:lnTo>
                    <a:pt x="0" y="103"/>
                  </a:lnTo>
                  <a:close/>
                  <a:moveTo>
                    <a:pt x="26" y="120"/>
                  </a:moveTo>
                  <a:lnTo>
                    <a:pt x="26" y="120"/>
                  </a:lnTo>
                  <a:lnTo>
                    <a:pt x="31" y="125"/>
                  </a:lnTo>
                  <a:lnTo>
                    <a:pt x="35" y="120"/>
                  </a:lnTo>
                  <a:lnTo>
                    <a:pt x="26" y="120"/>
                  </a:lnTo>
                  <a:close/>
                  <a:moveTo>
                    <a:pt x="49" y="80"/>
                  </a:moveTo>
                  <a:lnTo>
                    <a:pt x="49" y="85"/>
                  </a:lnTo>
                  <a:lnTo>
                    <a:pt x="58" y="85"/>
                  </a:lnTo>
                  <a:lnTo>
                    <a:pt x="53" y="80"/>
                  </a:lnTo>
                  <a:lnTo>
                    <a:pt x="49" y="80"/>
                  </a:lnTo>
                  <a:close/>
                  <a:moveTo>
                    <a:pt x="80" y="98"/>
                  </a:moveTo>
                  <a:lnTo>
                    <a:pt x="84" y="103"/>
                  </a:lnTo>
                  <a:lnTo>
                    <a:pt x="89" y="103"/>
                  </a:lnTo>
                  <a:lnTo>
                    <a:pt x="84" y="98"/>
                  </a:lnTo>
                  <a:lnTo>
                    <a:pt x="80" y="98"/>
                  </a:lnTo>
                  <a:close/>
                  <a:moveTo>
                    <a:pt x="102" y="286"/>
                  </a:moveTo>
                  <a:lnTo>
                    <a:pt x="102" y="286"/>
                  </a:lnTo>
                  <a:lnTo>
                    <a:pt x="107" y="290"/>
                  </a:lnTo>
                  <a:lnTo>
                    <a:pt x="107" y="286"/>
                  </a:lnTo>
                  <a:lnTo>
                    <a:pt x="102" y="286"/>
                  </a:lnTo>
                  <a:close/>
                  <a:moveTo>
                    <a:pt x="111" y="98"/>
                  </a:moveTo>
                  <a:lnTo>
                    <a:pt x="111" y="103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1" y="98"/>
                  </a:lnTo>
                  <a:close/>
                  <a:moveTo>
                    <a:pt x="116" y="165"/>
                  </a:moveTo>
                  <a:lnTo>
                    <a:pt x="116" y="165"/>
                  </a:lnTo>
                  <a:lnTo>
                    <a:pt x="120" y="165"/>
                  </a:lnTo>
                  <a:lnTo>
                    <a:pt x="120" y="170"/>
                  </a:lnTo>
                  <a:lnTo>
                    <a:pt x="120" y="170"/>
                  </a:lnTo>
                  <a:lnTo>
                    <a:pt x="116" y="165"/>
                  </a:lnTo>
                  <a:close/>
                  <a:moveTo>
                    <a:pt x="151" y="125"/>
                  </a:moveTo>
                  <a:lnTo>
                    <a:pt x="156" y="129"/>
                  </a:lnTo>
                  <a:lnTo>
                    <a:pt x="156" y="129"/>
                  </a:lnTo>
                  <a:lnTo>
                    <a:pt x="151" y="125"/>
                  </a:lnTo>
                  <a:lnTo>
                    <a:pt x="151" y="125"/>
                  </a:lnTo>
                  <a:close/>
                  <a:moveTo>
                    <a:pt x="174" y="0"/>
                  </a:moveTo>
                  <a:lnTo>
                    <a:pt x="174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4" y="0"/>
                  </a:lnTo>
                  <a:close/>
                  <a:moveTo>
                    <a:pt x="214" y="125"/>
                  </a:moveTo>
                  <a:lnTo>
                    <a:pt x="214" y="134"/>
                  </a:lnTo>
                  <a:lnTo>
                    <a:pt x="214" y="129"/>
                  </a:lnTo>
                  <a:lnTo>
                    <a:pt x="214" y="125"/>
                  </a:lnTo>
                  <a:close/>
                  <a:moveTo>
                    <a:pt x="241" y="201"/>
                  </a:moveTo>
                  <a:lnTo>
                    <a:pt x="236" y="205"/>
                  </a:lnTo>
                  <a:lnTo>
                    <a:pt x="241" y="205"/>
                  </a:lnTo>
                  <a:lnTo>
                    <a:pt x="241" y="201"/>
                  </a:lnTo>
                  <a:lnTo>
                    <a:pt x="241" y="201"/>
                  </a:lnTo>
                  <a:close/>
                  <a:moveTo>
                    <a:pt x="245" y="205"/>
                  </a:moveTo>
                  <a:lnTo>
                    <a:pt x="245" y="205"/>
                  </a:lnTo>
                  <a:lnTo>
                    <a:pt x="250" y="210"/>
                  </a:lnTo>
                  <a:lnTo>
                    <a:pt x="250" y="205"/>
                  </a:lnTo>
                  <a:lnTo>
                    <a:pt x="245" y="20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21" name="Freeform 21"/>
            <p:cNvSpPr>
              <a:spLocks/>
            </p:cNvSpPr>
            <p:nvPr/>
          </p:nvSpPr>
          <p:spPr bwMode="gray">
            <a:xfrm>
              <a:off x="1798" y="2601"/>
              <a:ext cx="9" cy="4"/>
            </a:xfrm>
            <a:custGeom>
              <a:avLst/>
              <a:gdLst>
                <a:gd name="T0" fmla="*/ 5 w 9"/>
                <a:gd name="T1" fmla="*/ 0 h 4"/>
                <a:gd name="T2" fmla="*/ 0 w 9"/>
                <a:gd name="T3" fmla="*/ 4 h 4"/>
                <a:gd name="T4" fmla="*/ 5 w 9"/>
                <a:gd name="T5" fmla="*/ 4 h 4"/>
                <a:gd name="T6" fmla="*/ 9 w 9"/>
                <a:gd name="T7" fmla="*/ 4 h 4"/>
                <a:gd name="T8" fmla="*/ 5 w 9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5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9" y="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22" name="Freeform 22"/>
            <p:cNvSpPr>
              <a:spLocks/>
            </p:cNvSpPr>
            <p:nvPr/>
          </p:nvSpPr>
          <p:spPr bwMode="gray">
            <a:xfrm>
              <a:off x="1803" y="2538"/>
              <a:ext cx="8" cy="9"/>
            </a:xfrm>
            <a:custGeom>
              <a:avLst/>
              <a:gdLst>
                <a:gd name="T0" fmla="*/ 4 w 8"/>
                <a:gd name="T1" fmla="*/ 0 h 9"/>
                <a:gd name="T2" fmla="*/ 4 w 8"/>
                <a:gd name="T3" fmla="*/ 4 h 9"/>
                <a:gd name="T4" fmla="*/ 0 w 8"/>
                <a:gd name="T5" fmla="*/ 4 h 9"/>
                <a:gd name="T6" fmla="*/ 4 w 8"/>
                <a:gd name="T7" fmla="*/ 9 h 9"/>
                <a:gd name="T8" fmla="*/ 4 w 8"/>
                <a:gd name="T9" fmla="*/ 4 h 9"/>
                <a:gd name="T10" fmla="*/ 8 w 8"/>
                <a:gd name="T11" fmla="*/ 4 h 9"/>
                <a:gd name="T12" fmla="*/ 4 w 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9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9"/>
                  </a:lnTo>
                  <a:lnTo>
                    <a:pt x="4" y="4"/>
                  </a:lnTo>
                  <a:lnTo>
                    <a:pt x="8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23" name="Freeform 23"/>
            <p:cNvSpPr>
              <a:spLocks/>
            </p:cNvSpPr>
            <p:nvPr/>
          </p:nvSpPr>
          <p:spPr bwMode="gray">
            <a:xfrm>
              <a:off x="1360" y="2516"/>
              <a:ext cx="58" cy="62"/>
            </a:xfrm>
            <a:custGeom>
              <a:avLst/>
              <a:gdLst>
                <a:gd name="T0" fmla="*/ 0 w 58"/>
                <a:gd name="T1" fmla="*/ 53 h 62"/>
                <a:gd name="T2" fmla="*/ 9 w 58"/>
                <a:gd name="T3" fmla="*/ 62 h 62"/>
                <a:gd name="T4" fmla="*/ 18 w 58"/>
                <a:gd name="T5" fmla="*/ 58 h 62"/>
                <a:gd name="T6" fmla="*/ 27 w 58"/>
                <a:gd name="T7" fmla="*/ 62 h 62"/>
                <a:gd name="T8" fmla="*/ 41 w 58"/>
                <a:gd name="T9" fmla="*/ 58 h 62"/>
                <a:gd name="T10" fmla="*/ 41 w 58"/>
                <a:gd name="T11" fmla="*/ 53 h 62"/>
                <a:gd name="T12" fmla="*/ 41 w 58"/>
                <a:gd name="T13" fmla="*/ 49 h 62"/>
                <a:gd name="T14" fmla="*/ 49 w 58"/>
                <a:gd name="T15" fmla="*/ 44 h 62"/>
                <a:gd name="T16" fmla="*/ 58 w 58"/>
                <a:gd name="T17" fmla="*/ 35 h 62"/>
                <a:gd name="T18" fmla="*/ 58 w 58"/>
                <a:gd name="T19" fmla="*/ 31 h 62"/>
                <a:gd name="T20" fmla="*/ 49 w 58"/>
                <a:gd name="T21" fmla="*/ 35 h 62"/>
                <a:gd name="T22" fmla="*/ 45 w 58"/>
                <a:gd name="T23" fmla="*/ 35 h 62"/>
                <a:gd name="T24" fmla="*/ 49 w 58"/>
                <a:gd name="T25" fmla="*/ 31 h 62"/>
                <a:gd name="T26" fmla="*/ 45 w 58"/>
                <a:gd name="T27" fmla="*/ 31 h 62"/>
                <a:gd name="T28" fmla="*/ 41 w 58"/>
                <a:gd name="T29" fmla="*/ 17 h 62"/>
                <a:gd name="T30" fmla="*/ 45 w 58"/>
                <a:gd name="T31" fmla="*/ 0 h 62"/>
                <a:gd name="T32" fmla="*/ 41 w 58"/>
                <a:gd name="T33" fmla="*/ 4 h 62"/>
                <a:gd name="T34" fmla="*/ 36 w 58"/>
                <a:gd name="T35" fmla="*/ 0 h 62"/>
                <a:gd name="T36" fmla="*/ 18 w 58"/>
                <a:gd name="T37" fmla="*/ 0 h 62"/>
                <a:gd name="T38" fmla="*/ 14 w 58"/>
                <a:gd name="T39" fmla="*/ 9 h 62"/>
                <a:gd name="T40" fmla="*/ 27 w 58"/>
                <a:gd name="T41" fmla="*/ 26 h 62"/>
                <a:gd name="T42" fmla="*/ 27 w 58"/>
                <a:gd name="T43" fmla="*/ 31 h 62"/>
                <a:gd name="T44" fmla="*/ 5 w 58"/>
                <a:gd name="T45" fmla="*/ 31 h 62"/>
                <a:gd name="T46" fmla="*/ 0 w 58"/>
                <a:gd name="T47" fmla="*/ 5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8" h="62">
                  <a:moveTo>
                    <a:pt x="0" y="53"/>
                  </a:moveTo>
                  <a:lnTo>
                    <a:pt x="9" y="62"/>
                  </a:lnTo>
                  <a:lnTo>
                    <a:pt x="18" y="58"/>
                  </a:lnTo>
                  <a:lnTo>
                    <a:pt x="27" y="62"/>
                  </a:lnTo>
                  <a:lnTo>
                    <a:pt x="41" y="58"/>
                  </a:lnTo>
                  <a:lnTo>
                    <a:pt x="41" y="53"/>
                  </a:lnTo>
                  <a:lnTo>
                    <a:pt x="41" y="49"/>
                  </a:lnTo>
                  <a:lnTo>
                    <a:pt x="49" y="44"/>
                  </a:lnTo>
                  <a:lnTo>
                    <a:pt x="58" y="35"/>
                  </a:lnTo>
                  <a:lnTo>
                    <a:pt x="58" y="31"/>
                  </a:lnTo>
                  <a:lnTo>
                    <a:pt x="49" y="35"/>
                  </a:lnTo>
                  <a:lnTo>
                    <a:pt x="45" y="35"/>
                  </a:lnTo>
                  <a:lnTo>
                    <a:pt x="49" y="31"/>
                  </a:lnTo>
                  <a:lnTo>
                    <a:pt x="45" y="31"/>
                  </a:lnTo>
                  <a:lnTo>
                    <a:pt x="41" y="17"/>
                  </a:lnTo>
                  <a:lnTo>
                    <a:pt x="45" y="0"/>
                  </a:lnTo>
                  <a:lnTo>
                    <a:pt x="41" y="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14" y="9"/>
                  </a:lnTo>
                  <a:lnTo>
                    <a:pt x="27" y="26"/>
                  </a:lnTo>
                  <a:lnTo>
                    <a:pt x="27" y="31"/>
                  </a:lnTo>
                  <a:lnTo>
                    <a:pt x="5" y="31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24" name="Freeform 24"/>
            <p:cNvSpPr>
              <a:spLocks/>
            </p:cNvSpPr>
            <p:nvPr/>
          </p:nvSpPr>
          <p:spPr bwMode="gray">
            <a:xfrm>
              <a:off x="1807" y="2654"/>
              <a:ext cx="71" cy="112"/>
            </a:xfrm>
            <a:custGeom>
              <a:avLst/>
              <a:gdLst>
                <a:gd name="T0" fmla="*/ 18 w 71"/>
                <a:gd name="T1" fmla="*/ 0 h 112"/>
                <a:gd name="T2" fmla="*/ 22 w 71"/>
                <a:gd name="T3" fmla="*/ 14 h 112"/>
                <a:gd name="T4" fmla="*/ 9 w 71"/>
                <a:gd name="T5" fmla="*/ 18 h 112"/>
                <a:gd name="T6" fmla="*/ 13 w 71"/>
                <a:gd name="T7" fmla="*/ 27 h 112"/>
                <a:gd name="T8" fmla="*/ 4 w 71"/>
                <a:gd name="T9" fmla="*/ 31 h 112"/>
                <a:gd name="T10" fmla="*/ 0 w 71"/>
                <a:gd name="T11" fmla="*/ 40 h 112"/>
                <a:gd name="T12" fmla="*/ 9 w 71"/>
                <a:gd name="T13" fmla="*/ 49 h 112"/>
                <a:gd name="T14" fmla="*/ 18 w 71"/>
                <a:gd name="T15" fmla="*/ 49 h 112"/>
                <a:gd name="T16" fmla="*/ 18 w 71"/>
                <a:gd name="T17" fmla="*/ 63 h 112"/>
                <a:gd name="T18" fmla="*/ 27 w 71"/>
                <a:gd name="T19" fmla="*/ 63 h 112"/>
                <a:gd name="T20" fmla="*/ 18 w 71"/>
                <a:gd name="T21" fmla="*/ 72 h 112"/>
                <a:gd name="T22" fmla="*/ 18 w 71"/>
                <a:gd name="T23" fmla="*/ 94 h 112"/>
                <a:gd name="T24" fmla="*/ 27 w 71"/>
                <a:gd name="T25" fmla="*/ 107 h 112"/>
                <a:gd name="T26" fmla="*/ 36 w 71"/>
                <a:gd name="T27" fmla="*/ 112 h 112"/>
                <a:gd name="T28" fmla="*/ 45 w 71"/>
                <a:gd name="T29" fmla="*/ 103 h 112"/>
                <a:gd name="T30" fmla="*/ 71 w 71"/>
                <a:gd name="T31" fmla="*/ 98 h 112"/>
                <a:gd name="T32" fmla="*/ 67 w 71"/>
                <a:gd name="T33" fmla="*/ 90 h 112"/>
                <a:gd name="T34" fmla="*/ 63 w 71"/>
                <a:gd name="T35" fmla="*/ 76 h 112"/>
                <a:gd name="T36" fmla="*/ 54 w 71"/>
                <a:gd name="T37" fmla="*/ 76 h 112"/>
                <a:gd name="T38" fmla="*/ 45 w 71"/>
                <a:gd name="T39" fmla="*/ 67 h 112"/>
                <a:gd name="T40" fmla="*/ 49 w 71"/>
                <a:gd name="T41" fmla="*/ 58 h 112"/>
                <a:gd name="T42" fmla="*/ 58 w 71"/>
                <a:gd name="T43" fmla="*/ 54 h 112"/>
                <a:gd name="T44" fmla="*/ 63 w 71"/>
                <a:gd name="T45" fmla="*/ 40 h 112"/>
                <a:gd name="T46" fmla="*/ 58 w 71"/>
                <a:gd name="T47" fmla="*/ 36 h 112"/>
                <a:gd name="T48" fmla="*/ 40 w 71"/>
                <a:gd name="T49" fmla="*/ 22 h 112"/>
                <a:gd name="T50" fmla="*/ 36 w 71"/>
                <a:gd name="T51" fmla="*/ 14 h 112"/>
                <a:gd name="T52" fmla="*/ 27 w 71"/>
                <a:gd name="T53" fmla="*/ 5 h 112"/>
                <a:gd name="T54" fmla="*/ 18 w 71"/>
                <a:gd name="T55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1" h="112">
                  <a:moveTo>
                    <a:pt x="18" y="0"/>
                  </a:moveTo>
                  <a:lnTo>
                    <a:pt x="22" y="14"/>
                  </a:lnTo>
                  <a:lnTo>
                    <a:pt x="9" y="18"/>
                  </a:lnTo>
                  <a:lnTo>
                    <a:pt x="13" y="27"/>
                  </a:lnTo>
                  <a:lnTo>
                    <a:pt x="4" y="31"/>
                  </a:lnTo>
                  <a:lnTo>
                    <a:pt x="0" y="40"/>
                  </a:lnTo>
                  <a:lnTo>
                    <a:pt x="9" y="49"/>
                  </a:lnTo>
                  <a:lnTo>
                    <a:pt x="18" y="49"/>
                  </a:lnTo>
                  <a:lnTo>
                    <a:pt x="18" y="63"/>
                  </a:lnTo>
                  <a:lnTo>
                    <a:pt x="27" y="63"/>
                  </a:lnTo>
                  <a:lnTo>
                    <a:pt x="18" y="72"/>
                  </a:lnTo>
                  <a:lnTo>
                    <a:pt x="18" y="94"/>
                  </a:lnTo>
                  <a:lnTo>
                    <a:pt x="27" y="107"/>
                  </a:lnTo>
                  <a:lnTo>
                    <a:pt x="36" y="112"/>
                  </a:lnTo>
                  <a:lnTo>
                    <a:pt x="45" y="103"/>
                  </a:lnTo>
                  <a:lnTo>
                    <a:pt x="71" y="98"/>
                  </a:lnTo>
                  <a:lnTo>
                    <a:pt x="67" y="90"/>
                  </a:lnTo>
                  <a:lnTo>
                    <a:pt x="63" y="76"/>
                  </a:lnTo>
                  <a:lnTo>
                    <a:pt x="54" y="76"/>
                  </a:lnTo>
                  <a:lnTo>
                    <a:pt x="45" y="67"/>
                  </a:lnTo>
                  <a:lnTo>
                    <a:pt x="49" y="58"/>
                  </a:lnTo>
                  <a:lnTo>
                    <a:pt x="58" y="54"/>
                  </a:lnTo>
                  <a:lnTo>
                    <a:pt x="63" y="40"/>
                  </a:lnTo>
                  <a:lnTo>
                    <a:pt x="58" y="36"/>
                  </a:lnTo>
                  <a:lnTo>
                    <a:pt x="40" y="22"/>
                  </a:lnTo>
                  <a:lnTo>
                    <a:pt x="36" y="14"/>
                  </a:lnTo>
                  <a:lnTo>
                    <a:pt x="27" y="5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25" name="Freeform 25"/>
            <p:cNvSpPr>
              <a:spLocks/>
            </p:cNvSpPr>
            <p:nvPr/>
          </p:nvSpPr>
          <p:spPr bwMode="gray">
            <a:xfrm>
              <a:off x="1619" y="2484"/>
              <a:ext cx="36" cy="32"/>
            </a:xfrm>
            <a:custGeom>
              <a:avLst/>
              <a:gdLst>
                <a:gd name="T0" fmla="*/ 36 w 36"/>
                <a:gd name="T1" fmla="*/ 5 h 32"/>
                <a:gd name="T2" fmla="*/ 36 w 36"/>
                <a:gd name="T3" fmla="*/ 14 h 32"/>
                <a:gd name="T4" fmla="*/ 32 w 36"/>
                <a:gd name="T5" fmla="*/ 27 h 32"/>
                <a:gd name="T6" fmla="*/ 14 w 36"/>
                <a:gd name="T7" fmla="*/ 27 h 32"/>
                <a:gd name="T8" fmla="*/ 9 w 36"/>
                <a:gd name="T9" fmla="*/ 32 h 32"/>
                <a:gd name="T10" fmla="*/ 5 w 36"/>
                <a:gd name="T11" fmla="*/ 27 h 32"/>
                <a:gd name="T12" fmla="*/ 0 w 36"/>
                <a:gd name="T13" fmla="*/ 27 h 32"/>
                <a:gd name="T14" fmla="*/ 0 w 36"/>
                <a:gd name="T15" fmla="*/ 18 h 32"/>
                <a:gd name="T16" fmla="*/ 14 w 36"/>
                <a:gd name="T17" fmla="*/ 23 h 32"/>
                <a:gd name="T18" fmla="*/ 23 w 36"/>
                <a:gd name="T19" fmla="*/ 23 h 32"/>
                <a:gd name="T20" fmla="*/ 23 w 36"/>
                <a:gd name="T21" fmla="*/ 18 h 32"/>
                <a:gd name="T22" fmla="*/ 23 w 36"/>
                <a:gd name="T23" fmla="*/ 9 h 32"/>
                <a:gd name="T24" fmla="*/ 14 w 36"/>
                <a:gd name="T25" fmla="*/ 9 h 32"/>
                <a:gd name="T26" fmla="*/ 14 w 36"/>
                <a:gd name="T27" fmla="*/ 5 h 32"/>
                <a:gd name="T28" fmla="*/ 23 w 36"/>
                <a:gd name="T29" fmla="*/ 0 h 32"/>
                <a:gd name="T30" fmla="*/ 36 w 36"/>
                <a:gd name="T31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32">
                  <a:moveTo>
                    <a:pt x="36" y="5"/>
                  </a:moveTo>
                  <a:lnTo>
                    <a:pt x="36" y="14"/>
                  </a:lnTo>
                  <a:lnTo>
                    <a:pt x="32" y="27"/>
                  </a:lnTo>
                  <a:lnTo>
                    <a:pt x="14" y="27"/>
                  </a:lnTo>
                  <a:lnTo>
                    <a:pt x="9" y="32"/>
                  </a:lnTo>
                  <a:lnTo>
                    <a:pt x="5" y="27"/>
                  </a:lnTo>
                  <a:lnTo>
                    <a:pt x="0" y="27"/>
                  </a:lnTo>
                  <a:lnTo>
                    <a:pt x="0" y="18"/>
                  </a:lnTo>
                  <a:lnTo>
                    <a:pt x="14" y="23"/>
                  </a:lnTo>
                  <a:lnTo>
                    <a:pt x="23" y="23"/>
                  </a:lnTo>
                  <a:lnTo>
                    <a:pt x="23" y="18"/>
                  </a:lnTo>
                  <a:lnTo>
                    <a:pt x="23" y="9"/>
                  </a:lnTo>
                  <a:lnTo>
                    <a:pt x="14" y="9"/>
                  </a:lnTo>
                  <a:lnTo>
                    <a:pt x="14" y="5"/>
                  </a:lnTo>
                  <a:lnTo>
                    <a:pt x="23" y="0"/>
                  </a:lnTo>
                  <a:lnTo>
                    <a:pt x="36" y="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26" name="Freeform 26"/>
            <p:cNvSpPr>
              <a:spLocks/>
            </p:cNvSpPr>
            <p:nvPr/>
          </p:nvSpPr>
          <p:spPr bwMode="gray">
            <a:xfrm>
              <a:off x="1401" y="2542"/>
              <a:ext cx="89" cy="50"/>
            </a:xfrm>
            <a:custGeom>
              <a:avLst/>
              <a:gdLst>
                <a:gd name="T0" fmla="*/ 0 w 89"/>
                <a:gd name="T1" fmla="*/ 27 h 50"/>
                <a:gd name="T2" fmla="*/ 0 w 89"/>
                <a:gd name="T3" fmla="*/ 23 h 50"/>
                <a:gd name="T4" fmla="*/ 8 w 89"/>
                <a:gd name="T5" fmla="*/ 18 h 50"/>
                <a:gd name="T6" fmla="*/ 17 w 89"/>
                <a:gd name="T7" fmla="*/ 9 h 50"/>
                <a:gd name="T8" fmla="*/ 26 w 89"/>
                <a:gd name="T9" fmla="*/ 9 h 50"/>
                <a:gd name="T10" fmla="*/ 49 w 89"/>
                <a:gd name="T11" fmla="*/ 5 h 50"/>
                <a:gd name="T12" fmla="*/ 49 w 89"/>
                <a:gd name="T13" fmla="*/ 0 h 50"/>
                <a:gd name="T14" fmla="*/ 67 w 89"/>
                <a:gd name="T15" fmla="*/ 5 h 50"/>
                <a:gd name="T16" fmla="*/ 75 w 89"/>
                <a:gd name="T17" fmla="*/ 9 h 50"/>
                <a:gd name="T18" fmla="*/ 80 w 89"/>
                <a:gd name="T19" fmla="*/ 14 h 50"/>
                <a:gd name="T20" fmla="*/ 84 w 89"/>
                <a:gd name="T21" fmla="*/ 14 h 50"/>
                <a:gd name="T22" fmla="*/ 89 w 89"/>
                <a:gd name="T23" fmla="*/ 18 h 50"/>
                <a:gd name="T24" fmla="*/ 75 w 89"/>
                <a:gd name="T25" fmla="*/ 27 h 50"/>
                <a:gd name="T26" fmla="*/ 71 w 89"/>
                <a:gd name="T27" fmla="*/ 27 h 50"/>
                <a:gd name="T28" fmla="*/ 58 w 89"/>
                <a:gd name="T29" fmla="*/ 36 h 50"/>
                <a:gd name="T30" fmla="*/ 49 w 89"/>
                <a:gd name="T31" fmla="*/ 36 h 50"/>
                <a:gd name="T32" fmla="*/ 40 w 89"/>
                <a:gd name="T33" fmla="*/ 41 h 50"/>
                <a:gd name="T34" fmla="*/ 40 w 89"/>
                <a:gd name="T35" fmla="*/ 45 h 50"/>
                <a:gd name="T36" fmla="*/ 31 w 89"/>
                <a:gd name="T37" fmla="*/ 50 h 50"/>
                <a:gd name="T38" fmla="*/ 31 w 89"/>
                <a:gd name="T39" fmla="*/ 41 h 50"/>
                <a:gd name="T40" fmla="*/ 22 w 89"/>
                <a:gd name="T41" fmla="*/ 45 h 50"/>
                <a:gd name="T42" fmla="*/ 22 w 89"/>
                <a:gd name="T43" fmla="*/ 32 h 50"/>
                <a:gd name="T44" fmla="*/ 13 w 89"/>
                <a:gd name="T45" fmla="*/ 32 h 50"/>
                <a:gd name="T46" fmla="*/ 8 w 89"/>
                <a:gd name="T47" fmla="*/ 27 h 50"/>
                <a:gd name="T48" fmla="*/ 0 w 89"/>
                <a:gd name="T49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9" h="50">
                  <a:moveTo>
                    <a:pt x="0" y="27"/>
                  </a:moveTo>
                  <a:lnTo>
                    <a:pt x="0" y="23"/>
                  </a:lnTo>
                  <a:lnTo>
                    <a:pt x="8" y="18"/>
                  </a:lnTo>
                  <a:lnTo>
                    <a:pt x="17" y="9"/>
                  </a:lnTo>
                  <a:lnTo>
                    <a:pt x="26" y="9"/>
                  </a:lnTo>
                  <a:lnTo>
                    <a:pt x="49" y="5"/>
                  </a:lnTo>
                  <a:lnTo>
                    <a:pt x="49" y="0"/>
                  </a:lnTo>
                  <a:lnTo>
                    <a:pt x="67" y="5"/>
                  </a:lnTo>
                  <a:lnTo>
                    <a:pt x="75" y="9"/>
                  </a:lnTo>
                  <a:lnTo>
                    <a:pt x="80" y="14"/>
                  </a:lnTo>
                  <a:lnTo>
                    <a:pt x="84" y="14"/>
                  </a:lnTo>
                  <a:lnTo>
                    <a:pt x="89" y="18"/>
                  </a:lnTo>
                  <a:lnTo>
                    <a:pt x="75" y="27"/>
                  </a:lnTo>
                  <a:lnTo>
                    <a:pt x="71" y="27"/>
                  </a:lnTo>
                  <a:lnTo>
                    <a:pt x="58" y="36"/>
                  </a:lnTo>
                  <a:lnTo>
                    <a:pt x="49" y="36"/>
                  </a:lnTo>
                  <a:lnTo>
                    <a:pt x="40" y="41"/>
                  </a:lnTo>
                  <a:lnTo>
                    <a:pt x="40" y="45"/>
                  </a:lnTo>
                  <a:lnTo>
                    <a:pt x="31" y="50"/>
                  </a:lnTo>
                  <a:lnTo>
                    <a:pt x="31" y="41"/>
                  </a:lnTo>
                  <a:lnTo>
                    <a:pt x="22" y="45"/>
                  </a:lnTo>
                  <a:lnTo>
                    <a:pt x="22" y="32"/>
                  </a:lnTo>
                  <a:lnTo>
                    <a:pt x="13" y="32"/>
                  </a:lnTo>
                  <a:lnTo>
                    <a:pt x="8" y="27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27" name="Freeform 27"/>
            <p:cNvSpPr>
              <a:spLocks/>
            </p:cNvSpPr>
            <p:nvPr/>
          </p:nvSpPr>
          <p:spPr bwMode="gray">
            <a:xfrm>
              <a:off x="1561" y="2502"/>
              <a:ext cx="32" cy="18"/>
            </a:xfrm>
            <a:custGeom>
              <a:avLst/>
              <a:gdLst>
                <a:gd name="T0" fmla="*/ 0 w 32"/>
                <a:gd name="T1" fmla="*/ 5 h 18"/>
                <a:gd name="T2" fmla="*/ 9 w 32"/>
                <a:gd name="T3" fmla="*/ 14 h 18"/>
                <a:gd name="T4" fmla="*/ 9 w 32"/>
                <a:gd name="T5" fmla="*/ 14 h 18"/>
                <a:gd name="T6" fmla="*/ 18 w 32"/>
                <a:gd name="T7" fmla="*/ 18 h 18"/>
                <a:gd name="T8" fmla="*/ 32 w 32"/>
                <a:gd name="T9" fmla="*/ 14 h 18"/>
                <a:gd name="T10" fmla="*/ 32 w 32"/>
                <a:gd name="T11" fmla="*/ 9 h 18"/>
                <a:gd name="T12" fmla="*/ 23 w 32"/>
                <a:gd name="T13" fmla="*/ 0 h 18"/>
                <a:gd name="T14" fmla="*/ 5 w 32"/>
                <a:gd name="T15" fmla="*/ 0 h 18"/>
                <a:gd name="T16" fmla="*/ 0 w 32"/>
                <a:gd name="T17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18">
                  <a:moveTo>
                    <a:pt x="0" y="5"/>
                  </a:moveTo>
                  <a:lnTo>
                    <a:pt x="9" y="14"/>
                  </a:lnTo>
                  <a:lnTo>
                    <a:pt x="9" y="14"/>
                  </a:lnTo>
                  <a:lnTo>
                    <a:pt x="18" y="18"/>
                  </a:lnTo>
                  <a:lnTo>
                    <a:pt x="32" y="14"/>
                  </a:lnTo>
                  <a:lnTo>
                    <a:pt x="32" y="9"/>
                  </a:lnTo>
                  <a:lnTo>
                    <a:pt x="23" y="0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28" name="Freeform 28"/>
            <p:cNvSpPr>
              <a:spLocks/>
            </p:cNvSpPr>
            <p:nvPr/>
          </p:nvSpPr>
          <p:spPr bwMode="gray">
            <a:xfrm>
              <a:off x="1811" y="2560"/>
              <a:ext cx="5" cy="9"/>
            </a:xfrm>
            <a:custGeom>
              <a:avLst/>
              <a:gdLst>
                <a:gd name="T0" fmla="*/ 5 w 5"/>
                <a:gd name="T1" fmla="*/ 9 h 9"/>
                <a:gd name="T2" fmla="*/ 5 w 5"/>
                <a:gd name="T3" fmla="*/ 5 h 9"/>
                <a:gd name="T4" fmla="*/ 0 w 5"/>
                <a:gd name="T5" fmla="*/ 0 h 9"/>
                <a:gd name="T6" fmla="*/ 0 w 5"/>
                <a:gd name="T7" fmla="*/ 0 h 9"/>
                <a:gd name="T8" fmla="*/ 0 w 5"/>
                <a:gd name="T9" fmla="*/ 9 h 9"/>
                <a:gd name="T10" fmla="*/ 5 w 5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9">
                  <a:moveTo>
                    <a:pt x="5" y="9"/>
                  </a:moveTo>
                  <a:lnTo>
                    <a:pt x="5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5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29" name="Freeform 29"/>
            <p:cNvSpPr>
              <a:spLocks/>
            </p:cNvSpPr>
            <p:nvPr/>
          </p:nvSpPr>
          <p:spPr bwMode="gray">
            <a:xfrm>
              <a:off x="1003" y="2279"/>
              <a:ext cx="442" cy="290"/>
            </a:xfrm>
            <a:custGeom>
              <a:avLst/>
              <a:gdLst>
                <a:gd name="T0" fmla="*/ 4 w 442"/>
                <a:gd name="T1" fmla="*/ 9 h 290"/>
                <a:gd name="T2" fmla="*/ 36 w 442"/>
                <a:gd name="T3" fmla="*/ 53 h 290"/>
                <a:gd name="T4" fmla="*/ 49 w 442"/>
                <a:gd name="T5" fmla="*/ 80 h 290"/>
                <a:gd name="T6" fmla="*/ 40 w 442"/>
                <a:gd name="T7" fmla="*/ 94 h 290"/>
                <a:gd name="T8" fmla="*/ 71 w 442"/>
                <a:gd name="T9" fmla="*/ 107 h 290"/>
                <a:gd name="T10" fmla="*/ 80 w 442"/>
                <a:gd name="T11" fmla="*/ 134 h 290"/>
                <a:gd name="T12" fmla="*/ 80 w 442"/>
                <a:gd name="T13" fmla="*/ 129 h 290"/>
                <a:gd name="T14" fmla="*/ 116 w 442"/>
                <a:gd name="T15" fmla="*/ 147 h 290"/>
                <a:gd name="T16" fmla="*/ 107 w 442"/>
                <a:gd name="T17" fmla="*/ 134 h 290"/>
                <a:gd name="T18" fmla="*/ 98 w 442"/>
                <a:gd name="T19" fmla="*/ 138 h 290"/>
                <a:gd name="T20" fmla="*/ 94 w 442"/>
                <a:gd name="T21" fmla="*/ 111 h 290"/>
                <a:gd name="T22" fmla="*/ 80 w 442"/>
                <a:gd name="T23" fmla="*/ 94 h 290"/>
                <a:gd name="T24" fmla="*/ 63 w 442"/>
                <a:gd name="T25" fmla="*/ 58 h 290"/>
                <a:gd name="T26" fmla="*/ 49 w 442"/>
                <a:gd name="T27" fmla="*/ 49 h 290"/>
                <a:gd name="T28" fmla="*/ 58 w 442"/>
                <a:gd name="T29" fmla="*/ 22 h 290"/>
                <a:gd name="T30" fmla="*/ 67 w 442"/>
                <a:gd name="T31" fmla="*/ 58 h 290"/>
                <a:gd name="T32" fmla="*/ 76 w 442"/>
                <a:gd name="T33" fmla="*/ 62 h 290"/>
                <a:gd name="T34" fmla="*/ 89 w 442"/>
                <a:gd name="T35" fmla="*/ 80 h 290"/>
                <a:gd name="T36" fmla="*/ 103 w 442"/>
                <a:gd name="T37" fmla="*/ 89 h 290"/>
                <a:gd name="T38" fmla="*/ 121 w 442"/>
                <a:gd name="T39" fmla="*/ 103 h 290"/>
                <a:gd name="T40" fmla="*/ 130 w 442"/>
                <a:gd name="T41" fmla="*/ 120 h 290"/>
                <a:gd name="T42" fmla="*/ 170 w 442"/>
                <a:gd name="T43" fmla="*/ 165 h 290"/>
                <a:gd name="T44" fmla="*/ 174 w 442"/>
                <a:gd name="T45" fmla="*/ 196 h 290"/>
                <a:gd name="T46" fmla="*/ 201 w 442"/>
                <a:gd name="T47" fmla="*/ 232 h 290"/>
                <a:gd name="T48" fmla="*/ 259 w 442"/>
                <a:gd name="T49" fmla="*/ 259 h 290"/>
                <a:gd name="T50" fmla="*/ 317 w 442"/>
                <a:gd name="T51" fmla="*/ 268 h 290"/>
                <a:gd name="T52" fmla="*/ 357 w 442"/>
                <a:gd name="T53" fmla="*/ 290 h 290"/>
                <a:gd name="T54" fmla="*/ 384 w 442"/>
                <a:gd name="T55" fmla="*/ 263 h 290"/>
                <a:gd name="T56" fmla="*/ 393 w 442"/>
                <a:gd name="T57" fmla="*/ 237 h 290"/>
                <a:gd name="T58" fmla="*/ 411 w 442"/>
                <a:gd name="T59" fmla="*/ 228 h 290"/>
                <a:gd name="T60" fmla="*/ 429 w 442"/>
                <a:gd name="T61" fmla="*/ 214 h 290"/>
                <a:gd name="T62" fmla="*/ 433 w 442"/>
                <a:gd name="T63" fmla="*/ 205 h 290"/>
                <a:gd name="T64" fmla="*/ 438 w 442"/>
                <a:gd name="T65" fmla="*/ 183 h 290"/>
                <a:gd name="T66" fmla="*/ 398 w 442"/>
                <a:gd name="T67" fmla="*/ 183 h 290"/>
                <a:gd name="T68" fmla="*/ 384 w 442"/>
                <a:gd name="T69" fmla="*/ 210 h 290"/>
                <a:gd name="T70" fmla="*/ 366 w 442"/>
                <a:gd name="T71" fmla="*/ 223 h 290"/>
                <a:gd name="T72" fmla="*/ 326 w 442"/>
                <a:gd name="T73" fmla="*/ 232 h 290"/>
                <a:gd name="T74" fmla="*/ 299 w 442"/>
                <a:gd name="T75" fmla="*/ 205 h 290"/>
                <a:gd name="T76" fmla="*/ 286 w 442"/>
                <a:gd name="T77" fmla="*/ 179 h 290"/>
                <a:gd name="T78" fmla="*/ 286 w 442"/>
                <a:gd name="T79" fmla="*/ 143 h 290"/>
                <a:gd name="T80" fmla="*/ 281 w 442"/>
                <a:gd name="T81" fmla="*/ 134 h 290"/>
                <a:gd name="T82" fmla="*/ 290 w 442"/>
                <a:gd name="T83" fmla="*/ 111 h 290"/>
                <a:gd name="T84" fmla="*/ 255 w 442"/>
                <a:gd name="T85" fmla="*/ 85 h 290"/>
                <a:gd name="T86" fmla="*/ 201 w 442"/>
                <a:gd name="T87" fmla="*/ 67 h 290"/>
                <a:gd name="T88" fmla="*/ 156 w 442"/>
                <a:gd name="T89" fmla="*/ 18 h 290"/>
                <a:gd name="T90" fmla="*/ 89 w 442"/>
                <a:gd name="T91" fmla="*/ 2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42" h="290">
                  <a:moveTo>
                    <a:pt x="0" y="4"/>
                  </a:moveTo>
                  <a:lnTo>
                    <a:pt x="0" y="9"/>
                  </a:lnTo>
                  <a:lnTo>
                    <a:pt x="4" y="9"/>
                  </a:lnTo>
                  <a:lnTo>
                    <a:pt x="18" y="36"/>
                  </a:lnTo>
                  <a:lnTo>
                    <a:pt x="22" y="49"/>
                  </a:lnTo>
                  <a:lnTo>
                    <a:pt x="36" y="53"/>
                  </a:lnTo>
                  <a:lnTo>
                    <a:pt x="45" y="67"/>
                  </a:lnTo>
                  <a:lnTo>
                    <a:pt x="45" y="76"/>
                  </a:lnTo>
                  <a:lnTo>
                    <a:pt x="49" y="80"/>
                  </a:lnTo>
                  <a:lnTo>
                    <a:pt x="40" y="76"/>
                  </a:lnTo>
                  <a:lnTo>
                    <a:pt x="31" y="80"/>
                  </a:lnTo>
                  <a:lnTo>
                    <a:pt x="40" y="94"/>
                  </a:lnTo>
                  <a:lnTo>
                    <a:pt x="54" y="98"/>
                  </a:lnTo>
                  <a:lnTo>
                    <a:pt x="58" y="94"/>
                  </a:lnTo>
                  <a:lnTo>
                    <a:pt x="71" y="107"/>
                  </a:lnTo>
                  <a:lnTo>
                    <a:pt x="71" y="134"/>
                  </a:lnTo>
                  <a:lnTo>
                    <a:pt x="80" y="138"/>
                  </a:lnTo>
                  <a:lnTo>
                    <a:pt x="80" y="134"/>
                  </a:lnTo>
                  <a:lnTo>
                    <a:pt x="76" y="134"/>
                  </a:lnTo>
                  <a:lnTo>
                    <a:pt x="76" y="129"/>
                  </a:lnTo>
                  <a:lnTo>
                    <a:pt x="80" y="129"/>
                  </a:lnTo>
                  <a:lnTo>
                    <a:pt x="85" y="138"/>
                  </a:lnTo>
                  <a:lnTo>
                    <a:pt x="107" y="161"/>
                  </a:lnTo>
                  <a:lnTo>
                    <a:pt x="116" y="147"/>
                  </a:lnTo>
                  <a:lnTo>
                    <a:pt x="112" y="138"/>
                  </a:lnTo>
                  <a:lnTo>
                    <a:pt x="112" y="134"/>
                  </a:lnTo>
                  <a:lnTo>
                    <a:pt x="107" y="134"/>
                  </a:lnTo>
                  <a:lnTo>
                    <a:pt x="107" y="138"/>
                  </a:lnTo>
                  <a:lnTo>
                    <a:pt x="103" y="134"/>
                  </a:lnTo>
                  <a:lnTo>
                    <a:pt x="98" y="138"/>
                  </a:lnTo>
                  <a:lnTo>
                    <a:pt x="94" y="120"/>
                  </a:lnTo>
                  <a:lnTo>
                    <a:pt x="89" y="111"/>
                  </a:lnTo>
                  <a:lnTo>
                    <a:pt x="94" y="111"/>
                  </a:lnTo>
                  <a:lnTo>
                    <a:pt x="94" y="107"/>
                  </a:lnTo>
                  <a:lnTo>
                    <a:pt x="89" y="107"/>
                  </a:lnTo>
                  <a:lnTo>
                    <a:pt x="80" y="94"/>
                  </a:lnTo>
                  <a:lnTo>
                    <a:pt x="80" y="98"/>
                  </a:lnTo>
                  <a:lnTo>
                    <a:pt x="58" y="62"/>
                  </a:lnTo>
                  <a:lnTo>
                    <a:pt x="63" y="58"/>
                  </a:lnTo>
                  <a:lnTo>
                    <a:pt x="54" y="53"/>
                  </a:lnTo>
                  <a:lnTo>
                    <a:pt x="54" y="58"/>
                  </a:lnTo>
                  <a:lnTo>
                    <a:pt x="49" y="49"/>
                  </a:lnTo>
                  <a:lnTo>
                    <a:pt x="40" y="44"/>
                  </a:lnTo>
                  <a:lnTo>
                    <a:pt x="36" y="18"/>
                  </a:lnTo>
                  <a:lnTo>
                    <a:pt x="58" y="22"/>
                  </a:lnTo>
                  <a:lnTo>
                    <a:pt x="58" y="31"/>
                  </a:lnTo>
                  <a:lnTo>
                    <a:pt x="71" y="58"/>
                  </a:lnTo>
                  <a:lnTo>
                    <a:pt x="67" y="58"/>
                  </a:lnTo>
                  <a:lnTo>
                    <a:pt x="67" y="67"/>
                  </a:lnTo>
                  <a:lnTo>
                    <a:pt x="71" y="67"/>
                  </a:lnTo>
                  <a:lnTo>
                    <a:pt x="76" y="62"/>
                  </a:lnTo>
                  <a:lnTo>
                    <a:pt x="71" y="58"/>
                  </a:lnTo>
                  <a:lnTo>
                    <a:pt x="80" y="67"/>
                  </a:lnTo>
                  <a:lnTo>
                    <a:pt x="89" y="80"/>
                  </a:lnTo>
                  <a:lnTo>
                    <a:pt x="94" y="80"/>
                  </a:lnTo>
                  <a:lnTo>
                    <a:pt x="98" y="89"/>
                  </a:lnTo>
                  <a:lnTo>
                    <a:pt x="103" y="89"/>
                  </a:lnTo>
                  <a:lnTo>
                    <a:pt x="112" y="98"/>
                  </a:lnTo>
                  <a:lnTo>
                    <a:pt x="116" y="98"/>
                  </a:lnTo>
                  <a:lnTo>
                    <a:pt x="121" y="103"/>
                  </a:lnTo>
                  <a:lnTo>
                    <a:pt x="116" y="116"/>
                  </a:lnTo>
                  <a:lnTo>
                    <a:pt x="121" y="120"/>
                  </a:lnTo>
                  <a:lnTo>
                    <a:pt x="130" y="120"/>
                  </a:lnTo>
                  <a:lnTo>
                    <a:pt x="152" y="147"/>
                  </a:lnTo>
                  <a:lnTo>
                    <a:pt x="152" y="152"/>
                  </a:lnTo>
                  <a:lnTo>
                    <a:pt x="170" y="165"/>
                  </a:lnTo>
                  <a:lnTo>
                    <a:pt x="174" y="187"/>
                  </a:lnTo>
                  <a:lnTo>
                    <a:pt x="174" y="192"/>
                  </a:lnTo>
                  <a:lnTo>
                    <a:pt x="174" y="196"/>
                  </a:lnTo>
                  <a:lnTo>
                    <a:pt x="170" y="201"/>
                  </a:lnTo>
                  <a:lnTo>
                    <a:pt x="174" y="210"/>
                  </a:lnTo>
                  <a:lnTo>
                    <a:pt x="201" y="232"/>
                  </a:lnTo>
                  <a:lnTo>
                    <a:pt x="228" y="237"/>
                  </a:lnTo>
                  <a:lnTo>
                    <a:pt x="237" y="254"/>
                  </a:lnTo>
                  <a:lnTo>
                    <a:pt x="259" y="259"/>
                  </a:lnTo>
                  <a:lnTo>
                    <a:pt x="295" y="277"/>
                  </a:lnTo>
                  <a:lnTo>
                    <a:pt x="308" y="272"/>
                  </a:lnTo>
                  <a:lnTo>
                    <a:pt x="317" y="268"/>
                  </a:lnTo>
                  <a:lnTo>
                    <a:pt x="331" y="268"/>
                  </a:lnTo>
                  <a:lnTo>
                    <a:pt x="339" y="272"/>
                  </a:lnTo>
                  <a:lnTo>
                    <a:pt x="357" y="290"/>
                  </a:lnTo>
                  <a:lnTo>
                    <a:pt x="362" y="268"/>
                  </a:lnTo>
                  <a:lnTo>
                    <a:pt x="384" y="268"/>
                  </a:lnTo>
                  <a:lnTo>
                    <a:pt x="384" y="263"/>
                  </a:lnTo>
                  <a:lnTo>
                    <a:pt x="371" y="246"/>
                  </a:lnTo>
                  <a:lnTo>
                    <a:pt x="375" y="237"/>
                  </a:lnTo>
                  <a:lnTo>
                    <a:pt x="393" y="237"/>
                  </a:lnTo>
                  <a:lnTo>
                    <a:pt x="398" y="241"/>
                  </a:lnTo>
                  <a:lnTo>
                    <a:pt x="402" y="237"/>
                  </a:lnTo>
                  <a:lnTo>
                    <a:pt x="411" y="228"/>
                  </a:lnTo>
                  <a:lnTo>
                    <a:pt x="415" y="223"/>
                  </a:lnTo>
                  <a:lnTo>
                    <a:pt x="420" y="232"/>
                  </a:lnTo>
                  <a:lnTo>
                    <a:pt x="429" y="214"/>
                  </a:lnTo>
                  <a:lnTo>
                    <a:pt x="424" y="210"/>
                  </a:lnTo>
                  <a:lnTo>
                    <a:pt x="433" y="201"/>
                  </a:lnTo>
                  <a:lnTo>
                    <a:pt x="433" y="205"/>
                  </a:lnTo>
                  <a:lnTo>
                    <a:pt x="442" y="196"/>
                  </a:lnTo>
                  <a:lnTo>
                    <a:pt x="438" y="196"/>
                  </a:lnTo>
                  <a:lnTo>
                    <a:pt x="438" y="183"/>
                  </a:lnTo>
                  <a:lnTo>
                    <a:pt x="433" y="179"/>
                  </a:lnTo>
                  <a:lnTo>
                    <a:pt x="415" y="179"/>
                  </a:lnTo>
                  <a:lnTo>
                    <a:pt x="398" y="183"/>
                  </a:lnTo>
                  <a:lnTo>
                    <a:pt x="384" y="192"/>
                  </a:lnTo>
                  <a:lnTo>
                    <a:pt x="389" y="192"/>
                  </a:lnTo>
                  <a:lnTo>
                    <a:pt x="384" y="210"/>
                  </a:lnTo>
                  <a:lnTo>
                    <a:pt x="375" y="219"/>
                  </a:lnTo>
                  <a:lnTo>
                    <a:pt x="380" y="223"/>
                  </a:lnTo>
                  <a:lnTo>
                    <a:pt x="366" y="223"/>
                  </a:lnTo>
                  <a:lnTo>
                    <a:pt x="366" y="219"/>
                  </a:lnTo>
                  <a:lnTo>
                    <a:pt x="339" y="228"/>
                  </a:lnTo>
                  <a:lnTo>
                    <a:pt x="326" y="232"/>
                  </a:lnTo>
                  <a:lnTo>
                    <a:pt x="322" y="228"/>
                  </a:lnTo>
                  <a:lnTo>
                    <a:pt x="308" y="219"/>
                  </a:lnTo>
                  <a:lnTo>
                    <a:pt x="299" y="205"/>
                  </a:lnTo>
                  <a:lnTo>
                    <a:pt x="290" y="196"/>
                  </a:lnTo>
                  <a:lnTo>
                    <a:pt x="286" y="187"/>
                  </a:lnTo>
                  <a:lnTo>
                    <a:pt x="286" y="179"/>
                  </a:lnTo>
                  <a:lnTo>
                    <a:pt x="281" y="174"/>
                  </a:lnTo>
                  <a:lnTo>
                    <a:pt x="281" y="156"/>
                  </a:lnTo>
                  <a:lnTo>
                    <a:pt x="286" y="143"/>
                  </a:lnTo>
                  <a:lnTo>
                    <a:pt x="281" y="138"/>
                  </a:lnTo>
                  <a:lnTo>
                    <a:pt x="281" y="138"/>
                  </a:lnTo>
                  <a:lnTo>
                    <a:pt x="281" y="134"/>
                  </a:lnTo>
                  <a:lnTo>
                    <a:pt x="281" y="134"/>
                  </a:lnTo>
                  <a:lnTo>
                    <a:pt x="286" y="125"/>
                  </a:lnTo>
                  <a:lnTo>
                    <a:pt x="290" y="111"/>
                  </a:lnTo>
                  <a:lnTo>
                    <a:pt x="286" y="111"/>
                  </a:lnTo>
                  <a:lnTo>
                    <a:pt x="264" y="103"/>
                  </a:lnTo>
                  <a:lnTo>
                    <a:pt x="255" y="85"/>
                  </a:lnTo>
                  <a:lnTo>
                    <a:pt x="228" y="53"/>
                  </a:lnTo>
                  <a:lnTo>
                    <a:pt x="214" y="49"/>
                  </a:lnTo>
                  <a:lnTo>
                    <a:pt x="201" y="67"/>
                  </a:lnTo>
                  <a:lnTo>
                    <a:pt x="183" y="53"/>
                  </a:lnTo>
                  <a:lnTo>
                    <a:pt x="179" y="31"/>
                  </a:lnTo>
                  <a:lnTo>
                    <a:pt x="156" y="18"/>
                  </a:lnTo>
                  <a:lnTo>
                    <a:pt x="130" y="18"/>
                  </a:lnTo>
                  <a:lnTo>
                    <a:pt x="134" y="27"/>
                  </a:lnTo>
                  <a:lnTo>
                    <a:pt x="89" y="27"/>
                  </a:lnTo>
                  <a:lnTo>
                    <a:pt x="36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30" name="Freeform 30"/>
            <p:cNvSpPr>
              <a:spLocks noEditPoints="1"/>
            </p:cNvSpPr>
            <p:nvPr/>
          </p:nvSpPr>
          <p:spPr bwMode="gray">
            <a:xfrm>
              <a:off x="1691" y="2596"/>
              <a:ext cx="18" cy="9"/>
            </a:xfrm>
            <a:custGeom>
              <a:avLst/>
              <a:gdLst>
                <a:gd name="T0" fmla="*/ 9 w 18"/>
                <a:gd name="T1" fmla="*/ 9 h 9"/>
                <a:gd name="T2" fmla="*/ 9 w 18"/>
                <a:gd name="T3" fmla="*/ 9 h 9"/>
                <a:gd name="T4" fmla="*/ 13 w 18"/>
                <a:gd name="T5" fmla="*/ 5 h 9"/>
                <a:gd name="T6" fmla="*/ 4 w 18"/>
                <a:gd name="T7" fmla="*/ 0 h 9"/>
                <a:gd name="T8" fmla="*/ 0 w 18"/>
                <a:gd name="T9" fmla="*/ 5 h 9"/>
                <a:gd name="T10" fmla="*/ 9 w 18"/>
                <a:gd name="T11" fmla="*/ 9 h 9"/>
                <a:gd name="T12" fmla="*/ 18 w 18"/>
                <a:gd name="T13" fmla="*/ 9 h 9"/>
                <a:gd name="T14" fmla="*/ 18 w 18"/>
                <a:gd name="T15" fmla="*/ 5 h 9"/>
                <a:gd name="T16" fmla="*/ 13 w 18"/>
                <a:gd name="T17" fmla="*/ 5 h 9"/>
                <a:gd name="T18" fmla="*/ 13 w 18"/>
                <a:gd name="T19" fmla="*/ 5 h 9"/>
                <a:gd name="T20" fmla="*/ 18 w 18"/>
                <a:gd name="T21" fmla="*/ 5 h 9"/>
                <a:gd name="T22" fmla="*/ 18 w 18"/>
                <a:gd name="T23" fmla="*/ 9 h 9"/>
                <a:gd name="T24" fmla="*/ 18 w 18"/>
                <a:gd name="T2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9">
                  <a:moveTo>
                    <a:pt x="9" y="9"/>
                  </a:moveTo>
                  <a:lnTo>
                    <a:pt x="9" y="9"/>
                  </a:lnTo>
                  <a:lnTo>
                    <a:pt x="13" y="5"/>
                  </a:lnTo>
                  <a:lnTo>
                    <a:pt x="4" y="0"/>
                  </a:lnTo>
                  <a:lnTo>
                    <a:pt x="0" y="5"/>
                  </a:lnTo>
                  <a:lnTo>
                    <a:pt x="9" y="9"/>
                  </a:lnTo>
                  <a:close/>
                  <a:moveTo>
                    <a:pt x="18" y="9"/>
                  </a:moveTo>
                  <a:lnTo>
                    <a:pt x="18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8" y="5"/>
                  </a:lnTo>
                  <a:lnTo>
                    <a:pt x="18" y="9"/>
                  </a:lnTo>
                  <a:lnTo>
                    <a:pt x="18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31" name="Freeform 31"/>
            <p:cNvSpPr>
              <a:spLocks/>
            </p:cNvSpPr>
            <p:nvPr/>
          </p:nvSpPr>
          <p:spPr bwMode="gray">
            <a:xfrm>
              <a:off x="1427" y="2560"/>
              <a:ext cx="67" cy="63"/>
            </a:xfrm>
            <a:custGeom>
              <a:avLst/>
              <a:gdLst>
                <a:gd name="T0" fmla="*/ 5 w 67"/>
                <a:gd name="T1" fmla="*/ 32 h 63"/>
                <a:gd name="T2" fmla="*/ 0 w 67"/>
                <a:gd name="T3" fmla="*/ 36 h 63"/>
                <a:gd name="T4" fmla="*/ 27 w 67"/>
                <a:gd name="T5" fmla="*/ 58 h 63"/>
                <a:gd name="T6" fmla="*/ 45 w 67"/>
                <a:gd name="T7" fmla="*/ 58 h 63"/>
                <a:gd name="T8" fmla="*/ 58 w 67"/>
                <a:gd name="T9" fmla="*/ 63 h 63"/>
                <a:gd name="T10" fmla="*/ 58 w 67"/>
                <a:gd name="T11" fmla="*/ 63 h 63"/>
                <a:gd name="T12" fmla="*/ 58 w 67"/>
                <a:gd name="T13" fmla="*/ 54 h 63"/>
                <a:gd name="T14" fmla="*/ 63 w 67"/>
                <a:gd name="T15" fmla="*/ 54 h 63"/>
                <a:gd name="T16" fmla="*/ 58 w 67"/>
                <a:gd name="T17" fmla="*/ 41 h 63"/>
                <a:gd name="T18" fmla="*/ 63 w 67"/>
                <a:gd name="T19" fmla="*/ 36 h 63"/>
                <a:gd name="T20" fmla="*/ 63 w 67"/>
                <a:gd name="T21" fmla="*/ 27 h 63"/>
                <a:gd name="T22" fmla="*/ 67 w 67"/>
                <a:gd name="T23" fmla="*/ 9 h 63"/>
                <a:gd name="T24" fmla="*/ 63 w 67"/>
                <a:gd name="T25" fmla="*/ 5 h 63"/>
                <a:gd name="T26" fmla="*/ 63 w 67"/>
                <a:gd name="T27" fmla="*/ 0 h 63"/>
                <a:gd name="T28" fmla="*/ 49 w 67"/>
                <a:gd name="T29" fmla="*/ 9 h 63"/>
                <a:gd name="T30" fmla="*/ 45 w 67"/>
                <a:gd name="T31" fmla="*/ 9 h 63"/>
                <a:gd name="T32" fmla="*/ 32 w 67"/>
                <a:gd name="T33" fmla="*/ 18 h 63"/>
                <a:gd name="T34" fmla="*/ 23 w 67"/>
                <a:gd name="T35" fmla="*/ 18 h 63"/>
                <a:gd name="T36" fmla="*/ 14 w 67"/>
                <a:gd name="T37" fmla="*/ 23 h 63"/>
                <a:gd name="T38" fmla="*/ 14 w 67"/>
                <a:gd name="T39" fmla="*/ 27 h 63"/>
                <a:gd name="T40" fmla="*/ 5 w 67"/>
                <a:gd name="T41" fmla="*/ 3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7" h="63">
                  <a:moveTo>
                    <a:pt x="5" y="32"/>
                  </a:moveTo>
                  <a:lnTo>
                    <a:pt x="0" y="36"/>
                  </a:lnTo>
                  <a:lnTo>
                    <a:pt x="27" y="58"/>
                  </a:lnTo>
                  <a:lnTo>
                    <a:pt x="45" y="58"/>
                  </a:lnTo>
                  <a:lnTo>
                    <a:pt x="58" y="63"/>
                  </a:lnTo>
                  <a:lnTo>
                    <a:pt x="58" y="63"/>
                  </a:lnTo>
                  <a:lnTo>
                    <a:pt x="58" y="54"/>
                  </a:lnTo>
                  <a:lnTo>
                    <a:pt x="63" y="54"/>
                  </a:lnTo>
                  <a:lnTo>
                    <a:pt x="58" y="41"/>
                  </a:lnTo>
                  <a:lnTo>
                    <a:pt x="63" y="36"/>
                  </a:lnTo>
                  <a:lnTo>
                    <a:pt x="63" y="27"/>
                  </a:lnTo>
                  <a:lnTo>
                    <a:pt x="67" y="9"/>
                  </a:lnTo>
                  <a:lnTo>
                    <a:pt x="63" y="5"/>
                  </a:lnTo>
                  <a:lnTo>
                    <a:pt x="63" y="0"/>
                  </a:lnTo>
                  <a:lnTo>
                    <a:pt x="49" y="9"/>
                  </a:lnTo>
                  <a:lnTo>
                    <a:pt x="45" y="9"/>
                  </a:lnTo>
                  <a:lnTo>
                    <a:pt x="32" y="18"/>
                  </a:lnTo>
                  <a:lnTo>
                    <a:pt x="23" y="18"/>
                  </a:lnTo>
                  <a:lnTo>
                    <a:pt x="14" y="23"/>
                  </a:lnTo>
                  <a:lnTo>
                    <a:pt x="14" y="27"/>
                  </a:lnTo>
                  <a:lnTo>
                    <a:pt x="5" y="3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32" name="Freeform 32"/>
            <p:cNvSpPr>
              <a:spLocks/>
            </p:cNvSpPr>
            <p:nvPr/>
          </p:nvSpPr>
          <p:spPr bwMode="gray">
            <a:xfrm>
              <a:off x="1494" y="2641"/>
              <a:ext cx="81" cy="40"/>
            </a:xfrm>
            <a:custGeom>
              <a:avLst/>
              <a:gdLst>
                <a:gd name="T0" fmla="*/ 0 w 81"/>
                <a:gd name="T1" fmla="*/ 18 h 40"/>
                <a:gd name="T2" fmla="*/ 0 w 81"/>
                <a:gd name="T3" fmla="*/ 4 h 40"/>
                <a:gd name="T4" fmla="*/ 9 w 81"/>
                <a:gd name="T5" fmla="*/ 0 h 40"/>
                <a:gd name="T6" fmla="*/ 14 w 81"/>
                <a:gd name="T7" fmla="*/ 9 h 40"/>
                <a:gd name="T8" fmla="*/ 18 w 81"/>
                <a:gd name="T9" fmla="*/ 4 h 40"/>
                <a:gd name="T10" fmla="*/ 27 w 81"/>
                <a:gd name="T11" fmla="*/ 13 h 40"/>
                <a:gd name="T12" fmla="*/ 49 w 81"/>
                <a:gd name="T13" fmla="*/ 0 h 40"/>
                <a:gd name="T14" fmla="*/ 58 w 81"/>
                <a:gd name="T15" fmla="*/ 0 h 40"/>
                <a:gd name="T16" fmla="*/ 72 w 81"/>
                <a:gd name="T17" fmla="*/ 4 h 40"/>
                <a:gd name="T18" fmla="*/ 81 w 81"/>
                <a:gd name="T19" fmla="*/ 13 h 40"/>
                <a:gd name="T20" fmla="*/ 81 w 81"/>
                <a:gd name="T21" fmla="*/ 27 h 40"/>
                <a:gd name="T22" fmla="*/ 72 w 81"/>
                <a:gd name="T23" fmla="*/ 31 h 40"/>
                <a:gd name="T24" fmla="*/ 72 w 81"/>
                <a:gd name="T25" fmla="*/ 31 h 40"/>
                <a:gd name="T26" fmla="*/ 67 w 81"/>
                <a:gd name="T27" fmla="*/ 27 h 40"/>
                <a:gd name="T28" fmla="*/ 72 w 81"/>
                <a:gd name="T29" fmla="*/ 18 h 40"/>
                <a:gd name="T30" fmla="*/ 58 w 81"/>
                <a:gd name="T31" fmla="*/ 13 h 40"/>
                <a:gd name="T32" fmla="*/ 49 w 81"/>
                <a:gd name="T33" fmla="*/ 9 h 40"/>
                <a:gd name="T34" fmla="*/ 45 w 81"/>
                <a:gd name="T35" fmla="*/ 18 h 40"/>
                <a:gd name="T36" fmla="*/ 41 w 81"/>
                <a:gd name="T37" fmla="*/ 22 h 40"/>
                <a:gd name="T38" fmla="*/ 45 w 81"/>
                <a:gd name="T39" fmla="*/ 31 h 40"/>
                <a:gd name="T40" fmla="*/ 32 w 81"/>
                <a:gd name="T41" fmla="*/ 40 h 40"/>
                <a:gd name="T42" fmla="*/ 27 w 81"/>
                <a:gd name="T43" fmla="*/ 31 h 40"/>
                <a:gd name="T44" fmla="*/ 18 w 81"/>
                <a:gd name="T45" fmla="*/ 27 h 40"/>
                <a:gd name="T46" fmla="*/ 9 w 81"/>
                <a:gd name="T47" fmla="*/ 18 h 40"/>
                <a:gd name="T48" fmla="*/ 5 w 81"/>
                <a:gd name="T49" fmla="*/ 27 h 40"/>
                <a:gd name="T50" fmla="*/ 0 w 81"/>
                <a:gd name="T51" fmla="*/ 1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1" h="40">
                  <a:moveTo>
                    <a:pt x="0" y="18"/>
                  </a:moveTo>
                  <a:lnTo>
                    <a:pt x="0" y="4"/>
                  </a:lnTo>
                  <a:lnTo>
                    <a:pt x="9" y="0"/>
                  </a:lnTo>
                  <a:lnTo>
                    <a:pt x="14" y="9"/>
                  </a:lnTo>
                  <a:lnTo>
                    <a:pt x="18" y="4"/>
                  </a:lnTo>
                  <a:lnTo>
                    <a:pt x="27" y="13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72" y="4"/>
                  </a:lnTo>
                  <a:lnTo>
                    <a:pt x="81" y="13"/>
                  </a:lnTo>
                  <a:lnTo>
                    <a:pt x="81" y="27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67" y="27"/>
                  </a:lnTo>
                  <a:lnTo>
                    <a:pt x="72" y="18"/>
                  </a:lnTo>
                  <a:lnTo>
                    <a:pt x="58" y="13"/>
                  </a:lnTo>
                  <a:lnTo>
                    <a:pt x="49" y="9"/>
                  </a:lnTo>
                  <a:lnTo>
                    <a:pt x="45" y="18"/>
                  </a:lnTo>
                  <a:lnTo>
                    <a:pt x="41" y="22"/>
                  </a:lnTo>
                  <a:lnTo>
                    <a:pt x="45" y="31"/>
                  </a:lnTo>
                  <a:lnTo>
                    <a:pt x="32" y="40"/>
                  </a:lnTo>
                  <a:lnTo>
                    <a:pt x="27" y="31"/>
                  </a:lnTo>
                  <a:lnTo>
                    <a:pt x="18" y="27"/>
                  </a:lnTo>
                  <a:lnTo>
                    <a:pt x="9" y="18"/>
                  </a:lnTo>
                  <a:lnTo>
                    <a:pt x="5" y="27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33" name="Freeform 33"/>
            <p:cNvSpPr>
              <a:spLocks/>
            </p:cNvSpPr>
            <p:nvPr/>
          </p:nvSpPr>
          <p:spPr bwMode="gray">
            <a:xfrm>
              <a:off x="1789" y="3070"/>
              <a:ext cx="121" cy="129"/>
            </a:xfrm>
            <a:custGeom>
              <a:avLst/>
              <a:gdLst>
                <a:gd name="T0" fmla="*/ 0 w 121"/>
                <a:gd name="T1" fmla="*/ 44 h 129"/>
                <a:gd name="T2" fmla="*/ 5 w 121"/>
                <a:gd name="T3" fmla="*/ 31 h 129"/>
                <a:gd name="T4" fmla="*/ 5 w 121"/>
                <a:gd name="T5" fmla="*/ 18 h 129"/>
                <a:gd name="T6" fmla="*/ 14 w 121"/>
                <a:gd name="T7" fmla="*/ 9 h 129"/>
                <a:gd name="T8" fmla="*/ 49 w 121"/>
                <a:gd name="T9" fmla="*/ 0 h 129"/>
                <a:gd name="T10" fmla="*/ 63 w 121"/>
                <a:gd name="T11" fmla="*/ 4 h 129"/>
                <a:gd name="T12" fmla="*/ 67 w 121"/>
                <a:gd name="T13" fmla="*/ 18 h 129"/>
                <a:gd name="T14" fmla="*/ 72 w 121"/>
                <a:gd name="T15" fmla="*/ 13 h 129"/>
                <a:gd name="T16" fmla="*/ 72 w 121"/>
                <a:gd name="T17" fmla="*/ 27 h 129"/>
                <a:gd name="T18" fmla="*/ 67 w 121"/>
                <a:gd name="T19" fmla="*/ 44 h 129"/>
                <a:gd name="T20" fmla="*/ 81 w 121"/>
                <a:gd name="T21" fmla="*/ 44 h 129"/>
                <a:gd name="T22" fmla="*/ 94 w 121"/>
                <a:gd name="T23" fmla="*/ 40 h 129"/>
                <a:gd name="T24" fmla="*/ 103 w 121"/>
                <a:gd name="T25" fmla="*/ 49 h 129"/>
                <a:gd name="T26" fmla="*/ 103 w 121"/>
                <a:gd name="T27" fmla="*/ 76 h 129"/>
                <a:gd name="T28" fmla="*/ 116 w 121"/>
                <a:gd name="T29" fmla="*/ 71 h 129"/>
                <a:gd name="T30" fmla="*/ 121 w 121"/>
                <a:gd name="T31" fmla="*/ 76 h 129"/>
                <a:gd name="T32" fmla="*/ 116 w 121"/>
                <a:gd name="T33" fmla="*/ 94 h 129"/>
                <a:gd name="T34" fmla="*/ 121 w 121"/>
                <a:gd name="T35" fmla="*/ 98 h 129"/>
                <a:gd name="T36" fmla="*/ 116 w 121"/>
                <a:gd name="T37" fmla="*/ 116 h 129"/>
                <a:gd name="T38" fmla="*/ 103 w 121"/>
                <a:gd name="T39" fmla="*/ 129 h 129"/>
                <a:gd name="T40" fmla="*/ 85 w 121"/>
                <a:gd name="T41" fmla="*/ 129 h 129"/>
                <a:gd name="T42" fmla="*/ 72 w 121"/>
                <a:gd name="T43" fmla="*/ 125 h 129"/>
                <a:gd name="T44" fmla="*/ 58 w 121"/>
                <a:gd name="T45" fmla="*/ 125 h 129"/>
                <a:gd name="T46" fmla="*/ 72 w 121"/>
                <a:gd name="T47" fmla="*/ 98 h 129"/>
                <a:gd name="T48" fmla="*/ 72 w 121"/>
                <a:gd name="T49" fmla="*/ 89 h 129"/>
                <a:gd name="T50" fmla="*/ 36 w 121"/>
                <a:gd name="T51" fmla="*/ 71 h 129"/>
                <a:gd name="T52" fmla="*/ 27 w 121"/>
                <a:gd name="T53" fmla="*/ 71 h 129"/>
                <a:gd name="T54" fmla="*/ 0 w 121"/>
                <a:gd name="T55" fmla="*/ 4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1" h="129">
                  <a:moveTo>
                    <a:pt x="0" y="44"/>
                  </a:moveTo>
                  <a:lnTo>
                    <a:pt x="5" y="31"/>
                  </a:lnTo>
                  <a:lnTo>
                    <a:pt x="5" y="18"/>
                  </a:lnTo>
                  <a:lnTo>
                    <a:pt x="14" y="9"/>
                  </a:lnTo>
                  <a:lnTo>
                    <a:pt x="49" y="0"/>
                  </a:lnTo>
                  <a:lnTo>
                    <a:pt x="63" y="4"/>
                  </a:lnTo>
                  <a:lnTo>
                    <a:pt x="67" y="18"/>
                  </a:lnTo>
                  <a:lnTo>
                    <a:pt x="72" y="13"/>
                  </a:lnTo>
                  <a:lnTo>
                    <a:pt x="72" y="27"/>
                  </a:lnTo>
                  <a:lnTo>
                    <a:pt x="67" y="44"/>
                  </a:lnTo>
                  <a:lnTo>
                    <a:pt x="81" y="44"/>
                  </a:lnTo>
                  <a:lnTo>
                    <a:pt x="94" y="40"/>
                  </a:lnTo>
                  <a:lnTo>
                    <a:pt x="103" y="49"/>
                  </a:lnTo>
                  <a:lnTo>
                    <a:pt x="103" y="76"/>
                  </a:lnTo>
                  <a:lnTo>
                    <a:pt x="116" y="71"/>
                  </a:lnTo>
                  <a:lnTo>
                    <a:pt x="121" y="76"/>
                  </a:lnTo>
                  <a:lnTo>
                    <a:pt x="116" y="94"/>
                  </a:lnTo>
                  <a:lnTo>
                    <a:pt x="121" y="98"/>
                  </a:lnTo>
                  <a:lnTo>
                    <a:pt x="116" y="116"/>
                  </a:lnTo>
                  <a:lnTo>
                    <a:pt x="103" y="129"/>
                  </a:lnTo>
                  <a:lnTo>
                    <a:pt x="85" y="129"/>
                  </a:lnTo>
                  <a:lnTo>
                    <a:pt x="72" y="125"/>
                  </a:lnTo>
                  <a:lnTo>
                    <a:pt x="58" y="125"/>
                  </a:lnTo>
                  <a:lnTo>
                    <a:pt x="72" y="98"/>
                  </a:lnTo>
                  <a:lnTo>
                    <a:pt x="72" y="89"/>
                  </a:lnTo>
                  <a:lnTo>
                    <a:pt x="36" y="71"/>
                  </a:lnTo>
                  <a:lnTo>
                    <a:pt x="27" y="71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34" name="Freeform 34"/>
            <p:cNvSpPr>
              <a:spLocks/>
            </p:cNvSpPr>
            <p:nvPr/>
          </p:nvSpPr>
          <p:spPr bwMode="gray">
            <a:xfrm>
              <a:off x="1521" y="2784"/>
              <a:ext cx="179" cy="268"/>
            </a:xfrm>
            <a:custGeom>
              <a:avLst/>
              <a:gdLst>
                <a:gd name="T0" fmla="*/ 14 w 179"/>
                <a:gd name="T1" fmla="*/ 49 h 268"/>
                <a:gd name="T2" fmla="*/ 9 w 179"/>
                <a:gd name="T3" fmla="*/ 49 h 268"/>
                <a:gd name="T4" fmla="*/ 0 w 179"/>
                <a:gd name="T5" fmla="*/ 58 h 268"/>
                <a:gd name="T6" fmla="*/ 0 w 179"/>
                <a:gd name="T7" fmla="*/ 71 h 268"/>
                <a:gd name="T8" fmla="*/ 5 w 179"/>
                <a:gd name="T9" fmla="*/ 80 h 268"/>
                <a:gd name="T10" fmla="*/ 0 w 179"/>
                <a:gd name="T11" fmla="*/ 85 h 268"/>
                <a:gd name="T12" fmla="*/ 18 w 179"/>
                <a:gd name="T13" fmla="*/ 98 h 268"/>
                <a:gd name="T14" fmla="*/ 31 w 179"/>
                <a:gd name="T15" fmla="*/ 116 h 268"/>
                <a:gd name="T16" fmla="*/ 49 w 179"/>
                <a:gd name="T17" fmla="*/ 156 h 268"/>
                <a:gd name="T18" fmla="*/ 58 w 179"/>
                <a:gd name="T19" fmla="*/ 174 h 268"/>
                <a:gd name="T20" fmla="*/ 72 w 179"/>
                <a:gd name="T21" fmla="*/ 196 h 268"/>
                <a:gd name="T22" fmla="*/ 72 w 179"/>
                <a:gd name="T23" fmla="*/ 201 h 268"/>
                <a:gd name="T24" fmla="*/ 94 w 179"/>
                <a:gd name="T25" fmla="*/ 228 h 268"/>
                <a:gd name="T26" fmla="*/ 98 w 179"/>
                <a:gd name="T27" fmla="*/ 223 h 268"/>
                <a:gd name="T28" fmla="*/ 139 w 179"/>
                <a:gd name="T29" fmla="*/ 250 h 268"/>
                <a:gd name="T30" fmla="*/ 156 w 179"/>
                <a:gd name="T31" fmla="*/ 268 h 268"/>
                <a:gd name="T32" fmla="*/ 170 w 179"/>
                <a:gd name="T33" fmla="*/ 259 h 268"/>
                <a:gd name="T34" fmla="*/ 170 w 179"/>
                <a:gd name="T35" fmla="*/ 250 h 268"/>
                <a:gd name="T36" fmla="*/ 174 w 179"/>
                <a:gd name="T37" fmla="*/ 237 h 268"/>
                <a:gd name="T38" fmla="*/ 170 w 179"/>
                <a:gd name="T39" fmla="*/ 232 h 268"/>
                <a:gd name="T40" fmla="*/ 174 w 179"/>
                <a:gd name="T41" fmla="*/ 210 h 268"/>
                <a:gd name="T42" fmla="*/ 174 w 179"/>
                <a:gd name="T43" fmla="*/ 187 h 268"/>
                <a:gd name="T44" fmla="*/ 179 w 179"/>
                <a:gd name="T45" fmla="*/ 178 h 268"/>
                <a:gd name="T46" fmla="*/ 170 w 179"/>
                <a:gd name="T47" fmla="*/ 161 h 268"/>
                <a:gd name="T48" fmla="*/ 152 w 179"/>
                <a:gd name="T49" fmla="*/ 161 h 268"/>
                <a:gd name="T50" fmla="*/ 152 w 179"/>
                <a:gd name="T51" fmla="*/ 134 h 268"/>
                <a:gd name="T52" fmla="*/ 130 w 179"/>
                <a:gd name="T53" fmla="*/ 147 h 268"/>
                <a:gd name="T54" fmla="*/ 125 w 179"/>
                <a:gd name="T55" fmla="*/ 138 h 268"/>
                <a:gd name="T56" fmla="*/ 112 w 179"/>
                <a:gd name="T57" fmla="*/ 138 h 268"/>
                <a:gd name="T58" fmla="*/ 112 w 179"/>
                <a:gd name="T59" fmla="*/ 125 h 268"/>
                <a:gd name="T60" fmla="*/ 103 w 179"/>
                <a:gd name="T61" fmla="*/ 107 h 268"/>
                <a:gd name="T62" fmla="*/ 116 w 179"/>
                <a:gd name="T63" fmla="*/ 89 h 268"/>
                <a:gd name="T64" fmla="*/ 121 w 179"/>
                <a:gd name="T65" fmla="*/ 76 h 268"/>
                <a:gd name="T66" fmla="*/ 130 w 179"/>
                <a:gd name="T67" fmla="*/ 67 h 268"/>
                <a:gd name="T68" fmla="*/ 148 w 179"/>
                <a:gd name="T69" fmla="*/ 62 h 268"/>
                <a:gd name="T70" fmla="*/ 161 w 179"/>
                <a:gd name="T71" fmla="*/ 62 h 268"/>
                <a:gd name="T72" fmla="*/ 156 w 179"/>
                <a:gd name="T73" fmla="*/ 58 h 268"/>
                <a:gd name="T74" fmla="*/ 148 w 179"/>
                <a:gd name="T75" fmla="*/ 53 h 268"/>
                <a:gd name="T76" fmla="*/ 161 w 179"/>
                <a:gd name="T77" fmla="*/ 31 h 268"/>
                <a:gd name="T78" fmla="*/ 134 w 179"/>
                <a:gd name="T79" fmla="*/ 22 h 268"/>
                <a:gd name="T80" fmla="*/ 121 w 179"/>
                <a:gd name="T81" fmla="*/ 27 h 268"/>
                <a:gd name="T82" fmla="*/ 98 w 179"/>
                <a:gd name="T83" fmla="*/ 4 h 268"/>
                <a:gd name="T84" fmla="*/ 85 w 179"/>
                <a:gd name="T85" fmla="*/ 0 h 268"/>
                <a:gd name="T86" fmla="*/ 85 w 179"/>
                <a:gd name="T87" fmla="*/ 9 h 268"/>
                <a:gd name="T88" fmla="*/ 63 w 179"/>
                <a:gd name="T89" fmla="*/ 35 h 268"/>
                <a:gd name="T90" fmla="*/ 40 w 179"/>
                <a:gd name="T91" fmla="*/ 44 h 268"/>
                <a:gd name="T92" fmla="*/ 36 w 179"/>
                <a:gd name="T93" fmla="*/ 67 h 268"/>
                <a:gd name="T94" fmla="*/ 14 w 179"/>
                <a:gd name="T95" fmla="*/ 67 h 268"/>
                <a:gd name="T96" fmla="*/ 9 w 179"/>
                <a:gd name="T97" fmla="*/ 58 h 268"/>
                <a:gd name="T98" fmla="*/ 14 w 179"/>
                <a:gd name="T99" fmla="*/ 53 h 268"/>
                <a:gd name="T100" fmla="*/ 14 w 179"/>
                <a:gd name="T101" fmla="*/ 49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9" h="268">
                  <a:moveTo>
                    <a:pt x="14" y="49"/>
                  </a:moveTo>
                  <a:lnTo>
                    <a:pt x="9" y="49"/>
                  </a:lnTo>
                  <a:lnTo>
                    <a:pt x="0" y="58"/>
                  </a:lnTo>
                  <a:lnTo>
                    <a:pt x="0" y="71"/>
                  </a:lnTo>
                  <a:lnTo>
                    <a:pt x="5" y="80"/>
                  </a:lnTo>
                  <a:lnTo>
                    <a:pt x="0" y="85"/>
                  </a:lnTo>
                  <a:lnTo>
                    <a:pt x="18" y="98"/>
                  </a:lnTo>
                  <a:lnTo>
                    <a:pt x="31" y="116"/>
                  </a:lnTo>
                  <a:lnTo>
                    <a:pt x="49" y="156"/>
                  </a:lnTo>
                  <a:lnTo>
                    <a:pt x="58" y="174"/>
                  </a:lnTo>
                  <a:lnTo>
                    <a:pt x="72" y="196"/>
                  </a:lnTo>
                  <a:lnTo>
                    <a:pt x="72" y="201"/>
                  </a:lnTo>
                  <a:lnTo>
                    <a:pt x="94" y="228"/>
                  </a:lnTo>
                  <a:lnTo>
                    <a:pt x="98" y="223"/>
                  </a:lnTo>
                  <a:lnTo>
                    <a:pt x="139" y="250"/>
                  </a:lnTo>
                  <a:lnTo>
                    <a:pt x="156" y="268"/>
                  </a:lnTo>
                  <a:lnTo>
                    <a:pt x="170" y="259"/>
                  </a:lnTo>
                  <a:lnTo>
                    <a:pt x="170" y="250"/>
                  </a:lnTo>
                  <a:lnTo>
                    <a:pt x="174" y="237"/>
                  </a:lnTo>
                  <a:lnTo>
                    <a:pt x="170" y="232"/>
                  </a:lnTo>
                  <a:lnTo>
                    <a:pt x="174" y="210"/>
                  </a:lnTo>
                  <a:lnTo>
                    <a:pt x="174" y="187"/>
                  </a:lnTo>
                  <a:lnTo>
                    <a:pt x="179" y="178"/>
                  </a:lnTo>
                  <a:lnTo>
                    <a:pt x="170" y="161"/>
                  </a:lnTo>
                  <a:lnTo>
                    <a:pt x="152" y="161"/>
                  </a:lnTo>
                  <a:lnTo>
                    <a:pt x="152" y="134"/>
                  </a:lnTo>
                  <a:lnTo>
                    <a:pt x="130" y="147"/>
                  </a:lnTo>
                  <a:lnTo>
                    <a:pt x="125" y="138"/>
                  </a:lnTo>
                  <a:lnTo>
                    <a:pt x="112" y="138"/>
                  </a:lnTo>
                  <a:lnTo>
                    <a:pt x="112" y="125"/>
                  </a:lnTo>
                  <a:lnTo>
                    <a:pt x="103" y="107"/>
                  </a:lnTo>
                  <a:lnTo>
                    <a:pt x="116" y="89"/>
                  </a:lnTo>
                  <a:lnTo>
                    <a:pt x="121" y="76"/>
                  </a:lnTo>
                  <a:lnTo>
                    <a:pt x="130" y="67"/>
                  </a:lnTo>
                  <a:lnTo>
                    <a:pt x="148" y="62"/>
                  </a:lnTo>
                  <a:lnTo>
                    <a:pt x="161" y="62"/>
                  </a:lnTo>
                  <a:lnTo>
                    <a:pt x="156" y="58"/>
                  </a:lnTo>
                  <a:lnTo>
                    <a:pt x="148" y="53"/>
                  </a:lnTo>
                  <a:lnTo>
                    <a:pt x="161" y="31"/>
                  </a:lnTo>
                  <a:lnTo>
                    <a:pt x="134" y="22"/>
                  </a:lnTo>
                  <a:lnTo>
                    <a:pt x="121" y="27"/>
                  </a:lnTo>
                  <a:lnTo>
                    <a:pt x="98" y="4"/>
                  </a:lnTo>
                  <a:lnTo>
                    <a:pt x="85" y="0"/>
                  </a:lnTo>
                  <a:lnTo>
                    <a:pt x="85" y="9"/>
                  </a:lnTo>
                  <a:lnTo>
                    <a:pt x="63" y="35"/>
                  </a:lnTo>
                  <a:lnTo>
                    <a:pt x="40" y="44"/>
                  </a:lnTo>
                  <a:lnTo>
                    <a:pt x="36" y="67"/>
                  </a:lnTo>
                  <a:lnTo>
                    <a:pt x="14" y="67"/>
                  </a:lnTo>
                  <a:lnTo>
                    <a:pt x="9" y="58"/>
                  </a:lnTo>
                  <a:lnTo>
                    <a:pt x="14" y="53"/>
                  </a:lnTo>
                  <a:lnTo>
                    <a:pt x="14" y="4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35" name="Freeform 35"/>
            <p:cNvSpPr>
              <a:spLocks/>
            </p:cNvSpPr>
            <p:nvPr/>
          </p:nvSpPr>
          <p:spPr bwMode="gray">
            <a:xfrm>
              <a:off x="1727" y="2502"/>
              <a:ext cx="22" cy="14"/>
            </a:xfrm>
            <a:custGeom>
              <a:avLst/>
              <a:gdLst>
                <a:gd name="T0" fmla="*/ 0 w 22"/>
                <a:gd name="T1" fmla="*/ 14 h 14"/>
                <a:gd name="T2" fmla="*/ 13 w 22"/>
                <a:gd name="T3" fmla="*/ 9 h 14"/>
                <a:gd name="T4" fmla="*/ 17 w 22"/>
                <a:gd name="T5" fmla="*/ 14 h 14"/>
                <a:gd name="T6" fmla="*/ 22 w 22"/>
                <a:gd name="T7" fmla="*/ 9 h 14"/>
                <a:gd name="T8" fmla="*/ 22 w 22"/>
                <a:gd name="T9" fmla="*/ 0 h 14"/>
                <a:gd name="T10" fmla="*/ 13 w 22"/>
                <a:gd name="T11" fmla="*/ 5 h 14"/>
                <a:gd name="T12" fmla="*/ 0 w 22"/>
                <a:gd name="T13" fmla="*/ 0 h 14"/>
                <a:gd name="T14" fmla="*/ 0 w 22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4">
                  <a:moveTo>
                    <a:pt x="0" y="14"/>
                  </a:moveTo>
                  <a:lnTo>
                    <a:pt x="13" y="9"/>
                  </a:lnTo>
                  <a:lnTo>
                    <a:pt x="17" y="14"/>
                  </a:lnTo>
                  <a:lnTo>
                    <a:pt x="22" y="9"/>
                  </a:lnTo>
                  <a:lnTo>
                    <a:pt x="22" y="0"/>
                  </a:lnTo>
                  <a:lnTo>
                    <a:pt x="13" y="5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36" name="Freeform 36"/>
            <p:cNvSpPr>
              <a:spLocks/>
            </p:cNvSpPr>
            <p:nvPr/>
          </p:nvSpPr>
          <p:spPr bwMode="gray">
            <a:xfrm>
              <a:off x="1816" y="2574"/>
              <a:ext cx="1" cy="9"/>
            </a:xfrm>
            <a:custGeom>
              <a:avLst/>
              <a:gdLst>
                <a:gd name="T0" fmla="*/ 0 h 9"/>
                <a:gd name="T1" fmla="*/ 9 h 9"/>
                <a:gd name="T2" fmla="*/ 4 h 9"/>
                <a:gd name="T3" fmla="*/ 0 h 9"/>
                <a:gd name="T4" fmla="*/ 0 h 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9">
                  <a:moveTo>
                    <a:pt x="0" y="0"/>
                  </a:moveTo>
                  <a:lnTo>
                    <a:pt x="0" y="9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37" name="Freeform 37"/>
            <p:cNvSpPr>
              <a:spLocks/>
            </p:cNvSpPr>
            <p:nvPr/>
          </p:nvSpPr>
          <p:spPr bwMode="gray">
            <a:xfrm>
              <a:off x="1811" y="2583"/>
              <a:ext cx="5" cy="9"/>
            </a:xfrm>
            <a:custGeom>
              <a:avLst/>
              <a:gdLst>
                <a:gd name="T0" fmla="*/ 5 w 5"/>
                <a:gd name="T1" fmla="*/ 0 h 9"/>
                <a:gd name="T2" fmla="*/ 0 w 5"/>
                <a:gd name="T3" fmla="*/ 4 h 9"/>
                <a:gd name="T4" fmla="*/ 5 w 5"/>
                <a:gd name="T5" fmla="*/ 9 h 9"/>
                <a:gd name="T6" fmla="*/ 5 w 5"/>
                <a:gd name="T7" fmla="*/ 4 h 9"/>
                <a:gd name="T8" fmla="*/ 5 w 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5" y="0"/>
                  </a:moveTo>
                  <a:lnTo>
                    <a:pt x="0" y="4"/>
                  </a:lnTo>
                  <a:lnTo>
                    <a:pt x="5" y="9"/>
                  </a:lnTo>
                  <a:lnTo>
                    <a:pt x="5" y="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38" name="Freeform 38"/>
            <p:cNvSpPr>
              <a:spLocks/>
            </p:cNvSpPr>
            <p:nvPr/>
          </p:nvSpPr>
          <p:spPr bwMode="gray">
            <a:xfrm>
              <a:off x="1852" y="2690"/>
              <a:ext cx="62" cy="67"/>
            </a:xfrm>
            <a:custGeom>
              <a:avLst/>
              <a:gdLst>
                <a:gd name="T0" fmla="*/ 26 w 62"/>
                <a:gd name="T1" fmla="*/ 62 h 67"/>
                <a:gd name="T2" fmla="*/ 22 w 62"/>
                <a:gd name="T3" fmla="*/ 54 h 67"/>
                <a:gd name="T4" fmla="*/ 18 w 62"/>
                <a:gd name="T5" fmla="*/ 40 h 67"/>
                <a:gd name="T6" fmla="*/ 9 w 62"/>
                <a:gd name="T7" fmla="*/ 40 h 67"/>
                <a:gd name="T8" fmla="*/ 0 w 62"/>
                <a:gd name="T9" fmla="*/ 31 h 67"/>
                <a:gd name="T10" fmla="*/ 4 w 62"/>
                <a:gd name="T11" fmla="*/ 22 h 67"/>
                <a:gd name="T12" fmla="*/ 13 w 62"/>
                <a:gd name="T13" fmla="*/ 18 h 67"/>
                <a:gd name="T14" fmla="*/ 18 w 62"/>
                <a:gd name="T15" fmla="*/ 4 h 67"/>
                <a:gd name="T16" fmla="*/ 22 w 62"/>
                <a:gd name="T17" fmla="*/ 0 h 67"/>
                <a:gd name="T18" fmla="*/ 35 w 62"/>
                <a:gd name="T19" fmla="*/ 4 h 67"/>
                <a:gd name="T20" fmla="*/ 58 w 62"/>
                <a:gd name="T21" fmla="*/ 4 h 67"/>
                <a:gd name="T22" fmla="*/ 58 w 62"/>
                <a:gd name="T23" fmla="*/ 13 h 67"/>
                <a:gd name="T24" fmla="*/ 53 w 62"/>
                <a:gd name="T25" fmla="*/ 22 h 67"/>
                <a:gd name="T26" fmla="*/ 62 w 62"/>
                <a:gd name="T27" fmla="*/ 40 h 67"/>
                <a:gd name="T28" fmla="*/ 49 w 62"/>
                <a:gd name="T29" fmla="*/ 54 h 67"/>
                <a:gd name="T30" fmla="*/ 31 w 62"/>
                <a:gd name="T31" fmla="*/ 54 h 67"/>
                <a:gd name="T32" fmla="*/ 31 w 62"/>
                <a:gd name="T33" fmla="*/ 67 h 67"/>
                <a:gd name="T34" fmla="*/ 26 w 62"/>
                <a:gd name="T35" fmla="*/ 6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2" h="67">
                  <a:moveTo>
                    <a:pt x="26" y="62"/>
                  </a:moveTo>
                  <a:lnTo>
                    <a:pt x="22" y="54"/>
                  </a:lnTo>
                  <a:lnTo>
                    <a:pt x="18" y="40"/>
                  </a:lnTo>
                  <a:lnTo>
                    <a:pt x="9" y="40"/>
                  </a:lnTo>
                  <a:lnTo>
                    <a:pt x="0" y="31"/>
                  </a:lnTo>
                  <a:lnTo>
                    <a:pt x="4" y="22"/>
                  </a:lnTo>
                  <a:lnTo>
                    <a:pt x="13" y="18"/>
                  </a:lnTo>
                  <a:lnTo>
                    <a:pt x="18" y="4"/>
                  </a:lnTo>
                  <a:lnTo>
                    <a:pt x="22" y="0"/>
                  </a:lnTo>
                  <a:lnTo>
                    <a:pt x="35" y="4"/>
                  </a:lnTo>
                  <a:lnTo>
                    <a:pt x="58" y="4"/>
                  </a:lnTo>
                  <a:lnTo>
                    <a:pt x="58" y="13"/>
                  </a:lnTo>
                  <a:lnTo>
                    <a:pt x="53" y="22"/>
                  </a:lnTo>
                  <a:lnTo>
                    <a:pt x="62" y="40"/>
                  </a:lnTo>
                  <a:lnTo>
                    <a:pt x="49" y="54"/>
                  </a:lnTo>
                  <a:lnTo>
                    <a:pt x="31" y="54"/>
                  </a:lnTo>
                  <a:lnTo>
                    <a:pt x="31" y="67"/>
                  </a:lnTo>
                  <a:lnTo>
                    <a:pt x="26" y="6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39" name="Freeform 39"/>
            <p:cNvSpPr>
              <a:spLocks noEditPoints="1"/>
            </p:cNvSpPr>
            <p:nvPr/>
          </p:nvSpPr>
          <p:spPr bwMode="gray">
            <a:xfrm>
              <a:off x="1803" y="2614"/>
              <a:ext cx="22" cy="22"/>
            </a:xfrm>
            <a:custGeom>
              <a:avLst/>
              <a:gdLst>
                <a:gd name="T0" fmla="*/ 13 w 22"/>
                <a:gd name="T1" fmla="*/ 0 h 22"/>
                <a:gd name="T2" fmla="*/ 13 w 22"/>
                <a:gd name="T3" fmla="*/ 4 h 22"/>
                <a:gd name="T4" fmla="*/ 22 w 22"/>
                <a:gd name="T5" fmla="*/ 0 h 22"/>
                <a:gd name="T6" fmla="*/ 17 w 22"/>
                <a:gd name="T7" fmla="*/ 0 h 22"/>
                <a:gd name="T8" fmla="*/ 13 w 22"/>
                <a:gd name="T9" fmla="*/ 0 h 22"/>
                <a:gd name="T10" fmla="*/ 13 w 22"/>
                <a:gd name="T11" fmla="*/ 9 h 22"/>
                <a:gd name="T12" fmla="*/ 4 w 22"/>
                <a:gd name="T13" fmla="*/ 9 h 22"/>
                <a:gd name="T14" fmla="*/ 0 w 22"/>
                <a:gd name="T15" fmla="*/ 18 h 22"/>
                <a:gd name="T16" fmla="*/ 0 w 22"/>
                <a:gd name="T17" fmla="*/ 22 h 22"/>
                <a:gd name="T18" fmla="*/ 4 w 22"/>
                <a:gd name="T19" fmla="*/ 22 h 22"/>
                <a:gd name="T20" fmla="*/ 13 w 22"/>
                <a:gd name="T21" fmla="*/ 22 h 22"/>
                <a:gd name="T22" fmla="*/ 13 w 22"/>
                <a:gd name="T23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2">
                  <a:moveTo>
                    <a:pt x="13" y="0"/>
                  </a:moveTo>
                  <a:lnTo>
                    <a:pt x="13" y="4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13" y="0"/>
                  </a:lnTo>
                  <a:close/>
                  <a:moveTo>
                    <a:pt x="13" y="9"/>
                  </a:moveTo>
                  <a:lnTo>
                    <a:pt x="4" y="9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13" y="22"/>
                  </a:lnTo>
                  <a:lnTo>
                    <a:pt x="13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40" name="Freeform 40"/>
            <p:cNvSpPr>
              <a:spLocks noEditPoints="1"/>
            </p:cNvSpPr>
            <p:nvPr/>
          </p:nvSpPr>
          <p:spPr bwMode="gray">
            <a:xfrm>
              <a:off x="253" y="1242"/>
              <a:ext cx="1474" cy="1256"/>
            </a:xfrm>
            <a:custGeom>
              <a:avLst/>
              <a:gdLst>
                <a:gd name="T0" fmla="*/ 26 w 1474"/>
                <a:gd name="T1" fmla="*/ 425 h 1256"/>
                <a:gd name="T2" fmla="*/ 35 w 1474"/>
                <a:gd name="T3" fmla="*/ 594 h 1256"/>
                <a:gd name="T4" fmla="*/ 58 w 1474"/>
                <a:gd name="T5" fmla="*/ 590 h 1256"/>
                <a:gd name="T6" fmla="*/ 107 w 1474"/>
                <a:gd name="T7" fmla="*/ 232 h 1256"/>
                <a:gd name="T8" fmla="*/ 44 w 1474"/>
                <a:gd name="T9" fmla="*/ 232 h 1256"/>
                <a:gd name="T10" fmla="*/ 120 w 1474"/>
                <a:gd name="T11" fmla="*/ 282 h 1256"/>
                <a:gd name="T12" fmla="*/ 67 w 1474"/>
                <a:gd name="T13" fmla="*/ 353 h 1256"/>
                <a:gd name="T14" fmla="*/ 75 w 1474"/>
                <a:gd name="T15" fmla="*/ 442 h 1256"/>
                <a:gd name="T16" fmla="*/ 134 w 1474"/>
                <a:gd name="T17" fmla="*/ 465 h 1256"/>
                <a:gd name="T18" fmla="*/ 174 w 1474"/>
                <a:gd name="T19" fmla="*/ 509 h 1256"/>
                <a:gd name="T20" fmla="*/ 98 w 1474"/>
                <a:gd name="T21" fmla="*/ 554 h 1256"/>
                <a:gd name="T22" fmla="*/ 138 w 1474"/>
                <a:gd name="T23" fmla="*/ 550 h 1256"/>
                <a:gd name="T24" fmla="*/ 227 w 1474"/>
                <a:gd name="T25" fmla="*/ 447 h 1256"/>
                <a:gd name="T26" fmla="*/ 250 w 1474"/>
                <a:gd name="T27" fmla="*/ 438 h 1256"/>
                <a:gd name="T28" fmla="*/ 321 w 1474"/>
                <a:gd name="T29" fmla="*/ 429 h 1256"/>
                <a:gd name="T30" fmla="*/ 352 w 1474"/>
                <a:gd name="T31" fmla="*/ 429 h 1256"/>
                <a:gd name="T32" fmla="*/ 455 w 1474"/>
                <a:gd name="T33" fmla="*/ 469 h 1256"/>
                <a:gd name="T34" fmla="*/ 495 w 1474"/>
                <a:gd name="T35" fmla="*/ 460 h 1256"/>
                <a:gd name="T36" fmla="*/ 518 w 1474"/>
                <a:gd name="T37" fmla="*/ 496 h 1256"/>
                <a:gd name="T38" fmla="*/ 567 w 1474"/>
                <a:gd name="T39" fmla="*/ 572 h 1256"/>
                <a:gd name="T40" fmla="*/ 477 w 1474"/>
                <a:gd name="T41" fmla="*/ 447 h 1256"/>
                <a:gd name="T42" fmla="*/ 406 w 1474"/>
                <a:gd name="T43" fmla="*/ 433 h 1256"/>
                <a:gd name="T44" fmla="*/ 268 w 1474"/>
                <a:gd name="T45" fmla="*/ 67 h 1256"/>
                <a:gd name="T46" fmla="*/ 209 w 1474"/>
                <a:gd name="T47" fmla="*/ 9 h 1256"/>
                <a:gd name="T48" fmla="*/ 116 w 1474"/>
                <a:gd name="T49" fmla="*/ 58 h 1256"/>
                <a:gd name="T50" fmla="*/ 40 w 1474"/>
                <a:gd name="T51" fmla="*/ 152 h 1256"/>
                <a:gd name="T52" fmla="*/ 134 w 1474"/>
                <a:gd name="T53" fmla="*/ 228 h 1256"/>
                <a:gd name="T54" fmla="*/ 160 w 1474"/>
                <a:gd name="T55" fmla="*/ 1229 h 1256"/>
                <a:gd name="T56" fmla="*/ 201 w 1474"/>
                <a:gd name="T57" fmla="*/ 1251 h 1256"/>
                <a:gd name="T58" fmla="*/ 491 w 1474"/>
                <a:gd name="T59" fmla="*/ 527 h 1256"/>
                <a:gd name="T60" fmla="*/ 513 w 1474"/>
                <a:gd name="T61" fmla="*/ 523 h 1256"/>
                <a:gd name="T62" fmla="*/ 536 w 1474"/>
                <a:gd name="T63" fmla="*/ 563 h 1256"/>
                <a:gd name="T64" fmla="*/ 531 w 1474"/>
                <a:gd name="T65" fmla="*/ 572 h 1256"/>
                <a:gd name="T66" fmla="*/ 652 w 1474"/>
                <a:gd name="T67" fmla="*/ 742 h 1256"/>
                <a:gd name="T68" fmla="*/ 647 w 1474"/>
                <a:gd name="T69" fmla="*/ 885 h 1256"/>
                <a:gd name="T70" fmla="*/ 679 w 1474"/>
                <a:gd name="T71" fmla="*/ 947 h 1256"/>
                <a:gd name="T72" fmla="*/ 746 w 1474"/>
                <a:gd name="T73" fmla="*/ 1023 h 1256"/>
                <a:gd name="T74" fmla="*/ 951 w 1474"/>
                <a:gd name="T75" fmla="*/ 1104 h 1256"/>
                <a:gd name="T76" fmla="*/ 1094 w 1474"/>
                <a:gd name="T77" fmla="*/ 1086 h 1256"/>
                <a:gd name="T78" fmla="*/ 1139 w 1474"/>
                <a:gd name="T79" fmla="*/ 1081 h 1256"/>
                <a:gd name="T80" fmla="*/ 1246 w 1474"/>
                <a:gd name="T81" fmla="*/ 1104 h 1256"/>
                <a:gd name="T82" fmla="*/ 1286 w 1474"/>
                <a:gd name="T83" fmla="*/ 1135 h 1256"/>
                <a:gd name="T84" fmla="*/ 1304 w 1474"/>
                <a:gd name="T85" fmla="*/ 1014 h 1256"/>
                <a:gd name="T86" fmla="*/ 1344 w 1474"/>
                <a:gd name="T87" fmla="*/ 983 h 1256"/>
                <a:gd name="T88" fmla="*/ 1335 w 1474"/>
                <a:gd name="T89" fmla="*/ 912 h 1256"/>
                <a:gd name="T90" fmla="*/ 1353 w 1474"/>
                <a:gd name="T91" fmla="*/ 930 h 1256"/>
                <a:gd name="T92" fmla="*/ 1371 w 1474"/>
                <a:gd name="T93" fmla="*/ 885 h 1256"/>
                <a:gd name="T94" fmla="*/ 1420 w 1474"/>
                <a:gd name="T95" fmla="*/ 858 h 1256"/>
                <a:gd name="T96" fmla="*/ 1469 w 1474"/>
                <a:gd name="T97" fmla="*/ 800 h 1256"/>
                <a:gd name="T98" fmla="*/ 1357 w 1474"/>
                <a:gd name="T99" fmla="*/ 804 h 1256"/>
                <a:gd name="T100" fmla="*/ 1299 w 1474"/>
                <a:gd name="T101" fmla="*/ 849 h 1256"/>
                <a:gd name="T102" fmla="*/ 1246 w 1474"/>
                <a:gd name="T103" fmla="*/ 818 h 1256"/>
                <a:gd name="T104" fmla="*/ 1206 w 1474"/>
                <a:gd name="T105" fmla="*/ 800 h 1256"/>
                <a:gd name="T106" fmla="*/ 1188 w 1474"/>
                <a:gd name="T107" fmla="*/ 795 h 1256"/>
                <a:gd name="T108" fmla="*/ 1170 w 1474"/>
                <a:gd name="T109" fmla="*/ 755 h 1256"/>
                <a:gd name="T110" fmla="*/ 1116 w 1474"/>
                <a:gd name="T111" fmla="*/ 737 h 1256"/>
                <a:gd name="T112" fmla="*/ 1389 w 1474"/>
                <a:gd name="T113" fmla="*/ 885 h 1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74" h="1256">
                  <a:moveTo>
                    <a:pt x="13" y="603"/>
                  </a:moveTo>
                  <a:lnTo>
                    <a:pt x="8" y="608"/>
                  </a:lnTo>
                  <a:lnTo>
                    <a:pt x="8" y="612"/>
                  </a:lnTo>
                  <a:lnTo>
                    <a:pt x="4" y="617"/>
                  </a:lnTo>
                  <a:lnTo>
                    <a:pt x="0" y="626"/>
                  </a:lnTo>
                  <a:lnTo>
                    <a:pt x="8" y="621"/>
                  </a:lnTo>
                  <a:lnTo>
                    <a:pt x="22" y="608"/>
                  </a:lnTo>
                  <a:lnTo>
                    <a:pt x="13" y="603"/>
                  </a:lnTo>
                  <a:close/>
                  <a:moveTo>
                    <a:pt x="26" y="425"/>
                  </a:moveTo>
                  <a:lnTo>
                    <a:pt x="26" y="429"/>
                  </a:lnTo>
                  <a:lnTo>
                    <a:pt x="40" y="442"/>
                  </a:lnTo>
                  <a:lnTo>
                    <a:pt x="49" y="438"/>
                  </a:lnTo>
                  <a:lnTo>
                    <a:pt x="49" y="429"/>
                  </a:lnTo>
                  <a:lnTo>
                    <a:pt x="44" y="420"/>
                  </a:lnTo>
                  <a:lnTo>
                    <a:pt x="40" y="420"/>
                  </a:lnTo>
                  <a:lnTo>
                    <a:pt x="35" y="425"/>
                  </a:lnTo>
                  <a:lnTo>
                    <a:pt x="26" y="425"/>
                  </a:lnTo>
                  <a:close/>
                  <a:moveTo>
                    <a:pt x="35" y="594"/>
                  </a:moveTo>
                  <a:lnTo>
                    <a:pt x="31" y="599"/>
                  </a:lnTo>
                  <a:lnTo>
                    <a:pt x="35" y="603"/>
                  </a:lnTo>
                  <a:lnTo>
                    <a:pt x="17" y="612"/>
                  </a:lnTo>
                  <a:lnTo>
                    <a:pt x="22" y="617"/>
                  </a:lnTo>
                  <a:lnTo>
                    <a:pt x="40" y="608"/>
                  </a:lnTo>
                  <a:lnTo>
                    <a:pt x="49" y="603"/>
                  </a:lnTo>
                  <a:lnTo>
                    <a:pt x="49" y="599"/>
                  </a:lnTo>
                  <a:lnTo>
                    <a:pt x="58" y="590"/>
                  </a:lnTo>
                  <a:lnTo>
                    <a:pt x="58" y="590"/>
                  </a:lnTo>
                  <a:lnTo>
                    <a:pt x="49" y="590"/>
                  </a:lnTo>
                  <a:lnTo>
                    <a:pt x="44" y="594"/>
                  </a:lnTo>
                  <a:lnTo>
                    <a:pt x="35" y="594"/>
                  </a:lnTo>
                  <a:close/>
                  <a:moveTo>
                    <a:pt x="129" y="232"/>
                  </a:moveTo>
                  <a:lnTo>
                    <a:pt x="116" y="223"/>
                  </a:lnTo>
                  <a:lnTo>
                    <a:pt x="111" y="223"/>
                  </a:lnTo>
                  <a:lnTo>
                    <a:pt x="98" y="201"/>
                  </a:lnTo>
                  <a:lnTo>
                    <a:pt x="93" y="206"/>
                  </a:lnTo>
                  <a:lnTo>
                    <a:pt x="107" y="232"/>
                  </a:lnTo>
                  <a:lnTo>
                    <a:pt x="111" y="228"/>
                  </a:lnTo>
                  <a:lnTo>
                    <a:pt x="120" y="241"/>
                  </a:lnTo>
                  <a:lnTo>
                    <a:pt x="84" y="241"/>
                  </a:lnTo>
                  <a:lnTo>
                    <a:pt x="80" y="223"/>
                  </a:lnTo>
                  <a:lnTo>
                    <a:pt x="62" y="223"/>
                  </a:lnTo>
                  <a:lnTo>
                    <a:pt x="49" y="232"/>
                  </a:lnTo>
                  <a:lnTo>
                    <a:pt x="53" y="237"/>
                  </a:lnTo>
                  <a:lnTo>
                    <a:pt x="40" y="241"/>
                  </a:lnTo>
                  <a:lnTo>
                    <a:pt x="44" y="232"/>
                  </a:lnTo>
                  <a:lnTo>
                    <a:pt x="40" y="232"/>
                  </a:lnTo>
                  <a:lnTo>
                    <a:pt x="13" y="255"/>
                  </a:lnTo>
                  <a:lnTo>
                    <a:pt x="22" y="264"/>
                  </a:lnTo>
                  <a:lnTo>
                    <a:pt x="49" y="268"/>
                  </a:lnTo>
                  <a:lnTo>
                    <a:pt x="35" y="277"/>
                  </a:lnTo>
                  <a:lnTo>
                    <a:pt x="49" y="299"/>
                  </a:lnTo>
                  <a:lnTo>
                    <a:pt x="93" y="304"/>
                  </a:lnTo>
                  <a:lnTo>
                    <a:pt x="98" y="295"/>
                  </a:lnTo>
                  <a:lnTo>
                    <a:pt x="120" y="282"/>
                  </a:lnTo>
                  <a:lnTo>
                    <a:pt x="125" y="290"/>
                  </a:lnTo>
                  <a:lnTo>
                    <a:pt x="116" y="295"/>
                  </a:lnTo>
                  <a:lnTo>
                    <a:pt x="125" y="322"/>
                  </a:lnTo>
                  <a:lnTo>
                    <a:pt x="111" y="331"/>
                  </a:lnTo>
                  <a:lnTo>
                    <a:pt x="107" y="331"/>
                  </a:lnTo>
                  <a:lnTo>
                    <a:pt x="93" y="340"/>
                  </a:lnTo>
                  <a:lnTo>
                    <a:pt x="84" y="331"/>
                  </a:lnTo>
                  <a:lnTo>
                    <a:pt x="75" y="335"/>
                  </a:lnTo>
                  <a:lnTo>
                    <a:pt x="67" y="353"/>
                  </a:lnTo>
                  <a:lnTo>
                    <a:pt x="49" y="375"/>
                  </a:lnTo>
                  <a:lnTo>
                    <a:pt x="58" y="393"/>
                  </a:lnTo>
                  <a:lnTo>
                    <a:pt x="62" y="389"/>
                  </a:lnTo>
                  <a:lnTo>
                    <a:pt x="62" y="402"/>
                  </a:lnTo>
                  <a:lnTo>
                    <a:pt x="67" y="402"/>
                  </a:lnTo>
                  <a:lnTo>
                    <a:pt x="58" y="416"/>
                  </a:lnTo>
                  <a:lnTo>
                    <a:pt x="62" y="425"/>
                  </a:lnTo>
                  <a:lnTo>
                    <a:pt x="67" y="420"/>
                  </a:lnTo>
                  <a:lnTo>
                    <a:pt x="75" y="442"/>
                  </a:lnTo>
                  <a:lnTo>
                    <a:pt x="98" y="438"/>
                  </a:lnTo>
                  <a:lnTo>
                    <a:pt x="102" y="429"/>
                  </a:lnTo>
                  <a:lnTo>
                    <a:pt x="111" y="442"/>
                  </a:lnTo>
                  <a:lnTo>
                    <a:pt x="107" y="451"/>
                  </a:lnTo>
                  <a:lnTo>
                    <a:pt x="107" y="469"/>
                  </a:lnTo>
                  <a:lnTo>
                    <a:pt x="98" y="478"/>
                  </a:lnTo>
                  <a:lnTo>
                    <a:pt x="111" y="478"/>
                  </a:lnTo>
                  <a:lnTo>
                    <a:pt x="120" y="469"/>
                  </a:lnTo>
                  <a:lnTo>
                    <a:pt x="134" y="465"/>
                  </a:lnTo>
                  <a:lnTo>
                    <a:pt x="142" y="469"/>
                  </a:lnTo>
                  <a:lnTo>
                    <a:pt x="156" y="492"/>
                  </a:lnTo>
                  <a:lnTo>
                    <a:pt x="160" y="492"/>
                  </a:lnTo>
                  <a:lnTo>
                    <a:pt x="160" y="478"/>
                  </a:lnTo>
                  <a:lnTo>
                    <a:pt x="169" y="483"/>
                  </a:lnTo>
                  <a:lnTo>
                    <a:pt x="187" y="460"/>
                  </a:lnTo>
                  <a:lnTo>
                    <a:pt x="183" y="474"/>
                  </a:lnTo>
                  <a:lnTo>
                    <a:pt x="183" y="496"/>
                  </a:lnTo>
                  <a:lnTo>
                    <a:pt x="174" y="509"/>
                  </a:lnTo>
                  <a:lnTo>
                    <a:pt x="156" y="518"/>
                  </a:lnTo>
                  <a:lnTo>
                    <a:pt x="156" y="527"/>
                  </a:lnTo>
                  <a:lnTo>
                    <a:pt x="142" y="527"/>
                  </a:lnTo>
                  <a:lnTo>
                    <a:pt x="125" y="536"/>
                  </a:lnTo>
                  <a:lnTo>
                    <a:pt x="129" y="550"/>
                  </a:lnTo>
                  <a:lnTo>
                    <a:pt x="120" y="554"/>
                  </a:lnTo>
                  <a:lnTo>
                    <a:pt x="116" y="541"/>
                  </a:lnTo>
                  <a:lnTo>
                    <a:pt x="107" y="541"/>
                  </a:lnTo>
                  <a:lnTo>
                    <a:pt x="98" y="554"/>
                  </a:lnTo>
                  <a:lnTo>
                    <a:pt x="84" y="572"/>
                  </a:lnTo>
                  <a:lnTo>
                    <a:pt x="75" y="572"/>
                  </a:lnTo>
                  <a:lnTo>
                    <a:pt x="67" y="585"/>
                  </a:lnTo>
                  <a:lnTo>
                    <a:pt x="67" y="594"/>
                  </a:lnTo>
                  <a:lnTo>
                    <a:pt x="93" y="581"/>
                  </a:lnTo>
                  <a:lnTo>
                    <a:pt x="89" y="572"/>
                  </a:lnTo>
                  <a:lnTo>
                    <a:pt x="98" y="572"/>
                  </a:lnTo>
                  <a:lnTo>
                    <a:pt x="107" y="576"/>
                  </a:lnTo>
                  <a:lnTo>
                    <a:pt x="138" y="550"/>
                  </a:lnTo>
                  <a:lnTo>
                    <a:pt x="138" y="559"/>
                  </a:lnTo>
                  <a:lnTo>
                    <a:pt x="142" y="545"/>
                  </a:lnTo>
                  <a:lnTo>
                    <a:pt x="147" y="550"/>
                  </a:lnTo>
                  <a:lnTo>
                    <a:pt x="174" y="527"/>
                  </a:lnTo>
                  <a:lnTo>
                    <a:pt x="192" y="527"/>
                  </a:lnTo>
                  <a:lnTo>
                    <a:pt x="205" y="505"/>
                  </a:lnTo>
                  <a:lnTo>
                    <a:pt x="236" y="465"/>
                  </a:lnTo>
                  <a:lnTo>
                    <a:pt x="223" y="460"/>
                  </a:lnTo>
                  <a:lnTo>
                    <a:pt x="227" y="447"/>
                  </a:lnTo>
                  <a:lnTo>
                    <a:pt x="236" y="442"/>
                  </a:lnTo>
                  <a:lnTo>
                    <a:pt x="259" y="402"/>
                  </a:lnTo>
                  <a:lnTo>
                    <a:pt x="268" y="393"/>
                  </a:lnTo>
                  <a:lnTo>
                    <a:pt x="285" y="398"/>
                  </a:lnTo>
                  <a:lnTo>
                    <a:pt x="290" y="407"/>
                  </a:lnTo>
                  <a:lnTo>
                    <a:pt x="272" y="402"/>
                  </a:lnTo>
                  <a:lnTo>
                    <a:pt x="259" y="416"/>
                  </a:lnTo>
                  <a:lnTo>
                    <a:pt x="259" y="420"/>
                  </a:lnTo>
                  <a:lnTo>
                    <a:pt x="250" y="438"/>
                  </a:lnTo>
                  <a:lnTo>
                    <a:pt x="250" y="447"/>
                  </a:lnTo>
                  <a:lnTo>
                    <a:pt x="259" y="451"/>
                  </a:lnTo>
                  <a:lnTo>
                    <a:pt x="250" y="460"/>
                  </a:lnTo>
                  <a:lnTo>
                    <a:pt x="259" y="465"/>
                  </a:lnTo>
                  <a:lnTo>
                    <a:pt x="272" y="451"/>
                  </a:lnTo>
                  <a:lnTo>
                    <a:pt x="276" y="456"/>
                  </a:lnTo>
                  <a:lnTo>
                    <a:pt x="290" y="442"/>
                  </a:lnTo>
                  <a:lnTo>
                    <a:pt x="321" y="442"/>
                  </a:lnTo>
                  <a:lnTo>
                    <a:pt x="321" y="429"/>
                  </a:lnTo>
                  <a:lnTo>
                    <a:pt x="317" y="425"/>
                  </a:lnTo>
                  <a:lnTo>
                    <a:pt x="312" y="420"/>
                  </a:lnTo>
                  <a:lnTo>
                    <a:pt x="308" y="425"/>
                  </a:lnTo>
                  <a:lnTo>
                    <a:pt x="303" y="411"/>
                  </a:lnTo>
                  <a:lnTo>
                    <a:pt x="308" y="407"/>
                  </a:lnTo>
                  <a:lnTo>
                    <a:pt x="312" y="416"/>
                  </a:lnTo>
                  <a:lnTo>
                    <a:pt x="326" y="411"/>
                  </a:lnTo>
                  <a:lnTo>
                    <a:pt x="339" y="429"/>
                  </a:lnTo>
                  <a:lnTo>
                    <a:pt x="352" y="429"/>
                  </a:lnTo>
                  <a:lnTo>
                    <a:pt x="357" y="420"/>
                  </a:lnTo>
                  <a:lnTo>
                    <a:pt x="357" y="429"/>
                  </a:lnTo>
                  <a:lnTo>
                    <a:pt x="366" y="438"/>
                  </a:lnTo>
                  <a:lnTo>
                    <a:pt x="384" y="433"/>
                  </a:lnTo>
                  <a:lnTo>
                    <a:pt x="402" y="442"/>
                  </a:lnTo>
                  <a:lnTo>
                    <a:pt x="419" y="447"/>
                  </a:lnTo>
                  <a:lnTo>
                    <a:pt x="433" y="438"/>
                  </a:lnTo>
                  <a:lnTo>
                    <a:pt x="428" y="456"/>
                  </a:lnTo>
                  <a:lnTo>
                    <a:pt x="455" y="469"/>
                  </a:lnTo>
                  <a:lnTo>
                    <a:pt x="473" y="483"/>
                  </a:lnTo>
                  <a:lnTo>
                    <a:pt x="477" y="478"/>
                  </a:lnTo>
                  <a:lnTo>
                    <a:pt x="469" y="465"/>
                  </a:lnTo>
                  <a:lnTo>
                    <a:pt x="473" y="465"/>
                  </a:lnTo>
                  <a:lnTo>
                    <a:pt x="486" y="474"/>
                  </a:lnTo>
                  <a:lnTo>
                    <a:pt x="482" y="483"/>
                  </a:lnTo>
                  <a:lnTo>
                    <a:pt x="491" y="487"/>
                  </a:lnTo>
                  <a:lnTo>
                    <a:pt x="495" y="474"/>
                  </a:lnTo>
                  <a:lnTo>
                    <a:pt x="495" y="460"/>
                  </a:lnTo>
                  <a:lnTo>
                    <a:pt x="495" y="460"/>
                  </a:lnTo>
                  <a:lnTo>
                    <a:pt x="500" y="478"/>
                  </a:lnTo>
                  <a:lnTo>
                    <a:pt x="495" y="487"/>
                  </a:lnTo>
                  <a:lnTo>
                    <a:pt x="504" y="496"/>
                  </a:lnTo>
                  <a:lnTo>
                    <a:pt x="504" y="518"/>
                  </a:lnTo>
                  <a:lnTo>
                    <a:pt x="513" y="505"/>
                  </a:lnTo>
                  <a:lnTo>
                    <a:pt x="509" y="487"/>
                  </a:lnTo>
                  <a:lnTo>
                    <a:pt x="513" y="487"/>
                  </a:lnTo>
                  <a:lnTo>
                    <a:pt x="518" y="496"/>
                  </a:lnTo>
                  <a:lnTo>
                    <a:pt x="522" y="518"/>
                  </a:lnTo>
                  <a:lnTo>
                    <a:pt x="536" y="527"/>
                  </a:lnTo>
                  <a:lnTo>
                    <a:pt x="531" y="541"/>
                  </a:lnTo>
                  <a:lnTo>
                    <a:pt x="540" y="550"/>
                  </a:lnTo>
                  <a:lnTo>
                    <a:pt x="540" y="559"/>
                  </a:lnTo>
                  <a:lnTo>
                    <a:pt x="549" y="572"/>
                  </a:lnTo>
                  <a:lnTo>
                    <a:pt x="558" y="568"/>
                  </a:lnTo>
                  <a:lnTo>
                    <a:pt x="562" y="581"/>
                  </a:lnTo>
                  <a:lnTo>
                    <a:pt x="567" y="572"/>
                  </a:lnTo>
                  <a:lnTo>
                    <a:pt x="567" y="554"/>
                  </a:lnTo>
                  <a:lnTo>
                    <a:pt x="567" y="550"/>
                  </a:lnTo>
                  <a:lnTo>
                    <a:pt x="567" y="541"/>
                  </a:lnTo>
                  <a:lnTo>
                    <a:pt x="558" y="541"/>
                  </a:lnTo>
                  <a:lnTo>
                    <a:pt x="540" y="523"/>
                  </a:lnTo>
                  <a:lnTo>
                    <a:pt x="527" y="496"/>
                  </a:lnTo>
                  <a:lnTo>
                    <a:pt x="509" y="460"/>
                  </a:lnTo>
                  <a:lnTo>
                    <a:pt x="491" y="447"/>
                  </a:lnTo>
                  <a:lnTo>
                    <a:pt x="477" y="447"/>
                  </a:lnTo>
                  <a:lnTo>
                    <a:pt x="469" y="460"/>
                  </a:lnTo>
                  <a:lnTo>
                    <a:pt x="455" y="465"/>
                  </a:lnTo>
                  <a:lnTo>
                    <a:pt x="451" y="456"/>
                  </a:lnTo>
                  <a:lnTo>
                    <a:pt x="437" y="438"/>
                  </a:lnTo>
                  <a:lnTo>
                    <a:pt x="433" y="433"/>
                  </a:lnTo>
                  <a:lnTo>
                    <a:pt x="428" y="429"/>
                  </a:lnTo>
                  <a:lnTo>
                    <a:pt x="419" y="438"/>
                  </a:lnTo>
                  <a:lnTo>
                    <a:pt x="410" y="438"/>
                  </a:lnTo>
                  <a:lnTo>
                    <a:pt x="406" y="433"/>
                  </a:lnTo>
                  <a:lnTo>
                    <a:pt x="406" y="98"/>
                  </a:lnTo>
                  <a:lnTo>
                    <a:pt x="388" y="89"/>
                  </a:lnTo>
                  <a:lnTo>
                    <a:pt x="361" y="76"/>
                  </a:lnTo>
                  <a:lnTo>
                    <a:pt x="348" y="85"/>
                  </a:lnTo>
                  <a:lnTo>
                    <a:pt x="330" y="76"/>
                  </a:lnTo>
                  <a:lnTo>
                    <a:pt x="317" y="76"/>
                  </a:lnTo>
                  <a:lnTo>
                    <a:pt x="299" y="67"/>
                  </a:lnTo>
                  <a:lnTo>
                    <a:pt x="281" y="63"/>
                  </a:lnTo>
                  <a:lnTo>
                    <a:pt x="268" y="67"/>
                  </a:lnTo>
                  <a:lnTo>
                    <a:pt x="259" y="72"/>
                  </a:lnTo>
                  <a:lnTo>
                    <a:pt x="259" y="63"/>
                  </a:lnTo>
                  <a:lnTo>
                    <a:pt x="245" y="58"/>
                  </a:lnTo>
                  <a:lnTo>
                    <a:pt x="250" y="45"/>
                  </a:lnTo>
                  <a:lnTo>
                    <a:pt x="236" y="49"/>
                  </a:lnTo>
                  <a:lnTo>
                    <a:pt x="236" y="36"/>
                  </a:lnTo>
                  <a:lnTo>
                    <a:pt x="214" y="31"/>
                  </a:lnTo>
                  <a:lnTo>
                    <a:pt x="214" y="9"/>
                  </a:lnTo>
                  <a:lnTo>
                    <a:pt x="209" y="9"/>
                  </a:lnTo>
                  <a:lnTo>
                    <a:pt x="205" y="27"/>
                  </a:lnTo>
                  <a:lnTo>
                    <a:pt x="205" y="31"/>
                  </a:lnTo>
                  <a:lnTo>
                    <a:pt x="192" y="36"/>
                  </a:lnTo>
                  <a:lnTo>
                    <a:pt x="201" y="9"/>
                  </a:lnTo>
                  <a:lnTo>
                    <a:pt x="187" y="0"/>
                  </a:lnTo>
                  <a:lnTo>
                    <a:pt x="169" y="31"/>
                  </a:lnTo>
                  <a:lnTo>
                    <a:pt x="151" y="36"/>
                  </a:lnTo>
                  <a:lnTo>
                    <a:pt x="142" y="36"/>
                  </a:lnTo>
                  <a:lnTo>
                    <a:pt x="116" y="58"/>
                  </a:lnTo>
                  <a:lnTo>
                    <a:pt x="111" y="67"/>
                  </a:lnTo>
                  <a:lnTo>
                    <a:pt x="107" y="58"/>
                  </a:lnTo>
                  <a:lnTo>
                    <a:pt x="98" y="76"/>
                  </a:lnTo>
                  <a:lnTo>
                    <a:pt x="93" y="80"/>
                  </a:lnTo>
                  <a:lnTo>
                    <a:pt x="84" y="94"/>
                  </a:lnTo>
                  <a:lnTo>
                    <a:pt x="84" y="112"/>
                  </a:lnTo>
                  <a:lnTo>
                    <a:pt x="53" y="130"/>
                  </a:lnTo>
                  <a:lnTo>
                    <a:pt x="44" y="130"/>
                  </a:lnTo>
                  <a:lnTo>
                    <a:pt x="40" y="152"/>
                  </a:lnTo>
                  <a:lnTo>
                    <a:pt x="53" y="156"/>
                  </a:lnTo>
                  <a:lnTo>
                    <a:pt x="75" y="170"/>
                  </a:lnTo>
                  <a:lnTo>
                    <a:pt x="80" y="183"/>
                  </a:lnTo>
                  <a:lnTo>
                    <a:pt x="80" y="197"/>
                  </a:lnTo>
                  <a:lnTo>
                    <a:pt x="111" y="201"/>
                  </a:lnTo>
                  <a:lnTo>
                    <a:pt x="111" y="210"/>
                  </a:lnTo>
                  <a:lnTo>
                    <a:pt x="116" y="219"/>
                  </a:lnTo>
                  <a:lnTo>
                    <a:pt x="129" y="219"/>
                  </a:lnTo>
                  <a:lnTo>
                    <a:pt x="134" y="228"/>
                  </a:lnTo>
                  <a:lnTo>
                    <a:pt x="129" y="232"/>
                  </a:lnTo>
                  <a:close/>
                  <a:moveTo>
                    <a:pt x="138" y="1211"/>
                  </a:moveTo>
                  <a:lnTo>
                    <a:pt x="142" y="1216"/>
                  </a:lnTo>
                  <a:lnTo>
                    <a:pt x="147" y="1216"/>
                  </a:lnTo>
                  <a:lnTo>
                    <a:pt x="147" y="1207"/>
                  </a:lnTo>
                  <a:lnTo>
                    <a:pt x="138" y="1211"/>
                  </a:lnTo>
                  <a:close/>
                  <a:moveTo>
                    <a:pt x="165" y="1216"/>
                  </a:moveTo>
                  <a:lnTo>
                    <a:pt x="156" y="1220"/>
                  </a:lnTo>
                  <a:lnTo>
                    <a:pt x="160" y="1229"/>
                  </a:lnTo>
                  <a:lnTo>
                    <a:pt x="169" y="1229"/>
                  </a:lnTo>
                  <a:lnTo>
                    <a:pt x="169" y="1220"/>
                  </a:lnTo>
                  <a:lnTo>
                    <a:pt x="165" y="1216"/>
                  </a:lnTo>
                  <a:close/>
                  <a:moveTo>
                    <a:pt x="205" y="1256"/>
                  </a:moveTo>
                  <a:lnTo>
                    <a:pt x="209" y="1247"/>
                  </a:lnTo>
                  <a:lnTo>
                    <a:pt x="205" y="1242"/>
                  </a:lnTo>
                  <a:lnTo>
                    <a:pt x="196" y="1238"/>
                  </a:lnTo>
                  <a:lnTo>
                    <a:pt x="192" y="1242"/>
                  </a:lnTo>
                  <a:lnTo>
                    <a:pt x="201" y="1251"/>
                  </a:lnTo>
                  <a:lnTo>
                    <a:pt x="205" y="1256"/>
                  </a:lnTo>
                  <a:close/>
                  <a:moveTo>
                    <a:pt x="477" y="487"/>
                  </a:moveTo>
                  <a:lnTo>
                    <a:pt x="477" y="492"/>
                  </a:lnTo>
                  <a:lnTo>
                    <a:pt x="486" y="509"/>
                  </a:lnTo>
                  <a:lnTo>
                    <a:pt x="482" y="518"/>
                  </a:lnTo>
                  <a:lnTo>
                    <a:pt x="486" y="518"/>
                  </a:lnTo>
                  <a:lnTo>
                    <a:pt x="491" y="514"/>
                  </a:lnTo>
                  <a:lnTo>
                    <a:pt x="495" y="523"/>
                  </a:lnTo>
                  <a:lnTo>
                    <a:pt x="491" y="527"/>
                  </a:lnTo>
                  <a:lnTo>
                    <a:pt x="500" y="541"/>
                  </a:lnTo>
                  <a:lnTo>
                    <a:pt x="504" y="527"/>
                  </a:lnTo>
                  <a:lnTo>
                    <a:pt x="500" y="518"/>
                  </a:lnTo>
                  <a:lnTo>
                    <a:pt x="500" y="492"/>
                  </a:lnTo>
                  <a:lnTo>
                    <a:pt x="486" y="487"/>
                  </a:lnTo>
                  <a:lnTo>
                    <a:pt x="477" y="487"/>
                  </a:lnTo>
                  <a:close/>
                  <a:moveTo>
                    <a:pt x="504" y="545"/>
                  </a:moveTo>
                  <a:lnTo>
                    <a:pt x="509" y="541"/>
                  </a:lnTo>
                  <a:lnTo>
                    <a:pt x="513" y="523"/>
                  </a:lnTo>
                  <a:lnTo>
                    <a:pt x="518" y="532"/>
                  </a:lnTo>
                  <a:lnTo>
                    <a:pt x="527" y="532"/>
                  </a:lnTo>
                  <a:lnTo>
                    <a:pt x="531" y="527"/>
                  </a:lnTo>
                  <a:lnTo>
                    <a:pt x="513" y="514"/>
                  </a:lnTo>
                  <a:lnTo>
                    <a:pt x="509" y="523"/>
                  </a:lnTo>
                  <a:lnTo>
                    <a:pt x="509" y="532"/>
                  </a:lnTo>
                  <a:lnTo>
                    <a:pt x="504" y="545"/>
                  </a:lnTo>
                  <a:close/>
                  <a:moveTo>
                    <a:pt x="540" y="572"/>
                  </a:moveTo>
                  <a:lnTo>
                    <a:pt x="536" y="563"/>
                  </a:lnTo>
                  <a:lnTo>
                    <a:pt x="536" y="559"/>
                  </a:lnTo>
                  <a:lnTo>
                    <a:pt x="522" y="541"/>
                  </a:lnTo>
                  <a:lnTo>
                    <a:pt x="518" y="536"/>
                  </a:lnTo>
                  <a:lnTo>
                    <a:pt x="513" y="550"/>
                  </a:lnTo>
                  <a:lnTo>
                    <a:pt x="518" y="550"/>
                  </a:lnTo>
                  <a:lnTo>
                    <a:pt x="527" y="568"/>
                  </a:lnTo>
                  <a:lnTo>
                    <a:pt x="522" y="568"/>
                  </a:lnTo>
                  <a:lnTo>
                    <a:pt x="527" y="581"/>
                  </a:lnTo>
                  <a:lnTo>
                    <a:pt x="531" y="572"/>
                  </a:lnTo>
                  <a:lnTo>
                    <a:pt x="540" y="581"/>
                  </a:lnTo>
                  <a:lnTo>
                    <a:pt x="540" y="572"/>
                  </a:lnTo>
                  <a:close/>
                  <a:moveTo>
                    <a:pt x="674" y="719"/>
                  </a:moveTo>
                  <a:lnTo>
                    <a:pt x="670" y="724"/>
                  </a:lnTo>
                  <a:lnTo>
                    <a:pt x="674" y="733"/>
                  </a:lnTo>
                  <a:lnTo>
                    <a:pt x="656" y="728"/>
                  </a:lnTo>
                  <a:lnTo>
                    <a:pt x="647" y="728"/>
                  </a:lnTo>
                  <a:lnTo>
                    <a:pt x="647" y="737"/>
                  </a:lnTo>
                  <a:lnTo>
                    <a:pt x="652" y="742"/>
                  </a:lnTo>
                  <a:lnTo>
                    <a:pt x="652" y="773"/>
                  </a:lnTo>
                  <a:lnTo>
                    <a:pt x="665" y="778"/>
                  </a:lnTo>
                  <a:lnTo>
                    <a:pt x="656" y="782"/>
                  </a:lnTo>
                  <a:lnTo>
                    <a:pt x="656" y="791"/>
                  </a:lnTo>
                  <a:lnTo>
                    <a:pt x="656" y="818"/>
                  </a:lnTo>
                  <a:lnTo>
                    <a:pt x="652" y="831"/>
                  </a:lnTo>
                  <a:lnTo>
                    <a:pt x="647" y="836"/>
                  </a:lnTo>
                  <a:lnTo>
                    <a:pt x="652" y="885"/>
                  </a:lnTo>
                  <a:lnTo>
                    <a:pt x="647" y="885"/>
                  </a:lnTo>
                  <a:lnTo>
                    <a:pt x="652" y="894"/>
                  </a:lnTo>
                  <a:lnTo>
                    <a:pt x="656" y="903"/>
                  </a:lnTo>
                  <a:lnTo>
                    <a:pt x="656" y="921"/>
                  </a:lnTo>
                  <a:lnTo>
                    <a:pt x="670" y="934"/>
                  </a:lnTo>
                  <a:lnTo>
                    <a:pt x="670" y="938"/>
                  </a:lnTo>
                  <a:lnTo>
                    <a:pt x="674" y="943"/>
                  </a:lnTo>
                  <a:lnTo>
                    <a:pt x="683" y="934"/>
                  </a:lnTo>
                  <a:lnTo>
                    <a:pt x="683" y="938"/>
                  </a:lnTo>
                  <a:lnTo>
                    <a:pt x="679" y="947"/>
                  </a:lnTo>
                  <a:lnTo>
                    <a:pt x="679" y="965"/>
                  </a:lnTo>
                  <a:lnTo>
                    <a:pt x="687" y="974"/>
                  </a:lnTo>
                  <a:lnTo>
                    <a:pt x="701" y="988"/>
                  </a:lnTo>
                  <a:lnTo>
                    <a:pt x="701" y="992"/>
                  </a:lnTo>
                  <a:lnTo>
                    <a:pt x="705" y="992"/>
                  </a:lnTo>
                  <a:lnTo>
                    <a:pt x="705" y="1005"/>
                  </a:lnTo>
                  <a:lnTo>
                    <a:pt x="719" y="1005"/>
                  </a:lnTo>
                  <a:lnTo>
                    <a:pt x="732" y="1014"/>
                  </a:lnTo>
                  <a:lnTo>
                    <a:pt x="746" y="1023"/>
                  </a:lnTo>
                  <a:lnTo>
                    <a:pt x="750" y="1041"/>
                  </a:lnTo>
                  <a:lnTo>
                    <a:pt x="786" y="1037"/>
                  </a:lnTo>
                  <a:lnTo>
                    <a:pt x="839" y="1064"/>
                  </a:lnTo>
                  <a:lnTo>
                    <a:pt x="884" y="1064"/>
                  </a:lnTo>
                  <a:lnTo>
                    <a:pt x="880" y="1055"/>
                  </a:lnTo>
                  <a:lnTo>
                    <a:pt x="906" y="1055"/>
                  </a:lnTo>
                  <a:lnTo>
                    <a:pt x="929" y="1068"/>
                  </a:lnTo>
                  <a:lnTo>
                    <a:pt x="933" y="1090"/>
                  </a:lnTo>
                  <a:lnTo>
                    <a:pt x="951" y="1104"/>
                  </a:lnTo>
                  <a:lnTo>
                    <a:pt x="964" y="1086"/>
                  </a:lnTo>
                  <a:lnTo>
                    <a:pt x="978" y="1090"/>
                  </a:lnTo>
                  <a:lnTo>
                    <a:pt x="1005" y="1122"/>
                  </a:lnTo>
                  <a:lnTo>
                    <a:pt x="1014" y="1140"/>
                  </a:lnTo>
                  <a:lnTo>
                    <a:pt x="1036" y="1148"/>
                  </a:lnTo>
                  <a:lnTo>
                    <a:pt x="1045" y="1144"/>
                  </a:lnTo>
                  <a:lnTo>
                    <a:pt x="1040" y="1126"/>
                  </a:lnTo>
                  <a:lnTo>
                    <a:pt x="1049" y="1113"/>
                  </a:lnTo>
                  <a:lnTo>
                    <a:pt x="1094" y="1086"/>
                  </a:lnTo>
                  <a:lnTo>
                    <a:pt x="1125" y="1095"/>
                  </a:lnTo>
                  <a:lnTo>
                    <a:pt x="1139" y="1099"/>
                  </a:lnTo>
                  <a:lnTo>
                    <a:pt x="1143" y="1095"/>
                  </a:lnTo>
                  <a:lnTo>
                    <a:pt x="1152" y="1099"/>
                  </a:lnTo>
                  <a:lnTo>
                    <a:pt x="1156" y="1095"/>
                  </a:lnTo>
                  <a:lnTo>
                    <a:pt x="1148" y="1090"/>
                  </a:lnTo>
                  <a:lnTo>
                    <a:pt x="1152" y="1086"/>
                  </a:lnTo>
                  <a:lnTo>
                    <a:pt x="1148" y="1077"/>
                  </a:lnTo>
                  <a:lnTo>
                    <a:pt x="1139" y="1081"/>
                  </a:lnTo>
                  <a:lnTo>
                    <a:pt x="1139" y="1073"/>
                  </a:lnTo>
                  <a:lnTo>
                    <a:pt x="1170" y="1077"/>
                  </a:lnTo>
                  <a:lnTo>
                    <a:pt x="1179" y="1077"/>
                  </a:lnTo>
                  <a:lnTo>
                    <a:pt x="1183" y="1077"/>
                  </a:lnTo>
                  <a:lnTo>
                    <a:pt x="1192" y="1073"/>
                  </a:lnTo>
                  <a:lnTo>
                    <a:pt x="1201" y="1077"/>
                  </a:lnTo>
                  <a:lnTo>
                    <a:pt x="1210" y="1090"/>
                  </a:lnTo>
                  <a:lnTo>
                    <a:pt x="1228" y="1077"/>
                  </a:lnTo>
                  <a:lnTo>
                    <a:pt x="1246" y="1104"/>
                  </a:lnTo>
                  <a:lnTo>
                    <a:pt x="1237" y="1117"/>
                  </a:lnTo>
                  <a:lnTo>
                    <a:pt x="1246" y="1117"/>
                  </a:lnTo>
                  <a:lnTo>
                    <a:pt x="1246" y="1122"/>
                  </a:lnTo>
                  <a:lnTo>
                    <a:pt x="1259" y="1148"/>
                  </a:lnTo>
                  <a:lnTo>
                    <a:pt x="1264" y="1148"/>
                  </a:lnTo>
                  <a:lnTo>
                    <a:pt x="1268" y="1157"/>
                  </a:lnTo>
                  <a:lnTo>
                    <a:pt x="1268" y="1162"/>
                  </a:lnTo>
                  <a:lnTo>
                    <a:pt x="1282" y="1157"/>
                  </a:lnTo>
                  <a:lnTo>
                    <a:pt x="1286" y="1135"/>
                  </a:lnTo>
                  <a:lnTo>
                    <a:pt x="1277" y="1122"/>
                  </a:lnTo>
                  <a:lnTo>
                    <a:pt x="1277" y="1108"/>
                  </a:lnTo>
                  <a:lnTo>
                    <a:pt x="1268" y="1095"/>
                  </a:lnTo>
                  <a:lnTo>
                    <a:pt x="1268" y="1081"/>
                  </a:lnTo>
                  <a:lnTo>
                    <a:pt x="1264" y="1068"/>
                  </a:lnTo>
                  <a:lnTo>
                    <a:pt x="1273" y="1046"/>
                  </a:lnTo>
                  <a:lnTo>
                    <a:pt x="1277" y="1046"/>
                  </a:lnTo>
                  <a:lnTo>
                    <a:pt x="1295" y="1028"/>
                  </a:lnTo>
                  <a:lnTo>
                    <a:pt x="1304" y="1014"/>
                  </a:lnTo>
                  <a:lnTo>
                    <a:pt x="1317" y="1010"/>
                  </a:lnTo>
                  <a:lnTo>
                    <a:pt x="1322" y="1001"/>
                  </a:lnTo>
                  <a:lnTo>
                    <a:pt x="1326" y="1005"/>
                  </a:lnTo>
                  <a:lnTo>
                    <a:pt x="1331" y="997"/>
                  </a:lnTo>
                  <a:lnTo>
                    <a:pt x="1335" y="997"/>
                  </a:lnTo>
                  <a:lnTo>
                    <a:pt x="1344" y="992"/>
                  </a:lnTo>
                  <a:lnTo>
                    <a:pt x="1331" y="992"/>
                  </a:lnTo>
                  <a:lnTo>
                    <a:pt x="1335" y="983"/>
                  </a:lnTo>
                  <a:lnTo>
                    <a:pt x="1344" y="983"/>
                  </a:lnTo>
                  <a:lnTo>
                    <a:pt x="1344" y="974"/>
                  </a:lnTo>
                  <a:lnTo>
                    <a:pt x="1335" y="970"/>
                  </a:lnTo>
                  <a:lnTo>
                    <a:pt x="1335" y="970"/>
                  </a:lnTo>
                  <a:lnTo>
                    <a:pt x="1349" y="970"/>
                  </a:lnTo>
                  <a:lnTo>
                    <a:pt x="1340" y="956"/>
                  </a:lnTo>
                  <a:lnTo>
                    <a:pt x="1335" y="956"/>
                  </a:lnTo>
                  <a:lnTo>
                    <a:pt x="1335" y="947"/>
                  </a:lnTo>
                  <a:lnTo>
                    <a:pt x="1335" y="938"/>
                  </a:lnTo>
                  <a:lnTo>
                    <a:pt x="1335" y="912"/>
                  </a:lnTo>
                  <a:lnTo>
                    <a:pt x="1340" y="907"/>
                  </a:lnTo>
                  <a:lnTo>
                    <a:pt x="1340" y="934"/>
                  </a:lnTo>
                  <a:lnTo>
                    <a:pt x="1344" y="938"/>
                  </a:lnTo>
                  <a:lnTo>
                    <a:pt x="1344" y="952"/>
                  </a:lnTo>
                  <a:lnTo>
                    <a:pt x="1344" y="956"/>
                  </a:lnTo>
                  <a:lnTo>
                    <a:pt x="1349" y="943"/>
                  </a:lnTo>
                  <a:lnTo>
                    <a:pt x="1353" y="943"/>
                  </a:lnTo>
                  <a:lnTo>
                    <a:pt x="1357" y="934"/>
                  </a:lnTo>
                  <a:lnTo>
                    <a:pt x="1353" y="930"/>
                  </a:lnTo>
                  <a:lnTo>
                    <a:pt x="1353" y="921"/>
                  </a:lnTo>
                  <a:lnTo>
                    <a:pt x="1353" y="916"/>
                  </a:lnTo>
                  <a:lnTo>
                    <a:pt x="1357" y="916"/>
                  </a:lnTo>
                  <a:lnTo>
                    <a:pt x="1357" y="925"/>
                  </a:lnTo>
                  <a:lnTo>
                    <a:pt x="1366" y="912"/>
                  </a:lnTo>
                  <a:lnTo>
                    <a:pt x="1375" y="912"/>
                  </a:lnTo>
                  <a:lnTo>
                    <a:pt x="1375" y="889"/>
                  </a:lnTo>
                  <a:lnTo>
                    <a:pt x="1371" y="889"/>
                  </a:lnTo>
                  <a:lnTo>
                    <a:pt x="1371" y="885"/>
                  </a:lnTo>
                  <a:lnTo>
                    <a:pt x="1402" y="871"/>
                  </a:lnTo>
                  <a:lnTo>
                    <a:pt x="1411" y="871"/>
                  </a:lnTo>
                  <a:lnTo>
                    <a:pt x="1420" y="867"/>
                  </a:lnTo>
                  <a:lnTo>
                    <a:pt x="1429" y="867"/>
                  </a:lnTo>
                  <a:lnTo>
                    <a:pt x="1433" y="862"/>
                  </a:lnTo>
                  <a:lnTo>
                    <a:pt x="1429" y="854"/>
                  </a:lnTo>
                  <a:lnTo>
                    <a:pt x="1424" y="854"/>
                  </a:lnTo>
                  <a:lnTo>
                    <a:pt x="1424" y="858"/>
                  </a:lnTo>
                  <a:lnTo>
                    <a:pt x="1420" y="858"/>
                  </a:lnTo>
                  <a:lnTo>
                    <a:pt x="1420" y="849"/>
                  </a:lnTo>
                  <a:lnTo>
                    <a:pt x="1424" y="831"/>
                  </a:lnTo>
                  <a:lnTo>
                    <a:pt x="1429" y="822"/>
                  </a:lnTo>
                  <a:lnTo>
                    <a:pt x="1442" y="822"/>
                  </a:lnTo>
                  <a:lnTo>
                    <a:pt x="1447" y="813"/>
                  </a:lnTo>
                  <a:lnTo>
                    <a:pt x="1456" y="822"/>
                  </a:lnTo>
                  <a:lnTo>
                    <a:pt x="1474" y="809"/>
                  </a:lnTo>
                  <a:lnTo>
                    <a:pt x="1474" y="800"/>
                  </a:lnTo>
                  <a:lnTo>
                    <a:pt x="1469" y="800"/>
                  </a:lnTo>
                  <a:lnTo>
                    <a:pt x="1469" y="795"/>
                  </a:lnTo>
                  <a:lnTo>
                    <a:pt x="1460" y="791"/>
                  </a:lnTo>
                  <a:lnTo>
                    <a:pt x="1451" y="751"/>
                  </a:lnTo>
                  <a:lnTo>
                    <a:pt x="1442" y="755"/>
                  </a:lnTo>
                  <a:lnTo>
                    <a:pt x="1438" y="751"/>
                  </a:lnTo>
                  <a:lnTo>
                    <a:pt x="1420" y="778"/>
                  </a:lnTo>
                  <a:lnTo>
                    <a:pt x="1407" y="800"/>
                  </a:lnTo>
                  <a:lnTo>
                    <a:pt x="1362" y="804"/>
                  </a:lnTo>
                  <a:lnTo>
                    <a:pt x="1357" y="804"/>
                  </a:lnTo>
                  <a:lnTo>
                    <a:pt x="1340" y="818"/>
                  </a:lnTo>
                  <a:lnTo>
                    <a:pt x="1344" y="822"/>
                  </a:lnTo>
                  <a:lnTo>
                    <a:pt x="1340" y="831"/>
                  </a:lnTo>
                  <a:lnTo>
                    <a:pt x="1326" y="836"/>
                  </a:lnTo>
                  <a:lnTo>
                    <a:pt x="1304" y="831"/>
                  </a:lnTo>
                  <a:lnTo>
                    <a:pt x="1304" y="836"/>
                  </a:lnTo>
                  <a:lnTo>
                    <a:pt x="1299" y="845"/>
                  </a:lnTo>
                  <a:lnTo>
                    <a:pt x="1304" y="845"/>
                  </a:lnTo>
                  <a:lnTo>
                    <a:pt x="1299" y="849"/>
                  </a:lnTo>
                  <a:lnTo>
                    <a:pt x="1282" y="858"/>
                  </a:lnTo>
                  <a:lnTo>
                    <a:pt x="1268" y="867"/>
                  </a:lnTo>
                  <a:lnTo>
                    <a:pt x="1250" y="871"/>
                  </a:lnTo>
                  <a:lnTo>
                    <a:pt x="1237" y="862"/>
                  </a:lnTo>
                  <a:lnTo>
                    <a:pt x="1241" y="854"/>
                  </a:lnTo>
                  <a:lnTo>
                    <a:pt x="1241" y="845"/>
                  </a:lnTo>
                  <a:lnTo>
                    <a:pt x="1246" y="845"/>
                  </a:lnTo>
                  <a:lnTo>
                    <a:pt x="1246" y="831"/>
                  </a:lnTo>
                  <a:lnTo>
                    <a:pt x="1246" y="818"/>
                  </a:lnTo>
                  <a:lnTo>
                    <a:pt x="1237" y="818"/>
                  </a:lnTo>
                  <a:lnTo>
                    <a:pt x="1232" y="822"/>
                  </a:lnTo>
                  <a:lnTo>
                    <a:pt x="1232" y="818"/>
                  </a:lnTo>
                  <a:lnTo>
                    <a:pt x="1237" y="809"/>
                  </a:lnTo>
                  <a:lnTo>
                    <a:pt x="1241" y="795"/>
                  </a:lnTo>
                  <a:lnTo>
                    <a:pt x="1232" y="791"/>
                  </a:lnTo>
                  <a:lnTo>
                    <a:pt x="1219" y="787"/>
                  </a:lnTo>
                  <a:lnTo>
                    <a:pt x="1215" y="787"/>
                  </a:lnTo>
                  <a:lnTo>
                    <a:pt x="1206" y="800"/>
                  </a:lnTo>
                  <a:lnTo>
                    <a:pt x="1201" y="800"/>
                  </a:lnTo>
                  <a:lnTo>
                    <a:pt x="1197" y="804"/>
                  </a:lnTo>
                  <a:lnTo>
                    <a:pt x="1192" y="827"/>
                  </a:lnTo>
                  <a:lnTo>
                    <a:pt x="1192" y="849"/>
                  </a:lnTo>
                  <a:lnTo>
                    <a:pt x="1183" y="862"/>
                  </a:lnTo>
                  <a:lnTo>
                    <a:pt x="1174" y="854"/>
                  </a:lnTo>
                  <a:lnTo>
                    <a:pt x="1174" y="840"/>
                  </a:lnTo>
                  <a:lnTo>
                    <a:pt x="1179" y="809"/>
                  </a:lnTo>
                  <a:lnTo>
                    <a:pt x="1188" y="795"/>
                  </a:lnTo>
                  <a:lnTo>
                    <a:pt x="1170" y="804"/>
                  </a:lnTo>
                  <a:lnTo>
                    <a:pt x="1188" y="787"/>
                  </a:lnTo>
                  <a:lnTo>
                    <a:pt x="1223" y="778"/>
                  </a:lnTo>
                  <a:lnTo>
                    <a:pt x="1219" y="769"/>
                  </a:lnTo>
                  <a:lnTo>
                    <a:pt x="1215" y="764"/>
                  </a:lnTo>
                  <a:lnTo>
                    <a:pt x="1215" y="760"/>
                  </a:lnTo>
                  <a:lnTo>
                    <a:pt x="1197" y="764"/>
                  </a:lnTo>
                  <a:lnTo>
                    <a:pt x="1188" y="769"/>
                  </a:lnTo>
                  <a:lnTo>
                    <a:pt x="1170" y="755"/>
                  </a:lnTo>
                  <a:lnTo>
                    <a:pt x="1161" y="755"/>
                  </a:lnTo>
                  <a:lnTo>
                    <a:pt x="1170" y="746"/>
                  </a:lnTo>
                  <a:lnTo>
                    <a:pt x="1134" y="760"/>
                  </a:lnTo>
                  <a:lnTo>
                    <a:pt x="1125" y="760"/>
                  </a:lnTo>
                  <a:lnTo>
                    <a:pt x="1112" y="760"/>
                  </a:lnTo>
                  <a:lnTo>
                    <a:pt x="1125" y="751"/>
                  </a:lnTo>
                  <a:lnTo>
                    <a:pt x="1139" y="737"/>
                  </a:lnTo>
                  <a:lnTo>
                    <a:pt x="1130" y="733"/>
                  </a:lnTo>
                  <a:lnTo>
                    <a:pt x="1116" y="737"/>
                  </a:lnTo>
                  <a:lnTo>
                    <a:pt x="1107" y="728"/>
                  </a:lnTo>
                  <a:lnTo>
                    <a:pt x="1098" y="724"/>
                  </a:lnTo>
                  <a:lnTo>
                    <a:pt x="1076" y="724"/>
                  </a:lnTo>
                  <a:lnTo>
                    <a:pt x="1072" y="715"/>
                  </a:lnTo>
                  <a:lnTo>
                    <a:pt x="1063" y="719"/>
                  </a:lnTo>
                  <a:lnTo>
                    <a:pt x="674" y="719"/>
                  </a:lnTo>
                  <a:close/>
                  <a:moveTo>
                    <a:pt x="1375" y="885"/>
                  </a:moveTo>
                  <a:lnTo>
                    <a:pt x="1380" y="889"/>
                  </a:lnTo>
                  <a:lnTo>
                    <a:pt x="1389" y="885"/>
                  </a:lnTo>
                  <a:lnTo>
                    <a:pt x="1402" y="876"/>
                  </a:lnTo>
                  <a:lnTo>
                    <a:pt x="1402" y="876"/>
                  </a:lnTo>
                  <a:lnTo>
                    <a:pt x="1384" y="880"/>
                  </a:lnTo>
                  <a:lnTo>
                    <a:pt x="1375" y="88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41" name="Freeform 41"/>
            <p:cNvSpPr>
              <a:spLocks noEditPoints="1"/>
            </p:cNvSpPr>
            <p:nvPr/>
          </p:nvSpPr>
          <p:spPr bwMode="gray">
            <a:xfrm>
              <a:off x="1753" y="2507"/>
              <a:ext cx="14" cy="13"/>
            </a:xfrm>
            <a:custGeom>
              <a:avLst/>
              <a:gdLst>
                <a:gd name="T0" fmla="*/ 5 w 14"/>
                <a:gd name="T1" fmla="*/ 4 h 13"/>
                <a:gd name="T2" fmla="*/ 9 w 14"/>
                <a:gd name="T3" fmla="*/ 4 h 13"/>
                <a:gd name="T4" fmla="*/ 5 w 14"/>
                <a:gd name="T5" fmla="*/ 0 h 13"/>
                <a:gd name="T6" fmla="*/ 5 w 14"/>
                <a:gd name="T7" fmla="*/ 0 h 13"/>
                <a:gd name="T8" fmla="*/ 5 w 14"/>
                <a:gd name="T9" fmla="*/ 4 h 13"/>
                <a:gd name="T10" fmla="*/ 5 w 14"/>
                <a:gd name="T11" fmla="*/ 13 h 13"/>
                <a:gd name="T12" fmla="*/ 9 w 14"/>
                <a:gd name="T13" fmla="*/ 9 h 13"/>
                <a:gd name="T14" fmla="*/ 0 w 14"/>
                <a:gd name="T15" fmla="*/ 13 h 13"/>
                <a:gd name="T16" fmla="*/ 0 w 14"/>
                <a:gd name="T17" fmla="*/ 13 h 13"/>
                <a:gd name="T18" fmla="*/ 5 w 14"/>
                <a:gd name="T19" fmla="*/ 13 h 13"/>
                <a:gd name="T20" fmla="*/ 9 w 14"/>
                <a:gd name="T21" fmla="*/ 0 h 13"/>
                <a:gd name="T22" fmla="*/ 9 w 14"/>
                <a:gd name="T23" fmla="*/ 0 h 13"/>
                <a:gd name="T24" fmla="*/ 9 w 14"/>
                <a:gd name="T25" fmla="*/ 0 h 13"/>
                <a:gd name="T26" fmla="*/ 14 w 14"/>
                <a:gd name="T27" fmla="*/ 0 h 13"/>
                <a:gd name="T28" fmla="*/ 9 w 14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3">
                  <a:moveTo>
                    <a:pt x="5" y="4"/>
                  </a:moveTo>
                  <a:lnTo>
                    <a:pt x="9" y="4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4"/>
                  </a:lnTo>
                  <a:close/>
                  <a:moveTo>
                    <a:pt x="5" y="13"/>
                  </a:moveTo>
                  <a:lnTo>
                    <a:pt x="9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5" y="13"/>
                  </a:lnTo>
                  <a:close/>
                  <a:moveTo>
                    <a:pt x="9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42" name="Freeform 42"/>
            <p:cNvSpPr>
              <a:spLocks/>
            </p:cNvSpPr>
            <p:nvPr/>
          </p:nvSpPr>
          <p:spPr bwMode="gray">
            <a:xfrm>
              <a:off x="1852" y="3244"/>
              <a:ext cx="71" cy="85"/>
            </a:xfrm>
            <a:custGeom>
              <a:avLst/>
              <a:gdLst>
                <a:gd name="T0" fmla="*/ 0 w 71"/>
                <a:gd name="T1" fmla="*/ 54 h 85"/>
                <a:gd name="T2" fmla="*/ 4 w 71"/>
                <a:gd name="T3" fmla="*/ 49 h 85"/>
                <a:gd name="T4" fmla="*/ 0 w 71"/>
                <a:gd name="T5" fmla="*/ 31 h 85"/>
                <a:gd name="T6" fmla="*/ 9 w 71"/>
                <a:gd name="T7" fmla="*/ 4 h 85"/>
                <a:gd name="T8" fmla="*/ 13 w 71"/>
                <a:gd name="T9" fmla="*/ 0 h 85"/>
                <a:gd name="T10" fmla="*/ 22 w 71"/>
                <a:gd name="T11" fmla="*/ 0 h 85"/>
                <a:gd name="T12" fmla="*/ 31 w 71"/>
                <a:gd name="T13" fmla="*/ 13 h 85"/>
                <a:gd name="T14" fmla="*/ 40 w 71"/>
                <a:gd name="T15" fmla="*/ 9 h 85"/>
                <a:gd name="T16" fmla="*/ 49 w 71"/>
                <a:gd name="T17" fmla="*/ 22 h 85"/>
                <a:gd name="T18" fmla="*/ 62 w 71"/>
                <a:gd name="T19" fmla="*/ 27 h 85"/>
                <a:gd name="T20" fmla="*/ 71 w 71"/>
                <a:gd name="T21" fmla="*/ 45 h 85"/>
                <a:gd name="T22" fmla="*/ 67 w 71"/>
                <a:gd name="T23" fmla="*/ 54 h 85"/>
                <a:gd name="T24" fmla="*/ 67 w 71"/>
                <a:gd name="T25" fmla="*/ 67 h 85"/>
                <a:gd name="T26" fmla="*/ 49 w 71"/>
                <a:gd name="T27" fmla="*/ 85 h 85"/>
                <a:gd name="T28" fmla="*/ 31 w 71"/>
                <a:gd name="T29" fmla="*/ 85 h 85"/>
                <a:gd name="T30" fmla="*/ 13 w 71"/>
                <a:gd name="T31" fmla="*/ 80 h 85"/>
                <a:gd name="T32" fmla="*/ 4 w 71"/>
                <a:gd name="T33" fmla="*/ 80 h 85"/>
                <a:gd name="T34" fmla="*/ 0 w 71"/>
                <a:gd name="T35" fmla="*/ 67 h 85"/>
                <a:gd name="T36" fmla="*/ 0 w 71"/>
                <a:gd name="T37" fmla="*/ 5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1" h="85">
                  <a:moveTo>
                    <a:pt x="0" y="54"/>
                  </a:moveTo>
                  <a:lnTo>
                    <a:pt x="4" y="49"/>
                  </a:lnTo>
                  <a:lnTo>
                    <a:pt x="0" y="31"/>
                  </a:lnTo>
                  <a:lnTo>
                    <a:pt x="9" y="4"/>
                  </a:lnTo>
                  <a:lnTo>
                    <a:pt x="13" y="0"/>
                  </a:lnTo>
                  <a:lnTo>
                    <a:pt x="22" y="0"/>
                  </a:lnTo>
                  <a:lnTo>
                    <a:pt x="31" y="13"/>
                  </a:lnTo>
                  <a:lnTo>
                    <a:pt x="40" y="9"/>
                  </a:lnTo>
                  <a:lnTo>
                    <a:pt x="49" y="22"/>
                  </a:lnTo>
                  <a:lnTo>
                    <a:pt x="62" y="27"/>
                  </a:lnTo>
                  <a:lnTo>
                    <a:pt x="71" y="45"/>
                  </a:lnTo>
                  <a:lnTo>
                    <a:pt x="67" y="54"/>
                  </a:lnTo>
                  <a:lnTo>
                    <a:pt x="67" y="67"/>
                  </a:lnTo>
                  <a:lnTo>
                    <a:pt x="49" y="85"/>
                  </a:lnTo>
                  <a:lnTo>
                    <a:pt x="31" y="85"/>
                  </a:lnTo>
                  <a:lnTo>
                    <a:pt x="13" y="80"/>
                  </a:lnTo>
                  <a:lnTo>
                    <a:pt x="4" y="80"/>
                  </a:lnTo>
                  <a:lnTo>
                    <a:pt x="0" y="67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0443" name="Freeform 43"/>
            <p:cNvSpPr>
              <a:spLocks/>
            </p:cNvSpPr>
            <p:nvPr/>
          </p:nvSpPr>
          <p:spPr bwMode="gray">
            <a:xfrm>
              <a:off x="1633" y="2601"/>
              <a:ext cx="196" cy="165"/>
            </a:xfrm>
            <a:custGeom>
              <a:avLst/>
              <a:gdLst>
                <a:gd name="T0" fmla="*/ 89 w 196"/>
                <a:gd name="T1" fmla="*/ 138 h 165"/>
                <a:gd name="T2" fmla="*/ 85 w 196"/>
                <a:gd name="T3" fmla="*/ 129 h 165"/>
                <a:gd name="T4" fmla="*/ 80 w 196"/>
                <a:gd name="T5" fmla="*/ 107 h 165"/>
                <a:gd name="T6" fmla="*/ 58 w 196"/>
                <a:gd name="T7" fmla="*/ 89 h 165"/>
                <a:gd name="T8" fmla="*/ 22 w 196"/>
                <a:gd name="T9" fmla="*/ 80 h 165"/>
                <a:gd name="T10" fmla="*/ 13 w 196"/>
                <a:gd name="T11" fmla="*/ 58 h 165"/>
                <a:gd name="T12" fmla="*/ 0 w 196"/>
                <a:gd name="T13" fmla="*/ 49 h 165"/>
                <a:gd name="T14" fmla="*/ 4 w 196"/>
                <a:gd name="T15" fmla="*/ 26 h 165"/>
                <a:gd name="T16" fmla="*/ 22 w 196"/>
                <a:gd name="T17" fmla="*/ 4 h 165"/>
                <a:gd name="T18" fmla="*/ 18 w 196"/>
                <a:gd name="T19" fmla="*/ 13 h 165"/>
                <a:gd name="T20" fmla="*/ 13 w 196"/>
                <a:gd name="T21" fmla="*/ 35 h 165"/>
                <a:gd name="T22" fmla="*/ 31 w 196"/>
                <a:gd name="T23" fmla="*/ 44 h 165"/>
                <a:gd name="T24" fmla="*/ 22 w 196"/>
                <a:gd name="T25" fmla="*/ 26 h 165"/>
                <a:gd name="T26" fmla="*/ 49 w 196"/>
                <a:gd name="T27" fmla="*/ 17 h 165"/>
                <a:gd name="T28" fmla="*/ 44 w 196"/>
                <a:gd name="T29" fmla="*/ 13 h 165"/>
                <a:gd name="T30" fmla="*/ 49 w 196"/>
                <a:gd name="T31" fmla="*/ 0 h 165"/>
                <a:gd name="T32" fmla="*/ 62 w 196"/>
                <a:gd name="T33" fmla="*/ 13 h 165"/>
                <a:gd name="T34" fmla="*/ 71 w 196"/>
                <a:gd name="T35" fmla="*/ 26 h 165"/>
                <a:gd name="T36" fmla="*/ 120 w 196"/>
                <a:gd name="T37" fmla="*/ 35 h 165"/>
                <a:gd name="T38" fmla="*/ 129 w 196"/>
                <a:gd name="T39" fmla="*/ 17 h 165"/>
                <a:gd name="T40" fmla="*/ 143 w 196"/>
                <a:gd name="T41" fmla="*/ 17 h 165"/>
                <a:gd name="T42" fmla="*/ 170 w 196"/>
                <a:gd name="T43" fmla="*/ 26 h 165"/>
                <a:gd name="T44" fmla="*/ 161 w 196"/>
                <a:gd name="T45" fmla="*/ 40 h 165"/>
                <a:gd name="T46" fmla="*/ 183 w 196"/>
                <a:gd name="T47" fmla="*/ 44 h 165"/>
                <a:gd name="T48" fmla="*/ 192 w 196"/>
                <a:gd name="T49" fmla="*/ 53 h 165"/>
                <a:gd name="T50" fmla="*/ 183 w 196"/>
                <a:gd name="T51" fmla="*/ 71 h 165"/>
                <a:gd name="T52" fmla="*/ 178 w 196"/>
                <a:gd name="T53" fmla="*/ 84 h 165"/>
                <a:gd name="T54" fmla="*/ 183 w 196"/>
                <a:gd name="T55" fmla="*/ 102 h 165"/>
                <a:gd name="T56" fmla="*/ 152 w 196"/>
                <a:gd name="T57" fmla="*/ 120 h 165"/>
                <a:gd name="T58" fmla="*/ 125 w 196"/>
                <a:gd name="T59" fmla="*/ 111 h 165"/>
                <a:gd name="T60" fmla="*/ 125 w 196"/>
                <a:gd name="T61" fmla="*/ 125 h 165"/>
                <a:gd name="T62" fmla="*/ 143 w 196"/>
                <a:gd name="T63" fmla="*/ 147 h 165"/>
                <a:gd name="T64" fmla="*/ 125 w 196"/>
                <a:gd name="T65" fmla="*/ 156 h 165"/>
                <a:gd name="T66" fmla="*/ 94 w 196"/>
                <a:gd name="T67" fmla="*/ 16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6" h="165">
                  <a:moveTo>
                    <a:pt x="94" y="160"/>
                  </a:moveTo>
                  <a:lnTo>
                    <a:pt x="89" y="138"/>
                  </a:lnTo>
                  <a:lnTo>
                    <a:pt x="76" y="143"/>
                  </a:lnTo>
                  <a:lnTo>
                    <a:pt x="85" y="129"/>
                  </a:lnTo>
                  <a:lnTo>
                    <a:pt x="80" y="125"/>
                  </a:lnTo>
                  <a:lnTo>
                    <a:pt x="80" y="107"/>
                  </a:lnTo>
                  <a:lnTo>
                    <a:pt x="85" y="84"/>
                  </a:lnTo>
                  <a:lnTo>
                    <a:pt x="58" y="89"/>
                  </a:lnTo>
                  <a:lnTo>
                    <a:pt x="49" y="75"/>
                  </a:lnTo>
                  <a:lnTo>
                    <a:pt x="22" y="80"/>
                  </a:lnTo>
                  <a:lnTo>
                    <a:pt x="9" y="67"/>
                  </a:lnTo>
                  <a:lnTo>
                    <a:pt x="13" y="58"/>
                  </a:lnTo>
                  <a:lnTo>
                    <a:pt x="4" y="49"/>
                  </a:lnTo>
                  <a:lnTo>
                    <a:pt x="0" y="49"/>
                  </a:lnTo>
                  <a:lnTo>
                    <a:pt x="4" y="44"/>
                  </a:lnTo>
                  <a:lnTo>
                    <a:pt x="4" y="26"/>
                  </a:lnTo>
                  <a:lnTo>
                    <a:pt x="13" y="13"/>
                  </a:lnTo>
                  <a:lnTo>
                    <a:pt x="22" y="4"/>
                  </a:lnTo>
                  <a:lnTo>
                    <a:pt x="31" y="4"/>
                  </a:lnTo>
                  <a:lnTo>
                    <a:pt x="18" y="13"/>
                  </a:lnTo>
                  <a:lnTo>
                    <a:pt x="22" y="22"/>
                  </a:lnTo>
                  <a:lnTo>
                    <a:pt x="13" y="35"/>
                  </a:lnTo>
                  <a:lnTo>
                    <a:pt x="22" y="49"/>
                  </a:lnTo>
                  <a:lnTo>
                    <a:pt x="31" y="44"/>
                  </a:lnTo>
                  <a:lnTo>
                    <a:pt x="31" y="35"/>
                  </a:lnTo>
                  <a:lnTo>
                    <a:pt x="22" y="26"/>
                  </a:lnTo>
                  <a:lnTo>
                    <a:pt x="27" y="22"/>
                  </a:lnTo>
                  <a:lnTo>
                    <a:pt x="49" y="17"/>
                  </a:lnTo>
                  <a:lnTo>
                    <a:pt x="49" y="8"/>
                  </a:lnTo>
                  <a:lnTo>
                    <a:pt x="44" y="13"/>
                  </a:lnTo>
                  <a:lnTo>
                    <a:pt x="44" y="4"/>
                  </a:lnTo>
                  <a:lnTo>
                    <a:pt x="49" y="0"/>
                  </a:lnTo>
                  <a:lnTo>
                    <a:pt x="53" y="13"/>
                  </a:lnTo>
                  <a:lnTo>
                    <a:pt x="62" y="13"/>
                  </a:lnTo>
                  <a:lnTo>
                    <a:pt x="71" y="17"/>
                  </a:lnTo>
                  <a:lnTo>
                    <a:pt x="71" y="26"/>
                  </a:lnTo>
                  <a:lnTo>
                    <a:pt x="103" y="26"/>
                  </a:lnTo>
                  <a:lnTo>
                    <a:pt x="120" y="35"/>
                  </a:lnTo>
                  <a:lnTo>
                    <a:pt x="134" y="26"/>
                  </a:lnTo>
                  <a:lnTo>
                    <a:pt x="129" y="17"/>
                  </a:lnTo>
                  <a:lnTo>
                    <a:pt x="143" y="13"/>
                  </a:lnTo>
                  <a:lnTo>
                    <a:pt x="143" y="17"/>
                  </a:lnTo>
                  <a:lnTo>
                    <a:pt x="138" y="22"/>
                  </a:lnTo>
                  <a:lnTo>
                    <a:pt x="170" y="26"/>
                  </a:lnTo>
                  <a:lnTo>
                    <a:pt x="152" y="31"/>
                  </a:lnTo>
                  <a:lnTo>
                    <a:pt x="161" y="40"/>
                  </a:lnTo>
                  <a:lnTo>
                    <a:pt x="178" y="40"/>
                  </a:lnTo>
                  <a:lnTo>
                    <a:pt x="183" y="44"/>
                  </a:lnTo>
                  <a:lnTo>
                    <a:pt x="183" y="53"/>
                  </a:lnTo>
                  <a:lnTo>
                    <a:pt x="192" y="53"/>
                  </a:lnTo>
                  <a:lnTo>
                    <a:pt x="196" y="67"/>
                  </a:lnTo>
                  <a:lnTo>
                    <a:pt x="183" y="71"/>
                  </a:lnTo>
                  <a:lnTo>
                    <a:pt x="187" y="80"/>
                  </a:lnTo>
                  <a:lnTo>
                    <a:pt x="178" y="84"/>
                  </a:lnTo>
                  <a:lnTo>
                    <a:pt x="174" y="93"/>
                  </a:lnTo>
                  <a:lnTo>
                    <a:pt x="183" y="102"/>
                  </a:lnTo>
                  <a:lnTo>
                    <a:pt x="183" y="116"/>
                  </a:lnTo>
                  <a:lnTo>
                    <a:pt x="152" y="120"/>
                  </a:lnTo>
                  <a:lnTo>
                    <a:pt x="138" y="120"/>
                  </a:lnTo>
                  <a:lnTo>
                    <a:pt x="125" y="111"/>
                  </a:lnTo>
                  <a:lnTo>
                    <a:pt x="120" y="120"/>
                  </a:lnTo>
                  <a:lnTo>
                    <a:pt x="125" y="125"/>
                  </a:lnTo>
                  <a:lnTo>
                    <a:pt x="129" y="143"/>
                  </a:lnTo>
                  <a:lnTo>
                    <a:pt x="143" y="147"/>
                  </a:lnTo>
                  <a:lnTo>
                    <a:pt x="134" y="147"/>
                  </a:lnTo>
                  <a:lnTo>
                    <a:pt x="125" y="156"/>
                  </a:lnTo>
                  <a:lnTo>
                    <a:pt x="103" y="165"/>
                  </a:lnTo>
                  <a:lnTo>
                    <a:pt x="94" y="16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0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31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24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orth Americas</a:t>
            </a:r>
          </a:p>
        </p:txBody>
      </p:sp>
      <p:grpSp>
        <p:nvGrpSpPr>
          <p:cNvPr id="2792451" name="Group 3"/>
          <p:cNvGrpSpPr>
            <a:grpSpLocks/>
          </p:cNvGrpSpPr>
          <p:nvPr/>
        </p:nvGrpSpPr>
        <p:grpSpPr bwMode="auto">
          <a:xfrm>
            <a:off x="3624263" y="1498600"/>
            <a:ext cx="4926012" cy="4694238"/>
            <a:chOff x="1365" y="904"/>
            <a:chExt cx="3018" cy="2876"/>
          </a:xfrm>
        </p:grpSpPr>
        <p:sp>
          <p:nvSpPr>
            <p:cNvPr id="2792452" name="Freeform 4"/>
            <p:cNvSpPr>
              <a:spLocks noEditPoints="1"/>
            </p:cNvSpPr>
            <p:nvPr/>
          </p:nvSpPr>
          <p:spPr bwMode="gray">
            <a:xfrm>
              <a:off x="3709" y="3556"/>
              <a:ext cx="153" cy="176"/>
            </a:xfrm>
            <a:custGeom>
              <a:avLst/>
              <a:gdLst>
                <a:gd name="T0" fmla="*/ 4 w 85"/>
                <a:gd name="T1" fmla="*/ 4 h 98"/>
                <a:gd name="T2" fmla="*/ 0 w 85"/>
                <a:gd name="T3" fmla="*/ 9 h 98"/>
                <a:gd name="T4" fmla="*/ 9 w 85"/>
                <a:gd name="T5" fmla="*/ 9 h 98"/>
                <a:gd name="T6" fmla="*/ 13 w 85"/>
                <a:gd name="T7" fmla="*/ 9 h 98"/>
                <a:gd name="T8" fmla="*/ 13 w 85"/>
                <a:gd name="T9" fmla="*/ 4 h 98"/>
                <a:gd name="T10" fmla="*/ 4 w 85"/>
                <a:gd name="T11" fmla="*/ 4 h 98"/>
                <a:gd name="T12" fmla="*/ 9 w 85"/>
                <a:gd name="T13" fmla="*/ 26 h 98"/>
                <a:gd name="T14" fmla="*/ 4 w 85"/>
                <a:gd name="T15" fmla="*/ 40 h 98"/>
                <a:gd name="T16" fmla="*/ 13 w 85"/>
                <a:gd name="T17" fmla="*/ 40 h 98"/>
                <a:gd name="T18" fmla="*/ 13 w 85"/>
                <a:gd name="T19" fmla="*/ 40 h 98"/>
                <a:gd name="T20" fmla="*/ 9 w 85"/>
                <a:gd name="T21" fmla="*/ 26 h 98"/>
                <a:gd name="T22" fmla="*/ 9 w 85"/>
                <a:gd name="T23" fmla="*/ 26 h 98"/>
                <a:gd name="T24" fmla="*/ 18 w 85"/>
                <a:gd name="T25" fmla="*/ 26 h 98"/>
                <a:gd name="T26" fmla="*/ 18 w 85"/>
                <a:gd name="T27" fmla="*/ 35 h 98"/>
                <a:gd name="T28" fmla="*/ 22 w 85"/>
                <a:gd name="T29" fmla="*/ 31 h 98"/>
                <a:gd name="T30" fmla="*/ 22 w 85"/>
                <a:gd name="T31" fmla="*/ 31 h 98"/>
                <a:gd name="T32" fmla="*/ 22 w 85"/>
                <a:gd name="T33" fmla="*/ 26 h 98"/>
                <a:gd name="T34" fmla="*/ 18 w 85"/>
                <a:gd name="T35" fmla="*/ 26 h 98"/>
                <a:gd name="T36" fmla="*/ 18 w 85"/>
                <a:gd name="T37" fmla="*/ 0 h 98"/>
                <a:gd name="T38" fmla="*/ 22 w 85"/>
                <a:gd name="T39" fmla="*/ 9 h 98"/>
                <a:gd name="T40" fmla="*/ 22 w 85"/>
                <a:gd name="T41" fmla="*/ 13 h 98"/>
                <a:gd name="T42" fmla="*/ 22 w 85"/>
                <a:gd name="T43" fmla="*/ 17 h 98"/>
                <a:gd name="T44" fmla="*/ 27 w 85"/>
                <a:gd name="T45" fmla="*/ 9 h 98"/>
                <a:gd name="T46" fmla="*/ 22 w 85"/>
                <a:gd name="T47" fmla="*/ 4 h 98"/>
                <a:gd name="T48" fmla="*/ 18 w 85"/>
                <a:gd name="T49" fmla="*/ 0 h 98"/>
                <a:gd name="T50" fmla="*/ 18 w 85"/>
                <a:gd name="T51" fmla="*/ 53 h 98"/>
                <a:gd name="T52" fmla="*/ 18 w 85"/>
                <a:gd name="T53" fmla="*/ 44 h 98"/>
                <a:gd name="T54" fmla="*/ 13 w 85"/>
                <a:gd name="T55" fmla="*/ 44 h 98"/>
                <a:gd name="T56" fmla="*/ 13 w 85"/>
                <a:gd name="T57" fmla="*/ 53 h 98"/>
                <a:gd name="T58" fmla="*/ 18 w 85"/>
                <a:gd name="T59" fmla="*/ 53 h 98"/>
                <a:gd name="T60" fmla="*/ 31 w 85"/>
                <a:gd name="T61" fmla="*/ 22 h 98"/>
                <a:gd name="T62" fmla="*/ 27 w 85"/>
                <a:gd name="T63" fmla="*/ 22 h 98"/>
                <a:gd name="T64" fmla="*/ 31 w 85"/>
                <a:gd name="T65" fmla="*/ 26 h 98"/>
                <a:gd name="T66" fmla="*/ 36 w 85"/>
                <a:gd name="T67" fmla="*/ 31 h 98"/>
                <a:gd name="T68" fmla="*/ 36 w 85"/>
                <a:gd name="T69" fmla="*/ 35 h 98"/>
                <a:gd name="T70" fmla="*/ 40 w 85"/>
                <a:gd name="T71" fmla="*/ 26 h 98"/>
                <a:gd name="T72" fmla="*/ 31 w 85"/>
                <a:gd name="T73" fmla="*/ 22 h 98"/>
                <a:gd name="T74" fmla="*/ 45 w 85"/>
                <a:gd name="T75" fmla="*/ 35 h 98"/>
                <a:gd name="T76" fmla="*/ 49 w 85"/>
                <a:gd name="T77" fmla="*/ 44 h 98"/>
                <a:gd name="T78" fmla="*/ 45 w 85"/>
                <a:gd name="T79" fmla="*/ 49 h 98"/>
                <a:gd name="T80" fmla="*/ 53 w 85"/>
                <a:gd name="T81" fmla="*/ 49 h 98"/>
                <a:gd name="T82" fmla="*/ 49 w 85"/>
                <a:gd name="T83" fmla="*/ 44 h 98"/>
                <a:gd name="T84" fmla="*/ 45 w 85"/>
                <a:gd name="T85" fmla="*/ 35 h 98"/>
                <a:gd name="T86" fmla="*/ 49 w 85"/>
                <a:gd name="T87" fmla="*/ 53 h 98"/>
                <a:gd name="T88" fmla="*/ 49 w 85"/>
                <a:gd name="T89" fmla="*/ 53 h 98"/>
                <a:gd name="T90" fmla="*/ 49 w 85"/>
                <a:gd name="T91" fmla="*/ 62 h 98"/>
                <a:gd name="T92" fmla="*/ 58 w 85"/>
                <a:gd name="T93" fmla="*/ 67 h 98"/>
                <a:gd name="T94" fmla="*/ 53 w 85"/>
                <a:gd name="T95" fmla="*/ 58 h 98"/>
                <a:gd name="T96" fmla="*/ 49 w 85"/>
                <a:gd name="T97" fmla="*/ 53 h 98"/>
                <a:gd name="T98" fmla="*/ 62 w 85"/>
                <a:gd name="T99" fmla="*/ 62 h 98"/>
                <a:gd name="T100" fmla="*/ 62 w 85"/>
                <a:gd name="T101" fmla="*/ 67 h 98"/>
                <a:gd name="T102" fmla="*/ 67 w 85"/>
                <a:gd name="T103" fmla="*/ 67 h 98"/>
                <a:gd name="T104" fmla="*/ 67 w 85"/>
                <a:gd name="T105" fmla="*/ 71 h 98"/>
                <a:gd name="T106" fmla="*/ 67 w 85"/>
                <a:gd name="T107" fmla="*/ 80 h 98"/>
                <a:gd name="T108" fmla="*/ 71 w 85"/>
                <a:gd name="T109" fmla="*/ 71 h 98"/>
                <a:gd name="T110" fmla="*/ 71 w 85"/>
                <a:gd name="T111" fmla="*/ 67 h 98"/>
                <a:gd name="T112" fmla="*/ 67 w 85"/>
                <a:gd name="T113" fmla="*/ 67 h 98"/>
                <a:gd name="T114" fmla="*/ 62 w 85"/>
                <a:gd name="T115" fmla="*/ 62 h 98"/>
                <a:gd name="T116" fmla="*/ 71 w 85"/>
                <a:gd name="T117" fmla="*/ 93 h 98"/>
                <a:gd name="T118" fmla="*/ 80 w 85"/>
                <a:gd name="T119" fmla="*/ 98 h 98"/>
                <a:gd name="T120" fmla="*/ 85 w 85"/>
                <a:gd name="T121" fmla="*/ 89 h 98"/>
                <a:gd name="T122" fmla="*/ 76 w 85"/>
                <a:gd name="T123" fmla="*/ 89 h 98"/>
                <a:gd name="T124" fmla="*/ 71 w 85"/>
                <a:gd name="T125" fmla="*/ 93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" h="98">
                  <a:moveTo>
                    <a:pt x="4" y="4"/>
                  </a:moveTo>
                  <a:lnTo>
                    <a:pt x="0" y="9"/>
                  </a:lnTo>
                  <a:lnTo>
                    <a:pt x="9" y="9"/>
                  </a:lnTo>
                  <a:lnTo>
                    <a:pt x="13" y="9"/>
                  </a:lnTo>
                  <a:lnTo>
                    <a:pt x="13" y="4"/>
                  </a:lnTo>
                  <a:lnTo>
                    <a:pt x="4" y="4"/>
                  </a:lnTo>
                  <a:close/>
                  <a:moveTo>
                    <a:pt x="9" y="26"/>
                  </a:moveTo>
                  <a:lnTo>
                    <a:pt x="4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9" y="26"/>
                  </a:lnTo>
                  <a:lnTo>
                    <a:pt x="9" y="26"/>
                  </a:lnTo>
                  <a:close/>
                  <a:moveTo>
                    <a:pt x="18" y="26"/>
                  </a:moveTo>
                  <a:lnTo>
                    <a:pt x="18" y="35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18" y="26"/>
                  </a:lnTo>
                  <a:close/>
                  <a:moveTo>
                    <a:pt x="18" y="0"/>
                  </a:moveTo>
                  <a:lnTo>
                    <a:pt x="22" y="9"/>
                  </a:lnTo>
                  <a:lnTo>
                    <a:pt x="22" y="13"/>
                  </a:lnTo>
                  <a:lnTo>
                    <a:pt x="22" y="17"/>
                  </a:lnTo>
                  <a:lnTo>
                    <a:pt x="27" y="9"/>
                  </a:lnTo>
                  <a:lnTo>
                    <a:pt x="22" y="4"/>
                  </a:lnTo>
                  <a:lnTo>
                    <a:pt x="18" y="0"/>
                  </a:lnTo>
                  <a:close/>
                  <a:moveTo>
                    <a:pt x="18" y="53"/>
                  </a:moveTo>
                  <a:lnTo>
                    <a:pt x="18" y="44"/>
                  </a:lnTo>
                  <a:lnTo>
                    <a:pt x="13" y="44"/>
                  </a:lnTo>
                  <a:lnTo>
                    <a:pt x="13" y="53"/>
                  </a:lnTo>
                  <a:lnTo>
                    <a:pt x="18" y="53"/>
                  </a:lnTo>
                  <a:close/>
                  <a:moveTo>
                    <a:pt x="31" y="22"/>
                  </a:moveTo>
                  <a:lnTo>
                    <a:pt x="27" y="22"/>
                  </a:lnTo>
                  <a:lnTo>
                    <a:pt x="31" y="26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40" y="26"/>
                  </a:lnTo>
                  <a:lnTo>
                    <a:pt x="31" y="22"/>
                  </a:lnTo>
                  <a:close/>
                  <a:moveTo>
                    <a:pt x="45" y="35"/>
                  </a:moveTo>
                  <a:lnTo>
                    <a:pt x="49" y="44"/>
                  </a:lnTo>
                  <a:lnTo>
                    <a:pt x="45" y="49"/>
                  </a:lnTo>
                  <a:lnTo>
                    <a:pt x="53" y="49"/>
                  </a:lnTo>
                  <a:lnTo>
                    <a:pt x="49" y="44"/>
                  </a:lnTo>
                  <a:lnTo>
                    <a:pt x="45" y="35"/>
                  </a:lnTo>
                  <a:close/>
                  <a:moveTo>
                    <a:pt x="49" y="53"/>
                  </a:moveTo>
                  <a:lnTo>
                    <a:pt x="49" y="53"/>
                  </a:lnTo>
                  <a:lnTo>
                    <a:pt x="49" y="62"/>
                  </a:lnTo>
                  <a:lnTo>
                    <a:pt x="58" y="67"/>
                  </a:lnTo>
                  <a:lnTo>
                    <a:pt x="53" y="58"/>
                  </a:lnTo>
                  <a:lnTo>
                    <a:pt x="49" y="53"/>
                  </a:lnTo>
                  <a:close/>
                  <a:moveTo>
                    <a:pt x="62" y="62"/>
                  </a:moveTo>
                  <a:lnTo>
                    <a:pt x="62" y="67"/>
                  </a:lnTo>
                  <a:lnTo>
                    <a:pt x="67" y="67"/>
                  </a:lnTo>
                  <a:lnTo>
                    <a:pt x="67" y="71"/>
                  </a:lnTo>
                  <a:lnTo>
                    <a:pt x="67" y="80"/>
                  </a:lnTo>
                  <a:lnTo>
                    <a:pt x="71" y="71"/>
                  </a:lnTo>
                  <a:lnTo>
                    <a:pt x="71" y="67"/>
                  </a:lnTo>
                  <a:lnTo>
                    <a:pt x="67" y="67"/>
                  </a:lnTo>
                  <a:lnTo>
                    <a:pt x="62" y="62"/>
                  </a:lnTo>
                  <a:close/>
                  <a:moveTo>
                    <a:pt x="71" y="93"/>
                  </a:moveTo>
                  <a:lnTo>
                    <a:pt x="80" y="98"/>
                  </a:lnTo>
                  <a:lnTo>
                    <a:pt x="85" y="89"/>
                  </a:lnTo>
                  <a:lnTo>
                    <a:pt x="76" y="89"/>
                  </a:lnTo>
                  <a:lnTo>
                    <a:pt x="71" y="9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2453" name="Freeform 5"/>
            <p:cNvSpPr>
              <a:spLocks noEditPoints="1"/>
            </p:cNvSpPr>
            <p:nvPr/>
          </p:nvSpPr>
          <p:spPr bwMode="gray">
            <a:xfrm>
              <a:off x="2095" y="904"/>
              <a:ext cx="2288" cy="2161"/>
            </a:xfrm>
            <a:custGeom>
              <a:avLst/>
              <a:gdLst>
                <a:gd name="T0" fmla="*/ 161 w 1273"/>
                <a:gd name="T1" fmla="*/ 894 h 1202"/>
                <a:gd name="T2" fmla="*/ 188 w 1273"/>
                <a:gd name="T3" fmla="*/ 1001 h 1202"/>
                <a:gd name="T4" fmla="*/ 733 w 1273"/>
                <a:gd name="T5" fmla="*/ 1081 h 1202"/>
                <a:gd name="T6" fmla="*/ 858 w 1273"/>
                <a:gd name="T7" fmla="*/ 1162 h 1202"/>
                <a:gd name="T8" fmla="*/ 1014 w 1273"/>
                <a:gd name="T9" fmla="*/ 1099 h 1202"/>
                <a:gd name="T10" fmla="*/ 1197 w 1273"/>
                <a:gd name="T11" fmla="*/ 934 h 1202"/>
                <a:gd name="T12" fmla="*/ 1121 w 1273"/>
                <a:gd name="T13" fmla="*/ 818 h 1202"/>
                <a:gd name="T14" fmla="*/ 956 w 1273"/>
                <a:gd name="T15" fmla="*/ 710 h 1202"/>
                <a:gd name="T16" fmla="*/ 902 w 1273"/>
                <a:gd name="T17" fmla="*/ 979 h 1202"/>
                <a:gd name="T18" fmla="*/ 692 w 1273"/>
                <a:gd name="T19" fmla="*/ 813 h 1202"/>
                <a:gd name="T20" fmla="*/ 755 w 1273"/>
                <a:gd name="T21" fmla="*/ 612 h 1202"/>
                <a:gd name="T22" fmla="*/ 817 w 1273"/>
                <a:gd name="T23" fmla="*/ 581 h 1202"/>
                <a:gd name="T24" fmla="*/ 817 w 1273"/>
                <a:gd name="T25" fmla="*/ 438 h 1202"/>
                <a:gd name="T26" fmla="*/ 728 w 1273"/>
                <a:gd name="T27" fmla="*/ 456 h 1202"/>
                <a:gd name="T28" fmla="*/ 643 w 1273"/>
                <a:gd name="T29" fmla="*/ 407 h 1202"/>
                <a:gd name="T30" fmla="*/ 616 w 1273"/>
                <a:gd name="T31" fmla="*/ 500 h 1202"/>
                <a:gd name="T32" fmla="*/ 478 w 1273"/>
                <a:gd name="T33" fmla="*/ 541 h 1202"/>
                <a:gd name="T34" fmla="*/ 237 w 1273"/>
                <a:gd name="T35" fmla="*/ 424 h 1202"/>
                <a:gd name="T36" fmla="*/ 121 w 1273"/>
                <a:gd name="T37" fmla="*/ 938 h 1202"/>
                <a:gd name="T38" fmla="*/ 232 w 1273"/>
                <a:gd name="T39" fmla="*/ 1041 h 1202"/>
                <a:gd name="T40" fmla="*/ 304 w 1273"/>
                <a:gd name="T41" fmla="*/ 348 h 1202"/>
                <a:gd name="T42" fmla="*/ 295 w 1273"/>
                <a:gd name="T43" fmla="*/ 112 h 1202"/>
                <a:gd name="T44" fmla="*/ 317 w 1273"/>
                <a:gd name="T45" fmla="*/ 18 h 1202"/>
                <a:gd name="T46" fmla="*/ 420 w 1273"/>
                <a:gd name="T47" fmla="*/ 411 h 1202"/>
                <a:gd name="T48" fmla="*/ 554 w 1273"/>
                <a:gd name="T49" fmla="*/ 478 h 1202"/>
                <a:gd name="T50" fmla="*/ 487 w 1273"/>
                <a:gd name="T51" fmla="*/ 344 h 1202"/>
                <a:gd name="T52" fmla="*/ 380 w 1273"/>
                <a:gd name="T53" fmla="*/ 259 h 1202"/>
                <a:gd name="T54" fmla="*/ 344 w 1273"/>
                <a:gd name="T55" fmla="*/ 594 h 1202"/>
                <a:gd name="T56" fmla="*/ 241 w 1273"/>
                <a:gd name="T57" fmla="*/ 585 h 1202"/>
                <a:gd name="T58" fmla="*/ 451 w 1273"/>
                <a:gd name="T59" fmla="*/ 702 h 1202"/>
                <a:gd name="T60" fmla="*/ 362 w 1273"/>
                <a:gd name="T61" fmla="*/ 89 h 1202"/>
                <a:gd name="T62" fmla="*/ 407 w 1273"/>
                <a:gd name="T63" fmla="*/ 156 h 1202"/>
                <a:gd name="T64" fmla="*/ 509 w 1273"/>
                <a:gd name="T65" fmla="*/ 165 h 1202"/>
                <a:gd name="T66" fmla="*/ 456 w 1273"/>
                <a:gd name="T67" fmla="*/ 152 h 1202"/>
                <a:gd name="T68" fmla="*/ 616 w 1273"/>
                <a:gd name="T69" fmla="*/ 179 h 1202"/>
                <a:gd name="T70" fmla="*/ 563 w 1273"/>
                <a:gd name="T71" fmla="*/ 89 h 1202"/>
                <a:gd name="T72" fmla="*/ 572 w 1273"/>
                <a:gd name="T73" fmla="*/ 259 h 1202"/>
                <a:gd name="T74" fmla="*/ 634 w 1273"/>
                <a:gd name="T75" fmla="*/ 264 h 1202"/>
                <a:gd name="T76" fmla="*/ 688 w 1273"/>
                <a:gd name="T77" fmla="*/ 295 h 1202"/>
                <a:gd name="T78" fmla="*/ 679 w 1273"/>
                <a:gd name="T79" fmla="*/ 62 h 1202"/>
                <a:gd name="T80" fmla="*/ 809 w 1273"/>
                <a:gd name="T81" fmla="*/ 205 h 1202"/>
                <a:gd name="T82" fmla="*/ 773 w 1273"/>
                <a:gd name="T83" fmla="*/ 143 h 1202"/>
                <a:gd name="T84" fmla="*/ 804 w 1273"/>
                <a:gd name="T85" fmla="*/ 688 h 1202"/>
                <a:gd name="T86" fmla="*/ 791 w 1273"/>
                <a:gd name="T87" fmla="*/ 657 h 1202"/>
                <a:gd name="T88" fmla="*/ 759 w 1273"/>
                <a:gd name="T89" fmla="*/ 89 h 1202"/>
                <a:gd name="T90" fmla="*/ 849 w 1273"/>
                <a:gd name="T91" fmla="*/ 40 h 1202"/>
                <a:gd name="T92" fmla="*/ 844 w 1273"/>
                <a:gd name="T93" fmla="*/ 688 h 1202"/>
                <a:gd name="T94" fmla="*/ 929 w 1273"/>
                <a:gd name="T95" fmla="*/ 438 h 1202"/>
                <a:gd name="T96" fmla="*/ 978 w 1273"/>
                <a:gd name="T97" fmla="*/ 563 h 1202"/>
                <a:gd name="T98" fmla="*/ 1005 w 1273"/>
                <a:gd name="T99" fmla="*/ 693 h 1202"/>
                <a:gd name="T100" fmla="*/ 1117 w 1273"/>
                <a:gd name="T101" fmla="*/ 626 h 1202"/>
                <a:gd name="T102" fmla="*/ 1041 w 1273"/>
                <a:gd name="T103" fmla="*/ 420 h 1202"/>
                <a:gd name="T104" fmla="*/ 951 w 1273"/>
                <a:gd name="T105" fmla="*/ 308 h 1202"/>
                <a:gd name="T106" fmla="*/ 804 w 1273"/>
                <a:gd name="T107" fmla="*/ 273 h 1202"/>
                <a:gd name="T108" fmla="*/ 737 w 1273"/>
                <a:gd name="T109" fmla="*/ 366 h 1202"/>
                <a:gd name="T110" fmla="*/ 889 w 1273"/>
                <a:gd name="T111" fmla="*/ 706 h 1202"/>
                <a:gd name="T112" fmla="*/ 1054 w 1273"/>
                <a:gd name="T113" fmla="*/ 1135 h 1202"/>
                <a:gd name="T114" fmla="*/ 1161 w 1273"/>
                <a:gd name="T115" fmla="*/ 1122 h 1202"/>
                <a:gd name="T116" fmla="*/ 1085 w 1273"/>
                <a:gd name="T117" fmla="*/ 1050 h 1202"/>
                <a:gd name="T118" fmla="*/ 1108 w 1273"/>
                <a:gd name="T119" fmla="*/ 1041 h 1202"/>
                <a:gd name="T120" fmla="*/ 1224 w 1273"/>
                <a:gd name="T121" fmla="*/ 1086 h 1202"/>
                <a:gd name="T122" fmla="*/ 1260 w 1273"/>
                <a:gd name="T123" fmla="*/ 1077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73" h="1202">
                  <a:moveTo>
                    <a:pt x="0" y="442"/>
                  </a:moveTo>
                  <a:lnTo>
                    <a:pt x="0" y="777"/>
                  </a:lnTo>
                  <a:lnTo>
                    <a:pt x="4" y="782"/>
                  </a:lnTo>
                  <a:lnTo>
                    <a:pt x="13" y="782"/>
                  </a:lnTo>
                  <a:lnTo>
                    <a:pt x="22" y="773"/>
                  </a:lnTo>
                  <a:lnTo>
                    <a:pt x="27" y="777"/>
                  </a:lnTo>
                  <a:lnTo>
                    <a:pt x="31" y="782"/>
                  </a:lnTo>
                  <a:lnTo>
                    <a:pt x="45" y="800"/>
                  </a:lnTo>
                  <a:lnTo>
                    <a:pt x="49" y="809"/>
                  </a:lnTo>
                  <a:lnTo>
                    <a:pt x="63" y="804"/>
                  </a:lnTo>
                  <a:lnTo>
                    <a:pt x="71" y="791"/>
                  </a:lnTo>
                  <a:lnTo>
                    <a:pt x="85" y="791"/>
                  </a:lnTo>
                  <a:lnTo>
                    <a:pt x="103" y="804"/>
                  </a:lnTo>
                  <a:lnTo>
                    <a:pt x="121" y="840"/>
                  </a:lnTo>
                  <a:lnTo>
                    <a:pt x="134" y="867"/>
                  </a:lnTo>
                  <a:lnTo>
                    <a:pt x="152" y="885"/>
                  </a:lnTo>
                  <a:lnTo>
                    <a:pt x="161" y="885"/>
                  </a:lnTo>
                  <a:lnTo>
                    <a:pt x="161" y="894"/>
                  </a:lnTo>
                  <a:lnTo>
                    <a:pt x="165" y="903"/>
                  </a:lnTo>
                  <a:lnTo>
                    <a:pt x="161" y="920"/>
                  </a:lnTo>
                  <a:lnTo>
                    <a:pt x="156" y="929"/>
                  </a:lnTo>
                  <a:lnTo>
                    <a:pt x="156" y="938"/>
                  </a:lnTo>
                  <a:lnTo>
                    <a:pt x="152" y="938"/>
                  </a:lnTo>
                  <a:lnTo>
                    <a:pt x="152" y="943"/>
                  </a:lnTo>
                  <a:lnTo>
                    <a:pt x="161" y="943"/>
                  </a:lnTo>
                  <a:lnTo>
                    <a:pt x="156" y="956"/>
                  </a:lnTo>
                  <a:lnTo>
                    <a:pt x="165" y="965"/>
                  </a:lnTo>
                  <a:lnTo>
                    <a:pt x="174" y="956"/>
                  </a:lnTo>
                  <a:lnTo>
                    <a:pt x="179" y="956"/>
                  </a:lnTo>
                  <a:lnTo>
                    <a:pt x="170" y="965"/>
                  </a:lnTo>
                  <a:lnTo>
                    <a:pt x="179" y="979"/>
                  </a:lnTo>
                  <a:lnTo>
                    <a:pt x="183" y="979"/>
                  </a:lnTo>
                  <a:lnTo>
                    <a:pt x="183" y="970"/>
                  </a:lnTo>
                  <a:lnTo>
                    <a:pt x="188" y="970"/>
                  </a:lnTo>
                  <a:lnTo>
                    <a:pt x="188" y="983"/>
                  </a:lnTo>
                  <a:lnTo>
                    <a:pt x="188" y="1001"/>
                  </a:lnTo>
                  <a:lnTo>
                    <a:pt x="197" y="1001"/>
                  </a:lnTo>
                  <a:lnTo>
                    <a:pt x="197" y="1005"/>
                  </a:lnTo>
                  <a:lnTo>
                    <a:pt x="206" y="1014"/>
                  </a:lnTo>
                  <a:lnTo>
                    <a:pt x="219" y="1023"/>
                  </a:lnTo>
                  <a:lnTo>
                    <a:pt x="237" y="1028"/>
                  </a:lnTo>
                  <a:lnTo>
                    <a:pt x="237" y="1037"/>
                  </a:lnTo>
                  <a:lnTo>
                    <a:pt x="246" y="1046"/>
                  </a:lnTo>
                  <a:lnTo>
                    <a:pt x="264" y="1055"/>
                  </a:lnTo>
                  <a:lnTo>
                    <a:pt x="268" y="1059"/>
                  </a:lnTo>
                  <a:lnTo>
                    <a:pt x="268" y="1063"/>
                  </a:lnTo>
                  <a:lnTo>
                    <a:pt x="657" y="1063"/>
                  </a:lnTo>
                  <a:lnTo>
                    <a:pt x="666" y="1059"/>
                  </a:lnTo>
                  <a:lnTo>
                    <a:pt x="670" y="1068"/>
                  </a:lnTo>
                  <a:lnTo>
                    <a:pt x="692" y="1068"/>
                  </a:lnTo>
                  <a:lnTo>
                    <a:pt x="701" y="1072"/>
                  </a:lnTo>
                  <a:lnTo>
                    <a:pt x="710" y="1081"/>
                  </a:lnTo>
                  <a:lnTo>
                    <a:pt x="724" y="1077"/>
                  </a:lnTo>
                  <a:lnTo>
                    <a:pt x="733" y="1081"/>
                  </a:lnTo>
                  <a:lnTo>
                    <a:pt x="750" y="1072"/>
                  </a:lnTo>
                  <a:lnTo>
                    <a:pt x="759" y="1068"/>
                  </a:lnTo>
                  <a:lnTo>
                    <a:pt x="764" y="1059"/>
                  </a:lnTo>
                  <a:lnTo>
                    <a:pt x="786" y="1063"/>
                  </a:lnTo>
                  <a:lnTo>
                    <a:pt x="795" y="1081"/>
                  </a:lnTo>
                  <a:lnTo>
                    <a:pt x="809" y="1081"/>
                  </a:lnTo>
                  <a:lnTo>
                    <a:pt x="809" y="1099"/>
                  </a:lnTo>
                  <a:lnTo>
                    <a:pt x="817" y="1113"/>
                  </a:lnTo>
                  <a:lnTo>
                    <a:pt x="826" y="1117"/>
                  </a:lnTo>
                  <a:lnTo>
                    <a:pt x="867" y="1122"/>
                  </a:lnTo>
                  <a:lnTo>
                    <a:pt x="889" y="1148"/>
                  </a:lnTo>
                  <a:lnTo>
                    <a:pt x="876" y="1144"/>
                  </a:lnTo>
                  <a:lnTo>
                    <a:pt x="880" y="1153"/>
                  </a:lnTo>
                  <a:lnTo>
                    <a:pt x="867" y="1148"/>
                  </a:lnTo>
                  <a:lnTo>
                    <a:pt x="858" y="1135"/>
                  </a:lnTo>
                  <a:lnTo>
                    <a:pt x="853" y="1135"/>
                  </a:lnTo>
                  <a:lnTo>
                    <a:pt x="862" y="1148"/>
                  </a:lnTo>
                  <a:lnTo>
                    <a:pt x="858" y="1162"/>
                  </a:lnTo>
                  <a:lnTo>
                    <a:pt x="858" y="1171"/>
                  </a:lnTo>
                  <a:lnTo>
                    <a:pt x="844" y="1189"/>
                  </a:lnTo>
                  <a:lnTo>
                    <a:pt x="844" y="1193"/>
                  </a:lnTo>
                  <a:lnTo>
                    <a:pt x="840" y="1198"/>
                  </a:lnTo>
                  <a:lnTo>
                    <a:pt x="844" y="1202"/>
                  </a:lnTo>
                  <a:lnTo>
                    <a:pt x="862" y="1189"/>
                  </a:lnTo>
                  <a:lnTo>
                    <a:pt x="876" y="1193"/>
                  </a:lnTo>
                  <a:lnTo>
                    <a:pt x="876" y="1189"/>
                  </a:lnTo>
                  <a:lnTo>
                    <a:pt x="893" y="1184"/>
                  </a:lnTo>
                  <a:lnTo>
                    <a:pt x="893" y="1180"/>
                  </a:lnTo>
                  <a:lnTo>
                    <a:pt x="880" y="1175"/>
                  </a:lnTo>
                  <a:lnTo>
                    <a:pt x="889" y="1171"/>
                  </a:lnTo>
                  <a:lnTo>
                    <a:pt x="911" y="1162"/>
                  </a:lnTo>
                  <a:lnTo>
                    <a:pt x="925" y="1166"/>
                  </a:lnTo>
                  <a:lnTo>
                    <a:pt x="929" y="1157"/>
                  </a:lnTo>
                  <a:lnTo>
                    <a:pt x="934" y="1157"/>
                  </a:lnTo>
                  <a:lnTo>
                    <a:pt x="992" y="1108"/>
                  </a:lnTo>
                  <a:lnTo>
                    <a:pt x="1014" y="1099"/>
                  </a:lnTo>
                  <a:lnTo>
                    <a:pt x="1032" y="1072"/>
                  </a:lnTo>
                  <a:lnTo>
                    <a:pt x="1041" y="1059"/>
                  </a:lnTo>
                  <a:lnTo>
                    <a:pt x="1063" y="1050"/>
                  </a:lnTo>
                  <a:lnTo>
                    <a:pt x="1072" y="1032"/>
                  </a:lnTo>
                  <a:lnTo>
                    <a:pt x="1170" y="1032"/>
                  </a:lnTo>
                  <a:lnTo>
                    <a:pt x="1193" y="1001"/>
                  </a:lnTo>
                  <a:lnTo>
                    <a:pt x="1215" y="996"/>
                  </a:lnTo>
                  <a:lnTo>
                    <a:pt x="1228" y="983"/>
                  </a:lnTo>
                  <a:lnTo>
                    <a:pt x="1228" y="974"/>
                  </a:lnTo>
                  <a:lnTo>
                    <a:pt x="1224" y="974"/>
                  </a:lnTo>
                  <a:lnTo>
                    <a:pt x="1228" y="965"/>
                  </a:lnTo>
                  <a:lnTo>
                    <a:pt x="1228" y="956"/>
                  </a:lnTo>
                  <a:lnTo>
                    <a:pt x="1219" y="943"/>
                  </a:lnTo>
                  <a:lnTo>
                    <a:pt x="1211" y="947"/>
                  </a:lnTo>
                  <a:lnTo>
                    <a:pt x="1202" y="952"/>
                  </a:lnTo>
                  <a:lnTo>
                    <a:pt x="1206" y="938"/>
                  </a:lnTo>
                  <a:lnTo>
                    <a:pt x="1206" y="934"/>
                  </a:lnTo>
                  <a:lnTo>
                    <a:pt x="1197" y="934"/>
                  </a:lnTo>
                  <a:lnTo>
                    <a:pt x="1170" y="956"/>
                  </a:lnTo>
                  <a:lnTo>
                    <a:pt x="1170" y="943"/>
                  </a:lnTo>
                  <a:lnTo>
                    <a:pt x="1184" y="938"/>
                  </a:lnTo>
                  <a:lnTo>
                    <a:pt x="1193" y="929"/>
                  </a:lnTo>
                  <a:lnTo>
                    <a:pt x="1197" y="925"/>
                  </a:lnTo>
                  <a:lnTo>
                    <a:pt x="1197" y="916"/>
                  </a:lnTo>
                  <a:lnTo>
                    <a:pt x="1184" y="925"/>
                  </a:lnTo>
                  <a:lnTo>
                    <a:pt x="1184" y="912"/>
                  </a:lnTo>
                  <a:lnTo>
                    <a:pt x="1161" y="912"/>
                  </a:lnTo>
                  <a:lnTo>
                    <a:pt x="1161" y="894"/>
                  </a:lnTo>
                  <a:lnTo>
                    <a:pt x="1139" y="885"/>
                  </a:lnTo>
                  <a:lnTo>
                    <a:pt x="1135" y="871"/>
                  </a:lnTo>
                  <a:lnTo>
                    <a:pt x="1148" y="871"/>
                  </a:lnTo>
                  <a:lnTo>
                    <a:pt x="1135" y="840"/>
                  </a:lnTo>
                  <a:lnTo>
                    <a:pt x="1126" y="836"/>
                  </a:lnTo>
                  <a:lnTo>
                    <a:pt x="1130" y="827"/>
                  </a:lnTo>
                  <a:lnTo>
                    <a:pt x="1117" y="822"/>
                  </a:lnTo>
                  <a:lnTo>
                    <a:pt x="1121" y="818"/>
                  </a:lnTo>
                  <a:lnTo>
                    <a:pt x="1094" y="769"/>
                  </a:lnTo>
                  <a:lnTo>
                    <a:pt x="1090" y="791"/>
                  </a:lnTo>
                  <a:lnTo>
                    <a:pt x="1081" y="809"/>
                  </a:lnTo>
                  <a:lnTo>
                    <a:pt x="1077" y="809"/>
                  </a:lnTo>
                  <a:lnTo>
                    <a:pt x="1059" y="831"/>
                  </a:lnTo>
                  <a:lnTo>
                    <a:pt x="1045" y="809"/>
                  </a:lnTo>
                  <a:lnTo>
                    <a:pt x="1027" y="813"/>
                  </a:lnTo>
                  <a:lnTo>
                    <a:pt x="1032" y="804"/>
                  </a:lnTo>
                  <a:lnTo>
                    <a:pt x="1027" y="800"/>
                  </a:lnTo>
                  <a:lnTo>
                    <a:pt x="1027" y="777"/>
                  </a:lnTo>
                  <a:lnTo>
                    <a:pt x="1023" y="764"/>
                  </a:lnTo>
                  <a:lnTo>
                    <a:pt x="1032" y="760"/>
                  </a:lnTo>
                  <a:lnTo>
                    <a:pt x="1027" y="751"/>
                  </a:lnTo>
                  <a:lnTo>
                    <a:pt x="1018" y="755"/>
                  </a:lnTo>
                  <a:lnTo>
                    <a:pt x="1001" y="746"/>
                  </a:lnTo>
                  <a:lnTo>
                    <a:pt x="987" y="715"/>
                  </a:lnTo>
                  <a:lnTo>
                    <a:pt x="969" y="702"/>
                  </a:lnTo>
                  <a:lnTo>
                    <a:pt x="956" y="710"/>
                  </a:lnTo>
                  <a:lnTo>
                    <a:pt x="911" y="697"/>
                  </a:lnTo>
                  <a:lnTo>
                    <a:pt x="902" y="706"/>
                  </a:lnTo>
                  <a:lnTo>
                    <a:pt x="902" y="719"/>
                  </a:lnTo>
                  <a:lnTo>
                    <a:pt x="907" y="733"/>
                  </a:lnTo>
                  <a:lnTo>
                    <a:pt x="902" y="760"/>
                  </a:lnTo>
                  <a:lnTo>
                    <a:pt x="907" y="760"/>
                  </a:lnTo>
                  <a:lnTo>
                    <a:pt x="911" y="782"/>
                  </a:lnTo>
                  <a:lnTo>
                    <a:pt x="920" y="782"/>
                  </a:lnTo>
                  <a:lnTo>
                    <a:pt x="898" y="809"/>
                  </a:lnTo>
                  <a:lnTo>
                    <a:pt x="898" y="818"/>
                  </a:lnTo>
                  <a:lnTo>
                    <a:pt x="902" y="822"/>
                  </a:lnTo>
                  <a:lnTo>
                    <a:pt x="925" y="849"/>
                  </a:lnTo>
                  <a:lnTo>
                    <a:pt x="929" y="880"/>
                  </a:lnTo>
                  <a:lnTo>
                    <a:pt x="902" y="912"/>
                  </a:lnTo>
                  <a:lnTo>
                    <a:pt x="880" y="920"/>
                  </a:lnTo>
                  <a:lnTo>
                    <a:pt x="898" y="938"/>
                  </a:lnTo>
                  <a:lnTo>
                    <a:pt x="893" y="961"/>
                  </a:lnTo>
                  <a:lnTo>
                    <a:pt x="902" y="979"/>
                  </a:lnTo>
                  <a:lnTo>
                    <a:pt x="898" y="988"/>
                  </a:lnTo>
                  <a:lnTo>
                    <a:pt x="902" y="1001"/>
                  </a:lnTo>
                  <a:lnTo>
                    <a:pt x="898" y="1005"/>
                  </a:lnTo>
                  <a:lnTo>
                    <a:pt x="889" y="996"/>
                  </a:lnTo>
                  <a:lnTo>
                    <a:pt x="880" y="1010"/>
                  </a:lnTo>
                  <a:lnTo>
                    <a:pt x="862" y="988"/>
                  </a:lnTo>
                  <a:lnTo>
                    <a:pt x="853" y="983"/>
                  </a:lnTo>
                  <a:lnTo>
                    <a:pt x="858" y="979"/>
                  </a:lnTo>
                  <a:lnTo>
                    <a:pt x="844" y="961"/>
                  </a:lnTo>
                  <a:lnTo>
                    <a:pt x="849" y="947"/>
                  </a:lnTo>
                  <a:lnTo>
                    <a:pt x="844" y="934"/>
                  </a:lnTo>
                  <a:lnTo>
                    <a:pt x="849" y="912"/>
                  </a:lnTo>
                  <a:lnTo>
                    <a:pt x="809" y="907"/>
                  </a:lnTo>
                  <a:lnTo>
                    <a:pt x="773" y="885"/>
                  </a:lnTo>
                  <a:lnTo>
                    <a:pt x="755" y="867"/>
                  </a:lnTo>
                  <a:lnTo>
                    <a:pt x="728" y="853"/>
                  </a:lnTo>
                  <a:lnTo>
                    <a:pt x="706" y="867"/>
                  </a:lnTo>
                  <a:lnTo>
                    <a:pt x="692" y="813"/>
                  </a:lnTo>
                  <a:lnTo>
                    <a:pt x="675" y="818"/>
                  </a:lnTo>
                  <a:lnTo>
                    <a:pt x="666" y="809"/>
                  </a:lnTo>
                  <a:lnTo>
                    <a:pt x="670" y="773"/>
                  </a:lnTo>
                  <a:lnTo>
                    <a:pt x="688" y="724"/>
                  </a:lnTo>
                  <a:lnTo>
                    <a:pt x="706" y="706"/>
                  </a:lnTo>
                  <a:lnTo>
                    <a:pt x="706" y="697"/>
                  </a:lnTo>
                  <a:lnTo>
                    <a:pt x="724" y="693"/>
                  </a:lnTo>
                  <a:lnTo>
                    <a:pt x="724" y="675"/>
                  </a:lnTo>
                  <a:lnTo>
                    <a:pt x="652" y="657"/>
                  </a:lnTo>
                  <a:lnTo>
                    <a:pt x="652" y="643"/>
                  </a:lnTo>
                  <a:lnTo>
                    <a:pt x="688" y="657"/>
                  </a:lnTo>
                  <a:lnTo>
                    <a:pt x="724" y="670"/>
                  </a:lnTo>
                  <a:lnTo>
                    <a:pt x="733" y="666"/>
                  </a:lnTo>
                  <a:lnTo>
                    <a:pt x="737" y="652"/>
                  </a:lnTo>
                  <a:lnTo>
                    <a:pt x="755" y="657"/>
                  </a:lnTo>
                  <a:lnTo>
                    <a:pt x="768" y="648"/>
                  </a:lnTo>
                  <a:lnTo>
                    <a:pt x="777" y="612"/>
                  </a:lnTo>
                  <a:lnTo>
                    <a:pt x="755" y="612"/>
                  </a:lnTo>
                  <a:lnTo>
                    <a:pt x="742" y="590"/>
                  </a:lnTo>
                  <a:lnTo>
                    <a:pt x="768" y="608"/>
                  </a:lnTo>
                  <a:lnTo>
                    <a:pt x="782" y="608"/>
                  </a:lnTo>
                  <a:lnTo>
                    <a:pt x="795" y="585"/>
                  </a:lnTo>
                  <a:lnTo>
                    <a:pt x="782" y="581"/>
                  </a:lnTo>
                  <a:lnTo>
                    <a:pt x="782" y="572"/>
                  </a:lnTo>
                  <a:lnTo>
                    <a:pt x="804" y="567"/>
                  </a:lnTo>
                  <a:lnTo>
                    <a:pt x="804" y="581"/>
                  </a:lnTo>
                  <a:lnTo>
                    <a:pt x="813" y="585"/>
                  </a:lnTo>
                  <a:lnTo>
                    <a:pt x="809" y="590"/>
                  </a:lnTo>
                  <a:lnTo>
                    <a:pt x="813" y="603"/>
                  </a:lnTo>
                  <a:lnTo>
                    <a:pt x="813" y="603"/>
                  </a:lnTo>
                  <a:lnTo>
                    <a:pt x="813" y="590"/>
                  </a:lnTo>
                  <a:lnTo>
                    <a:pt x="817" y="585"/>
                  </a:lnTo>
                  <a:lnTo>
                    <a:pt x="826" y="603"/>
                  </a:lnTo>
                  <a:lnTo>
                    <a:pt x="831" y="603"/>
                  </a:lnTo>
                  <a:lnTo>
                    <a:pt x="826" y="590"/>
                  </a:lnTo>
                  <a:lnTo>
                    <a:pt x="817" y="581"/>
                  </a:lnTo>
                  <a:lnTo>
                    <a:pt x="822" y="581"/>
                  </a:lnTo>
                  <a:lnTo>
                    <a:pt x="822" y="567"/>
                  </a:lnTo>
                  <a:lnTo>
                    <a:pt x="822" y="563"/>
                  </a:lnTo>
                  <a:lnTo>
                    <a:pt x="831" y="581"/>
                  </a:lnTo>
                  <a:lnTo>
                    <a:pt x="853" y="563"/>
                  </a:lnTo>
                  <a:lnTo>
                    <a:pt x="853" y="554"/>
                  </a:lnTo>
                  <a:lnTo>
                    <a:pt x="867" y="545"/>
                  </a:lnTo>
                  <a:lnTo>
                    <a:pt x="867" y="527"/>
                  </a:lnTo>
                  <a:lnTo>
                    <a:pt x="858" y="514"/>
                  </a:lnTo>
                  <a:lnTo>
                    <a:pt x="849" y="491"/>
                  </a:lnTo>
                  <a:lnTo>
                    <a:pt x="858" y="491"/>
                  </a:lnTo>
                  <a:lnTo>
                    <a:pt x="867" y="478"/>
                  </a:lnTo>
                  <a:lnTo>
                    <a:pt x="858" y="474"/>
                  </a:lnTo>
                  <a:lnTo>
                    <a:pt x="867" y="469"/>
                  </a:lnTo>
                  <a:lnTo>
                    <a:pt x="867" y="460"/>
                  </a:lnTo>
                  <a:lnTo>
                    <a:pt x="849" y="442"/>
                  </a:lnTo>
                  <a:lnTo>
                    <a:pt x="826" y="442"/>
                  </a:lnTo>
                  <a:lnTo>
                    <a:pt x="817" y="438"/>
                  </a:lnTo>
                  <a:lnTo>
                    <a:pt x="804" y="438"/>
                  </a:lnTo>
                  <a:lnTo>
                    <a:pt x="804" y="460"/>
                  </a:lnTo>
                  <a:lnTo>
                    <a:pt x="809" y="465"/>
                  </a:lnTo>
                  <a:lnTo>
                    <a:pt x="804" y="474"/>
                  </a:lnTo>
                  <a:lnTo>
                    <a:pt x="795" y="478"/>
                  </a:lnTo>
                  <a:lnTo>
                    <a:pt x="795" y="505"/>
                  </a:lnTo>
                  <a:lnTo>
                    <a:pt x="786" y="518"/>
                  </a:lnTo>
                  <a:lnTo>
                    <a:pt x="773" y="536"/>
                  </a:lnTo>
                  <a:lnTo>
                    <a:pt x="759" y="496"/>
                  </a:lnTo>
                  <a:lnTo>
                    <a:pt x="764" y="478"/>
                  </a:lnTo>
                  <a:lnTo>
                    <a:pt x="764" y="460"/>
                  </a:lnTo>
                  <a:lnTo>
                    <a:pt x="750" y="447"/>
                  </a:lnTo>
                  <a:lnTo>
                    <a:pt x="746" y="447"/>
                  </a:lnTo>
                  <a:lnTo>
                    <a:pt x="737" y="496"/>
                  </a:lnTo>
                  <a:lnTo>
                    <a:pt x="728" y="496"/>
                  </a:lnTo>
                  <a:lnTo>
                    <a:pt x="728" y="469"/>
                  </a:lnTo>
                  <a:lnTo>
                    <a:pt x="719" y="456"/>
                  </a:lnTo>
                  <a:lnTo>
                    <a:pt x="728" y="456"/>
                  </a:lnTo>
                  <a:lnTo>
                    <a:pt x="733" y="451"/>
                  </a:lnTo>
                  <a:lnTo>
                    <a:pt x="719" y="442"/>
                  </a:lnTo>
                  <a:lnTo>
                    <a:pt x="710" y="451"/>
                  </a:lnTo>
                  <a:lnTo>
                    <a:pt x="701" y="442"/>
                  </a:lnTo>
                  <a:lnTo>
                    <a:pt x="706" y="429"/>
                  </a:lnTo>
                  <a:lnTo>
                    <a:pt x="701" y="420"/>
                  </a:lnTo>
                  <a:lnTo>
                    <a:pt x="715" y="420"/>
                  </a:lnTo>
                  <a:lnTo>
                    <a:pt x="706" y="393"/>
                  </a:lnTo>
                  <a:lnTo>
                    <a:pt x="692" y="389"/>
                  </a:lnTo>
                  <a:lnTo>
                    <a:pt x="692" y="366"/>
                  </a:lnTo>
                  <a:lnTo>
                    <a:pt x="679" y="348"/>
                  </a:lnTo>
                  <a:lnTo>
                    <a:pt x="661" y="344"/>
                  </a:lnTo>
                  <a:lnTo>
                    <a:pt x="652" y="348"/>
                  </a:lnTo>
                  <a:lnTo>
                    <a:pt x="661" y="357"/>
                  </a:lnTo>
                  <a:lnTo>
                    <a:pt x="652" y="362"/>
                  </a:lnTo>
                  <a:lnTo>
                    <a:pt x="643" y="389"/>
                  </a:lnTo>
                  <a:lnTo>
                    <a:pt x="657" y="393"/>
                  </a:lnTo>
                  <a:lnTo>
                    <a:pt x="643" y="407"/>
                  </a:lnTo>
                  <a:lnTo>
                    <a:pt x="643" y="424"/>
                  </a:lnTo>
                  <a:lnTo>
                    <a:pt x="652" y="442"/>
                  </a:lnTo>
                  <a:lnTo>
                    <a:pt x="688" y="451"/>
                  </a:lnTo>
                  <a:lnTo>
                    <a:pt x="675" y="460"/>
                  </a:lnTo>
                  <a:lnTo>
                    <a:pt x="670" y="478"/>
                  </a:lnTo>
                  <a:lnTo>
                    <a:pt x="683" y="469"/>
                  </a:lnTo>
                  <a:lnTo>
                    <a:pt x="683" y="487"/>
                  </a:lnTo>
                  <a:lnTo>
                    <a:pt x="670" y="505"/>
                  </a:lnTo>
                  <a:lnTo>
                    <a:pt x="661" y="505"/>
                  </a:lnTo>
                  <a:lnTo>
                    <a:pt x="657" y="518"/>
                  </a:lnTo>
                  <a:lnTo>
                    <a:pt x="666" y="527"/>
                  </a:lnTo>
                  <a:lnTo>
                    <a:pt x="657" y="536"/>
                  </a:lnTo>
                  <a:lnTo>
                    <a:pt x="648" y="527"/>
                  </a:lnTo>
                  <a:lnTo>
                    <a:pt x="652" y="496"/>
                  </a:lnTo>
                  <a:lnTo>
                    <a:pt x="643" y="509"/>
                  </a:lnTo>
                  <a:lnTo>
                    <a:pt x="639" y="491"/>
                  </a:lnTo>
                  <a:lnTo>
                    <a:pt x="625" y="487"/>
                  </a:lnTo>
                  <a:lnTo>
                    <a:pt x="616" y="500"/>
                  </a:lnTo>
                  <a:lnTo>
                    <a:pt x="616" y="509"/>
                  </a:lnTo>
                  <a:lnTo>
                    <a:pt x="603" y="514"/>
                  </a:lnTo>
                  <a:lnTo>
                    <a:pt x="567" y="514"/>
                  </a:lnTo>
                  <a:lnTo>
                    <a:pt x="549" y="505"/>
                  </a:lnTo>
                  <a:lnTo>
                    <a:pt x="536" y="509"/>
                  </a:lnTo>
                  <a:lnTo>
                    <a:pt x="518" y="496"/>
                  </a:lnTo>
                  <a:lnTo>
                    <a:pt x="518" y="478"/>
                  </a:lnTo>
                  <a:lnTo>
                    <a:pt x="509" y="469"/>
                  </a:lnTo>
                  <a:lnTo>
                    <a:pt x="491" y="483"/>
                  </a:lnTo>
                  <a:lnTo>
                    <a:pt x="474" y="483"/>
                  </a:lnTo>
                  <a:lnTo>
                    <a:pt x="469" y="500"/>
                  </a:lnTo>
                  <a:lnTo>
                    <a:pt x="478" y="500"/>
                  </a:lnTo>
                  <a:lnTo>
                    <a:pt x="509" y="487"/>
                  </a:lnTo>
                  <a:lnTo>
                    <a:pt x="514" y="496"/>
                  </a:lnTo>
                  <a:lnTo>
                    <a:pt x="482" y="523"/>
                  </a:lnTo>
                  <a:lnTo>
                    <a:pt x="482" y="554"/>
                  </a:lnTo>
                  <a:lnTo>
                    <a:pt x="474" y="559"/>
                  </a:lnTo>
                  <a:lnTo>
                    <a:pt x="478" y="541"/>
                  </a:lnTo>
                  <a:lnTo>
                    <a:pt x="465" y="532"/>
                  </a:lnTo>
                  <a:lnTo>
                    <a:pt x="465" y="523"/>
                  </a:lnTo>
                  <a:lnTo>
                    <a:pt x="447" y="514"/>
                  </a:lnTo>
                  <a:lnTo>
                    <a:pt x="407" y="532"/>
                  </a:lnTo>
                  <a:lnTo>
                    <a:pt x="371" y="527"/>
                  </a:lnTo>
                  <a:lnTo>
                    <a:pt x="375" y="505"/>
                  </a:lnTo>
                  <a:lnTo>
                    <a:pt x="389" y="505"/>
                  </a:lnTo>
                  <a:lnTo>
                    <a:pt x="393" y="496"/>
                  </a:lnTo>
                  <a:lnTo>
                    <a:pt x="380" y="469"/>
                  </a:lnTo>
                  <a:lnTo>
                    <a:pt x="353" y="460"/>
                  </a:lnTo>
                  <a:lnTo>
                    <a:pt x="357" y="474"/>
                  </a:lnTo>
                  <a:lnTo>
                    <a:pt x="340" y="460"/>
                  </a:lnTo>
                  <a:lnTo>
                    <a:pt x="304" y="451"/>
                  </a:lnTo>
                  <a:lnTo>
                    <a:pt x="259" y="433"/>
                  </a:lnTo>
                  <a:lnTo>
                    <a:pt x="255" y="447"/>
                  </a:lnTo>
                  <a:lnTo>
                    <a:pt x="241" y="451"/>
                  </a:lnTo>
                  <a:lnTo>
                    <a:pt x="241" y="424"/>
                  </a:lnTo>
                  <a:lnTo>
                    <a:pt x="237" y="424"/>
                  </a:lnTo>
                  <a:lnTo>
                    <a:pt x="237" y="447"/>
                  </a:lnTo>
                  <a:lnTo>
                    <a:pt x="228" y="442"/>
                  </a:lnTo>
                  <a:lnTo>
                    <a:pt x="197" y="393"/>
                  </a:lnTo>
                  <a:lnTo>
                    <a:pt x="188" y="402"/>
                  </a:lnTo>
                  <a:lnTo>
                    <a:pt x="192" y="429"/>
                  </a:lnTo>
                  <a:lnTo>
                    <a:pt x="130" y="460"/>
                  </a:lnTo>
                  <a:lnTo>
                    <a:pt x="130" y="451"/>
                  </a:lnTo>
                  <a:lnTo>
                    <a:pt x="165" y="433"/>
                  </a:lnTo>
                  <a:lnTo>
                    <a:pt x="170" y="420"/>
                  </a:lnTo>
                  <a:lnTo>
                    <a:pt x="147" y="424"/>
                  </a:lnTo>
                  <a:lnTo>
                    <a:pt x="139" y="438"/>
                  </a:lnTo>
                  <a:lnTo>
                    <a:pt x="134" y="429"/>
                  </a:lnTo>
                  <a:lnTo>
                    <a:pt x="103" y="451"/>
                  </a:lnTo>
                  <a:lnTo>
                    <a:pt x="98" y="433"/>
                  </a:lnTo>
                  <a:lnTo>
                    <a:pt x="71" y="460"/>
                  </a:lnTo>
                  <a:lnTo>
                    <a:pt x="31" y="447"/>
                  </a:lnTo>
                  <a:lnTo>
                    <a:pt x="0" y="442"/>
                  </a:lnTo>
                  <a:close/>
                  <a:moveTo>
                    <a:pt x="121" y="938"/>
                  </a:moveTo>
                  <a:lnTo>
                    <a:pt x="121" y="956"/>
                  </a:lnTo>
                  <a:lnTo>
                    <a:pt x="130" y="974"/>
                  </a:lnTo>
                  <a:lnTo>
                    <a:pt x="143" y="988"/>
                  </a:lnTo>
                  <a:lnTo>
                    <a:pt x="134" y="970"/>
                  </a:lnTo>
                  <a:lnTo>
                    <a:pt x="139" y="965"/>
                  </a:lnTo>
                  <a:lnTo>
                    <a:pt x="134" y="952"/>
                  </a:lnTo>
                  <a:lnTo>
                    <a:pt x="139" y="943"/>
                  </a:lnTo>
                  <a:lnTo>
                    <a:pt x="121" y="938"/>
                  </a:lnTo>
                  <a:close/>
                  <a:moveTo>
                    <a:pt x="183" y="1019"/>
                  </a:moveTo>
                  <a:lnTo>
                    <a:pt x="192" y="1028"/>
                  </a:lnTo>
                  <a:lnTo>
                    <a:pt x="197" y="1041"/>
                  </a:lnTo>
                  <a:lnTo>
                    <a:pt x="201" y="1037"/>
                  </a:lnTo>
                  <a:lnTo>
                    <a:pt x="210" y="1046"/>
                  </a:lnTo>
                  <a:lnTo>
                    <a:pt x="232" y="1063"/>
                  </a:lnTo>
                  <a:lnTo>
                    <a:pt x="259" y="1072"/>
                  </a:lnTo>
                  <a:lnTo>
                    <a:pt x="259" y="1068"/>
                  </a:lnTo>
                  <a:lnTo>
                    <a:pt x="246" y="1055"/>
                  </a:lnTo>
                  <a:lnTo>
                    <a:pt x="232" y="1041"/>
                  </a:lnTo>
                  <a:lnTo>
                    <a:pt x="228" y="1032"/>
                  </a:lnTo>
                  <a:lnTo>
                    <a:pt x="197" y="1019"/>
                  </a:lnTo>
                  <a:lnTo>
                    <a:pt x="183" y="1019"/>
                  </a:lnTo>
                  <a:close/>
                  <a:moveTo>
                    <a:pt x="241" y="223"/>
                  </a:moveTo>
                  <a:lnTo>
                    <a:pt x="250" y="228"/>
                  </a:lnTo>
                  <a:lnTo>
                    <a:pt x="259" y="246"/>
                  </a:lnTo>
                  <a:lnTo>
                    <a:pt x="241" y="281"/>
                  </a:lnTo>
                  <a:lnTo>
                    <a:pt x="250" y="290"/>
                  </a:lnTo>
                  <a:lnTo>
                    <a:pt x="237" y="290"/>
                  </a:lnTo>
                  <a:lnTo>
                    <a:pt x="228" y="331"/>
                  </a:lnTo>
                  <a:lnTo>
                    <a:pt x="237" y="331"/>
                  </a:lnTo>
                  <a:lnTo>
                    <a:pt x="255" y="344"/>
                  </a:lnTo>
                  <a:lnTo>
                    <a:pt x="255" y="366"/>
                  </a:lnTo>
                  <a:lnTo>
                    <a:pt x="264" y="375"/>
                  </a:lnTo>
                  <a:lnTo>
                    <a:pt x="273" y="371"/>
                  </a:lnTo>
                  <a:lnTo>
                    <a:pt x="281" y="353"/>
                  </a:lnTo>
                  <a:lnTo>
                    <a:pt x="290" y="362"/>
                  </a:lnTo>
                  <a:lnTo>
                    <a:pt x="304" y="348"/>
                  </a:lnTo>
                  <a:lnTo>
                    <a:pt x="304" y="322"/>
                  </a:lnTo>
                  <a:lnTo>
                    <a:pt x="313" y="313"/>
                  </a:lnTo>
                  <a:lnTo>
                    <a:pt x="308" y="304"/>
                  </a:lnTo>
                  <a:lnTo>
                    <a:pt x="313" y="290"/>
                  </a:lnTo>
                  <a:lnTo>
                    <a:pt x="335" y="277"/>
                  </a:lnTo>
                  <a:lnTo>
                    <a:pt x="353" y="268"/>
                  </a:lnTo>
                  <a:lnTo>
                    <a:pt x="371" y="255"/>
                  </a:lnTo>
                  <a:lnTo>
                    <a:pt x="348" y="232"/>
                  </a:lnTo>
                  <a:lnTo>
                    <a:pt x="340" y="210"/>
                  </a:lnTo>
                  <a:lnTo>
                    <a:pt x="322" y="214"/>
                  </a:lnTo>
                  <a:lnTo>
                    <a:pt x="317" y="219"/>
                  </a:lnTo>
                  <a:lnTo>
                    <a:pt x="290" y="205"/>
                  </a:lnTo>
                  <a:lnTo>
                    <a:pt x="241" y="223"/>
                  </a:lnTo>
                  <a:close/>
                  <a:moveTo>
                    <a:pt x="259" y="89"/>
                  </a:moveTo>
                  <a:lnTo>
                    <a:pt x="264" y="98"/>
                  </a:lnTo>
                  <a:lnTo>
                    <a:pt x="281" y="98"/>
                  </a:lnTo>
                  <a:lnTo>
                    <a:pt x="286" y="89"/>
                  </a:lnTo>
                  <a:lnTo>
                    <a:pt x="295" y="112"/>
                  </a:lnTo>
                  <a:lnTo>
                    <a:pt x="308" y="98"/>
                  </a:lnTo>
                  <a:lnTo>
                    <a:pt x="308" y="80"/>
                  </a:lnTo>
                  <a:lnTo>
                    <a:pt x="313" y="94"/>
                  </a:lnTo>
                  <a:lnTo>
                    <a:pt x="322" y="76"/>
                  </a:lnTo>
                  <a:lnTo>
                    <a:pt x="322" y="49"/>
                  </a:lnTo>
                  <a:lnTo>
                    <a:pt x="335" y="45"/>
                  </a:lnTo>
                  <a:lnTo>
                    <a:pt x="335" y="71"/>
                  </a:lnTo>
                  <a:lnTo>
                    <a:pt x="344" y="89"/>
                  </a:lnTo>
                  <a:lnTo>
                    <a:pt x="348" y="80"/>
                  </a:lnTo>
                  <a:lnTo>
                    <a:pt x="348" y="67"/>
                  </a:lnTo>
                  <a:lnTo>
                    <a:pt x="362" y="71"/>
                  </a:lnTo>
                  <a:lnTo>
                    <a:pt x="366" y="49"/>
                  </a:lnTo>
                  <a:lnTo>
                    <a:pt x="362" y="36"/>
                  </a:lnTo>
                  <a:lnTo>
                    <a:pt x="371" y="27"/>
                  </a:lnTo>
                  <a:lnTo>
                    <a:pt x="357" y="9"/>
                  </a:lnTo>
                  <a:lnTo>
                    <a:pt x="353" y="9"/>
                  </a:lnTo>
                  <a:lnTo>
                    <a:pt x="348" y="22"/>
                  </a:lnTo>
                  <a:lnTo>
                    <a:pt x="317" y="18"/>
                  </a:lnTo>
                  <a:lnTo>
                    <a:pt x="299" y="49"/>
                  </a:lnTo>
                  <a:lnTo>
                    <a:pt x="286" y="54"/>
                  </a:lnTo>
                  <a:lnTo>
                    <a:pt x="286" y="67"/>
                  </a:lnTo>
                  <a:lnTo>
                    <a:pt x="264" y="76"/>
                  </a:lnTo>
                  <a:lnTo>
                    <a:pt x="259" y="89"/>
                  </a:lnTo>
                  <a:close/>
                  <a:moveTo>
                    <a:pt x="322" y="362"/>
                  </a:moveTo>
                  <a:lnTo>
                    <a:pt x="335" y="353"/>
                  </a:lnTo>
                  <a:lnTo>
                    <a:pt x="362" y="348"/>
                  </a:lnTo>
                  <a:lnTo>
                    <a:pt x="375" y="353"/>
                  </a:lnTo>
                  <a:lnTo>
                    <a:pt x="348" y="362"/>
                  </a:lnTo>
                  <a:lnTo>
                    <a:pt x="326" y="375"/>
                  </a:lnTo>
                  <a:lnTo>
                    <a:pt x="326" y="384"/>
                  </a:lnTo>
                  <a:lnTo>
                    <a:pt x="340" y="393"/>
                  </a:lnTo>
                  <a:lnTo>
                    <a:pt x="375" y="398"/>
                  </a:lnTo>
                  <a:lnTo>
                    <a:pt x="398" y="389"/>
                  </a:lnTo>
                  <a:lnTo>
                    <a:pt x="433" y="398"/>
                  </a:lnTo>
                  <a:lnTo>
                    <a:pt x="438" y="402"/>
                  </a:lnTo>
                  <a:lnTo>
                    <a:pt x="420" y="411"/>
                  </a:lnTo>
                  <a:lnTo>
                    <a:pt x="398" y="407"/>
                  </a:lnTo>
                  <a:lnTo>
                    <a:pt x="353" y="416"/>
                  </a:lnTo>
                  <a:lnTo>
                    <a:pt x="344" y="429"/>
                  </a:lnTo>
                  <a:lnTo>
                    <a:pt x="357" y="451"/>
                  </a:lnTo>
                  <a:lnTo>
                    <a:pt x="402" y="451"/>
                  </a:lnTo>
                  <a:lnTo>
                    <a:pt x="402" y="460"/>
                  </a:lnTo>
                  <a:lnTo>
                    <a:pt x="393" y="469"/>
                  </a:lnTo>
                  <a:lnTo>
                    <a:pt x="393" y="483"/>
                  </a:lnTo>
                  <a:lnTo>
                    <a:pt x="407" y="496"/>
                  </a:lnTo>
                  <a:lnTo>
                    <a:pt x="451" y="491"/>
                  </a:lnTo>
                  <a:lnTo>
                    <a:pt x="474" y="474"/>
                  </a:lnTo>
                  <a:lnTo>
                    <a:pt x="482" y="474"/>
                  </a:lnTo>
                  <a:lnTo>
                    <a:pt x="491" y="465"/>
                  </a:lnTo>
                  <a:lnTo>
                    <a:pt x="496" y="447"/>
                  </a:lnTo>
                  <a:lnTo>
                    <a:pt x="500" y="465"/>
                  </a:lnTo>
                  <a:lnTo>
                    <a:pt x="527" y="460"/>
                  </a:lnTo>
                  <a:lnTo>
                    <a:pt x="518" y="474"/>
                  </a:lnTo>
                  <a:lnTo>
                    <a:pt x="554" y="478"/>
                  </a:lnTo>
                  <a:lnTo>
                    <a:pt x="572" y="465"/>
                  </a:lnTo>
                  <a:lnTo>
                    <a:pt x="563" y="447"/>
                  </a:lnTo>
                  <a:lnTo>
                    <a:pt x="554" y="451"/>
                  </a:lnTo>
                  <a:lnTo>
                    <a:pt x="549" y="442"/>
                  </a:lnTo>
                  <a:lnTo>
                    <a:pt x="567" y="438"/>
                  </a:lnTo>
                  <a:lnTo>
                    <a:pt x="581" y="442"/>
                  </a:lnTo>
                  <a:lnTo>
                    <a:pt x="581" y="420"/>
                  </a:lnTo>
                  <a:lnTo>
                    <a:pt x="558" y="411"/>
                  </a:lnTo>
                  <a:lnTo>
                    <a:pt x="554" y="398"/>
                  </a:lnTo>
                  <a:lnTo>
                    <a:pt x="545" y="407"/>
                  </a:lnTo>
                  <a:lnTo>
                    <a:pt x="527" y="380"/>
                  </a:lnTo>
                  <a:lnTo>
                    <a:pt x="527" y="348"/>
                  </a:lnTo>
                  <a:lnTo>
                    <a:pt x="509" y="281"/>
                  </a:lnTo>
                  <a:lnTo>
                    <a:pt x="491" y="264"/>
                  </a:lnTo>
                  <a:lnTo>
                    <a:pt x="491" y="273"/>
                  </a:lnTo>
                  <a:lnTo>
                    <a:pt x="478" y="268"/>
                  </a:lnTo>
                  <a:lnTo>
                    <a:pt x="478" y="281"/>
                  </a:lnTo>
                  <a:lnTo>
                    <a:pt x="487" y="344"/>
                  </a:lnTo>
                  <a:lnTo>
                    <a:pt x="478" y="353"/>
                  </a:lnTo>
                  <a:lnTo>
                    <a:pt x="474" y="344"/>
                  </a:lnTo>
                  <a:lnTo>
                    <a:pt x="469" y="304"/>
                  </a:lnTo>
                  <a:lnTo>
                    <a:pt x="456" y="286"/>
                  </a:lnTo>
                  <a:lnTo>
                    <a:pt x="442" y="286"/>
                  </a:lnTo>
                  <a:lnTo>
                    <a:pt x="447" y="299"/>
                  </a:lnTo>
                  <a:lnTo>
                    <a:pt x="451" y="299"/>
                  </a:lnTo>
                  <a:lnTo>
                    <a:pt x="451" y="322"/>
                  </a:lnTo>
                  <a:lnTo>
                    <a:pt x="433" y="322"/>
                  </a:lnTo>
                  <a:lnTo>
                    <a:pt x="424" y="326"/>
                  </a:lnTo>
                  <a:lnTo>
                    <a:pt x="438" y="299"/>
                  </a:lnTo>
                  <a:lnTo>
                    <a:pt x="424" y="286"/>
                  </a:lnTo>
                  <a:lnTo>
                    <a:pt x="402" y="277"/>
                  </a:lnTo>
                  <a:lnTo>
                    <a:pt x="398" y="304"/>
                  </a:lnTo>
                  <a:lnTo>
                    <a:pt x="384" y="313"/>
                  </a:lnTo>
                  <a:lnTo>
                    <a:pt x="389" y="295"/>
                  </a:lnTo>
                  <a:lnTo>
                    <a:pt x="389" y="259"/>
                  </a:lnTo>
                  <a:lnTo>
                    <a:pt x="380" y="259"/>
                  </a:lnTo>
                  <a:lnTo>
                    <a:pt x="322" y="295"/>
                  </a:lnTo>
                  <a:lnTo>
                    <a:pt x="322" y="304"/>
                  </a:lnTo>
                  <a:lnTo>
                    <a:pt x="322" y="313"/>
                  </a:lnTo>
                  <a:lnTo>
                    <a:pt x="335" y="308"/>
                  </a:lnTo>
                  <a:lnTo>
                    <a:pt x="331" y="317"/>
                  </a:lnTo>
                  <a:lnTo>
                    <a:pt x="317" y="322"/>
                  </a:lnTo>
                  <a:lnTo>
                    <a:pt x="308" y="340"/>
                  </a:lnTo>
                  <a:lnTo>
                    <a:pt x="308" y="348"/>
                  </a:lnTo>
                  <a:lnTo>
                    <a:pt x="317" y="340"/>
                  </a:lnTo>
                  <a:lnTo>
                    <a:pt x="326" y="344"/>
                  </a:lnTo>
                  <a:lnTo>
                    <a:pt x="322" y="353"/>
                  </a:lnTo>
                  <a:lnTo>
                    <a:pt x="322" y="362"/>
                  </a:lnTo>
                  <a:close/>
                  <a:moveTo>
                    <a:pt x="322" y="550"/>
                  </a:moveTo>
                  <a:lnTo>
                    <a:pt x="299" y="572"/>
                  </a:lnTo>
                  <a:lnTo>
                    <a:pt x="322" y="581"/>
                  </a:lnTo>
                  <a:lnTo>
                    <a:pt x="344" y="572"/>
                  </a:lnTo>
                  <a:lnTo>
                    <a:pt x="348" y="576"/>
                  </a:lnTo>
                  <a:lnTo>
                    <a:pt x="344" y="594"/>
                  </a:lnTo>
                  <a:lnTo>
                    <a:pt x="322" y="599"/>
                  </a:lnTo>
                  <a:lnTo>
                    <a:pt x="322" y="590"/>
                  </a:lnTo>
                  <a:lnTo>
                    <a:pt x="313" y="590"/>
                  </a:lnTo>
                  <a:lnTo>
                    <a:pt x="308" y="599"/>
                  </a:lnTo>
                  <a:lnTo>
                    <a:pt x="313" y="608"/>
                  </a:lnTo>
                  <a:lnTo>
                    <a:pt x="308" y="612"/>
                  </a:lnTo>
                  <a:lnTo>
                    <a:pt x="295" y="630"/>
                  </a:lnTo>
                  <a:lnTo>
                    <a:pt x="290" y="626"/>
                  </a:lnTo>
                  <a:lnTo>
                    <a:pt x="299" y="603"/>
                  </a:lnTo>
                  <a:lnTo>
                    <a:pt x="295" y="599"/>
                  </a:lnTo>
                  <a:lnTo>
                    <a:pt x="281" y="626"/>
                  </a:lnTo>
                  <a:lnTo>
                    <a:pt x="255" y="617"/>
                  </a:lnTo>
                  <a:lnTo>
                    <a:pt x="268" y="612"/>
                  </a:lnTo>
                  <a:lnTo>
                    <a:pt x="273" y="599"/>
                  </a:lnTo>
                  <a:lnTo>
                    <a:pt x="268" y="590"/>
                  </a:lnTo>
                  <a:lnTo>
                    <a:pt x="286" y="590"/>
                  </a:lnTo>
                  <a:lnTo>
                    <a:pt x="281" y="581"/>
                  </a:lnTo>
                  <a:lnTo>
                    <a:pt x="241" y="585"/>
                  </a:lnTo>
                  <a:lnTo>
                    <a:pt x="232" y="590"/>
                  </a:lnTo>
                  <a:lnTo>
                    <a:pt x="237" y="576"/>
                  </a:lnTo>
                  <a:lnTo>
                    <a:pt x="246" y="581"/>
                  </a:lnTo>
                  <a:lnTo>
                    <a:pt x="268" y="572"/>
                  </a:lnTo>
                  <a:lnTo>
                    <a:pt x="308" y="545"/>
                  </a:lnTo>
                  <a:lnTo>
                    <a:pt x="322" y="550"/>
                  </a:lnTo>
                  <a:close/>
                  <a:moveTo>
                    <a:pt x="335" y="107"/>
                  </a:moveTo>
                  <a:lnTo>
                    <a:pt x="313" y="143"/>
                  </a:lnTo>
                  <a:lnTo>
                    <a:pt x="313" y="152"/>
                  </a:lnTo>
                  <a:lnTo>
                    <a:pt x="326" y="156"/>
                  </a:lnTo>
                  <a:lnTo>
                    <a:pt x="340" y="107"/>
                  </a:lnTo>
                  <a:lnTo>
                    <a:pt x="335" y="107"/>
                  </a:lnTo>
                  <a:close/>
                  <a:moveTo>
                    <a:pt x="357" y="684"/>
                  </a:moveTo>
                  <a:lnTo>
                    <a:pt x="402" y="715"/>
                  </a:lnTo>
                  <a:lnTo>
                    <a:pt x="415" y="715"/>
                  </a:lnTo>
                  <a:lnTo>
                    <a:pt x="433" y="697"/>
                  </a:lnTo>
                  <a:lnTo>
                    <a:pt x="451" y="693"/>
                  </a:lnTo>
                  <a:lnTo>
                    <a:pt x="451" y="702"/>
                  </a:lnTo>
                  <a:lnTo>
                    <a:pt x="433" y="710"/>
                  </a:lnTo>
                  <a:lnTo>
                    <a:pt x="411" y="737"/>
                  </a:lnTo>
                  <a:lnTo>
                    <a:pt x="402" y="737"/>
                  </a:lnTo>
                  <a:lnTo>
                    <a:pt x="402" y="746"/>
                  </a:lnTo>
                  <a:lnTo>
                    <a:pt x="371" y="755"/>
                  </a:lnTo>
                  <a:lnTo>
                    <a:pt x="348" y="751"/>
                  </a:lnTo>
                  <a:lnTo>
                    <a:pt x="322" y="737"/>
                  </a:lnTo>
                  <a:lnTo>
                    <a:pt x="326" y="733"/>
                  </a:lnTo>
                  <a:lnTo>
                    <a:pt x="348" y="742"/>
                  </a:lnTo>
                  <a:lnTo>
                    <a:pt x="366" y="742"/>
                  </a:lnTo>
                  <a:lnTo>
                    <a:pt x="371" y="724"/>
                  </a:lnTo>
                  <a:lnTo>
                    <a:pt x="384" y="719"/>
                  </a:lnTo>
                  <a:lnTo>
                    <a:pt x="375" y="702"/>
                  </a:lnTo>
                  <a:lnTo>
                    <a:pt x="366" y="706"/>
                  </a:lnTo>
                  <a:lnTo>
                    <a:pt x="357" y="684"/>
                  </a:lnTo>
                  <a:close/>
                  <a:moveTo>
                    <a:pt x="384" y="71"/>
                  </a:moveTo>
                  <a:lnTo>
                    <a:pt x="375" y="76"/>
                  </a:lnTo>
                  <a:lnTo>
                    <a:pt x="362" y="89"/>
                  </a:lnTo>
                  <a:lnTo>
                    <a:pt x="375" y="98"/>
                  </a:lnTo>
                  <a:lnTo>
                    <a:pt x="357" y="98"/>
                  </a:lnTo>
                  <a:lnTo>
                    <a:pt x="353" y="107"/>
                  </a:lnTo>
                  <a:lnTo>
                    <a:pt x="348" y="121"/>
                  </a:lnTo>
                  <a:lnTo>
                    <a:pt x="371" y="121"/>
                  </a:lnTo>
                  <a:lnTo>
                    <a:pt x="348" y="134"/>
                  </a:lnTo>
                  <a:lnTo>
                    <a:pt x="344" y="152"/>
                  </a:lnTo>
                  <a:lnTo>
                    <a:pt x="375" y="147"/>
                  </a:lnTo>
                  <a:lnTo>
                    <a:pt x="357" y="161"/>
                  </a:lnTo>
                  <a:lnTo>
                    <a:pt x="344" y="161"/>
                  </a:lnTo>
                  <a:lnTo>
                    <a:pt x="340" y="174"/>
                  </a:lnTo>
                  <a:lnTo>
                    <a:pt x="357" y="174"/>
                  </a:lnTo>
                  <a:lnTo>
                    <a:pt x="366" y="174"/>
                  </a:lnTo>
                  <a:lnTo>
                    <a:pt x="371" y="183"/>
                  </a:lnTo>
                  <a:lnTo>
                    <a:pt x="380" y="183"/>
                  </a:lnTo>
                  <a:lnTo>
                    <a:pt x="389" y="179"/>
                  </a:lnTo>
                  <a:lnTo>
                    <a:pt x="398" y="156"/>
                  </a:lnTo>
                  <a:lnTo>
                    <a:pt x="407" y="156"/>
                  </a:lnTo>
                  <a:lnTo>
                    <a:pt x="398" y="174"/>
                  </a:lnTo>
                  <a:lnTo>
                    <a:pt x="398" y="179"/>
                  </a:lnTo>
                  <a:lnTo>
                    <a:pt x="411" y="170"/>
                  </a:lnTo>
                  <a:lnTo>
                    <a:pt x="433" y="170"/>
                  </a:lnTo>
                  <a:lnTo>
                    <a:pt x="429" y="179"/>
                  </a:lnTo>
                  <a:lnTo>
                    <a:pt x="407" y="183"/>
                  </a:lnTo>
                  <a:lnTo>
                    <a:pt x="384" y="188"/>
                  </a:lnTo>
                  <a:lnTo>
                    <a:pt x="384" y="197"/>
                  </a:lnTo>
                  <a:lnTo>
                    <a:pt x="389" y="210"/>
                  </a:lnTo>
                  <a:lnTo>
                    <a:pt x="402" y="214"/>
                  </a:lnTo>
                  <a:lnTo>
                    <a:pt x="420" y="210"/>
                  </a:lnTo>
                  <a:lnTo>
                    <a:pt x="433" y="201"/>
                  </a:lnTo>
                  <a:lnTo>
                    <a:pt x="438" y="192"/>
                  </a:lnTo>
                  <a:lnTo>
                    <a:pt x="456" y="192"/>
                  </a:lnTo>
                  <a:lnTo>
                    <a:pt x="460" y="183"/>
                  </a:lnTo>
                  <a:lnTo>
                    <a:pt x="496" y="188"/>
                  </a:lnTo>
                  <a:lnTo>
                    <a:pt x="509" y="174"/>
                  </a:lnTo>
                  <a:lnTo>
                    <a:pt x="509" y="165"/>
                  </a:lnTo>
                  <a:lnTo>
                    <a:pt x="523" y="134"/>
                  </a:lnTo>
                  <a:lnTo>
                    <a:pt x="514" y="116"/>
                  </a:lnTo>
                  <a:lnTo>
                    <a:pt x="505" y="107"/>
                  </a:lnTo>
                  <a:lnTo>
                    <a:pt x="496" y="116"/>
                  </a:lnTo>
                  <a:lnTo>
                    <a:pt x="482" y="121"/>
                  </a:lnTo>
                  <a:lnTo>
                    <a:pt x="482" y="112"/>
                  </a:lnTo>
                  <a:lnTo>
                    <a:pt x="469" y="107"/>
                  </a:lnTo>
                  <a:lnTo>
                    <a:pt x="469" y="89"/>
                  </a:lnTo>
                  <a:lnTo>
                    <a:pt x="465" y="71"/>
                  </a:lnTo>
                  <a:lnTo>
                    <a:pt x="456" y="67"/>
                  </a:lnTo>
                  <a:lnTo>
                    <a:pt x="460" y="58"/>
                  </a:lnTo>
                  <a:lnTo>
                    <a:pt x="456" y="54"/>
                  </a:lnTo>
                  <a:lnTo>
                    <a:pt x="451" y="58"/>
                  </a:lnTo>
                  <a:lnTo>
                    <a:pt x="438" y="76"/>
                  </a:lnTo>
                  <a:lnTo>
                    <a:pt x="456" y="107"/>
                  </a:lnTo>
                  <a:lnTo>
                    <a:pt x="442" y="121"/>
                  </a:lnTo>
                  <a:lnTo>
                    <a:pt x="460" y="143"/>
                  </a:lnTo>
                  <a:lnTo>
                    <a:pt x="456" y="152"/>
                  </a:lnTo>
                  <a:lnTo>
                    <a:pt x="433" y="152"/>
                  </a:lnTo>
                  <a:lnTo>
                    <a:pt x="424" y="134"/>
                  </a:lnTo>
                  <a:lnTo>
                    <a:pt x="407" y="130"/>
                  </a:lnTo>
                  <a:lnTo>
                    <a:pt x="420" y="125"/>
                  </a:lnTo>
                  <a:lnTo>
                    <a:pt x="407" y="89"/>
                  </a:lnTo>
                  <a:lnTo>
                    <a:pt x="393" y="94"/>
                  </a:lnTo>
                  <a:lnTo>
                    <a:pt x="389" y="71"/>
                  </a:lnTo>
                  <a:lnTo>
                    <a:pt x="384" y="71"/>
                  </a:lnTo>
                  <a:close/>
                  <a:moveTo>
                    <a:pt x="500" y="246"/>
                  </a:moveTo>
                  <a:lnTo>
                    <a:pt x="496" y="255"/>
                  </a:lnTo>
                  <a:lnTo>
                    <a:pt x="505" y="264"/>
                  </a:lnTo>
                  <a:lnTo>
                    <a:pt x="518" y="286"/>
                  </a:lnTo>
                  <a:lnTo>
                    <a:pt x="527" y="273"/>
                  </a:lnTo>
                  <a:lnTo>
                    <a:pt x="532" y="259"/>
                  </a:lnTo>
                  <a:lnTo>
                    <a:pt x="523" y="241"/>
                  </a:lnTo>
                  <a:lnTo>
                    <a:pt x="500" y="246"/>
                  </a:lnTo>
                  <a:close/>
                  <a:moveTo>
                    <a:pt x="585" y="183"/>
                  </a:moveTo>
                  <a:lnTo>
                    <a:pt x="616" y="179"/>
                  </a:lnTo>
                  <a:lnTo>
                    <a:pt x="621" y="156"/>
                  </a:lnTo>
                  <a:lnTo>
                    <a:pt x="630" y="161"/>
                  </a:lnTo>
                  <a:lnTo>
                    <a:pt x="625" y="143"/>
                  </a:lnTo>
                  <a:lnTo>
                    <a:pt x="621" y="143"/>
                  </a:lnTo>
                  <a:lnTo>
                    <a:pt x="634" y="112"/>
                  </a:lnTo>
                  <a:lnTo>
                    <a:pt x="630" y="76"/>
                  </a:lnTo>
                  <a:lnTo>
                    <a:pt x="612" y="71"/>
                  </a:lnTo>
                  <a:lnTo>
                    <a:pt x="608" y="85"/>
                  </a:lnTo>
                  <a:lnTo>
                    <a:pt x="599" y="76"/>
                  </a:lnTo>
                  <a:lnTo>
                    <a:pt x="590" y="71"/>
                  </a:lnTo>
                  <a:lnTo>
                    <a:pt x="581" y="80"/>
                  </a:lnTo>
                  <a:lnTo>
                    <a:pt x="590" y="98"/>
                  </a:lnTo>
                  <a:lnTo>
                    <a:pt x="599" y="103"/>
                  </a:lnTo>
                  <a:lnTo>
                    <a:pt x="594" y="107"/>
                  </a:lnTo>
                  <a:lnTo>
                    <a:pt x="594" y="125"/>
                  </a:lnTo>
                  <a:lnTo>
                    <a:pt x="581" y="103"/>
                  </a:lnTo>
                  <a:lnTo>
                    <a:pt x="576" y="89"/>
                  </a:lnTo>
                  <a:lnTo>
                    <a:pt x="563" y="89"/>
                  </a:lnTo>
                  <a:lnTo>
                    <a:pt x="563" y="103"/>
                  </a:lnTo>
                  <a:lnTo>
                    <a:pt x="572" y="103"/>
                  </a:lnTo>
                  <a:lnTo>
                    <a:pt x="567" y="112"/>
                  </a:lnTo>
                  <a:lnTo>
                    <a:pt x="576" y="138"/>
                  </a:lnTo>
                  <a:lnTo>
                    <a:pt x="572" y="143"/>
                  </a:lnTo>
                  <a:lnTo>
                    <a:pt x="563" y="138"/>
                  </a:lnTo>
                  <a:lnTo>
                    <a:pt x="549" y="152"/>
                  </a:lnTo>
                  <a:lnTo>
                    <a:pt x="549" y="161"/>
                  </a:lnTo>
                  <a:lnTo>
                    <a:pt x="576" y="152"/>
                  </a:lnTo>
                  <a:lnTo>
                    <a:pt x="594" y="152"/>
                  </a:lnTo>
                  <a:lnTo>
                    <a:pt x="585" y="161"/>
                  </a:lnTo>
                  <a:lnTo>
                    <a:pt x="585" y="174"/>
                  </a:lnTo>
                  <a:lnTo>
                    <a:pt x="585" y="183"/>
                  </a:lnTo>
                  <a:close/>
                  <a:moveTo>
                    <a:pt x="603" y="246"/>
                  </a:moveTo>
                  <a:lnTo>
                    <a:pt x="594" y="237"/>
                  </a:lnTo>
                  <a:lnTo>
                    <a:pt x="581" y="246"/>
                  </a:lnTo>
                  <a:lnTo>
                    <a:pt x="581" y="255"/>
                  </a:lnTo>
                  <a:lnTo>
                    <a:pt x="572" y="259"/>
                  </a:lnTo>
                  <a:lnTo>
                    <a:pt x="594" y="290"/>
                  </a:lnTo>
                  <a:lnTo>
                    <a:pt x="590" y="295"/>
                  </a:lnTo>
                  <a:lnTo>
                    <a:pt x="567" y="273"/>
                  </a:lnTo>
                  <a:lnTo>
                    <a:pt x="558" y="277"/>
                  </a:lnTo>
                  <a:lnTo>
                    <a:pt x="554" y="290"/>
                  </a:lnTo>
                  <a:lnTo>
                    <a:pt x="567" y="308"/>
                  </a:lnTo>
                  <a:lnTo>
                    <a:pt x="563" y="317"/>
                  </a:lnTo>
                  <a:lnTo>
                    <a:pt x="585" y="317"/>
                  </a:lnTo>
                  <a:lnTo>
                    <a:pt x="603" y="348"/>
                  </a:lnTo>
                  <a:lnTo>
                    <a:pt x="603" y="371"/>
                  </a:lnTo>
                  <a:lnTo>
                    <a:pt x="621" y="371"/>
                  </a:lnTo>
                  <a:lnTo>
                    <a:pt x="625" y="357"/>
                  </a:lnTo>
                  <a:lnTo>
                    <a:pt x="621" y="344"/>
                  </a:lnTo>
                  <a:lnTo>
                    <a:pt x="639" y="340"/>
                  </a:lnTo>
                  <a:lnTo>
                    <a:pt x="639" y="286"/>
                  </a:lnTo>
                  <a:lnTo>
                    <a:pt x="630" y="295"/>
                  </a:lnTo>
                  <a:lnTo>
                    <a:pt x="621" y="277"/>
                  </a:lnTo>
                  <a:lnTo>
                    <a:pt x="634" y="264"/>
                  </a:lnTo>
                  <a:lnTo>
                    <a:pt x="634" y="255"/>
                  </a:lnTo>
                  <a:lnTo>
                    <a:pt x="639" y="246"/>
                  </a:lnTo>
                  <a:lnTo>
                    <a:pt x="639" y="237"/>
                  </a:lnTo>
                  <a:lnTo>
                    <a:pt x="603" y="246"/>
                  </a:lnTo>
                  <a:close/>
                  <a:moveTo>
                    <a:pt x="657" y="241"/>
                  </a:moveTo>
                  <a:lnTo>
                    <a:pt x="666" y="250"/>
                  </a:lnTo>
                  <a:lnTo>
                    <a:pt x="652" y="246"/>
                  </a:lnTo>
                  <a:lnTo>
                    <a:pt x="652" y="273"/>
                  </a:lnTo>
                  <a:lnTo>
                    <a:pt x="652" y="308"/>
                  </a:lnTo>
                  <a:lnTo>
                    <a:pt x="661" y="313"/>
                  </a:lnTo>
                  <a:lnTo>
                    <a:pt x="661" y="340"/>
                  </a:lnTo>
                  <a:lnTo>
                    <a:pt x="675" y="344"/>
                  </a:lnTo>
                  <a:lnTo>
                    <a:pt x="675" y="335"/>
                  </a:lnTo>
                  <a:lnTo>
                    <a:pt x="688" y="322"/>
                  </a:lnTo>
                  <a:lnTo>
                    <a:pt x="683" y="304"/>
                  </a:lnTo>
                  <a:lnTo>
                    <a:pt x="666" y="304"/>
                  </a:lnTo>
                  <a:lnTo>
                    <a:pt x="666" y="295"/>
                  </a:lnTo>
                  <a:lnTo>
                    <a:pt x="688" y="295"/>
                  </a:lnTo>
                  <a:lnTo>
                    <a:pt x="715" y="304"/>
                  </a:lnTo>
                  <a:lnTo>
                    <a:pt x="733" y="250"/>
                  </a:lnTo>
                  <a:lnTo>
                    <a:pt x="719" y="241"/>
                  </a:lnTo>
                  <a:lnTo>
                    <a:pt x="679" y="228"/>
                  </a:lnTo>
                  <a:lnTo>
                    <a:pt x="657" y="241"/>
                  </a:lnTo>
                  <a:close/>
                  <a:moveTo>
                    <a:pt x="666" y="143"/>
                  </a:moveTo>
                  <a:lnTo>
                    <a:pt x="652" y="152"/>
                  </a:lnTo>
                  <a:lnTo>
                    <a:pt x="643" y="170"/>
                  </a:lnTo>
                  <a:lnTo>
                    <a:pt x="643" y="179"/>
                  </a:lnTo>
                  <a:lnTo>
                    <a:pt x="657" y="179"/>
                  </a:lnTo>
                  <a:lnTo>
                    <a:pt x="683" y="197"/>
                  </a:lnTo>
                  <a:lnTo>
                    <a:pt x="688" y="192"/>
                  </a:lnTo>
                  <a:lnTo>
                    <a:pt x="683" y="161"/>
                  </a:lnTo>
                  <a:lnTo>
                    <a:pt x="666" y="143"/>
                  </a:lnTo>
                  <a:close/>
                  <a:moveTo>
                    <a:pt x="697" y="76"/>
                  </a:moveTo>
                  <a:lnTo>
                    <a:pt x="688" y="89"/>
                  </a:lnTo>
                  <a:lnTo>
                    <a:pt x="692" y="71"/>
                  </a:lnTo>
                  <a:lnTo>
                    <a:pt x="679" y="62"/>
                  </a:lnTo>
                  <a:lnTo>
                    <a:pt x="657" y="54"/>
                  </a:lnTo>
                  <a:lnTo>
                    <a:pt x="634" y="58"/>
                  </a:lnTo>
                  <a:lnTo>
                    <a:pt x="639" y="76"/>
                  </a:lnTo>
                  <a:lnTo>
                    <a:pt x="661" y="103"/>
                  </a:lnTo>
                  <a:lnTo>
                    <a:pt x="683" y="107"/>
                  </a:lnTo>
                  <a:lnTo>
                    <a:pt x="697" y="98"/>
                  </a:lnTo>
                  <a:lnTo>
                    <a:pt x="710" y="138"/>
                  </a:lnTo>
                  <a:lnTo>
                    <a:pt x="701" y="152"/>
                  </a:lnTo>
                  <a:lnTo>
                    <a:pt x="710" y="197"/>
                  </a:lnTo>
                  <a:lnTo>
                    <a:pt x="719" y="205"/>
                  </a:lnTo>
                  <a:lnTo>
                    <a:pt x="724" y="197"/>
                  </a:lnTo>
                  <a:lnTo>
                    <a:pt x="737" y="210"/>
                  </a:lnTo>
                  <a:lnTo>
                    <a:pt x="746" y="205"/>
                  </a:lnTo>
                  <a:lnTo>
                    <a:pt x="750" y="197"/>
                  </a:lnTo>
                  <a:lnTo>
                    <a:pt x="759" y="192"/>
                  </a:lnTo>
                  <a:lnTo>
                    <a:pt x="759" y="205"/>
                  </a:lnTo>
                  <a:lnTo>
                    <a:pt x="782" y="205"/>
                  </a:lnTo>
                  <a:lnTo>
                    <a:pt x="809" y="205"/>
                  </a:lnTo>
                  <a:lnTo>
                    <a:pt x="826" y="205"/>
                  </a:lnTo>
                  <a:lnTo>
                    <a:pt x="835" y="192"/>
                  </a:lnTo>
                  <a:lnTo>
                    <a:pt x="840" y="201"/>
                  </a:lnTo>
                  <a:lnTo>
                    <a:pt x="853" y="210"/>
                  </a:lnTo>
                  <a:lnTo>
                    <a:pt x="871" y="201"/>
                  </a:lnTo>
                  <a:lnTo>
                    <a:pt x="871" y="192"/>
                  </a:lnTo>
                  <a:lnTo>
                    <a:pt x="884" y="188"/>
                  </a:lnTo>
                  <a:lnTo>
                    <a:pt x="880" y="179"/>
                  </a:lnTo>
                  <a:lnTo>
                    <a:pt x="871" y="179"/>
                  </a:lnTo>
                  <a:lnTo>
                    <a:pt x="884" y="165"/>
                  </a:lnTo>
                  <a:lnTo>
                    <a:pt x="884" y="143"/>
                  </a:lnTo>
                  <a:lnTo>
                    <a:pt x="867" y="134"/>
                  </a:lnTo>
                  <a:lnTo>
                    <a:pt x="849" y="130"/>
                  </a:lnTo>
                  <a:lnTo>
                    <a:pt x="835" y="134"/>
                  </a:lnTo>
                  <a:lnTo>
                    <a:pt x="826" y="130"/>
                  </a:lnTo>
                  <a:lnTo>
                    <a:pt x="800" y="138"/>
                  </a:lnTo>
                  <a:lnTo>
                    <a:pt x="791" y="152"/>
                  </a:lnTo>
                  <a:lnTo>
                    <a:pt x="773" y="143"/>
                  </a:lnTo>
                  <a:lnTo>
                    <a:pt x="759" y="138"/>
                  </a:lnTo>
                  <a:lnTo>
                    <a:pt x="750" y="143"/>
                  </a:lnTo>
                  <a:lnTo>
                    <a:pt x="737" y="134"/>
                  </a:lnTo>
                  <a:lnTo>
                    <a:pt x="737" y="125"/>
                  </a:lnTo>
                  <a:lnTo>
                    <a:pt x="724" y="121"/>
                  </a:lnTo>
                  <a:lnTo>
                    <a:pt x="733" y="116"/>
                  </a:lnTo>
                  <a:lnTo>
                    <a:pt x="724" y="112"/>
                  </a:lnTo>
                  <a:lnTo>
                    <a:pt x="724" y="107"/>
                  </a:lnTo>
                  <a:lnTo>
                    <a:pt x="746" y="107"/>
                  </a:lnTo>
                  <a:lnTo>
                    <a:pt x="750" y="103"/>
                  </a:lnTo>
                  <a:lnTo>
                    <a:pt x="719" y="89"/>
                  </a:lnTo>
                  <a:lnTo>
                    <a:pt x="728" y="85"/>
                  </a:lnTo>
                  <a:lnTo>
                    <a:pt x="710" y="67"/>
                  </a:lnTo>
                  <a:lnTo>
                    <a:pt x="701" y="76"/>
                  </a:lnTo>
                  <a:lnTo>
                    <a:pt x="697" y="76"/>
                  </a:lnTo>
                  <a:close/>
                  <a:moveTo>
                    <a:pt x="777" y="670"/>
                  </a:moveTo>
                  <a:lnTo>
                    <a:pt x="800" y="666"/>
                  </a:lnTo>
                  <a:lnTo>
                    <a:pt x="804" y="688"/>
                  </a:lnTo>
                  <a:lnTo>
                    <a:pt x="817" y="675"/>
                  </a:lnTo>
                  <a:lnTo>
                    <a:pt x="822" y="666"/>
                  </a:lnTo>
                  <a:lnTo>
                    <a:pt x="831" y="652"/>
                  </a:lnTo>
                  <a:lnTo>
                    <a:pt x="849" y="657"/>
                  </a:lnTo>
                  <a:lnTo>
                    <a:pt x="844" y="666"/>
                  </a:lnTo>
                  <a:lnTo>
                    <a:pt x="867" y="670"/>
                  </a:lnTo>
                  <a:lnTo>
                    <a:pt x="876" y="661"/>
                  </a:lnTo>
                  <a:lnTo>
                    <a:pt x="867" y="652"/>
                  </a:lnTo>
                  <a:lnTo>
                    <a:pt x="853" y="652"/>
                  </a:lnTo>
                  <a:lnTo>
                    <a:pt x="853" y="639"/>
                  </a:lnTo>
                  <a:lnTo>
                    <a:pt x="822" y="612"/>
                  </a:lnTo>
                  <a:lnTo>
                    <a:pt x="817" y="608"/>
                  </a:lnTo>
                  <a:lnTo>
                    <a:pt x="813" y="617"/>
                  </a:lnTo>
                  <a:lnTo>
                    <a:pt x="804" y="599"/>
                  </a:lnTo>
                  <a:lnTo>
                    <a:pt x="800" y="594"/>
                  </a:lnTo>
                  <a:lnTo>
                    <a:pt x="791" y="612"/>
                  </a:lnTo>
                  <a:lnTo>
                    <a:pt x="786" y="634"/>
                  </a:lnTo>
                  <a:lnTo>
                    <a:pt x="791" y="657"/>
                  </a:lnTo>
                  <a:lnTo>
                    <a:pt x="777" y="657"/>
                  </a:lnTo>
                  <a:lnTo>
                    <a:pt x="777" y="670"/>
                  </a:lnTo>
                  <a:close/>
                  <a:moveTo>
                    <a:pt x="791" y="0"/>
                  </a:moveTo>
                  <a:lnTo>
                    <a:pt x="800" y="13"/>
                  </a:lnTo>
                  <a:lnTo>
                    <a:pt x="809" y="18"/>
                  </a:lnTo>
                  <a:lnTo>
                    <a:pt x="826" y="18"/>
                  </a:lnTo>
                  <a:lnTo>
                    <a:pt x="831" y="31"/>
                  </a:lnTo>
                  <a:lnTo>
                    <a:pt x="791" y="22"/>
                  </a:lnTo>
                  <a:lnTo>
                    <a:pt x="782" y="4"/>
                  </a:lnTo>
                  <a:lnTo>
                    <a:pt x="768" y="0"/>
                  </a:lnTo>
                  <a:lnTo>
                    <a:pt x="755" y="9"/>
                  </a:lnTo>
                  <a:lnTo>
                    <a:pt x="768" y="31"/>
                  </a:lnTo>
                  <a:lnTo>
                    <a:pt x="777" y="31"/>
                  </a:lnTo>
                  <a:lnTo>
                    <a:pt x="777" y="40"/>
                  </a:lnTo>
                  <a:lnTo>
                    <a:pt x="759" y="45"/>
                  </a:lnTo>
                  <a:lnTo>
                    <a:pt x="746" y="62"/>
                  </a:lnTo>
                  <a:lnTo>
                    <a:pt x="742" y="80"/>
                  </a:lnTo>
                  <a:lnTo>
                    <a:pt x="759" y="89"/>
                  </a:lnTo>
                  <a:lnTo>
                    <a:pt x="782" y="98"/>
                  </a:lnTo>
                  <a:lnTo>
                    <a:pt x="809" y="98"/>
                  </a:lnTo>
                  <a:lnTo>
                    <a:pt x="809" y="89"/>
                  </a:lnTo>
                  <a:lnTo>
                    <a:pt x="817" y="85"/>
                  </a:lnTo>
                  <a:lnTo>
                    <a:pt x="822" y="76"/>
                  </a:lnTo>
                  <a:lnTo>
                    <a:pt x="831" y="94"/>
                  </a:lnTo>
                  <a:lnTo>
                    <a:pt x="858" y="85"/>
                  </a:lnTo>
                  <a:lnTo>
                    <a:pt x="867" y="94"/>
                  </a:lnTo>
                  <a:lnTo>
                    <a:pt x="862" y="107"/>
                  </a:lnTo>
                  <a:lnTo>
                    <a:pt x="867" y="112"/>
                  </a:lnTo>
                  <a:lnTo>
                    <a:pt x="893" y="89"/>
                  </a:lnTo>
                  <a:lnTo>
                    <a:pt x="907" y="71"/>
                  </a:lnTo>
                  <a:lnTo>
                    <a:pt x="907" y="58"/>
                  </a:lnTo>
                  <a:lnTo>
                    <a:pt x="889" y="58"/>
                  </a:lnTo>
                  <a:lnTo>
                    <a:pt x="889" y="40"/>
                  </a:lnTo>
                  <a:lnTo>
                    <a:pt x="867" y="36"/>
                  </a:lnTo>
                  <a:lnTo>
                    <a:pt x="853" y="45"/>
                  </a:lnTo>
                  <a:lnTo>
                    <a:pt x="849" y="40"/>
                  </a:lnTo>
                  <a:lnTo>
                    <a:pt x="858" y="36"/>
                  </a:lnTo>
                  <a:lnTo>
                    <a:pt x="849" y="22"/>
                  </a:lnTo>
                  <a:lnTo>
                    <a:pt x="858" y="18"/>
                  </a:lnTo>
                  <a:lnTo>
                    <a:pt x="871" y="31"/>
                  </a:lnTo>
                  <a:lnTo>
                    <a:pt x="902" y="31"/>
                  </a:lnTo>
                  <a:lnTo>
                    <a:pt x="911" y="18"/>
                  </a:lnTo>
                  <a:lnTo>
                    <a:pt x="907" y="18"/>
                  </a:lnTo>
                  <a:lnTo>
                    <a:pt x="911" y="4"/>
                  </a:lnTo>
                  <a:lnTo>
                    <a:pt x="925" y="0"/>
                  </a:lnTo>
                  <a:lnTo>
                    <a:pt x="925" y="0"/>
                  </a:lnTo>
                  <a:lnTo>
                    <a:pt x="791" y="0"/>
                  </a:lnTo>
                  <a:close/>
                  <a:moveTo>
                    <a:pt x="831" y="693"/>
                  </a:moveTo>
                  <a:lnTo>
                    <a:pt x="822" y="706"/>
                  </a:lnTo>
                  <a:lnTo>
                    <a:pt x="826" y="715"/>
                  </a:lnTo>
                  <a:lnTo>
                    <a:pt x="835" y="715"/>
                  </a:lnTo>
                  <a:lnTo>
                    <a:pt x="849" y="697"/>
                  </a:lnTo>
                  <a:lnTo>
                    <a:pt x="849" y="688"/>
                  </a:lnTo>
                  <a:lnTo>
                    <a:pt x="844" y="688"/>
                  </a:lnTo>
                  <a:lnTo>
                    <a:pt x="840" y="693"/>
                  </a:lnTo>
                  <a:lnTo>
                    <a:pt x="831" y="693"/>
                  </a:lnTo>
                  <a:close/>
                  <a:moveTo>
                    <a:pt x="831" y="1122"/>
                  </a:moveTo>
                  <a:lnTo>
                    <a:pt x="849" y="1131"/>
                  </a:lnTo>
                  <a:lnTo>
                    <a:pt x="853" y="1122"/>
                  </a:lnTo>
                  <a:lnTo>
                    <a:pt x="831" y="1122"/>
                  </a:lnTo>
                  <a:close/>
                  <a:moveTo>
                    <a:pt x="871" y="438"/>
                  </a:moveTo>
                  <a:lnTo>
                    <a:pt x="880" y="451"/>
                  </a:lnTo>
                  <a:lnTo>
                    <a:pt x="889" y="442"/>
                  </a:lnTo>
                  <a:lnTo>
                    <a:pt x="889" y="433"/>
                  </a:lnTo>
                  <a:lnTo>
                    <a:pt x="902" y="429"/>
                  </a:lnTo>
                  <a:lnTo>
                    <a:pt x="898" y="411"/>
                  </a:lnTo>
                  <a:lnTo>
                    <a:pt x="889" y="402"/>
                  </a:lnTo>
                  <a:lnTo>
                    <a:pt x="893" y="398"/>
                  </a:lnTo>
                  <a:lnTo>
                    <a:pt x="907" y="416"/>
                  </a:lnTo>
                  <a:lnTo>
                    <a:pt x="916" y="416"/>
                  </a:lnTo>
                  <a:lnTo>
                    <a:pt x="916" y="438"/>
                  </a:lnTo>
                  <a:lnTo>
                    <a:pt x="929" y="438"/>
                  </a:lnTo>
                  <a:lnTo>
                    <a:pt x="920" y="447"/>
                  </a:lnTo>
                  <a:lnTo>
                    <a:pt x="943" y="460"/>
                  </a:lnTo>
                  <a:lnTo>
                    <a:pt x="929" y="469"/>
                  </a:lnTo>
                  <a:lnTo>
                    <a:pt x="929" y="483"/>
                  </a:lnTo>
                  <a:lnTo>
                    <a:pt x="947" y="465"/>
                  </a:lnTo>
                  <a:lnTo>
                    <a:pt x="965" y="487"/>
                  </a:lnTo>
                  <a:lnTo>
                    <a:pt x="969" y="500"/>
                  </a:lnTo>
                  <a:lnTo>
                    <a:pt x="983" y="500"/>
                  </a:lnTo>
                  <a:lnTo>
                    <a:pt x="992" y="527"/>
                  </a:lnTo>
                  <a:lnTo>
                    <a:pt x="1005" y="527"/>
                  </a:lnTo>
                  <a:lnTo>
                    <a:pt x="992" y="532"/>
                  </a:lnTo>
                  <a:lnTo>
                    <a:pt x="983" y="559"/>
                  </a:lnTo>
                  <a:lnTo>
                    <a:pt x="1005" y="559"/>
                  </a:lnTo>
                  <a:lnTo>
                    <a:pt x="1010" y="541"/>
                  </a:lnTo>
                  <a:lnTo>
                    <a:pt x="1036" y="572"/>
                  </a:lnTo>
                  <a:lnTo>
                    <a:pt x="1010" y="585"/>
                  </a:lnTo>
                  <a:lnTo>
                    <a:pt x="1001" y="567"/>
                  </a:lnTo>
                  <a:lnTo>
                    <a:pt x="978" y="563"/>
                  </a:lnTo>
                  <a:lnTo>
                    <a:pt x="960" y="585"/>
                  </a:lnTo>
                  <a:lnTo>
                    <a:pt x="974" y="594"/>
                  </a:lnTo>
                  <a:lnTo>
                    <a:pt x="974" y="612"/>
                  </a:lnTo>
                  <a:lnTo>
                    <a:pt x="965" y="608"/>
                  </a:lnTo>
                  <a:lnTo>
                    <a:pt x="934" y="612"/>
                  </a:lnTo>
                  <a:lnTo>
                    <a:pt x="916" y="603"/>
                  </a:lnTo>
                  <a:lnTo>
                    <a:pt x="902" y="626"/>
                  </a:lnTo>
                  <a:lnTo>
                    <a:pt x="902" y="639"/>
                  </a:lnTo>
                  <a:lnTo>
                    <a:pt x="911" y="648"/>
                  </a:lnTo>
                  <a:lnTo>
                    <a:pt x="925" y="648"/>
                  </a:lnTo>
                  <a:lnTo>
                    <a:pt x="929" y="643"/>
                  </a:lnTo>
                  <a:lnTo>
                    <a:pt x="965" y="643"/>
                  </a:lnTo>
                  <a:lnTo>
                    <a:pt x="1001" y="666"/>
                  </a:lnTo>
                  <a:lnTo>
                    <a:pt x="992" y="675"/>
                  </a:lnTo>
                  <a:lnTo>
                    <a:pt x="996" y="688"/>
                  </a:lnTo>
                  <a:lnTo>
                    <a:pt x="1010" y="688"/>
                  </a:lnTo>
                  <a:lnTo>
                    <a:pt x="1014" y="697"/>
                  </a:lnTo>
                  <a:lnTo>
                    <a:pt x="1005" y="693"/>
                  </a:lnTo>
                  <a:lnTo>
                    <a:pt x="1010" y="706"/>
                  </a:lnTo>
                  <a:lnTo>
                    <a:pt x="1018" y="706"/>
                  </a:lnTo>
                  <a:lnTo>
                    <a:pt x="1023" y="697"/>
                  </a:lnTo>
                  <a:lnTo>
                    <a:pt x="1081" y="724"/>
                  </a:lnTo>
                  <a:lnTo>
                    <a:pt x="1081" y="710"/>
                  </a:lnTo>
                  <a:lnTo>
                    <a:pt x="1041" y="666"/>
                  </a:lnTo>
                  <a:lnTo>
                    <a:pt x="1041" y="657"/>
                  </a:lnTo>
                  <a:lnTo>
                    <a:pt x="1094" y="693"/>
                  </a:lnTo>
                  <a:lnTo>
                    <a:pt x="1103" y="661"/>
                  </a:lnTo>
                  <a:lnTo>
                    <a:pt x="1094" y="634"/>
                  </a:lnTo>
                  <a:lnTo>
                    <a:pt x="1072" y="626"/>
                  </a:lnTo>
                  <a:lnTo>
                    <a:pt x="1050" y="590"/>
                  </a:lnTo>
                  <a:lnTo>
                    <a:pt x="1063" y="590"/>
                  </a:lnTo>
                  <a:lnTo>
                    <a:pt x="1063" y="585"/>
                  </a:lnTo>
                  <a:lnTo>
                    <a:pt x="1063" y="581"/>
                  </a:lnTo>
                  <a:lnTo>
                    <a:pt x="1072" y="576"/>
                  </a:lnTo>
                  <a:lnTo>
                    <a:pt x="1103" y="621"/>
                  </a:lnTo>
                  <a:lnTo>
                    <a:pt x="1117" y="626"/>
                  </a:lnTo>
                  <a:lnTo>
                    <a:pt x="1117" y="599"/>
                  </a:lnTo>
                  <a:lnTo>
                    <a:pt x="1135" y="603"/>
                  </a:lnTo>
                  <a:lnTo>
                    <a:pt x="1139" y="585"/>
                  </a:lnTo>
                  <a:lnTo>
                    <a:pt x="1152" y="567"/>
                  </a:lnTo>
                  <a:lnTo>
                    <a:pt x="1139" y="545"/>
                  </a:lnTo>
                  <a:lnTo>
                    <a:pt x="1121" y="541"/>
                  </a:lnTo>
                  <a:lnTo>
                    <a:pt x="1121" y="532"/>
                  </a:lnTo>
                  <a:lnTo>
                    <a:pt x="1094" y="505"/>
                  </a:lnTo>
                  <a:lnTo>
                    <a:pt x="1068" y="500"/>
                  </a:lnTo>
                  <a:lnTo>
                    <a:pt x="1068" y="487"/>
                  </a:lnTo>
                  <a:lnTo>
                    <a:pt x="1054" y="487"/>
                  </a:lnTo>
                  <a:lnTo>
                    <a:pt x="1054" y="456"/>
                  </a:lnTo>
                  <a:lnTo>
                    <a:pt x="1068" y="460"/>
                  </a:lnTo>
                  <a:lnTo>
                    <a:pt x="1077" y="451"/>
                  </a:lnTo>
                  <a:lnTo>
                    <a:pt x="1054" y="438"/>
                  </a:lnTo>
                  <a:lnTo>
                    <a:pt x="1068" y="433"/>
                  </a:lnTo>
                  <a:lnTo>
                    <a:pt x="1054" y="411"/>
                  </a:lnTo>
                  <a:lnTo>
                    <a:pt x="1041" y="420"/>
                  </a:lnTo>
                  <a:lnTo>
                    <a:pt x="1050" y="407"/>
                  </a:lnTo>
                  <a:lnTo>
                    <a:pt x="1023" y="398"/>
                  </a:lnTo>
                  <a:lnTo>
                    <a:pt x="1005" y="407"/>
                  </a:lnTo>
                  <a:lnTo>
                    <a:pt x="1014" y="389"/>
                  </a:lnTo>
                  <a:lnTo>
                    <a:pt x="1014" y="375"/>
                  </a:lnTo>
                  <a:lnTo>
                    <a:pt x="1005" y="375"/>
                  </a:lnTo>
                  <a:lnTo>
                    <a:pt x="1010" y="362"/>
                  </a:lnTo>
                  <a:lnTo>
                    <a:pt x="1005" y="353"/>
                  </a:lnTo>
                  <a:lnTo>
                    <a:pt x="983" y="344"/>
                  </a:lnTo>
                  <a:lnTo>
                    <a:pt x="978" y="357"/>
                  </a:lnTo>
                  <a:lnTo>
                    <a:pt x="969" y="335"/>
                  </a:lnTo>
                  <a:lnTo>
                    <a:pt x="956" y="344"/>
                  </a:lnTo>
                  <a:lnTo>
                    <a:pt x="956" y="335"/>
                  </a:lnTo>
                  <a:lnTo>
                    <a:pt x="965" y="326"/>
                  </a:lnTo>
                  <a:lnTo>
                    <a:pt x="960" y="317"/>
                  </a:lnTo>
                  <a:lnTo>
                    <a:pt x="951" y="317"/>
                  </a:lnTo>
                  <a:lnTo>
                    <a:pt x="947" y="313"/>
                  </a:lnTo>
                  <a:lnTo>
                    <a:pt x="951" y="308"/>
                  </a:lnTo>
                  <a:lnTo>
                    <a:pt x="951" y="295"/>
                  </a:lnTo>
                  <a:lnTo>
                    <a:pt x="920" y="281"/>
                  </a:lnTo>
                  <a:lnTo>
                    <a:pt x="907" y="295"/>
                  </a:lnTo>
                  <a:lnTo>
                    <a:pt x="911" y="304"/>
                  </a:lnTo>
                  <a:lnTo>
                    <a:pt x="902" y="304"/>
                  </a:lnTo>
                  <a:lnTo>
                    <a:pt x="902" y="313"/>
                  </a:lnTo>
                  <a:lnTo>
                    <a:pt x="889" y="304"/>
                  </a:lnTo>
                  <a:lnTo>
                    <a:pt x="884" y="308"/>
                  </a:lnTo>
                  <a:lnTo>
                    <a:pt x="880" y="299"/>
                  </a:lnTo>
                  <a:lnTo>
                    <a:pt x="871" y="326"/>
                  </a:lnTo>
                  <a:lnTo>
                    <a:pt x="871" y="290"/>
                  </a:lnTo>
                  <a:lnTo>
                    <a:pt x="867" y="268"/>
                  </a:lnTo>
                  <a:lnTo>
                    <a:pt x="862" y="264"/>
                  </a:lnTo>
                  <a:lnTo>
                    <a:pt x="858" y="241"/>
                  </a:lnTo>
                  <a:lnTo>
                    <a:pt x="840" y="241"/>
                  </a:lnTo>
                  <a:lnTo>
                    <a:pt x="809" y="259"/>
                  </a:lnTo>
                  <a:lnTo>
                    <a:pt x="813" y="268"/>
                  </a:lnTo>
                  <a:lnTo>
                    <a:pt x="804" y="273"/>
                  </a:lnTo>
                  <a:lnTo>
                    <a:pt x="804" y="304"/>
                  </a:lnTo>
                  <a:lnTo>
                    <a:pt x="809" y="308"/>
                  </a:lnTo>
                  <a:lnTo>
                    <a:pt x="804" y="331"/>
                  </a:lnTo>
                  <a:lnTo>
                    <a:pt x="804" y="344"/>
                  </a:lnTo>
                  <a:lnTo>
                    <a:pt x="817" y="344"/>
                  </a:lnTo>
                  <a:lnTo>
                    <a:pt x="813" y="371"/>
                  </a:lnTo>
                  <a:lnTo>
                    <a:pt x="795" y="375"/>
                  </a:lnTo>
                  <a:lnTo>
                    <a:pt x="795" y="371"/>
                  </a:lnTo>
                  <a:lnTo>
                    <a:pt x="809" y="362"/>
                  </a:lnTo>
                  <a:lnTo>
                    <a:pt x="804" y="357"/>
                  </a:lnTo>
                  <a:lnTo>
                    <a:pt x="791" y="322"/>
                  </a:lnTo>
                  <a:lnTo>
                    <a:pt x="795" y="304"/>
                  </a:lnTo>
                  <a:lnTo>
                    <a:pt x="791" y="290"/>
                  </a:lnTo>
                  <a:lnTo>
                    <a:pt x="809" y="241"/>
                  </a:lnTo>
                  <a:lnTo>
                    <a:pt x="791" y="237"/>
                  </a:lnTo>
                  <a:lnTo>
                    <a:pt x="755" y="264"/>
                  </a:lnTo>
                  <a:lnTo>
                    <a:pt x="737" y="322"/>
                  </a:lnTo>
                  <a:lnTo>
                    <a:pt x="737" y="366"/>
                  </a:lnTo>
                  <a:lnTo>
                    <a:pt x="768" y="371"/>
                  </a:lnTo>
                  <a:lnTo>
                    <a:pt x="777" y="384"/>
                  </a:lnTo>
                  <a:lnTo>
                    <a:pt x="759" y="380"/>
                  </a:lnTo>
                  <a:lnTo>
                    <a:pt x="742" y="380"/>
                  </a:lnTo>
                  <a:lnTo>
                    <a:pt x="759" y="416"/>
                  </a:lnTo>
                  <a:lnTo>
                    <a:pt x="773" y="420"/>
                  </a:lnTo>
                  <a:lnTo>
                    <a:pt x="786" y="411"/>
                  </a:lnTo>
                  <a:lnTo>
                    <a:pt x="800" y="429"/>
                  </a:lnTo>
                  <a:lnTo>
                    <a:pt x="831" y="429"/>
                  </a:lnTo>
                  <a:lnTo>
                    <a:pt x="853" y="438"/>
                  </a:lnTo>
                  <a:lnTo>
                    <a:pt x="858" y="429"/>
                  </a:lnTo>
                  <a:lnTo>
                    <a:pt x="871" y="438"/>
                  </a:lnTo>
                  <a:close/>
                  <a:moveTo>
                    <a:pt x="880" y="702"/>
                  </a:moveTo>
                  <a:lnTo>
                    <a:pt x="871" y="715"/>
                  </a:lnTo>
                  <a:lnTo>
                    <a:pt x="871" y="724"/>
                  </a:lnTo>
                  <a:lnTo>
                    <a:pt x="880" y="728"/>
                  </a:lnTo>
                  <a:lnTo>
                    <a:pt x="884" y="733"/>
                  </a:lnTo>
                  <a:lnTo>
                    <a:pt x="889" y="706"/>
                  </a:lnTo>
                  <a:lnTo>
                    <a:pt x="884" y="702"/>
                  </a:lnTo>
                  <a:lnTo>
                    <a:pt x="880" y="702"/>
                  </a:lnTo>
                  <a:close/>
                  <a:moveTo>
                    <a:pt x="934" y="496"/>
                  </a:moveTo>
                  <a:lnTo>
                    <a:pt x="920" y="514"/>
                  </a:lnTo>
                  <a:lnTo>
                    <a:pt x="920" y="536"/>
                  </a:lnTo>
                  <a:lnTo>
                    <a:pt x="929" y="536"/>
                  </a:lnTo>
                  <a:lnTo>
                    <a:pt x="943" y="536"/>
                  </a:lnTo>
                  <a:lnTo>
                    <a:pt x="951" y="523"/>
                  </a:lnTo>
                  <a:lnTo>
                    <a:pt x="947" y="505"/>
                  </a:lnTo>
                  <a:lnTo>
                    <a:pt x="951" y="496"/>
                  </a:lnTo>
                  <a:lnTo>
                    <a:pt x="934" y="496"/>
                  </a:lnTo>
                  <a:close/>
                  <a:moveTo>
                    <a:pt x="956" y="1148"/>
                  </a:moveTo>
                  <a:lnTo>
                    <a:pt x="1001" y="1144"/>
                  </a:lnTo>
                  <a:lnTo>
                    <a:pt x="1014" y="1122"/>
                  </a:lnTo>
                  <a:lnTo>
                    <a:pt x="1032" y="1095"/>
                  </a:lnTo>
                  <a:lnTo>
                    <a:pt x="1036" y="1099"/>
                  </a:lnTo>
                  <a:lnTo>
                    <a:pt x="1045" y="1095"/>
                  </a:lnTo>
                  <a:lnTo>
                    <a:pt x="1054" y="1135"/>
                  </a:lnTo>
                  <a:lnTo>
                    <a:pt x="1063" y="1139"/>
                  </a:lnTo>
                  <a:lnTo>
                    <a:pt x="1077" y="1139"/>
                  </a:lnTo>
                  <a:lnTo>
                    <a:pt x="1094" y="1135"/>
                  </a:lnTo>
                  <a:lnTo>
                    <a:pt x="1108" y="1139"/>
                  </a:lnTo>
                  <a:lnTo>
                    <a:pt x="1099" y="1139"/>
                  </a:lnTo>
                  <a:lnTo>
                    <a:pt x="1081" y="1153"/>
                  </a:lnTo>
                  <a:lnTo>
                    <a:pt x="1077" y="1166"/>
                  </a:lnTo>
                  <a:lnTo>
                    <a:pt x="1090" y="1175"/>
                  </a:lnTo>
                  <a:lnTo>
                    <a:pt x="1103" y="1153"/>
                  </a:lnTo>
                  <a:lnTo>
                    <a:pt x="1117" y="1157"/>
                  </a:lnTo>
                  <a:lnTo>
                    <a:pt x="1152" y="1139"/>
                  </a:lnTo>
                  <a:lnTo>
                    <a:pt x="1152" y="1131"/>
                  </a:lnTo>
                  <a:lnTo>
                    <a:pt x="1157" y="1135"/>
                  </a:lnTo>
                  <a:lnTo>
                    <a:pt x="1166" y="1131"/>
                  </a:lnTo>
                  <a:lnTo>
                    <a:pt x="1175" y="1122"/>
                  </a:lnTo>
                  <a:lnTo>
                    <a:pt x="1170" y="1117"/>
                  </a:lnTo>
                  <a:lnTo>
                    <a:pt x="1166" y="1117"/>
                  </a:lnTo>
                  <a:lnTo>
                    <a:pt x="1161" y="1122"/>
                  </a:lnTo>
                  <a:lnTo>
                    <a:pt x="1166" y="1099"/>
                  </a:lnTo>
                  <a:lnTo>
                    <a:pt x="1157" y="1099"/>
                  </a:lnTo>
                  <a:lnTo>
                    <a:pt x="1148" y="1122"/>
                  </a:lnTo>
                  <a:lnTo>
                    <a:pt x="1152" y="1131"/>
                  </a:lnTo>
                  <a:lnTo>
                    <a:pt x="1139" y="1126"/>
                  </a:lnTo>
                  <a:lnTo>
                    <a:pt x="1126" y="1131"/>
                  </a:lnTo>
                  <a:lnTo>
                    <a:pt x="1108" y="1122"/>
                  </a:lnTo>
                  <a:lnTo>
                    <a:pt x="1094" y="1104"/>
                  </a:lnTo>
                  <a:lnTo>
                    <a:pt x="1099" y="1090"/>
                  </a:lnTo>
                  <a:lnTo>
                    <a:pt x="1094" y="1086"/>
                  </a:lnTo>
                  <a:lnTo>
                    <a:pt x="1085" y="1095"/>
                  </a:lnTo>
                  <a:lnTo>
                    <a:pt x="1077" y="1081"/>
                  </a:lnTo>
                  <a:lnTo>
                    <a:pt x="1077" y="1077"/>
                  </a:lnTo>
                  <a:lnTo>
                    <a:pt x="1090" y="1081"/>
                  </a:lnTo>
                  <a:lnTo>
                    <a:pt x="1108" y="1072"/>
                  </a:lnTo>
                  <a:lnTo>
                    <a:pt x="1103" y="1059"/>
                  </a:lnTo>
                  <a:lnTo>
                    <a:pt x="1094" y="1055"/>
                  </a:lnTo>
                  <a:lnTo>
                    <a:pt x="1085" y="1050"/>
                  </a:lnTo>
                  <a:lnTo>
                    <a:pt x="1077" y="1055"/>
                  </a:lnTo>
                  <a:lnTo>
                    <a:pt x="1045" y="1068"/>
                  </a:lnTo>
                  <a:lnTo>
                    <a:pt x="1023" y="1095"/>
                  </a:lnTo>
                  <a:lnTo>
                    <a:pt x="1014" y="1108"/>
                  </a:lnTo>
                  <a:lnTo>
                    <a:pt x="996" y="1113"/>
                  </a:lnTo>
                  <a:lnTo>
                    <a:pt x="956" y="1148"/>
                  </a:lnTo>
                  <a:close/>
                  <a:moveTo>
                    <a:pt x="1085" y="733"/>
                  </a:moveTo>
                  <a:lnTo>
                    <a:pt x="1099" y="746"/>
                  </a:lnTo>
                  <a:lnTo>
                    <a:pt x="1103" y="733"/>
                  </a:lnTo>
                  <a:lnTo>
                    <a:pt x="1099" y="728"/>
                  </a:lnTo>
                  <a:lnTo>
                    <a:pt x="1085" y="733"/>
                  </a:lnTo>
                  <a:close/>
                  <a:moveTo>
                    <a:pt x="1103" y="1041"/>
                  </a:moveTo>
                  <a:lnTo>
                    <a:pt x="1117" y="1050"/>
                  </a:lnTo>
                  <a:lnTo>
                    <a:pt x="1117" y="1055"/>
                  </a:lnTo>
                  <a:lnTo>
                    <a:pt x="1144" y="1059"/>
                  </a:lnTo>
                  <a:lnTo>
                    <a:pt x="1144" y="1050"/>
                  </a:lnTo>
                  <a:lnTo>
                    <a:pt x="1130" y="1046"/>
                  </a:lnTo>
                  <a:lnTo>
                    <a:pt x="1108" y="1041"/>
                  </a:lnTo>
                  <a:lnTo>
                    <a:pt x="1103" y="1041"/>
                  </a:lnTo>
                  <a:close/>
                  <a:moveTo>
                    <a:pt x="1112" y="1099"/>
                  </a:moveTo>
                  <a:lnTo>
                    <a:pt x="1103" y="1108"/>
                  </a:lnTo>
                  <a:lnTo>
                    <a:pt x="1117" y="1122"/>
                  </a:lnTo>
                  <a:lnTo>
                    <a:pt x="1130" y="1122"/>
                  </a:lnTo>
                  <a:lnTo>
                    <a:pt x="1139" y="1113"/>
                  </a:lnTo>
                  <a:lnTo>
                    <a:pt x="1117" y="1113"/>
                  </a:lnTo>
                  <a:lnTo>
                    <a:pt x="1112" y="1099"/>
                  </a:lnTo>
                  <a:close/>
                  <a:moveTo>
                    <a:pt x="1237" y="996"/>
                  </a:moveTo>
                  <a:lnTo>
                    <a:pt x="1228" y="996"/>
                  </a:lnTo>
                  <a:lnTo>
                    <a:pt x="1215" y="1005"/>
                  </a:lnTo>
                  <a:lnTo>
                    <a:pt x="1211" y="1010"/>
                  </a:lnTo>
                  <a:lnTo>
                    <a:pt x="1184" y="1068"/>
                  </a:lnTo>
                  <a:lnTo>
                    <a:pt x="1188" y="1072"/>
                  </a:lnTo>
                  <a:lnTo>
                    <a:pt x="1175" y="1081"/>
                  </a:lnTo>
                  <a:lnTo>
                    <a:pt x="1179" y="1090"/>
                  </a:lnTo>
                  <a:lnTo>
                    <a:pt x="1215" y="1090"/>
                  </a:lnTo>
                  <a:lnTo>
                    <a:pt x="1224" y="1086"/>
                  </a:lnTo>
                  <a:lnTo>
                    <a:pt x="1228" y="1090"/>
                  </a:lnTo>
                  <a:lnTo>
                    <a:pt x="1233" y="1086"/>
                  </a:lnTo>
                  <a:lnTo>
                    <a:pt x="1237" y="1086"/>
                  </a:lnTo>
                  <a:lnTo>
                    <a:pt x="1224" y="1104"/>
                  </a:lnTo>
                  <a:lnTo>
                    <a:pt x="1233" y="1104"/>
                  </a:lnTo>
                  <a:lnTo>
                    <a:pt x="1237" y="1095"/>
                  </a:lnTo>
                  <a:lnTo>
                    <a:pt x="1251" y="1081"/>
                  </a:lnTo>
                  <a:lnTo>
                    <a:pt x="1246" y="1099"/>
                  </a:lnTo>
                  <a:lnTo>
                    <a:pt x="1246" y="1108"/>
                  </a:lnTo>
                  <a:lnTo>
                    <a:pt x="1255" y="1095"/>
                  </a:lnTo>
                  <a:lnTo>
                    <a:pt x="1260" y="1108"/>
                  </a:lnTo>
                  <a:lnTo>
                    <a:pt x="1269" y="1104"/>
                  </a:lnTo>
                  <a:lnTo>
                    <a:pt x="1273" y="1095"/>
                  </a:lnTo>
                  <a:lnTo>
                    <a:pt x="1273" y="1086"/>
                  </a:lnTo>
                  <a:lnTo>
                    <a:pt x="1264" y="1095"/>
                  </a:lnTo>
                  <a:lnTo>
                    <a:pt x="1269" y="1077"/>
                  </a:lnTo>
                  <a:lnTo>
                    <a:pt x="1255" y="1086"/>
                  </a:lnTo>
                  <a:lnTo>
                    <a:pt x="1260" y="1077"/>
                  </a:lnTo>
                  <a:lnTo>
                    <a:pt x="1269" y="1072"/>
                  </a:lnTo>
                  <a:lnTo>
                    <a:pt x="1269" y="1063"/>
                  </a:lnTo>
                  <a:lnTo>
                    <a:pt x="1255" y="1072"/>
                  </a:lnTo>
                  <a:lnTo>
                    <a:pt x="1255" y="1063"/>
                  </a:lnTo>
                  <a:lnTo>
                    <a:pt x="1260" y="1055"/>
                  </a:lnTo>
                  <a:lnTo>
                    <a:pt x="1251" y="1046"/>
                  </a:lnTo>
                  <a:lnTo>
                    <a:pt x="1237" y="1055"/>
                  </a:lnTo>
                  <a:lnTo>
                    <a:pt x="1228" y="1055"/>
                  </a:lnTo>
                  <a:lnTo>
                    <a:pt x="1233" y="1037"/>
                  </a:lnTo>
                  <a:lnTo>
                    <a:pt x="1224" y="1032"/>
                  </a:lnTo>
                  <a:lnTo>
                    <a:pt x="1215" y="1050"/>
                  </a:lnTo>
                  <a:lnTo>
                    <a:pt x="1211" y="1046"/>
                  </a:lnTo>
                  <a:lnTo>
                    <a:pt x="1228" y="1019"/>
                  </a:lnTo>
                  <a:lnTo>
                    <a:pt x="1237" y="996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2454" name="Freeform 6"/>
            <p:cNvSpPr>
              <a:spLocks noEditPoints="1"/>
            </p:cNvSpPr>
            <p:nvPr/>
          </p:nvSpPr>
          <p:spPr bwMode="gray">
            <a:xfrm>
              <a:off x="1365" y="1522"/>
              <a:ext cx="2650" cy="2258"/>
            </a:xfrm>
            <a:custGeom>
              <a:avLst/>
              <a:gdLst>
                <a:gd name="T0" fmla="*/ 26 w 1474"/>
                <a:gd name="T1" fmla="*/ 425 h 1256"/>
                <a:gd name="T2" fmla="*/ 35 w 1474"/>
                <a:gd name="T3" fmla="*/ 594 h 1256"/>
                <a:gd name="T4" fmla="*/ 58 w 1474"/>
                <a:gd name="T5" fmla="*/ 590 h 1256"/>
                <a:gd name="T6" fmla="*/ 107 w 1474"/>
                <a:gd name="T7" fmla="*/ 232 h 1256"/>
                <a:gd name="T8" fmla="*/ 44 w 1474"/>
                <a:gd name="T9" fmla="*/ 232 h 1256"/>
                <a:gd name="T10" fmla="*/ 120 w 1474"/>
                <a:gd name="T11" fmla="*/ 282 h 1256"/>
                <a:gd name="T12" fmla="*/ 67 w 1474"/>
                <a:gd name="T13" fmla="*/ 353 h 1256"/>
                <a:gd name="T14" fmla="*/ 75 w 1474"/>
                <a:gd name="T15" fmla="*/ 442 h 1256"/>
                <a:gd name="T16" fmla="*/ 134 w 1474"/>
                <a:gd name="T17" fmla="*/ 465 h 1256"/>
                <a:gd name="T18" fmla="*/ 174 w 1474"/>
                <a:gd name="T19" fmla="*/ 509 h 1256"/>
                <a:gd name="T20" fmla="*/ 98 w 1474"/>
                <a:gd name="T21" fmla="*/ 554 h 1256"/>
                <a:gd name="T22" fmla="*/ 138 w 1474"/>
                <a:gd name="T23" fmla="*/ 550 h 1256"/>
                <a:gd name="T24" fmla="*/ 227 w 1474"/>
                <a:gd name="T25" fmla="*/ 447 h 1256"/>
                <a:gd name="T26" fmla="*/ 250 w 1474"/>
                <a:gd name="T27" fmla="*/ 438 h 1256"/>
                <a:gd name="T28" fmla="*/ 321 w 1474"/>
                <a:gd name="T29" fmla="*/ 429 h 1256"/>
                <a:gd name="T30" fmla="*/ 352 w 1474"/>
                <a:gd name="T31" fmla="*/ 429 h 1256"/>
                <a:gd name="T32" fmla="*/ 455 w 1474"/>
                <a:gd name="T33" fmla="*/ 469 h 1256"/>
                <a:gd name="T34" fmla="*/ 495 w 1474"/>
                <a:gd name="T35" fmla="*/ 460 h 1256"/>
                <a:gd name="T36" fmla="*/ 518 w 1474"/>
                <a:gd name="T37" fmla="*/ 496 h 1256"/>
                <a:gd name="T38" fmla="*/ 567 w 1474"/>
                <a:gd name="T39" fmla="*/ 572 h 1256"/>
                <a:gd name="T40" fmla="*/ 477 w 1474"/>
                <a:gd name="T41" fmla="*/ 447 h 1256"/>
                <a:gd name="T42" fmla="*/ 406 w 1474"/>
                <a:gd name="T43" fmla="*/ 433 h 1256"/>
                <a:gd name="T44" fmla="*/ 268 w 1474"/>
                <a:gd name="T45" fmla="*/ 67 h 1256"/>
                <a:gd name="T46" fmla="*/ 209 w 1474"/>
                <a:gd name="T47" fmla="*/ 9 h 1256"/>
                <a:gd name="T48" fmla="*/ 116 w 1474"/>
                <a:gd name="T49" fmla="*/ 58 h 1256"/>
                <a:gd name="T50" fmla="*/ 40 w 1474"/>
                <a:gd name="T51" fmla="*/ 152 h 1256"/>
                <a:gd name="T52" fmla="*/ 134 w 1474"/>
                <a:gd name="T53" fmla="*/ 228 h 1256"/>
                <a:gd name="T54" fmla="*/ 160 w 1474"/>
                <a:gd name="T55" fmla="*/ 1229 h 1256"/>
                <a:gd name="T56" fmla="*/ 201 w 1474"/>
                <a:gd name="T57" fmla="*/ 1251 h 1256"/>
                <a:gd name="T58" fmla="*/ 491 w 1474"/>
                <a:gd name="T59" fmla="*/ 527 h 1256"/>
                <a:gd name="T60" fmla="*/ 513 w 1474"/>
                <a:gd name="T61" fmla="*/ 523 h 1256"/>
                <a:gd name="T62" fmla="*/ 536 w 1474"/>
                <a:gd name="T63" fmla="*/ 563 h 1256"/>
                <a:gd name="T64" fmla="*/ 531 w 1474"/>
                <a:gd name="T65" fmla="*/ 572 h 1256"/>
                <a:gd name="T66" fmla="*/ 652 w 1474"/>
                <a:gd name="T67" fmla="*/ 742 h 1256"/>
                <a:gd name="T68" fmla="*/ 647 w 1474"/>
                <a:gd name="T69" fmla="*/ 885 h 1256"/>
                <a:gd name="T70" fmla="*/ 679 w 1474"/>
                <a:gd name="T71" fmla="*/ 947 h 1256"/>
                <a:gd name="T72" fmla="*/ 746 w 1474"/>
                <a:gd name="T73" fmla="*/ 1023 h 1256"/>
                <a:gd name="T74" fmla="*/ 951 w 1474"/>
                <a:gd name="T75" fmla="*/ 1104 h 1256"/>
                <a:gd name="T76" fmla="*/ 1094 w 1474"/>
                <a:gd name="T77" fmla="*/ 1086 h 1256"/>
                <a:gd name="T78" fmla="*/ 1139 w 1474"/>
                <a:gd name="T79" fmla="*/ 1081 h 1256"/>
                <a:gd name="T80" fmla="*/ 1246 w 1474"/>
                <a:gd name="T81" fmla="*/ 1104 h 1256"/>
                <a:gd name="T82" fmla="*/ 1286 w 1474"/>
                <a:gd name="T83" fmla="*/ 1135 h 1256"/>
                <a:gd name="T84" fmla="*/ 1304 w 1474"/>
                <a:gd name="T85" fmla="*/ 1014 h 1256"/>
                <a:gd name="T86" fmla="*/ 1344 w 1474"/>
                <a:gd name="T87" fmla="*/ 983 h 1256"/>
                <a:gd name="T88" fmla="*/ 1335 w 1474"/>
                <a:gd name="T89" fmla="*/ 912 h 1256"/>
                <a:gd name="T90" fmla="*/ 1353 w 1474"/>
                <a:gd name="T91" fmla="*/ 930 h 1256"/>
                <a:gd name="T92" fmla="*/ 1371 w 1474"/>
                <a:gd name="T93" fmla="*/ 885 h 1256"/>
                <a:gd name="T94" fmla="*/ 1420 w 1474"/>
                <a:gd name="T95" fmla="*/ 858 h 1256"/>
                <a:gd name="T96" fmla="*/ 1469 w 1474"/>
                <a:gd name="T97" fmla="*/ 800 h 1256"/>
                <a:gd name="T98" fmla="*/ 1357 w 1474"/>
                <a:gd name="T99" fmla="*/ 804 h 1256"/>
                <a:gd name="T100" fmla="*/ 1299 w 1474"/>
                <a:gd name="T101" fmla="*/ 849 h 1256"/>
                <a:gd name="T102" fmla="*/ 1246 w 1474"/>
                <a:gd name="T103" fmla="*/ 818 h 1256"/>
                <a:gd name="T104" fmla="*/ 1206 w 1474"/>
                <a:gd name="T105" fmla="*/ 800 h 1256"/>
                <a:gd name="T106" fmla="*/ 1188 w 1474"/>
                <a:gd name="T107" fmla="*/ 795 h 1256"/>
                <a:gd name="T108" fmla="*/ 1170 w 1474"/>
                <a:gd name="T109" fmla="*/ 755 h 1256"/>
                <a:gd name="T110" fmla="*/ 1116 w 1474"/>
                <a:gd name="T111" fmla="*/ 737 h 1256"/>
                <a:gd name="T112" fmla="*/ 1389 w 1474"/>
                <a:gd name="T113" fmla="*/ 885 h 1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74" h="1256">
                  <a:moveTo>
                    <a:pt x="13" y="603"/>
                  </a:moveTo>
                  <a:lnTo>
                    <a:pt x="8" y="608"/>
                  </a:lnTo>
                  <a:lnTo>
                    <a:pt x="8" y="612"/>
                  </a:lnTo>
                  <a:lnTo>
                    <a:pt x="4" y="617"/>
                  </a:lnTo>
                  <a:lnTo>
                    <a:pt x="0" y="626"/>
                  </a:lnTo>
                  <a:lnTo>
                    <a:pt x="8" y="621"/>
                  </a:lnTo>
                  <a:lnTo>
                    <a:pt x="22" y="608"/>
                  </a:lnTo>
                  <a:lnTo>
                    <a:pt x="13" y="603"/>
                  </a:lnTo>
                  <a:close/>
                  <a:moveTo>
                    <a:pt x="26" y="425"/>
                  </a:moveTo>
                  <a:lnTo>
                    <a:pt x="26" y="429"/>
                  </a:lnTo>
                  <a:lnTo>
                    <a:pt x="40" y="442"/>
                  </a:lnTo>
                  <a:lnTo>
                    <a:pt x="49" y="438"/>
                  </a:lnTo>
                  <a:lnTo>
                    <a:pt x="49" y="429"/>
                  </a:lnTo>
                  <a:lnTo>
                    <a:pt x="44" y="420"/>
                  </a:lnTo>
                  <a:lnTo>
                    <a:pt x="40" y="420"/>
                  </a:lnTo>
                  <a:lnTo>
                    <a:pt x="35" y="425"/>
                  </a:lnTo>
                  <a:lnTo>
                    <a:pt x="26" y="425"/>
                  </a:lnTo>
                  <a:close/>
                  <a:moveTo>
                    <a:pt x="35" y="594"/>
                  </a:moveTo>
                  <a:lnTo>
                    <a:pt x="31" y="599"/>
                  </a:lnTo>
                  <a:lnTo>
                    <a:pt x="35" y="603"/>
                  </a:lnTo>
                  <a:lnTo>
                    <a:pt x="17" y="612"/>
                  </a:lnTo>
                  <a:lnTo>
                    <a:pt x="22" y="617"/>
                  </a:lnTo>
                  <a:lnTo>
                    <a:pt x="40" y="608"/>
                  </a:lnTo>
                  <a:lnTo>
                    <a:pt x="49" y="603"/>
                  </a:lnTo>
                  <a:lnTo>
                    <a:pt x="49" y="599"/>
                  </a:lnTo>
                  <a:lnTo>
                    <a:pt x="58" y="590"/>
                  </a:lnTo>
                  <a:lnTo>
                    <a:pt x="58" y="590"/>
                  </a:lnTo>
                  <a:lnTo>
                    <a:pt x="49" y="590"/>
                  </a:lnTo>
                  <a:lnTo>
                    <a:pt x="44" y="594"/>
                  </a:lnTo>
                  <a:lnTo>
                    <a:pt x="35" y="594"/>
                  </a:lnTo>
                  <a:close/>
                  <a:moveTo>
                    <a:pt x="129" y="232"/>
                  </a:moveTo>
                  <a:lnTo>
                    <a:pt x="116" y="223"/>
                  </a:lnTo>
                  <a:lnTo>
                    <a:pt x="111" y="223"/>
                  </a:lnTo>
                  <a:lnTo>
                    <a:pt x="98" y="201"/>
                  </a:lnTo>
                  <a:lnTo>
                    <a:pt x="93" y="206"/>
                  </a:lnTo>
                  <a:lnTo>
                    <a:pt x="107" y="232"/>
                  </a:lnTo>
                  <a:lnTo>
                    <a:pt x="111" y="228"/>
                  </a:lnTo>
                  <a:lnTo>
                    <a:pt x="120" y="241"/>
                  </a:lnTo>
                  <a:lnTo>
                    <a:pt x="84" y="241"/>
                  </a:lnTo>
                  <a:lnTo>
                    <a:pt x="80" y="223"/>
                  </a:lnTo>
                  <a:lnTo>
                    <a:pt x="62" y="223"/>
                  </a:lnTo>
                  <a:lnTo>
                    <a:pt x="49" y="232"/>
                  </a:lnTo>
                  <a:lnTo>
                    <a:pt x="53" y="237"/>
                  </a:lnTo>
                  <a:lnTo>
                    <a:pt x="40" y="241"/>
                  </a:lnTo>
                  <a:lnTo>
                    <a:pt x="44" y="232"/>
                  </a:lnTo>
                  <a:lnTo>
                    <a:pt x="40" y="232"/>
                  </a:lnTo>
                  <a:lnTo>
                    <a:pt x="13" y="255"/>
                  </a:lnTo>
                  <a:lnTo>
                    <a:pt x="22" y="264"/>
                  </a:lnTo>
                  <a:lnTo>
                    <a:pt x="49" y="268"/>
                  </a:lnTo>
                  <a:lnTo>
                    <a:pt x="35" y="277"/>
                  </a:lnTo>
                  <a:lnTo>
                    <a:pt x="49" y="299"/>
                  </a:lnTo>
                  <a:lnTo>
                    <a:pt x="93" y="304"/>
                  </a:lnTo>
                  <a:lnTo>
                    <a:pt x="98" y="295"/>
                  </a:lnTo>
                  <a:lnTo>
                    <a:pt x="120" y="282"/>
                  </a:lnTo>
                  <a:lnTo>
                    <a:pt x="125" y="290"/>
                  </a:lnTo>
                  <a:lnTo>
                    <a:pt x="116" y="295"/>
                  </a:lnTo>
                  <a:lnTo>
                    <a:pt x="125" y="322"/>
                  </a:lnTo>
                  <a:lnTo>
                    <a:pt x="111" y="331"/>
                  </a:lnTo>
                  <a:lnTo>
                    <a:pt x="107" y="331"/>
                  </a:lnTo>
                  <a:lnTo>
                    <a:pt x="93" y="340"/>
                  </a:lnTo>
                  <a:lnTo>
                    <a:pt x="84" y="331"/>
                  </a:lnTo>
                  <a:lnTo>
                    <a:pt x="75" y="335"/>
                  </a:lnTo>
                  <a:lnTo>
                    <a:pt x="67" y="353"/>
                  </a:lnTo>
                  <a:lnTo>
                    <a:pt x="49" y="375"/>
                  </a:lnTo>
                  <a:lnTo>
                    <a:pt x="58" y="393"/>
                  </a:lnTo>
                  <a:lnTo>
                    <a:pt x="62" y="389"/>
                  </a:lnTo>
                  <a:lnTo>
                    <a:pt x="62" y="402"/>
                  </a:lnTo>
                  <a:lnTo>
                    <a:pt x="67" y="402"/>
                  </a:lnTo>
                  <a:lnTo>
                    <a:pt x="58" y="416"/>
                  </a:lnTo>
                  <a:lnTo>
                    <a:pt x="62" y="425"/>
                  </a:lnTo>
                  <a:lnTo>
                    <a:pt x="67" y="420"/>
                  </a:lnTo>
                  <a:lnTo>
                    <a:pt x="75" y="442"/>
                  </a:lnTo>
                  <a:lnTo>
                    <a:pt x="98" y="438"/>
                  </a:lnTo>
                  <a:lnTo>
                    <a:pt x="102" y="429"/>
                  </a:lnTo>
                  <a:lnTo>
                    <a:pt x="111" y="442"/>
                  </a:lnTo>
                  <a:lnTo>
                    <a:pt x="107" y="451"/>
                  </a:lnTo>
                  <a:lnTo>
                    <a:pt x="107" y="469"/>
                  </a:lnTo>
                  <a:lnTo>
                    <a:pt x="98" y="478"/>
                  </a:lnTo>
                  <a:lnTo>
                    <a:pt x="111" y="478"/>
                  </a:lnTo>
                  <a:lnTo>
                    <a:pt x="120" y="469"/>
                  </a:lnTo>
                  <a:lnTo>
                    <a:pt x="134" y="465"/>
                  </a:lnTo>
                  <a:lnTo>
                    <a:pt x="142" y="469"/>
                  </a:lnTo>
                  <a:lnTo>
                    <a:pt x="156" y="492"/>
                  </a:lnTo>
                  <a:lnTo>
                    <a:pt x="160" y="492"/>
                  </a:lnTo>
                  <a:lnTo>
                    <a:pt x="160" y="478"/>
                  </a:lnTo>
                  <a:lnTo>
                    <a:pt x="169" y="483"/>
                  </a:lnTo>
                  <a:lnTo>
                    <a:pt x="187" y="460"/>
                  </a:lnTo>
                  <a:lnTo>
                    <a:pt x="183" y="474"/>
                  </a:lnTo>
                  <a:lnTo>
                    <a:pt x="183" y="496"/>
                  </a:lnTo>
                  <a:lnTo>
                    <a:pt x="174" y="509"/>
                  </a:lnTo>
                  <a:lnTo>
                    <a:pt x="156" y="518"/>
                  </a:lnTo>
                  <a:lnTo>
                    <a:pt x="156" y="527"/>
                  </a:lnTo>
                  <a:lnTo>
                    <a:pt x="142" y="527"/>
                  </a:lnTo>
                  <a:lnTo>
                    <a:pt x="125" y="536"/>
                  </a:lnTo>
                  <a:lnTo>
                    <a:pt x="129" y="550"/>
                  </a:lnTo>
                  <a:lnTo>
                    <a:pt x="120" y="554"/>
                  </a:lnTo>
                  <a:lnTo>
                    <a:pt x="116" y="541"/>
                  </a:lnTo>
                  <a:lnTo>
                    <a:pt x="107" y="541"/>
                  </a:lnTo>
                  <a:lnTo>
                    <a:pt x="98" y="554"/>
                  </a:lnTo>
                  <a:lnTo>
                    <a:pt x="84" y="572"/>
                  </a:lnTo>
                  <a:lnTo>
                    <a:pt x="75" y="572"/>
                  </a:lnTo>
                  <a:lnTo>
                    <a:pt x="67" y="585"/>
                  </a:lnTo>
                  <a:lnTo>
                    <a:pt x="67" y="594"/>
                  </a:lnTo>
                  <a:lnTo>
                    <a:pt x="93" y="581"/>
                  </a:lnTo>
                  <a:lnTo>
                    <a:pt x="89" y="572"/>
                  </a:lnTo>
                  <a:lnTo>
                    <a:pt x="98" y="572"/>
                  </a:lnTo>
                  <a:lnTo>
                    <a:pt x="107" y="576"/>
                  </a:lnTo>
                  <a:lnTo>
                    <a:pt x="138" y="550"/>
                  </a:lnTo>
                  <a:lnTo>
                    <a:pt x="138" y="559"/>
                  </a:lnTo>
                  <a:lnTo>
                    <a:pt x="142" y="545"/>
                  </a:lnTo>
                  <a:lnTo>
                    <a:pt x="147" y="550"/>
                  </a:lnTo>
                  <a:lnTo>
                    <a:pt x="174" y="527"/>
                  </a:lnTo>
                  <a:lnTo>
                    <a:pt x="192" y="527"/>
                  </a:lnTo>
                  <a:lnTo>
                    <a:pt x="205" y="505"/>
                  </a:lnTo>
                  <a:lnTo>
                    <a:pt x="236" y="465"/>
                  </a:lnTo>
                  <a:lnTo>
                    <a:pt x="223" y="460"/>
                  </a:lnTo>
                  <a:lnTo>
                    <a:pt x="227" y="447"/>
                  </a:lnTo>
                  <a:lnTo>
                    <a:pt x="236" y="442"/>
                  </a:lnTo>
                  <a:lnTo>
                    <a:pt x="259" y="402"/>
                  </a:lnTo>
                  <a:lnTo>
                    <a:pt x="268" y="393"/>
                  </a:lnTo>
                  <a:lnTo>
                    <a:pt x="285" y="398"/>
                  </a:lnTo>
                  <a:lnTo>
                    <a:pt x="290" y="407"/>
                  </a:lnTo>
                  <a:lnTo>
                    <a:pt x="272" y="402"/>
                  </a:lnTo>
                  <a:lnTo>
                    <a:pt x="259" y="416"/>
                  </a:lnTo>
                  <a:lnTo>
                    <a:pt x="259" y="420"/>
                  </a:lnTo>
                  <a:lnTo>
                    <a:pt x="250" y="438"/>
                  </a:lnTo>
                  <a:lnTo>
                    <a:pt x="250" y="447"/>
                  </a:lnTo>
                  <a:lnTo>
                    <a:pt x="259" y="451"/>
                  </a:lnTo>
                  <a:lnTo>
                    <a:pt x="250" y="460"/>
                  </a:lnTo>
                  <a:lnTo>
                    <a:pt x="259" y="465"/>
                  </a:lnTo>
                  <a:lnTo>
                    <a:pt x="272" y="451"/>
                  </a:lnTo>
                  <a:lnTo>
                    <a:pt x="276" y="456"/>
                  </a:lnTo>
                  <a:lnTo>
                    <a:pt x="290" y="442"/>
                  </a:lnTo>
                  <a:lnTo>
                    <a:pt x="321" y="442"/>
                  </a:lnTo>
                  <a:lnTo>
                    <a:pt x="321" y="429"/>
                  </a:lnTo>
                  <a:lnTo>
                    <a:pt x="317" y="425"/>
                  </a:lnTo>
                  <a:lnTo>
                    <a:pt x="312" y="420"/>
                  </a:lnTo>
                  <a:lnTo>
                    <a:pt x="308" y="425"/>
                  </a:lnTo>
                  <a:lnTo>
                    <a:pt x="303" y="411"/>
                  </a:lnTo>
                  <a:lnTo>
                    <a:pt x="308" y="407"/>
                  </a:lnTo>
                  <a:lnTo>
                    <a:pt x="312" y="416"/>
                  </a:lnTo>
                  <a:lnTo>
                    <a:pt x="326" y="411"/>
                  </a:lnTo>
                  <a:lnTo>
                    <a:pt x="339" y="429"/>
                  </a:lnTo>
                  <a:lnTo>
                    <a:pt x="352" y="429"/>
                  </a:lnTo>
                  <a:lnTo>
                    <a:pt x="357" y="420"/>
                  </a:lnTo>
                  <a:lnTo>
                    <a:pt x="357" y="429"/>
                  </a:lnTo>
                  <a:lnTo>
                    <a:pt x="366" y="438"/>
                  </a:lnTo>
                  <a:lnTo>
                    <a:pt x="384" y="433"/>
                  </a:lnTo>
                  <a:lnTo>
                    <a:pt x="402" y="442"/>
                  </a:lnTo>
                  <a:lnTo>
                    <a:pt x="419" y="447"/>
                  </a:lnTo>
                  <a:lnTo>
                    <a:pt x="433" y="438"/>
                  </a:lnTo>
                  <a:lnTo>
                    <a:pt x="428" y="456"/>
                  </a:lnTo>
                  <a:lnTo>
                    <a:pt x="455" y="469"/>
                  </a:lnTo>
                  <a:lnTo>
                    <a:pt x="473" y="483"/>
                  </a:lnTo>
                  <a:lnTo>
                    <a:pt x="477" y="478"/>
                  </a:lnTo>
                  <a:lnTo>
                    <a:pt x="469" y="465"/>
                  </a:lnTo>
                  <a:lnTo>
                    <a:pt x="473" y="465"/>
                  </a:lnTo>
                  <a:lnTo>
                    <a:pt x="486" y="474"/>
                  </a:lnTo>
                  <a:lnTo>
                    <a:pt x="482" y="483"/>
                  </a:lnTo>
                  <a:lnTo>
                    <a:pt x="491" y="487"/>
                  </a:lnTo>
                  <a:lnTo>
                    <a:pt x="495" y="474"/>
                  </a:lnTo>
                  <a:lnTo>
                    <a:pt x="495" y="460"/>
                  </a:lnTo>
                  <a:lnTo>
                    <a:pt x="495" y="460"/>
                  </a:lnTo>
                  <a:lnTo>
                    <a:pt x="500" y="478"/>
                  </a:lnTo>
                  <a:lnTo>
                    <a:pt x="495" y="487"/>
                  </a:lnTo>
                  <a:lnTo>
                    <a:pt x="504" y="496"/>
                  </a:lnTo>
                  <a:lnTo>
                    <a:pt x="504" y="518"/>
                  </a:lnTo>
                  <a:lnTo>
                    <a:pt x="513" y="505"/>
                  </a:lnTo>
                  <a:lnTo>
                    <a:pt x="509" y="487"/>
                  </a:lnTo>
                  <a:lnTo>
                    <a:pt x="513" y="487"/>
                  </a:lnTo>
                  <a:lnTo>
                    <a:pt x="518" y="496"/>
                  </a:lnTo>
                  <a:lnTo>
                    <a:pt x="522" y="518"/>
                  </a:lnTo>
                  <a:lnTo>
                    <a:pt x="536" y="527"/>
                  </a:lnTo>
                  <a:lnTo>
                    <a:pt x="531" y="541"/>
                  </a:lnTo>
                  <a:lnTo>
                    <a:pt x="540" y="550"/>
                  </a:lnTo>
                  <a:lnTo>
                    <a:pt x="540" y="559"/>
                  </a:lnTo>
                  <a:lnTo>
                    <a:pt x="549" y="572"/>
                  </a:lnTo>
                  <a:lnTo>
                    <a:pt x="558" y="568"/>
                  </a:lnTo>
                  <a:lnTo>
                    <a:pt x="562" y="581"/>
                  </a:lnTo>
                  <a:lnTo>
                    <a:pt x="567" y="572"/>
                  </a:lnTo>
                  <a:lnTo>
                    <a:pt x="567" y="554"/>
                  </a:lnTo>
                  <a:lnTo>
                    <a:pt x="567" y="550"/>
                  </a:lnTo>
                  <a:lnTo>
                    <a:pt x="567" y="541"/>
                  </a:lnTo>
                  <a:lnTo>
                    <a:pt x="558" y="541"/>
                  </a:lnTo>
                  <a:lnTo>
                    <a:pt x="540" y="523"/>
                  </a:lnTo>
                  <a:lnTo>
                    <a:pt x="527" y="496"/>
                  </a:lnTo>
                  <a:lnTo>
                    <a:pt x="509" y="460"/>
                  </a:lnTo>
                  <a:lnTo>
                    <a:pt x="491" y="447"/>
                  </a:lnTo>
                  <a:lnTo>
                    <a:pt x="477" y="447"/>
                  </a:lnTo>
                  <a:lnTo>
                    <a:pt x="469" y="460"/>
                  </a:lnTo>
                  <a:lnTo>
                    <a:pt x="455" y="465"/>
                  </a:lnTo>
                  <a:lnTo>
                    <a:pt x="451" y="456"/>
                  </a:lnTo>
                  <a:lnTo>
                    <a:pt x="437" y="438"/>
                  </a:lnTo>
                  <a:lnTo>
                    <a:pt x="433" y="433"/>
                  </a:lnTo>
                  <a:lnTo>
                    <a:pt x="428" y="429"/>
                  </a:lnTo>
                  <a:lnTo>
                    <a:pt x="419" y="438"/>
                  </a:lnTo>
                  <a:lnTo>
                    <a:pt x="410" y="438"/>
                  </a:lnTo>
                  <a:lnTo>
                    <a:pt x="406" y="433"/>
                  </a:lnTo>
                  <a:lnTo>
                    <a:pt x="406" y="98"/>
                  </a:lnTo>
                  <a:lnTo>
                    <a:pt x="388" y="89"/>
                  </a:lnTo>
                  <a:lnTo>
                    <a:pt x="361" y="76"/>
                  </a:lnTo>
                  <a:lnTo>
                    <a:pt x="348" y="85"/>
                  </a:lnTo>
                  <a:lnTo>
                    <a:pt x="330" y="76"/>
                  </a:lnTo>
                  <a:lnTo>
                    <a:pt x="317" y="76"/>
                  </a:lnTo>
                  <a:lnTo>
                    <a:pt x="299" y="67"/>
                  </a:lnTo>
                  <a:lnTo>
                    <a:pt x="281" y="63"/>
                  </a:lnTo>
                  <a:lnTo>
                    <a:pt x="268" y="67"/>
                  </a:lnTo>
                  <a:lnTo>
                    <a:pt x="259" y="72"/>
                  </a:lnTo>
                  <a:lnTo>
                    <a:pt x="259" y="63"/>
                  </a:lnTo>
                  <a:lnTo>
                    <a:pt x="245" y="58"/>
                  </a:lnTo>
                  <a:lnTo>
                    <a:pt x="250" y="45"/>
                  </a:lnTo>
                  <a:lnTo>
                    <a:pt x="236" y="49"/>
                  </a:lnTo>
                  <a:lnTo>
                    <a:pt x="236" y="36"/>
                  </a:lnTo>
                  <a:lnTo>
                    <a:pt x="214" y="31"/>
                  </a:lnTo>
                  <a:lnTo>
                    <a:pt x="214" y="9"/>
                  </a:lnTo>
                  <a:lnTo>
                    <a:pt x="209" y="9"/>
                  </a:lnTo>
                  <a:lnTo>
                    <a:pt x="205" y="27"/>
                  </a:lnTo>
                  <a:lnTo>
                    <a:pt x="205" y="31"/>
                  </a:lnTo>
                  <a:lnTo>
                    <a:pt x="192" y="36"/>
                  </a:lnTo>
                  <a:lnTo>
                    <a:pt x="201" y="9"/>
                  </a:lnTo>
                  <a:lnTo>
                    <a:pt x="187" y="0"/>
                  </a:lnTo>
                  <a:lnTo>
                    <a:pt x="169" y="31"/>
                  </a:lnTo>
                  <a:lnTo>
                    <a:pt x="151" y="36"/>
                  </a:lnTo>
                  <a:lnTo>
                    <a:pt x="142" y="36"/>
                  </a:lnTo>
                  <a:lnTo>
                    <a:pt x="116" y="58"/>
                  </a:lnTo>
                  <a:lnTo>
                    <a:pt x="111" y="67"/>
                  </a:lnTo>
                  <a:lnTo>
                    <a:pt x="107" y="58"/>
                  </a:lnTo>
                  <a:lnTo>
                    <a:pt x="98" y="76"/>
                  </a:lnTo>
                  <a:lnTo>
                    <a:pt x="93" y="80"/>
                  </a:lnTo>
                  <a:lnTo>
                    <a:pt x="84" y="94"/>
                  </a:lnTo>
                  <a:lnTo>
                    <a:pt x="84" y="112"/>
                  </a:lnTo>
                  <a:lnTo>
                    <a:pt x="53" y="130"/>
                  </a:lnTo>
                  <a:lnTo>
                    <a:pt x="44" y="130"/>
                  </a:lnTo>
                  <a:lnTo>
                    <a:pt x="40" y="152"/>
                  </a:lnTo>
                  <a:lnTo>
                    <a:pt x="53" y="156"/>
                  </a:lnTo>
                  <a:lnTo>
                    <a:pt x="75" y="170"/>
                  </a:lnTo>
                  <a:lnTo>
                    <a:pt x="80" y="183"/>
                  </a:lnTo>
                  <a:lnTo>
                    <a:pt x="80" y="197"/>
                  </a:lnTo>
                  <a:lnTo>
                    <a:pt x="111" y="201"/>
                  </a:lnTo>
                  <a:lnTo>
                    <a:pt x="111" y="210"/>
                  </a:lnTo>
                  <a:lnTo>
                    <a:pt x="116" y="219"/>
                  </a:lnTo>
                  <a:lnTo>
                    <a:pt x="129" y="219"/>
                  </a:lnTo>
                  <a:lnTo>
                    <a:pt x="134" y="228"/>
                  </a:lnTo>
                  <a:lnTo>
                    <a:pt x="129" y="232"/>
                  </a:lnTo>
                  <a:close/>
                  <a:moveTo>
                    <a:pt x="138" y="1211"/>
                  </a:moveTo>
                  <a:lnTo>
                    <a:pt x="142" y="1216"/>
                  </a:lnTo>
                  <a:lnTo>
                    <a:pt x="147" y="1216"/>
                  </a:lnTo>
                  <a:lnTo>
                    <a:pt x="147" y="1207"/>
                  </a:lnTo>
                  <a:lnTo>
                    <a:pt x="138" y="1211"/>
                  </a:lnTo>
                  <a:close/>
                  <a:moveTo>
                    <a:pt x="165" y="1216"/>
                  </a:moveTo>
                  <a:lnTo>
                    <a:pt x="156" y="1220"/>
                  </a:lnTo>
                  <a:lnTo>
                    <a:pt x="160" y="1229"/>
                  </a:lnTo>
                  <a:lnTo>
                    <a:pt x="169" y="1229"/>
                  </a:lnTo>
                  <a:lnTo>
                    <a:pt x="169" y="1220"/>
                  </a:lnTo>
                  <a:lnTo>
                    <a:pt x="165" y="1216"/>
                  </a:lnTo>
                  <a:close/>
                  <a:moveTo>
                    <a:pt x="205" y="1256"/>
                  </a:moveTo>
                  <a:lnTo>
                    <a:pt x="209" y="1247"/>
                  </a:lnTo>
                  <a:lnTo>
                    <a:pt x="205" y="1242"/>
                  </a:lnTo>
                  <a:lnTo>
                    <a:pt x="196" y="1238"/>
                  </a:lnTo>
                  <a:lnTo>
                    <a:pt x="192" y="1242"/>
                  </a:lnTo>
                  <a:lnTo>
                    <a:pt x="201" y="1251"/>
                  </a:lnTo>
                  <a:lnTo>
                    <a:pt x="205" y="1256"/>
                  </a:lnTo>
                  <a:close/>
                  <a:moveTo>
                    <a:pt x="477" y="487"/>
                  </a:moveTo>
                  <a:lnTo>
                    <a:pt x="477" y="492"/>
                  </a:lnTo>
                  <a:lnTo>
                    <a:pt x="486" y="509"/>
                  </a:lnTo>
                  <a:lnTo>
                    <a:pt x="482" y="518"/>
                  </a:lnTo>
                  <a:lnTo>
                    <a:pt x="486" y="518"/>
                  </a:lnTo>
                  <a:lnTo>
                    <a:pt x="491" y="514"/>
                  </a:lnTo>
                  <a:lnTo>
                    <a:pt x="495" y="523"/>
                  </a:lnTo>
                  <a:lnTo>
                    <a:pt x="491" y="527"/>
                  </a:lnTo>
                  <a:lnTo>
                    <a:pt x="500" y="541"/>
                  </a:lnTo>
                  <a:lnTo>
                    <a:pt x="504" y="527"/>
                  </a:lnTo>
                  <a:lnTo>
                    <a:pt x="500" y="518"/>
                  </a:lnTo>
                  <a:lnTo>
                    <a:pt x="500" y="492"/>
                  </a:lnTo>
                  <a:lnTo>
                    <a:pt x="486" y="487"/>
                  </a:lnTo>
                  <a:lnTo>
                    <a:pt x="477" y="487"/>
                  </a:lnTo>
                  <a:close/>
                  <a:moveTo>
                    <a:pt x="504" y="545"/>
                  </a:moveTo>
                  <a:lnTo>
                    <a:pt x="509" y="541"/>
                  </a:lnTo>
                  <a:lnTo>
                    <a:pt x="513" y="523"/>
                  </a:lnTo>
                  <a:lnTo>
                    <a:pt x="518" y="532"/>
                  </a:lnTo>
                  <a:lnTo>
                    <a:pt x="527" y="532"/>
                  </a:lnTo>
                  <a:lnTo>
                    <a:pt x="531" y="527"/>
                  </a:lnTo>
                  <a:lnTo>
                    <a:pt x="513" y="514"/>
                  </a:lnTo>
                  <a:lnTo>
                    <a:pt x="509" y="523"/>
                  </a:lnTo>
                  <a:lnTo>
                    <a:pt x="509" y="532"/>
                  </a:lnTo>
                  <a:lnTo>
                    <a:pt x="504" y="545"/>
                  </a:lnTo>
                  <a:close/>
                  <a:moveTo>
                    <a:pt x="540" y="572"/>
                  </a:moveTo>
                  <a:lnTo>
                    <a:pt x="536" y="563"/>
                  </a:lnTo>
                  <a:lnTo>
                    <a:pt x="536" y="559"/>
                  </a:lnTo>
                  <a:lnTo>
                    <a:pt x="522" y="541"/>
                  </a:lnTo>
                  <a:lnTo>
                    <a:pt x="518" y="536"/>
                  </a:lnTo>
                  <a:lnTo>
                    <a:pt x="513" y="550"/>
                  </a:lnTo>
                  <a:lnTo>
                    <a:pt x="518" y="550"/>
                  </a:lnTo>
                  <a:lnTo>
                    <a:pt x="527" y="568"/>
                  </a:lnTo>
                  <a:lnTo>
                    <a:pt x="522" y="568"/>
                  </a:lnTo>
                  <a:lnTo>
                    <a:pt x="527" y="581"/>
                  </a:lnTo>
                  <a:lnTo>
                    <a:pt x="531" y="572"/>
                  </a:lnTo>
                  <a:lnTo>
                    <a:pt x="540" y="581"/>
                  </a:lnTo>
                  <a:lnTo>
                    <a:pt x="540" y="572"/>
                  </a:lnTo>
                  <a:close/>
                  <a:moveTo>
                    <a:pt x="674" y="719"/>
                  </a:moveTo>
                  <a:lnTo>
                    <a:pt x="670" y="724"/>
                  </a:lnTo>
                  <a:lnTo>
                    <a:pt x="674" y="733"/>
                  </a:lnTo>
                  <a:lnTo>
                    <a:pt x="656" y="728"/>
                  </a:lnTo>
                  <a:lnTo>
                    <a:pt x="647" y="728"/>
                  </a:lnTo>
                  <a:lnTo>
                    <a:pt x="647" y="737"/>
                  </a:lnTo>
                  <a:lnTo>
                    <a:pt x="652" y="742"/>
                  </a:lnTo>
                  <a:lnTo>
                    <a:pt x="652" y="773"/>
                  </a:lnTo>
                  <a:lnTo>
                    <a:pt x="665" y="778"/>
                  </a:lnTo>
                  <a:lnTo>
                    <a:pt x="656" y="782"/>
                  </a:lnTo>
                  <a:lnTo>
                    <a:pt x="656" y="791"/>
                  </a:lnTo>
                  <a:lnTo>
                    <a:pt x="656" y="818"/>
                  </a:lnTo>
                  <a:lnTo>
                    <a:pt x="652" y="831"/>
                  </a:lnTo>
                  <a:lnTo>
                    <a:pt x="647" y="836"/>
                  </a:lnTo>
                  <a:lnTo>
                    <a:pt x="652" y="885"/>
                  </a:lnTo>
                  <a:lnTo>
                    <a:pt x="647" y="885"/>
                  </a:lnTo>
                  <a:lnTo>
                    <a:pt x="652" y="894"/>
                  </a:lnTo>
                  <a:lnTo>
                    <a:pt x="656" y="903"/>
                  </a:lnTo>
                  <a:lnTo>
                    <a:pt x="656" y="921"/>
                  </a:lnTo>
                  <a:lnTo>
                    <a:pt x="670" y="934"/>
                  </a:lnTo>
                  <a:lnTo>
                    <a:pt x="670" y="938"/>
                  </a:lnTo>
                  <a:lnTo>
                    <a:pt x="674" y="943"/>
                  </a:lnTo>
                  <a:lnTo>
                    <a:pt x="683" y="934"/>
                  </a:lnTo>
                  <a:lnTo>
                    <a:pt x="683" y="938"/>
                  </a:lnTo>
                  <a:lnTo>
                    <a:pt x="679" y="947"/>
                  </a:lnTo>
                  <a:lnTo>
                    <a:pt x="679" y="965"/>
                  </a:lnTo>
                  <a:lnTo>
                    <a:pt x="687" y="974"/>
                  </a:lnTo>
                  <a:lnTo>
                    <a:pt x="701" y="988"/>
                  </a:lnTo>
                  <a:lnTo>
                    <a:pt x="701" y="992"/>
                  </a:lnTo>
                  <a:lnTo>
                    <a:pt x="705" y="992"/>
                  </a:lnTo>
                  <a:lnTo>
                    <a:pt x="705" y="1005"/>
                  </a:lnTo>
                  <a:lnTo>
                    <a:pt x="719" y="1005"/>
                  </a:lnTo>
                  <a:lnTo>
                    <a:pt x="732" y="1014"/>
                  </a:lnTo>
                  <a:lnTo>
                    <a:pt x="746" y="1023"/>
                  </a:lnTo>
                  <a:lnTo>
                    <a:pt x="750" y="1041"/>
                  </a:lnTo>
                  <a:lnTo>
                    <a:pt x="786" y="1037"/>
                  </a:lnTo>
                  <a:lnTo>
                    <a:pt x="839" y="1064"/>
                  </a:lnTo>
                  <a:lnTo>
                    <a:pt x="884" y="1064"/>
                  </a:lnTo>
                  <a:lnTo>
                    <a:pt x="880" y="1055"/>
                  </a:lnTo>
                  <a:lnTo>
                    <a:pt x="906" y="1055"/>
                  </a:lnTo>
                  <a:lnTo>
                    <a:pt x="929" y="1068"/>
                  </a:lnTo>
                  <a:lnTo>
                    <a:pt x="933" y="1090"/>
                  </a:lnTo>
                  <a:lnTo>
                    <a:pt x="951" y="1104"/>
                  </a:lnTo>
                  <a:lnTo>
                    <a:pt x="964" y="1086"/>
                  </a:lnTo>
                  <a:lnTo>
                    <a:pt x="978" y="1090"/>
                  </a:lnTo>
                  <a:lnTo>
                    <a:pt x="1005" y="1122"/>
                  </a:lnTo>
                  <a:lnTo>
                    <a:pt x="1014" y="1140"/>
                  </a:lnTo>
                  <a:lnTo>
                    <a:pt x="1036" y="1148"/>
                  </a:lnTo>
                  <a:lnTo>
                    <a:pt x="1045" y="1144"/>
                  </a:lnTo>
                  <a:lnTo>
                    <a:pt x="1040" y="1126"/>
                  </a:lnTo>
                  <a:lnTo>
                    <a:pt x="1049" y="1113"/>
                  </a:lnTo>
                  <a:lnTo>
                    <a:pt x="1094" y="1086"/>
                  </a:lnTo>
                  <a:lnTo>
                    <a:pt x="1125" y="1095"/>
                  </a:lnTo>
                  <a:lnTo>
                    <a:pt x="1139" y="1099"/>
                  </a:lnTo>
                  <a:lnTo>
                    <a:pt x="1143" y="1095"/>
                  </a:lnTo>
                  <a:lnTo>
                    <a:pt x="1152" y="1099"/>
                  </a:lnTo>
                  <a:lnTo>
                    <a:pt x="1156" y="1095"/>
                  </a:lnTo>
                  <a:lnTo>
                    <a:pt x="1148" y="1090"/>
                  </a:lnTo>
                  <a:lnTo>
                    <a:pt x="1152" y="1086"/>
                  </a:lnTo>
                  <a:lnTo>
                    <a:pt x="1148" y="1077"/>
                  </a:lnTo>
                  <a:lnTo>
                    <a:pt x="1139" y="1081"/>
                  </a:lnTo>
                  <a:lnTo>
                    <a:pt x="1139" y="1073"/>
                  </a:lnTo>
                  <a:lnTo>
                    <a:pt x="1170" y="1077"/>
                  </a:lnTo>
                  <a:lnTo>
                    <a:pt x="1179" y="1077"/>
                  </a:lnTo>
                  <a:lnTo>
                    <a:pt x="1183" y="1077"/>
                  </a:lnTo>
                  <a:lnTo>
                    <a:pt x="1192" y="1073"/>
                  </a:lnTo>
                  <a:lnTo>
                    <a:pt x="1201" y="1077"/>
                  </a:lnTo>
                  <a:lnTo>
                    <a:pt x="1210" y="1090"/>
                  </a:lnTo>
                  <a:lnTo>
                    <a:pt x="1228" y="1077"/>
                  </a:lnTo>
                  <a:lnTo>
                    <a:pt x="1246" y="1104"/>
                  </a:lnTo>
                  <a:lnTo>
                    <a:pt x="1237" y="1117"/>
                  </a:lnTo>
                  <a:lnTo>
                    <a:pt x="1246" y="1117"/>
                  </a:lnTo>
                  <a:lnTo>
                    <a:pt x="1246" y="1122"/>
                  </a:lnTo>
                  <a:lnTo>
                    <a:pt x="1259" y="1148"/>
                  </a:lnTo>
                  <a:lnTo>
                    <a:pt x="1264" y="1148"/>
                  </a:lnTo>
                  <a:lnTo>
                    <a:pt x="1268" y="1157"/>
                  </a:lnTo>
                  <a:lnTo>
                    <a:pt x="1268" y="1162"/>
                  </a:lnTo>
                  <a:lnTo>
                    <a:pt x="1282" y="1157"/>
                  </a:lnTo>
                  <a:lnTo>
                    <a:pt x="1286" y="1135"/>
                  </a:lnTo>
                  <a:lnTo>
                    <a:pt x="1277" y="1122"/>
                  </a:lnTo>
                  <a:lnTo>
                    <a:pt x="1277" y="1108"/>
                  </a:lnTo>
                  <a:lnTo>
                    <a:pt x="1268" y="1095"/>
                  </a:lnTo>
                  <a:lnTo>
                    <a:pt x="1268" y="1081"/>
                  </a:lnTo>
                  <a:lnTo>
                    <a:pt x="1264" y="1068"/>
                  </a:lnTo>
                  <a:lnTo>
                    <a:pt x="1273" y="1046"/>
                  </a:lnTo>
                  <a:lnTo>
                    <a:pt x="1277" y="1046"/>
                  </a:lnTo>
                  <a:lnTo>
                    <a:pt x="1295" y="1028"/>
                  </a:lnTo>
                  <a:lnTo>
                    <a:pt x="1304" y="1014"/>
                  </a:lnTo>
                  <a:lnTo>
                    <a:pt x="1317" y="1010"/>
                  </a:lnTo>
                  <a:lnTo>
                    <a:pt x="1322" y="1001"/>
                  </a:lnTo>
                  <a:lnTo>
                    <a:pt x="1326" y="1005"/>
                  </a:lnTo>
                  <a:lnTo>
                    <a:pt x="1331" y="997"/>
                  </a:lnTo>
                  <a:lnTo>
                    <a:pt x="1335" y="997"/>
                  </a:lnTo>
                  <a:lnTo>
                    <a:pt x="1344" y="992"/>
                  </a:lnTo>
                  <a:lnTo>
                    <a:pt x="1331" y="992"/>
                  </a:lnTo>
                  <a:lnTo>
                    <a:pt x="1335" y="983"/>
                  </a:lnTo>
                  <a:lnTo>
                    <a:pt x="1344" y="983"/>
                  </a:lnTo>
                  <a:lnTo>
                    <a:pt x="1344" y="974"/>
                  </a:lnTo>
                  <a:lnTo>
                    <a:pt x="1335" y="970"/>
                  </a:lnTo>
                  <a:lnTo>
                    <a:pt x="1335" y="970"/>
                  </a:lnTo>
                  <a:lnTo>
                    <a:pt x="1349" y="970"/>
                  </a:lnTo>
                  <a:lnTo>
                    <a:pt x="1340" y="956"/>
                  </a:lnTo>
                  <a:lnTo>
                    <a:pt x="1335" y="956"/>
                  </a:lnTo>
                  <a:lnTo>
                    <a:pt x="1335" y="947"/>
                  </a:lnTo>
                  <a:lnTo>
                    <a:pt x="1335" y="938"/>
                  </a:lnTo>
                  <a:lnTo>
                    <a:pt x="1335" y="912"/>
                  </a:lnTo>
                  <a:lnTo>
                    <a:pt x="1340" y="907"/>
                  </a:lnTo>
                  <a:lnTo>
                    <a:pt x="1340" y="934"/>
                  </a:lnTo>
                  <a:lnTo>
                    <a:pt x="1344" y="938"/>
                  </a:lnTo>
                  <a:lnTo>
                    <a:pt x="1344" y="952"/>
                  </a:lnTo>
                  <a:lnTo>
                    <a:pt x="1344" y="956"/>
                  </a:lnTo>
                  <a:lnTo>
                    <a:pt x="1349" y="943"/>
                  </a:lnTo>
                  <a:lnTo>
                    <a:pt x="1353" y="943"/>
                  </a:lnTo>
                  <a:lnTo>
                    <a:pt x="1357" y="934"/>
                  </a:lnTo>
                  <a:lnTo>
                    <a:pt x="1353" y="930"/>
                  </a:lnTo>
                  <a:lnTo>
                    <a:pt x="1353" y="921"/>
                  </a:lnTo>
                  <a:lnTo>
                    <a:pt x="1353" y="916"/>
                  </a:lnTo>
                  <a:lnTo>
                    <a:pt x="1357" y="916"/>
                  </a:lnTo>
                  <a:lnTo>
                    <a:pt x="1357" y="925"/>
                  </a:lnTo>
                  <a:lnTo>
                    <a:pt x="1366" y="912"/>
                  </a:lnTo>
                  <a:lnTo>
                    <a:pt x="1375" y="912"/>
                  </a:lnTo>
                  <a:lnTo>
                    <a:pt x="1375" y="889"/>
                  </a:lnTo>
                  <a:lnTo>
                    <a:pt x="1371" y="889"/>
                  </a:lnTo>
                  <a:lnTo>
                    <a:pt x="1371" y="885"/>
                  </a:lnTo>
                  <a:lnTo>
                    <a:pt x="1402" y="871"/>
                  </a:lnTo>
                  <a:lnTo>
                    <a:pt x="1411" y="871"/>
                  </a:lnTo>
                  <a:lnTo>
                    <a:pt x="1420" y="867"/>
                  </a:lnTo>
                  <a:lnTo>
                    <a:pt x="1429" y="867"/>
                  </a:lnTo>
                  <a:lnTo>
                    <a:pt x="1433" y="862"/>
                  </a:lnTo>
                  <a:lnTo>
                    <a:pt x="1429" y="854"/>
                  </a:lnTo>
                  <a:lnTo>
                    <a:pt x="1424" y="854"/>
                  </a:lnTo>
                  <a:lnTo>
                    <a:pt x="1424" y="858"/>
                  </a:lnTo>
                  <a:lnTo>
                    <a:pt x="1420" y="858"/>
                  </a:lnTo>
                  <a:lnTo>
                    <a:pt x="1420" y="849"/>
                  </a:lnTo>
                  <a:lnTo>
                    <a:pt x="1424" y="831"/>
                  </a:lnTo>
                  <a:lnTo>
                    <a:pt x="1429" y="822"/>
                  </a:lnTo>
                  <a:lnTo>
                    <a:pt x="1442" y="822"/>
                  </a:lnTo>
                  <a:lnTo>
                    <a:pt x="1447" y="813"/>
                  </a:lnTo>
                  <a:lnTo>
                    <a:pt x="1456" y="822"/>
                  </a:lnTo>
                  <a:lnTo>
                    <a:pt x="1474" y="809"/>
                  </a:lnTo>
                  <a:lnTo>
                    <a:pt x="1474" y="800"/>
                  </a:lnTo>
                  <a:lnTo>
                    <a:pt x="1469" y="800"/>
                  </a:lnTo>
                  <a:lnTo>
                    <a:pt x="1469" y="795"/>
                  </a:lnTo>
                  <a:lnTo>
                    <a:pt x="1460" y="791"/>
                  </a:lnTo>
                  <a:lnTo>
                    <a:pt x="1451" y="751"/>
                  </a:lnTo>
                  <a:lnTo>
                    <a:pt x="1442" y="755"/>
                  </a:lnTo>
                  <a:lnTo>
                    <a:pt x="1438" y="751"/>
                  </a:lnTo>
                  <a:lnTo>
                    <a:pt x="1420" y="778"/>
                  </a:lnTo>
                  <a:lnTo>
                    <a:pt x="1407" y="800"/>
                  </a:lnTo>
                  <a:lnTo>
                    <a:pt x="1362" y="804"/>
                  </a:lnTo>
                  <a:lnTo>
                    <a:pt x="1357" y="804"/>
                  </a:lnTo>
                  <a:lnTo>
                    <a:pt x="1340" y="818"/>
                  </a:lnTo>
                  <a:lnTo>
                    <a:pt x="1344" y="822"/>
                  </a:lnTo>
                  <a:lnTo>
                    <a:pt x="1340" y="831"/>
                  </a:lnTo>
                  <a:lnTo>
                    <a:pt x="1326" y="836"/>
                  </a:lnTo>
                  <a:lnTo>
                    <a:pt x="1304" y="831"/>
                  </a:lnTo>
                  <a:lnTo>
                    <a:pt x="1304" y="836"/>
                  </a:lnTo>
                  <a:lnTo>
                    <a:pt x="1299" y="845"/>
                  </a:lnTo>
                  <a:lnTo>
                    <a:pt x="1304" y="845"/>
                  </a:lnTo>
                  <a:lnTo>
                    <a:pt x="1299" y="849"/>
                  </a:lnTo>
                  <a:lnTo>
                    <a:pt x="1282" y="858"/>
                  </a:lnTo>
                  <a:lnTo>
                    <a:pt x="1268" y="867"/>
                  </a:lnTo>
                  <a:lnTo>
                    <a:pt x="1250" y="871"/>
                  </a:lnTo>
                  <a:lnTo>
                    <a:pt x="1237" y="862"/>
                  </a:lnTo>
                  <a:lnTo>
                    <a:pt x="1241" y="854"/>
                  </a:lnTo>
                  <a:lnTo>
                    <a:pt x="1241" y="845"/>
                  </a:lnTo>
                  <a:lnTo>
                    <a:pt x="1246" y="845"/>
                  </a:lnTo>
                  <a:lnTo>
                    <a:pt x="1246" y="831"/>
                  </a:lnTo>
                  <a:lnTo>
                    <a:pt x="1246" y="818"/>
                  </a:lnTo>
                  <a:lnTo>
                    <a:pt x="1237" y="818"/>
                  </a:lnTo>
                  <a:lnTo>
                    <a:pt x="1232" y="822"/>
                  </a:lnTo>
                  <a:lnTo>
                    <a:pt x="1232" y="818"/>
                  </a:lnTo>
                  <a:lnTo>
                    <a:pt x="1237" y="809"/>
                  </a:lnTo>
                  <a:lnTo>
                    <a:pt x="1241" y="795"/>
                  </a:lnTo>
                  <a:lnTo>
                    <a:pt x="1232" y="791"/>
                  </a:lnTo>
                  <a:lnTo>
                    <a:pt x="1219" y="787"/>
                  </a:lnTo>
                  <a:lnTo>
                    <a:pt x="1215" y="787"/>
                  </a:lnTo>
                  <a:lnTo>
                    <a:pt x="1206" y="800"/>
                  </a:lnTo>
                  <a:lnTo>
                    <a:pt x="1201" y="800"/>
                  </a:lnTo>
                  <a:lnTo>
                    <a:pt x="1197" y="804"/>
                  </a:lnTo>
                  <a:lnTo>
                    <a:pt x="1192" y="827"/>
                  </a:lnTo>
                  <a:lnTo>
                    <a:pt x="1192" y="849"/>
                  </a:lnTo>
                  <a:lnTo>
                    <a:pt x="1183" y="862"/>
                  </a:lnTo>
                  <a:lnTo>
                    <a:pt x="1174" y="854"/>
                  </a:lnTo>
                  <a:lnTo>
                    <a:pt x="1174" y="840"/>
                  </a:lnTo>
                  <a:lnTo>
                    <a:pt x="1179" y="809"/>
                  </a:lnTo>
                  <a:lnTo>
                    <a:pt x="1188" y="795"/>
                  </a:lnTo>
                  <a:lnTo>
                    <a:pt x="1170" y="804"/>
                  </a:lnTo>
                  <a:lnTo>
                    <a:pt x="1188" y="787"/>
                  </a:lnTo>
                  <a:lnTo>
                    <a:pt x="1223" y="778"/>
                  </a:lnTo>
                  <a:lnTo>
                    <a:pt x="1219" y="769"/>
                  </a:lnTo>
                  <a:lnTo>
                    <a:pt x="1215" y="764"/>
                  </a:lnTo>
                  <a:lnTo>
                    <a:pt x="1215" y="760"/>
                  </a:lnTo>
                  <a:lnTo>
                    <a:pt x="1197" y="764"/>
                  </a:lnTo>
                  <a:lnTo>
                    <a:pt x="1188" y="769"/>
                  </a:lnTo>
                  <a:lnTo>
                    <a:pt x="1170" y="755"/>
                  </a:lnTo>
                  <a:lnTo>
                    <a:pt x="1161" y="755"/>
                  </a:lnTo>
                  <a:lnTo>
                    <a:pt x="1170" y="746"/>
                  </a:lnTo>
                  <a:lnTo>
                    <a:pt x="1134" y="760"/>
                  </a:lnTo>
                  <a:lnTo>
                    <a:pt x="1125" y="760"/>
                  </a:lnTo>
                  <a:lnTo>
                    <a:pt x="1112" y="760"/>
                  </a:lnTo>
                  <a:lnTo>
                    <a:pt x="1125" y="751"/>
                  </a:lnTo>
                  <a:lnTo>
                    <a:pt x="1139" y="737"/>
                  </a:lnTo>
                  <a:lnTo>
                    <a:pt x="1130" y="733"/>
                  </a:lnTo>
                  <a:lnTo>
                    <a:pt x="1116" y="737"/>
                  </a:lnTo>
                  <a:lnTo>
                    <a:pt x="1107" y="728"/>
                  </a:lnTo>
                  <a:lnTo>
                    <a:pt x="1098" y="724"/>
                  </a:lnTo>
                  <a:lnTo>
                    <a:pt x="1076" y="724"/>
                  </a:lnTo>
                  <a:lnTo>
                    <a:pt x="1072" y="715"/>
                  </a:lnTo>
                  <a:lnTo>
                    <a:pt x="1063" y="719"/>
                  </a:lnTo>
                  <a:lnTo>
                    <a:pt x="674" y="719"/>
                  </a:lnTo>
                  <a:close/>
                  <a:moveTo>
                    <a:pt x="1375" y="885"/>
                  </a:moveTo>
                  <a:lnTo>
                    <a:pt x="1380" y="889"/>
                  </a:lnTo>
                  <a:lnTo>
                    <a:pt x="1389" y="885"/>
                  </a:lnTo>
                  <a:lnTo>
                    <a:pt x="1402" y="876"/>
                  </a:lnTo>
                  <a:lnTo>
                    <a:pt x="1402" y="876"/>
                  </a:lnTo>
                  <a:lnTo>
                    <a:pt x="1384" y="880"/>
                  </a:lnTo>
                  <a:lnTo>
                    <a:pt x="1375" y="88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0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309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85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ddle and South Americas</a:t>
            </a:r>
          </a:p>
        </p:txBody>
      </p:sp>
      <p:grpSp>
        <p:nvGrpSpPr>
          <p:cNvPr id="2798595" name="Group 3"/>
          <p:cNvGrpSpPr>
            <a:grpSpLocks/>
          </p:cNvGrpSpPr>
          <p:nvPr/>
        </p:nvGrpSpPr>
        <p:grpSpPr bwMode="auto">
          <a:xfrm>
            <a:off x="2495550" y="1436688"/>
            <a:ext cx="5329238" cy="4722812"/>
            <a:chOff x="2162" y="2279"/>
            <a:chExt cx="1679" cy="1488"/>
          </a:xfrm>
        </p:grpSpPr>
        <p:sp>
          <p:nvSpPr>
            <p:cNvPr id="2798596" name="Freeform 4"/>
            <p:cNvSpPr>
              <a:spLocks noEditPoints="1"/>
            </p:cNvSpPr>
            <p:nvPr/>
          </p:nvSpPr>
          <p:spPr bwMode="gray">
            <a:xfrm>
              <a:off x="3283" y="3110"/>
              <a:ext cx="286" cy="639"/>
            </a:xfrm>
            <a:custGeom>
              <a:avLst/>
              <a:gdLst>
                <a:gd name="T0" fmla="*/ 76 w 286"/>
                <a:gd name="T1" fmla="*/ 576 h 639"/>
                <a:gd name="T2" fmla="*/ 67 w 286"/>
                <a:gd name="T3" fmla="*/ 532 h 639"/>
                <a:gd name="T4" fmla="*/ 80 w 286"/>
                <a:gd name="T5" fmla="*/ 523 h 639"/>
                <a:gd name="T6" fmla="*/ 85 w 286"/>
                <a:gd name="T7" fmla="*/ 500 h 639"/>
                <a:gd name="T8" fmla="*/ 116 w 286"/>
                <a:gd name="T9" fmla="*/ 456 h 639"/>
                <a:gd name="T10" fmla="*/ 89 w 286"/>
                <a:gd name="T11" fmla="*/ 438 h 639"/>
                <a:gd name="T12" fmla="*/ 103 w 286"/>
                <a:gd name="T13" fmla="*/ 411 h 639"/>
                <a:gd name="T14" fmla="*/ 125 w 286"/>
                <a:gd name="T15" fmla="*/ 375 h 639"/>
                <a:gd name="T16" fmla="*/ 129 w 286"/>
                <a:gd name="T17" fmla="*/ 362 h 639"/>
                <a:gd name="T18" fmla="*/ 143 w 286"/>
                <a:gd name="T19" fmla="*/ 362 h 639"/>
                <a:gd name="T20" fmla="*/ 134 w 286"/>
                <a:gd name="T21" fmla="*/ 353 h 639"/>
                <a:gd name="T22" fmla="*/ 125 w 286"/>
                <a:gd name="T23" fmla="*/ 326 h 639"/>
                <a:gd name="T24" fmla="*/ 165 w 286"/>
                <a:gd name="T25" fmla="*/ 331 h 639"/>
                <a:gd name="T26" fmla="*/ 170 w 286"/>
                <a:gd name="T27" fmla="*/ 290 h 639"/>
                <a:gd name="T28" fmla="*/ 228 w 286"/>
                <a:gd name="T29" fmla="*/ 277 h 639"/>
                <a:gd name="T30" fmla="*/ 241 w 286"/>
                <a:gd name="T31" fmla="*/ 241 h 639"/>
                <a:gd name="T32" fmla="*/ 232 w 286"/>
                <a:gd name="T33" fmla="*/ 237 h 639"/>
                <a:gd name="T34" fmla="*/ 219 w 286"/>
                <a:gd name="T35" fmla="*/ 214 h 639"/>
                <a:gd name="T36" fmla="*/ 219 w 286"/>
                <a:gd name="T37" fmla="*/ 188 h 639"/>
                <a:gd name="T38" fmla="*/ 219 w 286"/>
                <a:gd name="T39" fmla="*/ 165 h 639"/>
                <a:gd name="T40" fmla="*/ 232 w 286"/>
                <a:gd name="T41" fmla="*/ 134 h 639"/>
                <a:gd name="T42" fmla="*/ 268 w 286"/>
                <a:gd name="T43" fmla="*/ 94 h 639"/>
                <a:gd name="T44" fmla="*/ 286 w 286"/>
                <a:gd name="T45" fmla="*/ 58 h 639"/>
                <a:gd name="T46" fmla="*/ 272 w 286"/>
                <a:gd name="T47" fmla="*/ 76 h 639"/>
                <a:gd name="T48" fmla="*/ 241 w 286"/>
                <a:gd name="T49" fmla="*/ 89 h 639"/>
                <a:gd name="T50" fmla="*/ 214 w 286"/>
                <a:gd name="T51" fmla="*/ 85 h 639"/>
                <a:gd name="T52" fmla="*/ 228 w 286"/>
                <a:gd name="T53" fmla="*/ 49 h 639"/>
                <a:gd name="T54" fmla="*/ 183 w 286"/>
                <a:gd name="T55" fmla="*/ 31 h 639"/>
                <a:gd name="T56" fmla="*/ 152 w 286"/>
                <a:gd name="T57" fmla="*/ 0 h 639"/>
                <a:gd name="T58" fmla="*/ 134 w 286"/>
                <a:gd name="T59" fmla="*/ 13 h 639"/>
                <a:gd name="T60" fmla="*/ 103 w 286"/>
                <a:gd name="T61" fmla="*/ 0 h 639"/>
                <a:gd name="T62" fmla="*/ 89 w 286"/>
                <a:gd name="T63" fmla="*/ 31 h 639"/>
                <a:gd name="T64" fmla="*/ 62 w 286"/>
                <a:gd name="T65" fmla="*/ 71 h 639"/>
                <a:gd name="T66" fmla="*/ 58 w 286"/>
                <a:gd name="T67" fmla="*/ 94 h 639"/>
                <a:gd name="T68" fmla="*/ 53 w 286"/>
                <a:gd name="T69" fmla="*/ 138 h 639"/>
                <a:gd name="T70" fmla="*/ 40 w 286"/>
                <a:gd name="T71" fmla="*/ 156 h 639"/>
                <a:gd name="T72" fmla="*/ 53 w 286"/>
                <a:gd name="T73" fmla="*/ 183 h 639"/>
                <a:gd name="T74" fmla="*/ 44 w 286"/>
                <a:gd name="T75" fmla="*/ 214 h 639"/>
                <a:gd name="T76" fmla="*/ 31 w 286"/>
                <a:gd name="T77" fmla="*/ 250 h 639"/>
                <a:gd name="T78" fmla="*/ 27 w 286"/>
                <a:gd name="T79" fmla="*/ 290 h 639"/>
                <a:gd name="T80" fmla="*/ 22 w 286"/>
                <a:gd name="T81" fmla="*/ 308 h 639"/>
                <a:gd name="T82" fmla="*/ 27 w 286"/>
                <a:gd name="T83" fmla="*/ 349 h 639"/>
                <a:gd name="T84" fmla="*/ 27 w 286"/>
                <a:gd name="T85" fmla="*/ 375 h 639"/>
                <a:gd name="T86" fmla="*/ 31 w 286"/>
                <a:gd name="T87" fmla="*/ 398 h 639"/>
                <a:gd name="T88" fmla="*/ 22 w 286"/>
                <a:gd name="T89" fmla="*/ 407 h 639"/>
                <a:gd name="T90" fmla="*/ 22 w 286"/>
                <a:gd name="T91" fmla="*/ 424 h 639"/>
                <a:gd name="T92" fmla="*/ 13 w 286"/>
                <a:gd name="T93" fmla="*/ 487 h 639"/>
                <a:gd name="T94" fmla="*/ 0 w 286"/>
                <a:gd name="T95" fmla="*/ 509 h 639"/>
                <a:gd name="T96" fmla="*/ 13 w 286"/>
                <a:gd name="T97" fmla="*/ 536 h 639"/>
                <a:gd name="T98" fmla="*/ 22 w 286"/>
                <a:gd name="T99" fmla="*/ 563 h 639"/>
                <a:gd name="T100" fmla="*/ 71 w 286"/>
                <a:gd name="T101" fmla="*/ 635 h 639"/>
                <a:gd name="T102" fmla="*/ 94 w 286"/>
                <a:gd name="T103" fmla="*/ 635 h 639"/>
                <a:gd name="T104" fmla="*/ 107 w 286"/>
                <a:gd name="T105" fmla="*/ 635 h 639"/>
                <a:gd name="T106" fmla="*/ 125 w 286"/>
                <a:gd name="T107" fmla="*/ 626 h 639"/>
                <a:gd name="T108" fmla="*/ 89 w 286"/>
                <a:gd name="T109" fmla="*/ 617 h 639"/>
                <a:gd name="T110" fmla="*/ 71 w 286"/>
                <a:gd name="T111" fmla="*/ 594 h 639"/>
                <a:gd name="T112" fmla="*/ 71 w 286"/>
                <a:gd name="T113" fmla="*/ 576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6" h="639">
                  <a:moveTo>
                    <a:pt x="62" y="567"/>
                  </a:moveTo>
                  <a:lnTo>
                    <a:pt x="76" y="576"/>
                  </a:lnTo>
                  <a:lnTo>
                    <a:pt x="67" y="541"/>
                  </a:lnTo>
                  <a:lnTo>
                    <a:pt x="67" y="532"/>
                  </a:lnTo>
                  <a:lnTo>
                    <a:pt x="76" y="523"/>
                  </a:lnTo>
                  <a:lnTo>
                    <a:pt x="80" y="523"/>
                  </a:lnTo>
                  <a:lnTo>
                    <a:pt x="89" y="505"/>
                  </a:lnTo>
                  <a:lnTo>
                    <a:pt x="85" y="500"/>
                  </a:lnTo>
                  <a:lnTo>
                    <a:pt x="111" y="478"/>
                  </a:lnTo>
                  <a:lnTo>
                    <a:pt x="116" y="456"/>
                  </a:lnTo>
                  <a:lnTo>
                    <a:pt x="103" y="451"/>
                  </a:lnTo>
                  <a:lnTo>
                    <a:pt x="89" y="438"/>
                  </a:lnTo>
                  <a:lnTo>
                    <a:pt x="94" y="424"/>
                  </a:lnTo>
                  <a:lnTo>
                    <a:pt x="103" y="411"/>
                  </a:lnTo>
                  <a:lnTo>
                    <a:pt x="120" y="411"/>
                  </a:lnTo>
                  <a:lnTo>
                    <a:pt x="125" y="375"/>
                  </a:lnTo>
                  <a:lnTo>
                    <a:pt x="134" y="366"/>
                  </a:lnTo>
                  <a:lnTo>
                    <a:pt x="129" y="362"/>
                  </a:lnTo>
                  <a:lnTo>
                    <a:pt x="138" y="366"/>
                  </a:lnTo>
                  <a:lnTo>
                    <a:pt x="143" y="362"/>
                  </a:lnTo>
                  <a:lnTo>
                    <a:pt x="143" y="353"/>
                  </a:lnTo>
                  <a:lnTo>
                    <a:pt x="134" y="353"/>
                  </a:lnTo>
                  <a:lnTo>
                    <a:pt x="125" y="349"/>
                  </a:lnTo>
                  <a:lnTo>
                    <a:pt x="125" y="326"/>
                  </a:lnTo>
                  <a:lnTo>
                    <a:pt x="147" y="335"/>
                  </a:lnTo>
                  <a:lnTo>
                    <a:pt x="165" y="331"/>
                  </a:lnTo>
                  <a:lnTo>
                    <a:pt x="161" y="313"/>
                  </a:lnTo>
                  <a:lnTo>
                    <a:pt x="170" y="290"/>
                  </a:lnTo>
                  <a:lnTo>
                    <a:pt x="210" y="286"/>
                  </a:lnTo>
                  <a:lnTo>
                    <a:pt x="228" y="277"/>
                  </a:lnTo>
                  <a:lnTo>
                    <a:pt x="241" y="255"/>
                  </a:lnTo>
                  <a:lnTo>
                    <a:pt x="241" y="241"/>
                  </a:lnTo>
                  <a:lnTo>
                    <a:pt x="237" y="246"/>
                  </a:lnTo>
                  <a:lnTo>
                    <a:pt x="232" y="237"/>
                  </a:lnTo>
                  <a:lnTo>
                    <a:pt x="237" y="228"/>
                  </a:lnTo>
                  <a:lnTo>
                    <a:pt x="219" y="214"/>
                  </a:lnTo>
                  <a:lnTo>
                    <a:pt x="214" y="206"/>
                  </a:lnTo>
                  <a:lnTo>
                    <a:pt x="219" y="188"/>
                  </a:lnTo>
                  <a:lnTo>
                    <a:pt x="223" y="183"/>
                  </a:lnTo>
                  <a:lnTo>
                    <a:pt x="219" y="165"/>
                  </a:lnTo>
                  <a:lnTo>
                    <a:pt x="228" y="138"/>
                  </a:lnTo>
                  <a:lnTo>
                    <a:pt x="232" y="134"/>
                  </a:lnTo>
                  <a:lnTo>
                    <a:pt x="232" y="130"/>
                  </a:lnTo>
                  <a:lnTo>
                    <a:pt x="268" y="94"/>
                  </a:lnTo>
                  <a:lnTo>
                    <a:pt x="286" y="80"/>
                  </a:lnTo>
                  <a:lnTo>
                    <a:pt x="286" y="58"/>
                  </a:lnTo>
                  <a:lnTo>
                    <a:pt x="277" y="58"/>
                  </a:lnTo>
                  <a:lnTo>
                    <a:pt x="272" y="76"/>
                  </a:lnTo>
                  <a:lnTo>
                    <a:pt x="259" y="89"/>
                  </a:lnTo>
                  <a:lnTo>
                    <a:pt x="241" y="89"/>
                  </a:lnTo>
                  <a:lnTo>
                    <a:pt x="228" y="85"/>
                  </a:lnTo>
                  <a:lnTo>
                    <a:pt x="214" y="85"/>
                  </a:lnTo>
                  <a:lnTo>
                    <a:pt x="228" y="58"/>
                  </a:lnTo>
                  <a:lnTo>
                    <a:pt x="228" y="49"/>
                  </a:lnTo>
                  <a:lnTo>
                    <a:pt x="192" y="31"/>
                  </a:lnTo>
                  <a:lnTo>
                    <a:pt x="183" y="31"/>
                  </a:lnTo>
                  <a:lnTo>
                    <a:pt x="156" y="4"/>
                  </a:lnTo>
                  <a:lnTo>
                    <a:pt x="152" y="0"/>
                  </a:lnTo>
                  <a:lnTo>
                    <a:pt x="138" y="0"/>
                  </a:lnTo>
                  <a:lnTo>
                    <a:pt x="134" y="13"/>
                  </a:lnTo>
                  <a:lnTo>
                    <a:pt x="125" y="4"/>
                  </a:lnTo>
                  <a:lnTo>
                    <a:pt x="103" y="0"/>
                  </a:lnTo>
                  <a:lnTo>
                    <a:pt x="89" y="13"/>
                  </a:lnTo>
                  <a:lnTo>
                    <a:pt x="89" y="31"/>
                  </a:lnTo>
                  <a:lnTo>
                    <a:pt x="67" y="45"/>
                  </a:lnTo>
                  <a:lnTo>
                    <a:pt x="62" y="71"/>
                  </a:lnTo>
                  <a:lnTo>
                    <a:pt x="67" y="80"/>
                  </a:lnTo>
                  <a:lnTo>
                    <a:pt x="58" y="94"/>
                  </a:lnTo>
                  <a:lnTo>
                    <a:pt x="49" y="121"/>
                  </a:lnTo>
                  <a:lnTo>
                    <a:pt x="53" y="138"/>
                  </a:lnTo>
                  <a:lnTo>
                    <a:pt x="44" y="143"/>
                  </a:lnTo>
                  <a:lnTo>
                    <a:pt x="40" y="156"/>
                  </a:lnTo>
                  <a:lnTo>
                    <a:pt x="49" y="183"/>
                  </a:lnTo>
                  <a:lnTo>
                    <a:pt x="53" y="183"/>
                  </a:lnTo>
                  <a:lnTo>
                    <a:pt x="53" y="201"/>
                  </a:lnTo>
                  <a:lnTo>
                    <a:pt x="44" y="214"/>
                  </a:lnTo>
                  <a:lnTo>
                    <a:pt x="40" y="237"/>
                  </a:lnTo>
                  <a:lnTo>
                    <a:pt x="31" y="250"/>
                  </a:lnTo>
                  <a:lnTo>
                    <a:pt x="36" y="286"/>
                  </a:lnTo>
                  <a:lnTo>
                    <a:pt x="27" y="290"/>
                  </a:lnTo>
                  <a:lnTo>
                    <a:pt x="27" y="304"/>
                  </a:lnTo>
                  <a:lnTo>
                    <a:pt x="22" y="308"/>
                  </a:lnTo>
                  <a:lnTo>
                    <a:pt x="22" y="326"/>
                  </a:lnTo>
                  <a:lnTo>
                    <a:pt x="27" y="349"/>
                  </a:lnTo>
                  <a:lnTo>
                    <a:pt x="22" y="362"/>
                  </a:lnTo>
                  <a:lnTo>
                    <a:pt x="27" y="375"/>
                  </a:lnTo>
                  <a:lnTo>
                    <a:pt x="22" y="398"/>
                  </a:lnTo>
                  <a:lnTo>
                    <a:pt x="31" y="398"/>
                  </a:lnTo>
                  <a:lnTo>
                    <a:pt x="31" y="407"/>
                  </a:lnTo>
                  <a:lnTo>
                    <a:pt x="22" y="407"/>
                  </a:lnTo>
                  <a:lnTo>
                    <a:pt x="31" y="416"/>
                  </a:lnTo>
                  <a:lnTo>
                    <a:pt x="22" y="424"/>
                  </a:lnTo>
                  <a:lnTo>
                    <a:pt x="22" y="442"/>
                  </a:lnTo>
                  <a:lnTo>
                    <a:pt x="13" y="487"/>
                  </a:lnTo>
                  <a:lnTo>
                    <a:pt x="9" y="492"/>
                  </a:lnTo>
                  <a:lnTo>
                    <a:pt x="0" y="509"/>
                  </a:lnTo>
                  <a:lnTo>
                    <a:pt x="4" y="536"/>
                  </a:lnTo>
                  <a:lnTo>
                    <a:pt x="13" y="536"/>
                  </a:lnTo>
                  <a:lnTo>
                    <a:pt x="13" y="554"/>
                  </a:lnTo>
                  <a:lnTo>
                    <a:pt x="22" y="563"/>
                  </a:lnTo>
                  <a:lnTo>
                    <a:pt x="62" y="567"/>
                  </a:lnTo>
                  <a:close/>
                  <a:moveTo>
                    <a:pt x="71" y="635"/>
                  </a:moveTo>
                  <a:lnTo>
                    <a:pt x="80" y="635"/>
                  </a:lnTo>
                  <a:lnTo>
                    <a:pt x="94" y="635"/>
                  </a:lnTo>
                  <a:lnTo>
                    <a:pt x="103" y="639"/>
                  </a:lnTo>
                  <a:lnTo>
                    <a:pt x="107" y="635"/>
                  </a:lnTo>
                  <a:lnTo>
                    <a:pt x="120" y="635"/>
                  </a:lnTo>
                  <a:lnTo>
                    <a:pt x="125" y="626"/>
                  </a:lnTo>
                  <a:lnTo>
                    <a:pt x="107" y="626"/>
                  </a:lnTo>
                  <a:lnTo>
                    <a:pt x="89" y="617"/>
                  </a:lnTo>
                  <a:lnTo>
                    <a:pt x="80" y="594"/>
                  </a:lnTo>
                  <a:lnTo>
                    <a:pt x="71" y="594"/>
                  </a:lnTo>
                  <a:lnTo>
                    <a:pt x="76" y="585"/>
                  </a:lnTo>
                  <a:lnTo>
                    <a:pt x="71" y="576"/>
                  </a:lnTo>
                  <a:lnTo>
                    <a:pt x="71" y="63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597" name="Freeform 5"/>
            <p:cNvSpPr>
              <a:spLocks noEditPoints="1"/>
            </p:cNvSpPr>
            <p:nvPr/>
          </p:nvSpPr>
          <p:spPr bwMode="gray">
            <a:xfrm>
              <a:off x="3207" y="2373"/>
              <a:ext cx="85" cy="98"/>
            </a:xfrm>
            <a:custGeom>
              <a:avLst/>
              <a:gdLst>
                <a:gd name="T0" fmla="*/ 4 w 85"/>
                <a:gd name="T1" fmla="*/ 4 h 98"/>
                <a:gd name="T2" fmla="*/ 0 w 85"/>
                <a:gd name="T3" fmla="*/ 9 h 98"/>
                <a:gd name="T4" fmla="*/ 9 w 85"/>
                <a:gd name="T5" fmla="*/ 9 h 98"/>
                <a:gd name="T6" fmla="*/ 13 w 85"/>
                <a:gd name="T7" fmla="*/ 9 h 98"/>
                <a:gd name="T8" fmla="*/ 13 w 85"/>
                <a:gd name="T9" fmla="*/ 4 h 98"/>
                <a:gd name="T10" fmla="*/ 4 w 85"/>
                <a:gd name="T11" fmla="*/ 4 h 98"/>
                <a:gd name="T12" fmla="*/ 9 w 85"/>
                <a:gd name="T13" fmla="*/ 26 h 98"/>
                <a:gd name="T14" fmla="*/ 4 w 85"/>
                <a:gd name="T15" fmla="*/ 40 h 98"/>
                <a:gd name="T16" fmla="*/ 13 w 85"/>
                <a:gd name="T17" fmla="*/ 40 h 98"/>
                <a:gd name="T18" fmla="*/ 13 w 85"/>
                <a:gd name="T19" fmla="*/ 40 h 98"/>
                <a:gd name="T20" fmla="*/ 9 w 85"/>
                <a:gd name="T21" fmla="*/ 26 h 98"/>
                <a:gd name="T22" fmla="*/ 9 w 85"/>
                <a:gd name="T23" fmla="*/ 26 h 98"/>
                <a:gd name="T24" fmla="*/ 18 w 85"/>
                <a:gd name="T25" fmla="*/ 26 h 98"/>
                <a:gd name="T26" fmla="*/ 18 w 85"/>
                <a:gd name="T27" fmla="*/ 35 h 98"/>
                <a:gd name="T28" fmla="*/ 22 w 85"/>
                <a:gd name="T29" fmla="*/ 31 h 98"/>
                <a:gd name="T30" fmla="*/ 22 w 85"/>
                <a:gd name="T31" fmla="*/ 31 h 98"/>
                <a:gd name="T32" fmla="*/ 22 w 85"/>
                <a:gd name="T33" fmla="*/ 26 h 98"/>
                <a:gd name="T34" fmla="*/ 18 w 85"/>
                <a:gd name="T35" fmla="*/ 26 h 98"/>
                <a:gd name="T36" fmla="*/ 18 w 85"/>
                <a:gd name="T37" fmla="*/ 0 h 98"/>
                <a:gd name="T38" fmla="*/ 22 w 85"/>
                <a:gd name="T39" fmla="*/ 9 h 98"/>
                <a:gd name="T40" fmla="*/ 22 w 85"/>
                <a:gd name="T41" fmla="*/ 13 h 98"/>
                <a:gd name="T42" fmla="*/ 22 w 85"/>
                <a:gd name="T43" fmla="*/ 17 h 98"/>
                <a:gd name="T44" fmla="*/ 27 w 85"/>
                <a:gd name="T45" fmla="*/ 9 h 98"/>
                <a:gd name="T46" fmla="*/ 22 w 85"/>
                <a:gd name="T47" fmla="*/ 4 h 98"/>
                <a:gd name="T48" fmla="*/ 18 w 85"/>
                <a:gd name="T49" fmla="*/ 0 h 98"/>
                <a:gd name="T50" fmla="*/ 18 w 85"/>
                <a:gd name="T51" fmla="*/ 53 h 98"/>
                <a:gd name="T52" fmla="*/ 18 w 85"/>
                <a:gd name="T53" fmla="*/ 44 h 98"/>
                <a:gd name="T54" fmla="*/ 13 w 85"/>
                <a:gd name="T55" fmla="*/ 44 h 98"/>
                <a:gd name="T56" fmla="*/ 13 w 85"/>
                <a:gd name="T57" fmla="*/ 53 h 98"/>
                <a:gd name="T58" fmla="*/ 18 w 85"/>
                <a:gd name="T59" fmla="*/ 53 h 98"/>
                <a:gd name="T60" fmla="*/ 31 w 85"/>
                <a:gd name="T61" fmla="*/ 22 h 98"/>
                <a:gd name="T62" fmla="*/ 27 w 85"/>
                <a:gd name="T63" fmla="*/ 22 h 98"/>
                <a:gd name="T64" fmla="*/ 31 w 85"/>
                <a:gd name="T65" fmla="*/ 26 h 98"/>
                <a:gd name="T66" fmla="*/ 36 w 85"/>
                <a:gd name="T67" fmla="*/ 31 h 98"/>
                <a:gd name="T68" fmla="*/ 36 w 85"/>
                <a:gd name="T69" fmla="*/ 35 h 98"/>
                <a:gd name="T70" fmla="*/ 40 w 85"/>
                <a:gd name="T71" fmla="*/ 26 h 98"/>
                <a:gd name="T72" fmla="*/ 31 w 85"/>
                <a:gd name="T73" fmla="*/ 22 h 98"/>
                <a:gd name="T74" fmla="*/ 45 w 85"/>
                <a:gd name="T75" fmla="*/ 35 h 98"/>
                <a:gd name="T76" fmla="*/ 49 w 85"/>
                <a:gd name="T77" fmla="*/ 44 h 98"/>
                <a:gd name="T78" fmla="*/ 45 w 85"/>
                <a:gd name="T79" fmla="*/ 49 h 98"/>
                <a:gd name="T80" fmla="*/ 53 w 85"/>
                <a:gd name="T81" fmla="*/ 49 h 98"/>
                <a:gd name="T82" fmla="*/ 49 w 85"/>
                <a:gd name="T83" fmla="*/ 44 h 98"/>
                <a:gd name="T84" fmla="*/ 45 w 85"/>
                <a:gd name="T85" fmla="*/ 35 h 98"/>
                <a:gd name="T86" fmla="*/ 49 w 85"/>
                <a:gd name="T87" fmla="*/ 53 h 98"/>
                <a:gd name="T88" fmla="*/ 49 w 85"/>
                <a:gd name="T89" fmla="*/ 53 h 98"/>
                <a:gd name="T90" fmla="*/ 49 w 85"/>
                <a:gd name="T91" fmla="*/ 62 h 98"/>
                <a:gd name="T92" fmla="*/ 58 w 85"/>
                <a:gd name="T93" fmla="*/ 67 h 98"/>
                <a:gd name="T94" fmla="*/ 53 w 85"/>
                <a:gd name="T95" fmla="*/ 58 h 98"/>
                <a:gd name="T96" fmla="*/ 49 w 85"/>
                <a:gd name="T97" fmla="*/ 53 h 98"/>
                <a:gd name="T98" fmla="*/ 62 w 85"/>
                <a:gd name="T99" fmla="*/ 62 h 98"/>
                <a:gd name="T100" fmla="*/ 62 w 85"/>
                <a:gd name="T101" fmla="*/ 67 h 98"/>
                <a:gd name="T102" fmla="*/ 67 w 85"/>
                <a:gd name="T103" fmla="*/ 67 h 98"/>
                <a:gd name="T104" fmla="*/ 67 w 85"/>
                <a:gd name="T105" fmla="*/ 71 h 98"/>
                <a:gd name="T106" fmla="*/ 67 w 85"/>
                <a:gd name="T107" fmla="*/ 80 h 98"/>
                <a:gd name="T108" fmla="*/ 71 w 85"/>
                <a:gd name="T109" fmla="*/ 71 h 98"/>
                <a:gd name="T110" fmla="*/ 71 w 85"/>
                <a:gd name="T111" fmla="*/ 67 h 98"/>
                <a:gd name="T112" fmla="*/ 67 w 85"/>
                <a:gd name="T113" fmla="*/ 67 h 98"/>
                <a:gd name="T114" fmla="*/ 62 w 85"/>
                <a:gd name="T115" fmla="*/ 62 h 98"/>
                <a:gd name="T116" fmla="*/ 71 w 85"/>
                <a:gd name="T117" fmla="*/ 93 h 98"/>
                <a:gd name="T118" fmla="*/ 80 w 85"/>
                <a:gd name="T119" fmla="*/ 98 h 98"/>
                <a:gd name="T120" fmla="*/ 85 w 85"/>
                <a:gd name="T121" fmla="*/ 89 h 98"/>
                <a:gd name="T122" fmla="*/ 76 w 85"/>
                <a:gd name="T123" fmla="*/ 89 h 98"/>
                <a:gd name="T124" fmla="*/ 71 w 85"/>
                <a:gd name="T125" fmla="*/ 93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" h="98">
                  <a:moveTo>
                    <a:pt x="4" y="4"/>
                  </a:moveTo>
                  <a:lnTo>
                    <a:pt x="0" y="9"/>
                  </a:lnTo>
                  <a:lnTo>
                    <a:pt x="9" y="9"/>
                  </a:lnTo>
                  <a:lnTo>
                    <a:pt x="13" y="9"/>
                  </a:lnTo>
                  <a:lnTo>
                    <a:pt x="13" y="4"/>
                  </a:lnTo>
                  <a:lnTo>
                    <a:pt x="4" y="4"/>
                  </a:lnTo>
                  <a:close/>
                  <a:moveTo>
                    <a:pt x="9" y="26"/>
                  </a:moveTo>
                  <a:lnTo>
                    <a:pt x="4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9" y="26"/>
                  </a:lnTo>
                  <a:lnTo>
                    <a:pt x="9" y="26"/>
                  </a:lnTo>
                  <a:close/>
                  <a:moveTo>
                    <a:pt x="18" y="26"/>
                  </a:moveTo>
                  <a:lnTo>
                    <a:pt x="18" y="35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18" y="26"/>
                  </a:lnTo>
                  <a:close/>
                  <a:moveTo>
                    <a:pt x="18" y="0"/>
                  </a:moveTo>
                  <a:lnTo>
                    <a:pt x="22" y="9"/>
                  </a:lnTo>
                  <a:lnTo>
                    <a:pt x="22" y="13"/>
                  </a:lnTo>
                  <a:lnTo>
                    <a:pt x="22" y="17"/>
                  </a:lnTo>
                  <a:lnTo>
                    <a:pt x="27" y="9"/>
                  </a:lnTo>
                  <a:lnTo>
                    <a:pt x="22" y="4"/>
                  </a:lnTo>
                  <a:lnTo>
                    <a:pt x="18" y="0"/>
                  </a:lnTo>
                  <a:close/>
                  <a:moveTo>
                    <a:pt x="18" y="53"/>
                  </a:moveTo>
                  <a:lnTo>
                    <a:pt x="18" y="44"/>
                  </a:lnTo>
                  <a:lnTo>
                    <a:pt x="13" y="44"/>
                  </a:lnTo>
                  <a:lnTo>
                    <a:pt x="13" y="53"/>
                  </a:lnTo>
                  <a:lnTo>
                    <a:pt x="18" y="53"/>
                  </a:lnTo>
                  <a:close/>
                  <a:moveTo>
                    <a:pt x="31" y="22"/>
                  </a:moveTo>
                  <a:lnTo>
                    <a:pt x="27" y="22"/>
                  </a:lnTo>
                  <a:lnTo>
                    <a:pt x="31" y="26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40" y="26"/>
                  </a:lnTo>
                  <a:lnTo>
                    <a:pt x="31" y="22"/>
                  </a:lnTo>
                  <a:close/>
                  <a:moveTo>
                    <a:pt x="45" y="35"/>
                  </a:moveTo>
                  <a:lnTo>
                    <a:pt x="49" y="44"/>
                  </a:lnTo>
                  <a:lnTo>
                    <a:pt x="45" y="49"/>
                  </a:lnTo>
                  <a:lnTo>
                    <a:pt x="53" y="49"/>
                  </a:lnTo>
                  <a:lnTo>
                    <a:pt x="49" y="44"/>
                  </a:lnTo>
                  <a:lnTo>
                    <a:pt x="45" y="35"/>
                  </a:lnTo>
                  <a:close/>
                  <a:moveTo>
                    <a:pt x="49" y="53"/>
                  </a:moveTo>
                  <a:lnTo>
                    <a:pt x="49" y="53"/>
                  </a:lnTo>
                  <a:lnTo>
                    <a:pt x="49" y="62"/>
                  </a:lnTo>
                  <a:lnTo>
                    <a:pt x="58" y="67"/>
                  </a:lnTo>
                  <a:lnTo>
                    <a:pt x="53" y="58"/>
                  </a:lnTo>
                  <a:lnTo>
                    <a:pt x="49" y="53"/>
                  </a:lnTo>
                  <a:close/>
                  <a:moveTo>
                    <a:pt x="62" y="62"/>
                  </a:moveTo>
                  <a:lnTo>
                    <a:pt x="62" y="67"/>
                  </a:lnTo>
                  <a:lnTo>
                    <a:pt x="67" y="67"/>
                  </a:lnTo>
                  <a:lnTo>
                    <a:pt x="67" y="71"/>
                  </a:lnTo>
                  <a:lnTo>
                    <a:pt x="67" y="80"/>
                  </a:lnTo>
                  <a:lnTo>
                    <a:pt x="71" y="71"/>
                  </a:lnTo>
                  <a:lnTo>
                    <a:pt x="71" y="67"/>
                  </a:lnTo>
                  <a:lnTo>
                    <a:pt x="67" y="67"/>
                  </a:lnTo>
                  <a:lnTo>
                    <a:pt x="62" y="62"/>
                  </a:lnTo>
                  <a:close/>
                  <a:moveTo>
                    <a:pt x="71" y="93"/>
                  </a:moveTo>
                  <a:lnTo>
                    <a:pt x="80" y="98"/>
                  </a:lnTo>
                  <a:lnTo>
                    <a:pt x="85" y="89"/>
                  </a:lnTo>
                  <a:lnTo>
                    <a:pt x="76" y="89"/>
                  </a:lnTo>
                  <a:lnTo>
                    <a:pt x="71" y="9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598" name="Freeform 6"/>
            <p:cNvSpPr>
              <a:spLocks/>
            </p:cNvSpPr>
            <p:nvPr/>
          </p:nvSpPr>
          <p:spPr bwMode="gray">
            <a:xfrm>
              <a:off x="3484" y="2583"/>
              <a:ext cx="4" cy="9"/>
            </a:xfrm>
            <a:custGeom>
              <a:avLst/>
              <a:gdLst>
                <a:gd name="T0" fmla="*/ 0 w 4"/>
                <a:gd name="T1" fmla="*/ 0 h 9"/>
                <a:gd name="T2" fmla="*/ 0 w 4"/>
                <a:gd name="T3" fmla="*/ 4 h 9"/>
                <a:gd name="T4" fmla="*/ 0 w 4"/>
                <a:gd name="T5" fmla="*/ 9 h 9"/>
                <a:gd name="T6" fmla="*/ 4 w 4"/>
                <a:gd name="T7" fmla="*/ 4 h 9"/>
                <a:gd name="T8" fmla="*/ 0 w 4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9">
                  <a:moveTo>
                    <a:pt x="0" y="0"/>
                  </a:moveTo>
                  <a:lnTo>
                    <a:pt x="0" y="4"/>
                  </a:lnTo>
                  <a:lnTo>
                    <a:pt x="0" y="9"/>
                  </a:lnTo>
                  <a:lnTo>
                    <a:pt x="4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599" name="Freeform 7"/>
            <p:cNvSpPr>
              <a:spLocks/>
            </p:cNvSpPr>
            <p:nvPr/>
          </p:nvSpPr>
          <p:spPr bwMode="gray">
            <a:xfrm>
              <a:off x="3341" y="2922"/>
              <a:ext cx="170" cy="201"/>
            </a:xfrm>
            <a:custGeom>
              <a:avLst/>
              <a:gdLst>
                <a:gd name="T0" fmla="*/ 0 w 170"/>
                <a:gd name="T1" fmla="*/ 121 h 201"/>
                <a:gd name="T2" fmla="*/ 4 w 170"/>
                <a:gd name="T3" fmla="*/ 130 h 201"/>
                <a:gd name="T4" fmla="*/ 9 w 170"/>
                <a:gd name="T5" fmla="*/ 143 h 201"/>
                <a:gd name="T6" fmla="*/ 9 w 170"/>
                <a:gd name="T7" fmla="*/ 161 h 201"/>
                <a:gd name="T8" fmla="*/ 22 w 170"/>
                <a:gd name="T9" fmla="*/ 197 h 201"/>
                <a:gd name="T10" fmla="*/ 31 w 170"/>
                <a:gd name="T11" fmla="*/ 201 h 201"/>
                <a:gd name="T12" fmla="*/ 45 w 170"/>
                <a:gd name="T13" fmla="*/ 188 h 201"/>
                <a:gd name="T14" fmla="*/ 67 w 170"/>
                <a:gd name="T15" fmla="*/ 192 h 201"/>
                <a:gd name="T16" fmla="*/ 76 w 170"/>
                <a:gd name="T17" fmla="*/ 201 h 201"/>
                <a:gd name="T18" fmla="*/ 80 w 170"/>
                <a:gd name="T19" fmla="*/ 188 h 201"/>
                <a:gd name="T20" fmla="*/ 94 w 170"/>
                <a:gd name="T21" fmla="*/ 188 h 201"/>
                <a:gd name="T22" fmla="*/ 98 w 170"/>
                <a:gd name="T23" fmla="*/ 192 h 201"/>
                <a:gd name="T24" fmla="*/ 103 w 170"/>
                <a:gd name="T25" fmla="*/ 179 h 201"/>
                <a:gd name="T26" fmla="*/ 103 w 170"/>
                <a:gd name="T27" fmla="*/ 166 h 201"/>
                <a:gd name="T28" fmla="*/ 112 w 170"/>
                <a:gd name="T29" fmla="*/ 157 h 201"/>
                <a:gd name="T30" fmla="*/ 147 w 170"/>
                <a:gd name="T31" fmla="*/ 148 h 201"/>
                <a:gd name="T32" fmla="*/ 161 w 170"/>
                <a:gd name="T33" fmla="*/ 152 h 201"/>
                <a:gd name="T34" fmla="*/ 165 w 170"/>
                <a:gd name="T35" fmla="*/ 166 h 201"/>
                <a:gd name="T36" fmla="*/ 170 w 170"/>
                <a:gd name="T37" fmla="*/ 161 h 201"/>
                <a:gd name="T38" fmla="*/ 170 w 170"/>
                <a:gd name="T39" fmla="*/ 157 h 201"/>
                <a:gd name="T40" fmla="*/ 165 w 170"/>
                <a:gd name="T41" fmla="*/ 152 h 201"/>
                <a:gd name="T42" fmla="*/ 170 w 170"/>
                <a:gd name="T43" fmla="*/ 125 h 201"/>
                <a:gd name="T44" fmla="*/ 170 w 170"/>
                <a:gd name="T45" fmla="*/ 116 h 201"/>
                <a:gd name="T46" fmla="*/ 156 w 170"/>
                <a:gd name="T47" fmla="*/ 116 h 201"/>
                <a:gd name="T48" fmla="*/ 161 w 170"/>
                <a:gd name="T49" fmla="*/ 99 h 201"/>
                <a:gd name="T50" fmla="*/ 134 w 170"/>
                <a:gd name="T51" fmla="*/ 99 h 201"/>
                <a:gd name="T52" fmla="*/ 129 w 170"/>
                <a:gd name="T53" fmla="*/ 85 h 201"/>
                <a:gd name="T54" fmla="*/ 134 w 170"/>
                <a:gd name="T55" fmla="*/ 67 h 201"/>
                <a:gd name="T56" fmla="*/ 129 w 170"/>
                <a:gd name="T57" fmla="*/ 58 h 201"/>
                <a:gd name="T58" fmla="*/ 116 w 170"/>
                <a:gd name="T59" fmla="*/ 58 h 201"/>
                <a:gd name="T60" fmla="*/ 80 w 170"/>
                <a:gd name="T61" fmla="*/ 40 h 201"/>
                <a:gd name="T62" fmla="*/ 62 w 170"/>
                <a:gd name="T63" fmla="*/ 32 h 201"/>
                <a:gd name="T64" fmla="*/ 62 w 170"/>
                <a:gd name="T65" fmla="*/ 0 h 201"/>
                <a:gd name="T66" fmla="*/ 40 w 170"/>
                <a:gd name="T67" fmla="*/ 5 h 201"/>
                <a:gd name="T68" fmla="*/ 13 w 170"/>
                <a:gd name="T69" fmla="*/ 23 h 201"/>
                <a:gd name="T70" fmla="*/ 0 w 170"/>
                <a:gd name="T71" fmla="*/ 23 h 201"/>
                <a:gd name="T72" fmla="*/ 9 w 170"/>
                <a:gd name="T73" fmla="*/ 40 h 201"/>
                <a:gd name="T74" fmla="*/ 4 w 170"/>
                <a:gd name="T75" fmla="*/ 49 h 201"/>
                <a:gd name="T76" fmla="*/ 4 w 170"/>
                <a:gd name="T77" fmla="*/ 72 h 201"/>
                <a:gd name="T78" fmla="*/ 0 w 170"/>
                <a:gd name="T79" fmla="*/ 94 h 201"/>
                <a:gd name="T80" fmla="*/ 4 w 170"/>
                <a:gd name="T81" fmla="*/ 99 h 201"/>
                <a:gd name="T82" fmla="*/ 0 w 170"/>
                <a:gd name="T83" fmla="*/ 112 h 201"/>
                <a:gd name="T84" fmla="*/ 0 w 170"/>
                <a:gd name="T85" fmla="*/ 12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0" h="201">
                  <a:moveTo>
                    <a:pt x="0" y="121"/>
                  </a:moveTo>
                  <a:lnTo>
                    <a:pt x="4" y="130"/>
                  </a:lnTo>
                  <a:lnTo>
                    <a:pt x="9" y="143"/>
                  </a:lnTo>
                  <a:lnTo>
                    <a:pt x="9" y="161"/>
                  </a:lnTo>
                  <a:lnTo>
                    <a:pt x="22" y="197"/>
                  </a:lnTo>
                  <a:lnTo>
                    <a:pt x="31" y="201"/>
                  </a:lnTo>
                  <a:lnTo>
                    <a:pt x="45" y="188"/>
                  </a:lnTo>
                  <a:lnTo>
                    <a:pt x="67" y="192"/>
                  </a:lnTo>
                  <a:lnTo>
                    <a:pt x="76" y="201"/>
                  </a:lnTo>
                  <a:lnTo>
                    <a:pt x="80" y="188"/>
                  </a:lnTo>
                  <a:lnTo>
                    <a:pt x="94" y="188"/>
                  </a:lnTo>
                  <a:lnTo>
                    <a:pt x="98" y="192"/>
                  </a:lnTo>
                  <a:lnTo>
                    <a:pt x="103" y="179"/>
                  </a:lnTo>
                  <a:lnTo>
                    <a:pt x="103" y="166"/>
                  </a:lnTo>
                  <a:lnTo>
                    <a:pt x="112" y="157"/>
                  </a:lnTo>
                  <a:lnTo>
                    <a:pt x="147" y="148"/>
                  </a:lnTo>
                  <a:lnTo>
                    <a:pt x="161" y="152"/>
                  </a:lnTo>
                  <a:lnTo>
                    <a:pt x="165" y="166"/>
                  </a:lnTo>
                  <a:lnTo>
                    <a:pt x="170" y="161"/>
                  </a:lnTo>
                  <a:lnTo>
                    <a:pt x="170" y="157"/>
                  </a:lnTo>
                  <a:lnTo>
                    <a:pt x="165" y="152"/>
                  </a:lnTo>
                  <a:lnTo>
                    <a:pt x="170" y="125"/>
                  </a:lnTo>
                  <a:lnTo>
                    <a:pt x="170" y="116"/>
                  </a:lnTo>
                  <a:lnTo>
                    <a:pt x="156" y="116"/>
                  </a:lnTo>
                  <a:lnTo>
                    <a:pt x="161" y="99"/>
                  </a:lnTo>
                  <a:lnTo>
                    <a:pt x="134" y="99"/>
                  </a:lnTo>
                  <a:lnTo>
                    <a:pt x="129" y="85"/>
                  </a:lnTo>
                  <a:lnTo>
                    <a:pt x="134" y="67"/>
                  </a:lnTo>
                  <a:lnTo>
                    <a:pt x="129" y="58"/>
                  </a:lnTo>
                  <a:lnTo>
                    <a:pt x="116" y="58"/>
                  </a:lnTo>
                  <a:lnTo>
                    <a:pt x="80" y="40"/>
                  </a:lnTo>
                  <a:lnTo>
                    <a:pt x="62" y="32"/>
                  </a:lnTo>
                  <a:lnTo>
                    <a:pt x="62" y="0"/>
                  </a:lnTo>
                  <a:lnTo>
                    <a:pt x="40" y="5"/>
                  </a:lnTo>
                  <a:lnTo>
                    <a:pt x="13" y="23"/>
                  </a:lnTo>
                  <a:lnTo>
                    <a:pt x="0" y="23"/>
                  </a:lnTo>
                  <a:lnTo>
                    <a:pt x="9" y="40"/>
                  </a:lnTo>
                  <a:lnTo>
                    <a:pt x="4" y="49"/>
                  </a:lnTo>
                  <a:lnTo>
                    <a:pt x="4" y="72"/>
                  </a:lnTo>
                  <a:lnTo>
                    <a:pt x="0" y="94"/>
                  </a:lnTo>
                  <a:lnTo>
                    <a:pt x="4" y="99"/>
                  </a:lnTo>
                  <a:lnTo>
                    <a:pt x="0" y="112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00" name="Freeform 8"/>
            <p:cNvSpPr>
              <a:spLocks/>
            </p:cNvSpPr>
            <p:nvPr/>
          </p:nvSpPr>
          <p:spPr bwMode="gray">
            <a:xfrm>
              <a:off x="3274" y="2703"/>
              <a:ext cx="567" cy="608"/>
            </a:xfrm>
            <a:custGeom>
              <a:avLst/>
              <a:gdLst>
                <a:gd name="T0" fmla="*/ 45 w 567"/>
                <a:gd name="T1" fmla="*/ 143 h 608"/>
                <a:gd name="T2" fmla="*/ 13 w 567"/>
                <a:gd name="T3" fmla="*/ 170 h 608"/>
                <a:gd name="T4" fmla="*/ 9 w 567"/>
                <a:gd name="T5" fmla="*/ 219 h 608"/>
                <a:gd name="T6" fmla="*/ 49 w 567"/>
                <a:gd name="T7" fmla="*/ 215 h 608"/>
                <a:gd name="T8" fmla="*/ 80 w 567"/>
                <a:gd name="T9" fmla="*/ 242 h 608"/>
                <a:gd name="T10" fmla="*/ 129 w 567"/>
                <a:gd name="T11" fmla="*/ 251 h 608"/>
                <a:gd name="T12" fmla="*/ 196 w 567"/>
                <a:gd name="T13" fmla="*/ 277 h 608"/>
                <a:gd name="T14" fmla="*/ 201 w 567"/>
                <a:gd name="T15" fmla="*/ 318 h 608"/>
                <a:gd name="T16" fmla="*/ 237 w 567"/>
                <a:gd name="T17" fmla="*/ 335 h 608"/>
                <a:gd name="T18" fmla="*/ 237 w 567"/>
                <a:gd name="T19" fmla="*/ 376 h 608"/>
                <a:gd name="T20" fmla="*/ 232 w 567"/>
                <a:gd name="T21" fmla="*/ 411 h 608"/>
                <a:gd name="T22" fmla="*/ 268 w 567"/>
                <a:gd name="T23" fmla="*/ 416 h 608"/>
                <a:gd name="T24" fmla="*/ 286 w 567"/>
                <a:gd name="T25" fmla="*/ 443 h 608"/>
                <a:gd name="T26" fmla="*/ 295 w 567"/>
                <a:gd name="T27" fmla="*/ 465 h 608"/>
                <a:gd name="T28" fmla="*/ 241 w 567"/>
                <a:gd name="T29" fmla="*/ 537 h 608"/>
                <a:gd name="T30" fmla="*/ 259 w 567"/>
                <a:gd name="T31" fmla="*/ 554 h 608"/>
                <a:gd name="T32" fmla="*/ 290 w 567"/>
                <a:gd name="T33" fmla="*/ 568 h 608"/>
                <a:gd name="T34" fmla="*/ 295 w 567"/>
                <a:gd name="T35" fmla="*/ 608 h 608"/>
                <a:gd name="T36" fmla="*/ 362 w 567"/>
                <a:gd name="T37" fmla="*/ 514 h 608"/>
                <a:gd name="T38" fmla="*/ 366 w 567"/>
                <a:gd name="T39" fmla="*/ 461 h 608"/>
                <a:gd name="T40" fmla="*/ 415 w 567"/>
                <a:gd name="T41" fmla="*/ 443 h 608"/>
                <a:gd name="T42" fmla="*/ 464 w 567"/>
                <a:gd name="T43" fmla="*/ 420 h 608"/>
                <a:gd name="T44" fmla="*/ 496 w 567"/>
                <a:gd name="T45" fmla="*/ 367 h 608"/>
                <a:gd name="T46" fmla="*/ 505 w 567"/>
                <a:gd name="T47" fmla="*/ 277 h 608"/>
                <a:gd name="T48" fmla="*/ 531 w 567"/>
                <a:gd name="T49" fmla="*/ 237 h 608"/>
                <a:gd name="T50" fmla="*/ 567 w 567"/>
                <a:gd name="T51" fmla="*/ 184 h 608"/>
                <a:gd name="T52" fmla="*/ 527 w 567"/>
                <a:gd name="T53" fmla="*/ 143 h 608"/>
                <a:gd name="T54" fmla="*/ 487 w 567"/>
                <a:gd name="T55" fmla="*/ 116 h 608"/>
                <a:gd name="T56" fmla="*/ 424 w 567"/>
                <a:gd name="T57" fmla="*/ 116 h 608"/>
                <a:gd name="T58" fmla="*/ 411 w 567"/>
                <a:gd name="T59" fmla="*/ 103 h 608"/>
                <a:gd name="T60" fmla="*/ 357 w 567"/>
                <a:gd name="T61" fmla="*/ 103 h 608"/>
                <a:gd name="T62" fmla="*/ 357 w 567"/>
                <a:gd name="T63" fmla="*/ 94 h 608"/>
                <a:gd name="T64" fmla="*/ 335 w 567"/>
                <a:gd name="T65" fmla="*/ 76 h 608"/>
                <a:gd name="T66" fmla="*/ 348 w 567"/>
                <a:gd name="T67" fmla="*/ 49 h 608"/>
                <a:gd name="T68" fmla="*/ 321 w 567"/>
                <a:gd name="T69" fmla="*/ 14 h 608"/>
                <a:gd name="T70" fmla="*/ 299 w 567"/>
                <a:gd name="T71" fmla="*/ 49 h 608"/>
                <a:gd name="T72" fmla="*/ 259 w 567"/>
                <a:gd name="T73" fmla="*/ 41 h 608"/>
                <a:gd name="T74" fmla="*/ 228 w 567"/>
                <a:gd name="T75" fmla="*/ 54 h 608"/>
                <a:gd name="T76" fmla="*/ 201 w 567"/>
                <a:gd name="T77" fmla="*/ 45 h 608"/>
                <a:gd name="T78" fmla="*/ 201 w 567"/>
                <a:gd name="T79" fmla="*/ 14 h 608"/>
                <a:gd name="T80" fmla="*/ 192 w 567"/>
                <a:gd name="T81" fmla="*/ 14 h 608"/>
                <a:gd name="T82" fmla="*/ 134 w 567"/>
                <a:gd name="T83" fmla="*/ 9 h 608"/>
                <a:gd name="T84" fmla="*/ 138 w 567"/>
                <a:gd name="T85" fmla="*/ 41 h 608"/>
                <a:gd name="T86" fmla="*/ 134 w 567"/>
                <a:gd name="T87" fmla="*/ 54 h 608"/>
                <a:gd name="T88" fmla="*/ 94 w 567"/>
                <a:gd name="T89" fmla="*/ 58 h 608"/>
                <a:gd name="T90" fmla="*/ 62 w 567"/>
                <a:gd name="T91" fmla="*/ 54 h 608"/>
                <a:gd name="T92" fmla="*/ 67 w 567"/>
                <a:gd name="T93" fmla="*/ 76 h 608"/>
                <a:gd name="T94" fmla="*/ 67 w 567"/>
                <a:gd name="T95" fmla="*/ 85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67" h="608">
                  <a:moveTo>
                    <a:pt x="53" y="139"/>
                  </a:moveTo>
                  <a:lnTo>
                    <a:pt x="58" y="143"/>
                  </a:lnTo>
                  <a:lnTo>
                    <a:pt x="45" y="143"/>
                  </a:lnTo>
                  <a:lnTo>
                    <a:pt x="27" y="148"/>
                  </a:lnTo>
                  <a:lnTo>
                    <a:pt x="18" y="157"/>
                  </a:lnTo>
                  <a:lnTo>
                    <a:pt x="13" y="170"/>
                  </a:lnTo>
                  <a:lnTo>
                    <a:pt x="0" y="188"/>
                  </a:lnTo>
                  <a:lnTo>
                    <a:pt x="9" y="206"/>
                  </a:lnTo>
                  <a:lnTo>
                    <a:pt x="9" y="219"/>
                  </a:lnTo>
                  <a:lnTo>
                    <a:pt x="22" y="219"/>
                  </a:lnTo>
                  <a:lnTo>
                    <a:pt x="27" y="228"/>
                  </a:lnTo>
                  <a:lnTo>
                    <a:pt x="49" y="215"/>
                  </a:lnTo>
                  <a:lnTo>
                    <a:pt x="49" y="242"/>
                  </a:lnTo>
                  <a:lnTo>
                    <a:pt x="67" y="242"/>
                  </a:lnTo>
                  <a:lnTo>
                    <a:pt x="80" y="242"/>
                  </a:lnTo>
                  <a:lnTo>
                    <a:pt x="107" y="224"/>
                  </a:lnTo>
                  <a:lnTo>
                    <a:pt x="129" y="219"/>
                  </a:lnTo>
                  <a:lnTo>
                    <a:pt x="129" y="251"/>
                  </a:lnTo>
                  <a:lnTo>
                    <a:pt x="147" y="259"/>
                  </a:lnTo>
                  <a:lnTo>
                    <a:pt x="183" y="277"/>
                  </a:lnTo>
                  <a:lnTo>
                    <a:pt x="196" y="277"/>
                  </a:lnTo>
                  <a:lnTo>
                    <a:pt x="201" y="286"/>
                  </a:lnTo>
                  <a:lnTo>
                    <a:pt x="196" y="304"/>
                  </a:lnTo>
                  <a:lnTo>
                    <a:pt x="201" y="318"/>
                  </a:lnTo>
                  <a:lnTo>
                    <a:pt x="228" y="318"/>
                  </a:lnTo>
                  <a:lnTo>
                    <a:pt x="223" y="335"/>
                  </a:lnTo>
                  <a:lnTo>
                    <a:pt x="237" y="335"/>
                  </a:lnTo>
                  <a:lnTo>
                    <a:pt x="237" y="344"/>
                  </a:lnTo>
                  <a:lnTo>
                    <a:pt x="232" y="371"/>
                  </a:lnTo>
                  <a:lnTo>
                    <a:pt x="237" y="376"/>
                  </a:lnTo>
                  <a:lnTo>
                    <a:pt x="237" y="380"/>
                  </a:lnTo>
                  <a:lnTo>
                    <a:pt x="237" y="394"/>
                  </a:lnTo>
                  <a:lnTo>
                    <a:pt x="232" y="411"/>
                  </a:lnTo>
                  <a:lnTo>
                    <a:pt x="246" y="411"/>
                  </a:lnTo>
                  <a:lnTo>
                    <a:pt x="259" y="407"/>
                  </a:lnTo>
                  <a:lnTo>
                    <a:pt x="268" y="416"/>
                  </a:lnTo>
                  <a:lnTo>
                    <a:pt x="268" y="443"/>
                  </a:lnTo>
                  <a:lnTo>
                    <a:pt x="281" y="438"/>
                  </a:lnTo>
                  <a:lnTo>
                    <a:pt x="286" y="443"/>
                  </a:lnTo>
                  <a:lnTo>
                    <a:pt x="281" y="461"/>
                  </a:lnTo>
                  <a:lnTo>
                    <a:pt x="286" y="465"/>
                  </a:lnTo>
                  <a:lnTo>
                    <a:pt x="295" y="465"/>
                  </a:lnTo>
                  <a:lnTo>
                    <a:pt x="295" y="487"/>
                  </a:lnTo>
                  <a:lnTo>
                    <a:pt x="277" y="501"/>
                  </a:lnTo>
                  <a:lnTo>
                    <a:pt x="241" y="537"/>
                  </a:lnTo>
                  <a:lnTo>
                    <a:pt x="241" y="541"/>
                  </a:lnTo>
                  <a:lnTo>
                    <a:pt x="250" y="541"/>
                  </a:lnTo>
                  <a:lnTo>
                    <a:pt x="259" y="554"/>
                  </a:lnTo>
                  <a:lnTo>
                    <a:pt x="268" y="550"/>
                  </a:lnTo>
                  <a:lnTo>
                    <a:pt x="277" y="563"/>
                  </a:lnTo>
                  <a:lnTo>
                    <a:pt x="290" y="568"/>
                  </a:lnTo>
                  <a:lnTo>
                    <a:pt x="299" y="586"/>
                  </a:lnTo>
                  <a:lnTo>
                    <a:pt x="295" y="595"/>
                  </a:lnTo>
                  <a:lnTo>
                    <a:pt x="295" y="608"/>
                  </a:lnTo>
                  <a:lnTo>
                    <a:pt x="308" y="599"/>
                  </a:lnTo>
                  <a:lnTo>
                    <a:pt x="317" y="577"/>
                  </a:lnTo>
                  <a:lnTo>
                    <a:pt x="362" y="514"/>
                  </a:lnTo>
                  <a:lnTo>
                    <a:pt x="366" y="501"/>
                  </a:lnTo>
                  <a:lnTo>
                    <a:pt x="371" y="465"/>
                  </a:lnTo>
                  <a:lnTo>
                    <a:pt x="366" y="461"/>
                  </a:lnTo>
                  <a:lnTo>
                    <a:pt x="375" y="461"/>
                  </a:lnTo>
                  <a:lnTo>
                    <a:pt x="397" y="443"/>
                  </a:lnTo>
                  <a:lnTo>
                    <a:pt x="415" y="443"/>
                  </a:lnTo>
                  <a:lnTo>
                    <a:pt x="415" y="434"/>
                  </a:lnTo>
                  <a:lnTo>
                    <a:pt x="447" y="425"/>
                  </a:lnTo>
                  <a:lnTo>
                    <a:pt x="464" y="420"/>
                  </a:lnTo>
                  <a:lnTo>
                    <a:pt x="464" y="416"/>
                  </a:lnTo>
                  <a:lnTo>
                    <a:pt x="473" y="411"/>
                  </a:lnTo>
                  <a:lnTo>
                    <a:pt x="496" y="367"/>
                  </a:lnTo>
                  <a:lnTo>
                    <a:pt x="496" y="349"/>
                  </a:lnTo>
                  <a:lnTo>
                    <a:pt x="505" y="340"/>
                  </a:lnTo>
                  <a:lnTo>
                    <a:pt x="505" y="277"/>
                  </a:lnTo>
                  <a:lnTo>
                    <a:pt x="509" y="264"/>
                  </a:lnTo>
                  <a:lnTo>
                    <a:pt x="514" y="268"/>
                  </a:lnTo>
                  <a:lnTo>
                    <a:pt x="531" y="237"/>
                  </a:lnTo>
                  <a:lnTo>
                    <a:pt x="540" y="237"/>
                  </a:lnTo>
                  <a:lnTo>
                    <a:pt x="567" y="197"/>
                  </a:lnTo>
                  <a:lnTo>
                    <a:pt x="567" y="184"/>
                  </a:lnTo>
                  <a:lnTo>
                    <a:pt x="558" y="152"/>
                  </a:lnTo>
                  <a:lnTo>
                    <a:pt x="536" y="152"/>
                  </a:lnTo>
                  <a:lnTo>
                    <a:pt x="527" y="143"/>
                  </a:lnTo>
                  <a:lnTo>
                    <a:pt x="523" y="143"/>
                  </a:lnTo>
                  <a:lnTo>
                    <a:pt x="500" y="121"/>
                  </a:lnTo>
                  <a:lnTo>
                    <a:pt x="487" y="116"/>
                  </a:lnTo>
                  <a:lnTo>
                    <a:pt x="460" y="116"/>
                  </a:lnTo>
                  <a:lnTo>
                    <a:pt x="438" y="112"/>
                  </a:lnTo>
                  <a:lnTo>
                    <a:pt x="424" y="116"/>
                  </a:lnTo>
                  <a:lnTo>
                    <a:pt x="424" y="103"/>
                  </a:lnTo>
                  <a:lnTo>
                    <a:pt x="420" y="94"/>
                  </a:lnTo>
                  <a:lnTo>
                    <a:pt x="411" y="103"/>
                  </a:lnTo>
                  <a:lnTo>
                    <a:pt x="406" y="94"/>
                  </a:lnTo>
                  <a:lnTo>
                    <a:pt x="375" y="90"/>
                  </a:lnTo>
                  <a:lnTo>
                    <a:pt x="357" y="103"/>
                  </a:lnTo>
                  <a:lnTo>
                    <a:pt x="348" y="116"/>
                  </a:lnTo>
                  <a:lnTo>
                    <a:pt x="353" y="99"/>
                  </a:lnTo>
                  <a:lnTo>
                    <a:pt x="357" y="94"/>
                  </a:lnTo>
                  <a:lnTo>
                    <a:pt x="366" y="85"/>
                  </a:lnTo>
                  <a:lnTo>
                    <a:pt x="339" y="81"/>
                  </a:lnTo>
                  <a:lnTo>
                    <a:pt x="335" y="76"/>
                  </a:lnTo>
                  <a:lnTo>
                    <a:pt x="353" y="76"/>
                  </a:lnTo>
                  <a:lnTo>
                    <a:pt x="344" y="72"/>
                  </a:lnTo>
                  <a:lnTo>
                    <a:pt x="348" y="49"/>
                  </a:lnTo>
                  <a:lnTo>
                    <a:pt x="335" y="45"/>
                  </a:lnTo>
                  <a:lnTo>
                    <a:pt x="330" y="18"/>
                  </a:lnTo>
                  <a:lnTo>
                    <a:pt x="321" y="14"/>
                  </a:lnTo>
                  <a:lnTo>
                    <a:pt x="321" y="23"/>
                  </a:lnTo>
                  <a:lnTo>
                    <a:pt x="313" y="41"/>
                  </a:lnTo>
                  <a:lnTo>
                    <a:pt x="299" y="49"/>
                  </a:lnTo>
                  <a:lnTo>
                    <a:pt x="286" y="49"/>
                  </a:lnTo>
                  <a:lnTo>
                    <a:pt x="277" y="41"/>
                  </a:lnTo>
                  <a:lnTo>
                    <a:pt x="259" y="41"/>
                  </a:lnTo>
                  <a:lnTo>
                    <a:pt x="259" y="54"/>
                  </a:lnTo>
                  <a:lnTo>
                    <a:pt x="254" y="49"/>
                  </a:lnTo>
                  <a:lnTo>
                    <a:pt x="228" y="54"/>
                  </a:lnTo>
                  <a:lnTo>
                    <a:pt x="219" y="63"/>
                  </a:lnTo>
                  <a:lnTo>
                    <a:pt x="210" y="58"/>
                  </a:lnTo>
                  <a:lnTo>
                    <a:pt x="201" y="45"/>
                  </a:lnTo>
                  <a:lnTo>
                    <a:pt x="201" y="23"/>
                  </a:lnTo>
                  <a:lnTo>
                    <a:pt x="210" y="14"/>
                  </a:lnTo>
                  <a:lnTo>
                    <a:pt x="201" y="14"/>
                  </a:lnTo>
                  <a:lnTo>
                    <a:pt x="201" y="0"/>
                  </a:lnTo>
                  <a:lnTo>
                    <a:pt x="192" y="0"/>
                  </a:lnTo>
                  <a:lnTo>
                    <a:pt x="192" y="14"/>
                  </a:lnTo>
                  <a:lnTo>
                    <a:pt x="161" y="18"/>
                  </a:lnTo>
                  <a:lnTo>
                    <a:pt x="147" y="18"/>
                  </a:lnTo>
                  <a:lnTo>
                    <a:pt x="134" y="9"/>
                  </a:lnTo>
                  <a:lnTo>
                    <a:pt x="129" y="18"/>
                  </a:lnTo>
                  <a:lnTo>
                    <a:pt x="134" y="23"/>
                  </a:lnTo>
                  <a:lnTo>
                    <a:pt x="138" y="41"/>
                  </a:lnTo>
                  <a:lnTo>
                    <a:pt x="152" y="45"/>
                  </a:lnTo>
                  <a:lnTo>
                    <a:pt x="143" y="45"/>
                  </a:lnTo>
                  <a:lnTo>
                    <a:pt x="134" y="54"/>
                  </a:lnTo>
                  <a:lnTo>
                    <a:pt x="112" y="63"/>
                  </a:lnTo>
                  <a:lnTo>
                    <a:pt x="103" y="58"/>
                  </a:lnTo>
                  <a:lnTo>
                    <a:pt x="94" y="58"/>
                  </a:lnTo>
                  <a:lnTo>
                    <a:pt x="94" y="45"/>
                  </a:lnTo>
                  <a:lnTo>
                    <a:pt x="80" y="54"/>
                  </a:lnTo>
                  <a:lnTo>
                    <a:pt x="62" y="54"/>
                  </a:lnTo>
                  <a:lnTo>
                    <a:pt x="58" y="67"/>
                  </a:lnTo>
                  <a:lnTo>
                    <a:pt x="71" y="67"/>
                  </a:lnTo>
                  <a:lnTo>
                    <a:pt x="67" y="76"/>
                  </a:lnTo>
                  <a:lnTo>
                    <a:pt x="53" y="76"/>
                  </a:lnTo>
                  <a:lnTo>
                    <a:pt x="58" y="85"/>
                  </a:lnTo>
                  <a:lnTo>
                    <a:pt x="67" y="85"/>
                  </a:lnTo>
                  <a:lnTo>
                    <a:pt x="71" y="94"/>
                  </a:lnTo>
                  <a:lnTo>
                    <a:pt x="53" y="13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01" name="Freeform 9"/>
            <p:cNvSpPr>
              <a:spLocks/>
            </p:cNvSpPr>
            <p:nvPr/>
          </p:nvSpPr>
          <p:spPr bwMode="gray">
            <a:xfrm>
              <a:off x="3051" y="2507"/>
              <a:ext cx="22" cy="40"/>
            </a:xfrm>
            <a:custGeom>
              <a:avLst/>
              <a:gdLst>
                <a:gd name="T0" fmla="*/ 4 w 22"/>
                <a:gd name="T1" fmla="*/ 9 h 40"/>
                <a:gd name="T2" fmla="*/ 0 w 22"/>
                <a:gd name="T3" fmla="*/ 26 h 40"/>
                <a:gd name="T4" fmla="*/ 4 w 22"/>
                <a:gd name="T5" fmla="*/ 40 h 40"/>
                <a:gd name="T6" fmla="*/ 8 w 22"/>
                <a:gd name="T7" fmla="*/ 40 h 40"/>
                <a:gd name="T8" fmla="*/ 13 w 22"/>
                <a:gd name="T9" fmla="*/ 35 h 40"/>
                <a:gd name="T10" fmla="*/ 17 w 22"/>
                <a:gd name="T11" fmla="*/ 31 h 40"/>
                <a:gd name="T12" fmla="*/ 22 w 22"/>
                <a:gd name="T13" fmla="*/ 26 h 40"/>
                <a:gd name="T14" fmla="*/ 17 w 22"/>
                <a:gd name="T15" fmla="*/ 4 h 40"/>
                <a:gd name="T16" fmla="*/ 13 w 22"/>
                <a:gd name="T17" fmla="*/ 0 h 40"/>
                <a:gd name="T18" fmla="*/ 4 w 22"/>
                <a:gd name="T19" fmla="*/ 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40">
                  <a:moveTo>
                    <a:pt x="4" y="9"/>
                  </a:moveTo>
                  <a:lnTo>
                    <a:pt x="0" y="26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13" y="35"/>
                  </a:lnTo>
                  <a:lnTo>
                    <a:pt x="17" y="31"/>
                  </a:lnTo>
                  <a:lnTo>
                    <a:pt x="22" y="26"/>
                  </a:lnTo>
                  <a:lnTo>
                    <a:pt x="17" y="4"/>
                  </a:lnTo>
                  <a:lnTo>
                    <a:pt x="13" y="0"/>
                  </a:lnTo>
                  <a:lnTo>
                    <a:pt x="4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02" name="Freeform 10"/>
            <p:cNvSpPr>
              <a:spLocks noEditPoints="1"/>
            </p:cNvSpPr>
            <p:nvPr/>
          </p:nvSpPr>
          <p:spPr bwMode="gray">
            <a:xfrm>
              <a:off x="3256" y="3043"/>
              <a:ext cx="125" cy="724"/>
            </a:xfrm>
            <a:custGeom>
              <a:avLst/>
              <a:gdLst>
                <a:gd name="T0" fmla="*/ 71 w 125"/>
                <a:gd name="T1" fmla="*/ 80 h 724"/>
                <a:gd name="T2" fmla="*/ 67 w 125"/>
                <a:gd name="T3" fmla="*/ 125 h 724"/>
                <a:gd name="T4" fmla="*/ 58 w 125"/>
                <a:gd name="T5" fmla="*/ 197 h 724"/>
                <a:gd name="T6" fmla="*/ 49 w 125"/>
                <a:gd name="T7" fmla="*/ 250 h 724"/>
                <a:gd name="T8" fmla="*/ 31 w 125"/>
                <a:gd name="T9" fmla="*/ 375 h 724"/>
                <a:gd name="T10" fmla="*/ 27 w 125"/>
                <a:gd name="T11" fmla="*/ 407 h 724"/>
                <a:gd name="T12" fmla="*/ 27 w 125"/>
                <a:gd name="T13" fmla="*/ 438 h 724"/>
                <a:gd name="T14" fmla="*/ 27 w 125"/>
                <a:gd name="T15" fmla="*/ 465 h 724"/>
                <a:gd name="T16" fmla="*/ 9 w 125"/>
                <a:gd name="T17" fmla="*/ 500 h 724"/>
                <a:gd name="T18" fmla="*/ 4 w 125"/>
                <a:gd name="T19" fmla="*/ 518 h 724"/>
                <a:gd name="T20" fmla="*/ 18 w 125"/>
                <a:gd name="T21" fmla="*/ 527 h 724"/>
                <a:gd name="T22" fmla="*/ 13 w 125"/>
                <a:gd name="T23" fmla="*/ 599 h 724"/>
                <a:gd name="T24" fmla="*/ 18 w 125"/>
                <a:gd name="T25" fmla="*/ 626 h 724"/>
                <a:gd name="T26" fmla="*/ 27 w 125"/>
                <a:gd name="T27" fmla="*/ 652 h 724"/>
                <a:gd name="T28" fmla="*/ 49 w 125"/>
                <a:gd name="T29" fmla="*/ 666 h 724"/>
                <a:gd name="T30" fmla="*/ 85 w 125"/>
                <a:gd name="T31" fmla="*/ 643 h 724"/>
                <a:gd name="T32" fmla="*/ 40 w 125"/>
                <a:gd name="T33" fmla="*/ 621 h 724"/>
                <a:gd name="T34" fmla="*/ 27 w 125"/>
                <a:gd name="T35" fmla="*/ 576 h 724"/>
                <a:gd name="T36" fmla="*/ 49 w 125"/>
                <a:gd name="T37" fmla="*/ 509 h 724"/>
                <a:gd name="T38" fmla="*/ 49 w 125"/>
                <a:gd name="T39" fmla="*/ 474 h 724"/>
                <a:gd name="T40" fmla="*/ 49 w 125"/>
                <a:gd name="T41" fmla="*/ 465 h 724"/>
                <a:gd name="T42" fmla="*/ 54 w 125"/>
                <a:gd name="T43" fmla="*/ 416 h 724"/>
                <a:gd name="T44" fmla="*/ 54 w 125"/>
                <a:gd name="T45" fmla="*/ 371 h 724"/>
                <a:gd name="T46" fmla="*/ 58 w 125"/>
                <a:gd name="T47" fmla="*/ 317 h 724"/>
                <a:gd name="T48" fmla="*/ 80 w 125"/>
                <a:gd name="T49" fmla="*/ 268 h 724"/>
                <a:gd name="T50" fmla="*/ 67 w 125"/>
                <a:gd name="T51" fmla="*/ 223 h 724"/>
                <a:gd name="T52" fmla="*/ 76 w 125"/>
                <a:gd name="T53" fmla="*/ 188 h 724"/>
                <a:gd name="T54" fmla="*/ 89 w 125"/>
                <a:gd name="T55" fmla="*/ 138 h 724"/>
                <a:gd name="T56" fmla="*/ 116 w 125"/>
                <a:gd name="T57" fmla="*/ 80 h 724"/>
                <a:gd name="T58" fmla="*/ 94 w 125"/>
                <a:gd name="T59" fmla="*/ 22 h 724"/>
                <a:gd name="T60" fmla="*/ 71 w 125"/>
                <a:gd name="T61" fmla="*/ 9 h 724"/>
                <a:gd name="T62" fmla="*/ 67 w 125"/>
                <a:gd name="T63" fmla="*/ 675 h 724"/>
                <a:gd name="T64" fmla="*/ 71 w 125"/>
                <a:gd name="T65" fmla="*/ 675 h 724"/>
                <a:gd name="T66" fmla="*/ 98 w 125"/>
                <a:gd name="T67" fmla="*/ 643 h 724"/>
                <a:gd name="T68" fmla="*/ 76 w 125"/>
                <a:gd name="T69" fmla="*/ 666 h 724"/>
                <a:gd name="T70" fmla="*/ 80 w 125"/>
                <a:gd name="T71" fmla="*/ 679 h 724"/>
                <a:gd name="T72" fmla="*/ 13 w 125"/>
                <a:gd name="T73" fmla="*/ 648 h 724"/>
                <a:gd name="T74" fmla="*/ 27 w 125"/>
                <a:gd name="T75" fmla="*/ 670 h 724"/>
                <a:gd name="T76" fmla="*/ 49 w 125"/>
                <a:gd name="T77" fmla="*/ 679 h 724"/>
                <a:gd name="T78" fmla="*/ 54 w 125"/>
                <a:gd name="T79" fmla="*/ 697 h 724"/>
                <a:gd name="T80" fmla="*/ 71 w 125"/>
                <a:gd name="T81" fmla="*/ 702 h 724"/>
                <a:gd name="T82" fmla="*/ 76 w 125"/>
                <a:gd name="T83" fmla="*/ 702 h 724"/>
                <a:gd name="T84" fmla="*/ 89 w 125"/>
                <a:gd name="T85" fmla="*/ 724 h 724"/>
                <a:gd name="T86" fmla="*/ 94 w 125"/>
                <a:gd name="T87" fmla="*/ 724 h 724"/>
                <a:gd name="T88" fmla="*/ 107 w 125"/>
                <a:gd name="T89" fmla="*/ 715 h 724"/>
                <a:gd name="T90" fmla="*/ 107 w 125"/>
                <a:gd name="T91" fmla="*/ 710 h 724"/>
                <a:gd name="T92" fmla="*/ 121 w 125"/>
                <a:gd name="T93" fmla="*/ 706 h 724"/>
                <a:gd name="T94" fmla="*/ 98 w 125"/>
                <a:gd name="T95" fmla="*/ 702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" h="724">
                  <a:moveTo>
                    <a:pt x="71" y="9"/>
                  </a:moveTo>
                  <a:lnTo>
                    <a:pt x="71" y="31"/>
                  </a:lnTo>
                  <a:lnTo>
                    <a:pt x="71" y="80"/>
                  </a:lnTo>
                  <a:lnTo>
                    <a:pt x="67" y="85"/>
                  </a:lnTo>
                  <a:lnTo>
                    <a:pt x="67" y="121"/>
                  </a:lnTo>
                  <a:lnTo>
                    <a:pt x="67" y="125"/>
                  </a:lnTo>
                  <a:lnTo>
                    <a:pt x="67" y="138"/>
                  </a:lnTo>
                  <a:lnTo>
                    <a:pt x="54" y="183"/>
                  </a:lnTo>
                  <a:lnTo>
                    <a:pt x="58" y="197"/>
                  </a:lnTo>
                  <a:lnTo>
                    <a:pt x="49" y="205"/>
                  </a:lnTo>
                  <a:lnTo>
                    <a:pt x="54" y="241"/>
                  </a:lnTo>
                  <a:lnTo>
                    <a:pt x="49" y="250"/>
                  </a:lnTo>
                  <a:lnTo>
                    <a:pt x="54" y="259"/>
                  </a:lnTo>
                  <a:lnTo>
                    <a:pt x="27" y="326"/>
                  </a:lnTo>
                  <a:lnTo>
                    <a:pt x="31" y="375"/>
                  </a:lnTo>
                  <a:lnTo>
                    <a:pt x="22" y="380"/>
                  </a:lnTo>
                  <a:lnTo>
                    <a:pt x="27" y="398"/>
                  </a:lnTo>
                  <a:lnTo>
                    <a:pt x="27" y="407"/>
                  </a:lnTo>
                  <a:lnTo>
                    <a:pt x="22" y="411"/>
                  </a:lnTo>
                  <a:lnTo>
                    <a:pt x="22" y="442"/>
                  </a:lnTo>
                  <a:lnTo>
                    <a:pt x="27" y="438"/>
                  </a:lnTo>
                  <a:lnTo>
                    <a:pt x="31" y="416"/>
                  </a:lnTo>
                  <a:lnTo>
                    <a:pt x="40" y="416"/>
                  </a:lnTo>
                  <a:lnTo>
                    <a:pt x="27" y="465"/>
                  </a:lnTo>
                  <a:lnTo>
                    <a:pt x="27" y="451"/>
                  </a:lnTo>
                  <a:lnTo>
                    <a:pt x="22" y="456"/>
                  </a:lnTo>
                  <a:lnTo>
                    <a:pt x="9" y="500"/>
                  </a:lnTo>
                  <a:lnTo>
                    <a:pt x="0" y="509"/>
                  </a:lnTo>
                  <a:lnTo>
                    <a:pt x="0" y="523"/>
                  </a:lnTo>
                  <a:lnTo>
                    <a:pt x="4" y="518"/>
                  </a:lnTo>
                  <a:lnTo>
                    <a:pt x="9" y="509"/>
                  </a:lnTo>
                  <a:lnTo>
                    <a:pt x="22" y="518"/>
                  </a:lnTo>
                  <a:lnTo>
                    <a:pt x="18" y="527"/>
                  </a:lnTo>
                  <a:lnTo>
                    <a:pt x="4" y="541"/>
                  </a:lnTo>
                  <a:lnTo>
                    <a:pt x="4" y="603"/>
                  </a:lnTo>
                  <a:lnTo>
                    <a:pt x="13" y="599"/>
                  </a:lnTo>
                  <a:lnTo>
                    <a:pt x="4" y="617"/>
                  </a:lnTo>
                  <a:lnTo>
                    <a:pt x="9" y="643"/>
                  </a:lnTo>
                  <a:lnTo>
                    <a:pt x="18" y="626"/>
                  </a:lnTo>
                  <a:lnTo>
                    <a:pt x="18" y="648"/>
                  </a:lnTo>
                  <a:lnTo>
                    <a:pt x="27" y="643"/>
                  </a:lnTo>
                  <a:lnTo>
                    <a:pt x="27" y="652"/>
                  </a:lnTo>
                  <a:lnTo>
                    <a:pt x="40" y="657"/>
                  </a:lnTo>
                  <a:lnTo>
                    <a:pt x="36" y="661"/>
                  </a:lnTo>
                  <a:lnTo>
                    <a:pt x="49" y="666"/>
                  </a:lnTo>
                  <a:lnTo>
                    <a:pt x="63" y="675"/>
                  </a:lnTo>
                  <a:lnTo>
                    <a:pt x="67" y="648"/>
                  </a:lnTo>
                  <a:lnTo>
                    <a:pt x="85" y="643"/>
                  </a:lnTo>
                  <a:lnTo>
                    <a:pt x="89" y="634"/>
                  </a:lnTo>
                  <a:lnTo>
                    <a:pt x="49" y="630"/>
                  </a:lnTo>
                  <a:lnTo>
                    <a:pt x="40" y="621"/>
                  </a:lnTo>
                  <a:lnTo>
                    <a:pt x="40" y="603"/>
                  </a:lnTo>
                  <a:lnTo>
                    <a:pt x="31" y="603"/>
                  </a:lnTo>
                  <a:lnTo>
                    <a:pt x="27" y="576"/>
                  </a:lnTo>
                  <a:lnTo>
                    <a:pt x="36" y="559"/>
                  </a:lnTo>
                  <a:lnTo>
                    <a:pt x="40" y="554"/>
                  </a:lnTo>
                  <a:lnTo>
                    <a:pt x="49" y="509"/>
                  </a:lnTo>
                  <a:lnTo>
                    <a:pt x="49" y="491"/>
                  </a:lnTo>
                  <a:lnTo>
                    <a:pt x="58" y="483"/>
                  </a:lnTo>
                  <a:lnTo>
                    <a:pt x="49" y="474"/>
                  </a:lnTo>
                  <a:lnTo>
                    <a:pt x="58" y="474"/>
                  </a:lnTo>
                  <a:lnTo>
                    <a:pt x="58" y="465"/>
                  </a:lnTo>
                  <a:lnTo>
                    <a:pt x="49" y="465"/>
                  </a:lnTo>
                  <a:lnTo>
                    <a:pt x="54" y="442"/>
                  </a:lnTo>
                  <a:lnTo>
                    <a:pt x="49" y="429"/>
                  </a:lnTo>
                  <a:lnTo>
                    <a:pt x="54" y="416"/>
                  </a:lnTo>
                  <a:lnTo>
                    <a:pt x="49" y="393"/>
                  </a:lnTo>
                  <a:lnTo>
                    <a:pt x="49" y="375"/>
                  </a:lnTo>
                  <a:lnTo>
                    <a:pt x="54" y="371"/>
                  </a:lnTo>
                  <a:lnTo>
                    <a:pt x="54" y="357"/>
                  </a:lnTo>
                  <a:lnTo>
                    <a:pt x="63" y="353"/>
                  </a:lnTo>
                  <a:lnTo>
                    <a:pt x="58" y="317"/>
                  </a:lnTo>
                  <a:lnTo>
                    <a:pt x="67" y="304"/>
                  </a:lnTo>
                  <a:lnTo>
                    <a:pt x="71" y="281"/>
                  </a:lnTo>
                  <a:lnTo>
                    <a:pt x="80" y="268"/>
                  </a:lnTo>
                  <a:lnTo>
                    <a:pt x="80" y="250"/>
                  </a:lnTo>
                  <a:lnTo>
                    <a:pt x="76" y="250"/>
                  </a:lnTo>
                  <a:lnTo>
                    <a:pt x="67" y="223"/>
                  </a:lnTo>
                  <a:lnTo>
                    <a:pt x="71" y="210"/>
                  </a:lnTo>
                  <a:lnTo>
                    <a:pt x="80" y="205"/>
                  </a:lnTo>
                  <a:lnTo>
                    <a:pt x="76" y="188"/>
                  </a:lnTo>
                  <a:lnTo>
                    <a:pt x="85" y="161"/>
                  </a:lnTo>
                  <a:lnTo>
                    <a:pt x="94" y="147"/>
                  </a:lnTo>
                  <a:lnTo>
                    <a:pt x="89" y="138"/>
                  </a:lnTo>
                  <a:lnTo>
                    <a:pt x="94" y="112"/>
                  </a:lnTo>
                  <a:lnTo>
                    <a:pt x="116" y="98"/>
                  </a:lnTo>
                  <a:lnTo>
                    <a:pt x="116" y="80"/>
                  </a:lnTo>
                  <a:lnTo>
                    <a:pt x="107" y="76"/>
                  </a:lnTo>
                  <a:lnTo>
                    <a:pt x="94" y="40"/>
                  </a:lnTo>
                  <a:lnTo>
                    <a:pt x="94" y="22"/>
                  </a:lnTo>
                  <a:lnTo>
                    <a:pt x="89" y="9"/>
                  </a:lnTo>
                  <a:lnTo>
                    <a:pt x="85" y="0"/>
                  </a:lnTo>
                  <a:lnTo>
                    <a:pt x="71" y="9"/>
                  </a:lnTo>
                  <a:close/>
                  <a:moveTo>
                    <a:pt x="71" y="666"/>
                  </a:moveTo>
                  <a:lnTo>
                    <a:pt x="71" y="670"/>
                  </a:lnTo>
                  <a:lnTo>
                    <a:pt x="67" y="675"/>
                  </a:lnTo>
                  <a:lnTo>
                    <a:pt x="67" y="679"/>
                  </a:lnTo>
                  <a:lnTo>
                    <a:pt x="71" y="679"/>
                  </a:lnTo>
                  <a:lnTo>
                    <a:pt x="71" y="675"/>
                  </a:lnTo>
                  <a:lnTo>
                    <a:pt x="76" y="675"/>
                  </a:lnTo>
                  <a:lnTo>
                    <a:pt x="71" y="666"/>
                  </a:lnTo>
                  <a:close/>
                  <a:moveTo>
                    <a:pt x="98" y="643"/>
                  </a:moveTo>
                  <a:lnTo>
                    <a:pt x="89" y="643"/>
                  </a:lnTo>
                  <a:lnTo>
                    <a:pt x="76" y="648"/>
                  </a:lnTo>
                  <a:lnTo>
                    <a:pt x="76" y="666"/>
                  </a:lnTo>
                  <a:lnTo>
                    <a:pt x="89" y="661"/>
                  </a:lnTo>
                  <a:lnTo>
                    <a:pt x="80" y="670"/>
                  </a:lnTo>
                  <a:lnTo>
                    <a:pt x="80" y="679"/>
                  </a:lnTo>
                  <a:lnTo>
                    <a:pt x="94" y="693"/>
                  </a:lnTo>
                  <a:lnTo>
                    <a:pt x="67" y="684"/>
                  </a:lnTo>
                  <a:lnTo>
                    <a:pt x="13" y="648"/>
                  </a:lnTo>
                  <a:lnTo>
                    <a:pt x="13" y="657"/>
                  </a:lnTo>
                  <a:lnTo>
                    <a:pt x="31" y="666"/>
                  </a:lnTo>
                  <a:lnTo>
                    <a:pt x="27" y="670"/>
                  </a:lnTo>
                  <a:lnTo>
                    <a:pt x="31" y="679"/>
                  </a:lnTo>
                  <a:lnTo>
                    <a:pt x="40" y="684"/>
                  </a:lnTo>
                  <a:lnTo>
                    <a:pt x="49" y="679"/>
                  </a:lnTo>
                  <a:lnTo>
                    <a:pt x="63" y="688"/>
                  </a:lnTo>
                  <a:lnTo>
                    <a:pt x="49" y="688"/>
                  </a:lnTo>
                  <a:lnTo>
                    <a:pt x="54" y="697"/>
                  </a:lnTo>
                  <a:lnTo>
                    <a:pt x="63" y="693"/>
                  </a:lnTo>
                  <a:lnTo>
                    <a:pt x="71" y="697"/>
                  </a:lnTo>
                  <a:lnTo>
                    <a:pt x="71" y="702"/>
                  </a:lnTo>
                  <a:lnTo>
                    <a:pt x="63" y="702"/>
                  </a:lnTo>
                  <a:lnTo>
                    <a:pt x="76" y="706"/>
                  </a:lnTo>
                  <a:lnTo>
                    <a:pt x="76" y="702"/>
                  </a:lnTo>
                  <a:lnTo>
                    <a:pt x="80" y="706"/>
                  </a:lnTo>
                  <a:lnTo>
                    <a:pt x="76" y="715"/>
                  </a:lnTo>
                  <a:lnTo>
                    <a:pt x="89" y="724"/>
                  </a:lnTo>
                  <a:lnTo>
                    <a:pt x="89" y="715"/>
                  </a:lnTo>
                  <a:lnTo>
                    <a:pt x="94" y="715"/>
                  </a:lnTo>
                  <a:lnTo>
                    <a:pt x="94" y="724"/>
                  </a:lnTo>
                  <a:lnTo>
                    <a:pt x="103" y="719"/>
                  </a:lnTo>
                  <a:lnTo>
                    <a:pt x="107" y="724"/>
                  </a:lnTo>
                  <a:lnTo>
                    <a:pt x="107" y="715"/>
                  </a:lnTo>
                  <a:lnTo>
                    <a:pt x="103" y="715"/>
                  </a:lnTo>
                  <a:lnTo>
                    <a:pt x="103" y="706"/>
                  </a:lnTo>
                  <a:lnTo>
                    <a:pt x="107" y="710"/>
                  </a:lnTo>
                  <a:lnTo>
                    <a:pt x="121" y="715"/>
                  </a:lnTo>
                  <a:lnTo>
                    <a:pt x="125" y="710"/>
                  </a:lnTo>
                  <a:lnTo>
                    <a:pt x="121" y="706"/>
                  </a:lnTo>
                  <a:lnTo>
                    <a:pt x="103" y="702"/>
                  </a:lnTo>
                  <a:lnTo>
                    <a:pt x="94" y="702"/>
                  </a:lnTo>
                  <a:lnTo>
                    <a:pt x="98" y="702"/>
                  </a:lnTo>
                  <a:lnTo>
                    <a:pt x="98" y="64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03" name="Freeform 11"/>
            <p:cNvSpPr>
              <a:spLocks/>
            </p:cNvSpPr>
            <p:nvPr/>
          </p:nvSpPr>
          <p:spPr bwMode="gray">
            <a:xfrm>
              <a:off x="3198" y="2596"/>
              <a:ext cx="179" cy="246"/>
            </a:xfrm>
            <a:custGeom>
              <a:avLst/>
              <a:gdLst>
                <a:gd name="T0" fmla="*/ 22 w 179"/>
                <a:gd name="T1" fmla="*/ 174 h 246"/>
                <a:gd name="T2" fmla="*/ 36 w 179"/>
                <a:gd name="T3" fmla="*/ 174 h 246"/>
                <a:gd name="T4" fmla="*/ 71 w 179"/>
                <a:gd name="T5" fmla="*/ 192 h 246"/>
                <a:gd name="T6" fmla="*/ 107 w 179"/>
                <a:gd name="T7" fmla="*/ 210 h 246"/>
                <a:gd name="T8" fmla="*/ 121 w 179"/>
                <a:gd name="T9" fmla="*/ 241 h 246"/>
                <a:gd name="T10" fmla="*/ 147 w 179"/>
                <a:gd name="T11" fmla="*/ 201 h 246"/>
                <a:gd name="T12" fmla="*/ 134 w 179"/>
                <a:gd name="T13" fmla="*/ 192 h 246"/>
                <a:gd name="T14" fmla="*/ 143 w 179"/>
                <a:gd name="T15" fmla="*/ 183 h 246"/>
                <a:gd name="T16" fmla="*/ 134 w 179"/>
                <a:gd name="T17" fmla="*/ 174 h 246"/>
                <a:gd name="T18" fmla="*/ 156 w 179"/>
                <a:gd name="T19" fmla="*/ 161 h 246"/>
                <a:gd name="T20" fmla="*/ 170 w 179"/>
                <a:gd name="T21" fmla="*/ 165 h 246"/>
                <a:gd name="T22" fmla="*/ 174 w 179"/>
                <a:gd name="T23" fmla="*/ 143 h 246"/>
                <a:gd name="T24" fmla="*/ 170 w 179"/>
                <a:gd name="T25" fmla="*/ 134 h 246"/>
                <a:gd name="T26" fmla="*/ 165 w 179"/>
                <a:gd name="T27" fmla="*/ 112 h 246"/>
                <a:gd name="T28" fmla="*/ 143 w 179"/>
                <a:gd name="T29" fmla="*/ 94 h 246"/>
                <a:gd name="T30" fmla="*/ 107 w 179"/>
                <a:gd name="T31" fmla="*/ 85 h 246"/>
                <a:gd name="T32" fmla="*/ 98 w 179"/>
                <a:gd name="T33" fmla="*/ 63 h 246"/>
                <a:gd name="T34" fmla="*/ 85 w 179"/>
                <a:gd name="T35" fmla="*/ 54 h 246"/>
                <a:gd name="T36" fmla="*/ 89 w 179"/>
                <a:gd name="T37" fmla="*/ 31 h 246"/>
                <a:gd name="T38" fmla="*/ 107 w 179"/>
                <a:gd name="T39" fmla="*/ 9 h 246"/>
                <a:gd name="T40" fmla="*/ 116 w 179"/>
                <a:gd name="T41" fmla="*/ 0 h 246"/>
                <a:gd name="T42" fmla="*/ 85 w 179"/>
                <a:gd name="T43" fmla="*/ 18 h 246"/>
                <a:gd name="T44" fmla="*/ 71 w 179"/>
                <a:gd name="T45" fmla="*/ 22 h 246"/>
                <a:gd name="T46" fmla="*/ 49 w 179"/>
                <a:gd name="T47" fmla="*/ 31 h 246"/>
                <a:gd name="T48" fmla="*/ 49 w 179"/>
                <a:gd name="T49" fmla="*/ 40 h 246"/>
                <a:gd name="T50" fmla="*/ 31 w 179"/>
                <a:gd name="T51" fmla="*/ 58 h 246"/>
                <a:gd name="T52" fmla="*/ 27 w 179"/>
                <a:gd name="T53" fmla="*/ 58 h 246"/>
                <a:gd name="T54" fmla="*/ 18 w 179"/>
                <a:gd name="T55" fmla="*/ 76 h 246"/>
                <a:gd name="T56" fmla="*/ 27 w 179"/>
                <a:gd name="T57" fmla="*/ 89 h 246"/>
                <a:gd name="T58" fmla="*/ 27 w 179"/>
                <a:gd name="T59" fmla="*/ 121 h 246"/>
                <a:gd name="T60" fmla="*/ 22 w 179"/>
                <a:gd name="T61" fmla="*/ 143 h 246"/>
                <a:gd name="T62" fmla="*/ 9 w 179"/>
                <a:gd name="T63" fmla="*/ 152 h 246"/>
                <a:gd name="T64" fmla="*/ 0 w 179"/>
                <a:gd name="T65" fmla="*/ 161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9" h="246">
                  <a:moveTo>
                    <a:pt x="9" y="161"/>
                  </a:moveTo>
                  <a:lnTo>
                    <a:pt x="22" y="174"/>
                  </a:lnTo>
                  <a:lnTo>
                    <a:pt x="27" y="179"/>
                  </a:lnTo>
                  <a:lnTo>
                    <a:pt x="36" y="174"/>
                  </a:lnTo>
                  <a:lnTo>
                    <a:pt x="58" y="188"/>
                  </a:lnTo>
                  <a:lnTo>
                    <a:pt x="71" y="192"/>
                  </a:lnTo>
                  <a:lnTo>
                    <a:pt x="94" y="215"/>
                  </a:lnTo>
                  <a:lnTo>
                    <a:pt x="107" y="210"/>
                  </a:lnTo>
                  <a:lnTo>
                    <a:pt x="134" y="219"/>
                  </a:lnTo>
                  <a:lnTo>
                    <a:pt x="121" y="241"/>
                  </a:lnTo>
                  <a:lnTo>
                    <a:pt x="129" y="246"/>
                  </a:lnTo>
                  <a:lnTo>
                    <a:pt x="147" y="201"/>
                  </a:lnTo>
                  <a:lnTo>
                    <a:pt x="143" y="192"/>
                  </a:lnTo>
                  <a:lnTo>
                    <a:pt x="134" y="192"/>
                  </a:lnTo>
                  <a:lnTo>
                    <a:pt x="129" y="183"/>
                  </a:lnTo>
                  <a:lnTo>
                    <a:pt x="143" y="183"/>
                  </a:lnTo>
                  <a:lnTo>
                    <a:pt x="147" y="174"/>
                  </a:lnTo>
                  <a:lnTo>
                    <a:pt x="134" y="174"/>
                  </a:lnTo>
                  <a:lnTo>
                    <a:pt x="138" y="161"/>
                  </a:lnTo>
                  <a:lnTo>
                    <a:pt x="156" y="161"/>
                  </a:lnTo>
                  <a:lnTo>
                    <a:pt x="170" y="152"/>
                  </a:lnTo>
                  <a:lnTo>
                    <a:pt x="170" y="165"/>
                  </a:lnTo>
                  <a:lnTo>
                    <a:pt x="179" y="165"/>
                  </a:lnTo>
                  <a:lnTo>
                    <a:pt x="174" y="143"/>
                  </a:lnTo>
                  <a:lnTo>
                    <a:pt x="161" y="148"/>
                  </a:lnTo>
                  <a:lnTo>
                    <a:pt x="170" y="134"/>
                  </a:lnTo>
                  <a:lnTo>
                    <a:pt x="165" y="130"/>
                  </a:lnTo>
                  <a:lnTo>
                    <a:pt x="165" y="112"/>
                  </a:lnTo>
                  <a:lnTo>
                    <a:pt x="170" y="89"/>
                  </a:lnTo>
                  <a:lnTo>
                    <a:pt x="143" y="94"/>
                  </a:lnTo>
                  <a:lnTo>
                    <a:pt x="134" y="80"/>
                  </a:lnTo>
                  <a:lnTo>
                    <a:pt x="107" y="85"/>
                  </a:lnTo>
                  <a:lnTo>
                    <a:pt x="94" y="72"/>
                  </a:lnTo>
                  <a:lnTo>
                    <a:pt x="98" y="63"/>
                  </a:lnTo>
                  <a:lnTo>
                    <a:pt x="89" y="54"/>
                  </a:lnTo>
                  <a:lnTo>
                    <a:pt x="85" y="54"/>
                  </a:lnTo>
                  <a:lnTo>
                    <a:pt x="89" y="49"/>
                  </a:lnTo>
                  <a:lnTo>
                    <a:pt x="89" y="31"/>
                  </a:lnTo>
                  <a:lnTo>
                    <a:pt x="98" y="18"/>
                  </a:lnTo>
                  <a:lnTo>
                    <a:pt x="107" y="9"/>
                  </a:lnTo>
                  <a:lnTo>
                    <a:pt x="116" y="9"/>
                  </a:lnTo>
                  <a:lnTo>
                    <a:pt x="116" y="0"/>
                  </a:lnTo>
                  <a:lnTo>
                    <a:pt x="107" y="0"/>
                  </a:lnTo>
                  <a:lnTo>
                    <a:pt x="85" y="18"/>
                  </a:lnTo>
                  <a:lnTo>
                    <a:pt x="76" y="18"/>
                  </a:lnTo>
                  <a:lnTo>
                    <a:pt x="71" y="22"/>
                  </a:lnTo>
                  <a:lnTo>
                    <a:pt x="62" y="22"/>
                  </a:lnTo>
                  <a:lnTo>
                    <a:pt x="49" y="31"/>
                  </a:lnTo>
                  <a:lnTo>
                    <a:pt x="45" y="40"/>
                  </a:lnTo>
                  <a:lnTo>
                    <a:pt x="49" y="40"/>
                  </a:lnTo>
                  <a:lnTo>
                    <a:pt x="49" y="49"/>
                  </a:lnTo>
                  <a:lnTo>
                    <a:pt x="31" y="58"/>
                  </a:lnTo>
                  <a:lnTo>
                    <a:pt x="31" y="72"/>
                  </a:lnTo>
                  <a:lnTo>
                    <a:pt x="27" y="58"/>
                  </a:lnTo>
                  <a:lnTo>
                    <a:pt x="27" y="72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27" y="89"/>
                  </a:lnTo>
                  <a:lnTo>
                    <a:pt x="22" y="98"/>
                  </a:lnTo>
                  <a:lnTo>
                    <a:pt x="27" y="121"/>
                  </a:lnTo>
                  <a:lnTo>
                    <a:pt x="27" y="125"/>
                  </a:lnTo>
                  <a:lnTo>
                    <a:pt x="22" y="143"/>
                  </a:lnTo>
                  <a:lnTo>
                    <a:pt x="13" y="143"/>
                  </a:lnTo>
                  <a:lnTo>
                    <a:pt x="9" y="152"/>
                  </a:lnTo>
                  <a:lnTo>
                    <a:pt x="9" y="156"/>
                  </a:lnTo>
                  <a:lnTo>
                    <a:pt x="0" y="161"/>
                  </a:lnTo>
                  <a:lnTo>
                    <a:pt x="9" y="161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04" name="Freeform 12"/>
            <p:cNvSpPr>
              <a:spLocks/>
            </p:cNvSpPr>
            <p:nvPr/>
          </p:nvSpPr>
          <p:spPr bwMode="gray">
            <a:xfrm>
              <a:off x="3104" y="2618"/>
              <a:ext cx="49" cy="41"/>
            </a:xfrm>
            <a:custGeom>
              <a:avLst/>
              <a:gdLst>
                <a:gd name="T0" fmla="*/ 0 w 49"/>
                <a:gd name="T1" fmla="*/ 0 h 41"/>
                <a:gd name="T2" fmla="*/ 0 w 49"/>
                <a:gd name="T3" fmla="*/ 9 h 41"/>
                <a:gd name="T4" fmla="*/ 5 w 49"/>
                <a:gd name="T5" fmla="*/ 9 h 41"/>
                <a:gd name="T6" fmla="*/ 0 w 49"/>
                <a:gd name="T7" fmla="*/ 14 h 41"/>
                <a:gd name="T8" fmla="*/ 0 w 49"/>
                <a:gd name="T9" fmla="*/ 23 h 41"/>
                <a:gd name="T10" fmla="*/ 14 w 49"/>
                <a:gd name="T11" fmla="*/ 27 h 41"/>
                <a:gd name="T12" fmla="*/ 18 w 49"/>
                <a:gd name="T13" fmla="*/ 23 h 41"/>
                <a:gd name="T14" fmla="*/ 18 w 49"/>
                <a:gd name="T15" fmla="*/ 18 h 41"/>
                <a:gd name="T16" fmla="*/ 22 w 49"/>
                <a:gd name="T17" fmla="*/ 27 h 41"/>
                <a:gd name="T18" fmla="*/ 31 w 49"/>
                <a:gd name="T19" fmla="*/ 36 h 41"/>
                <a:gd name="T20" fmla="*/ 31 w 49"/>
                <a:gd name="T21" fmla="*/ 41 h 41"/>
                <a:gd name="T22" fmla="*/ 40 w 49"/>
                <a:gd name="T23" fmla="*/ 41 h 41"/>
                <a:gd name="T24" fmla="*/ 40 w 49"/>
                <a:gd name="T25" fmla="*/ 36 h 41"/>
                <a:gd name="T26" fmla="*/ 40 w 49"/>
                <a:gd name="T27" fmla="*/ 41 h 41"/>
                <a:gd name="T28" fmla="*/ 40 w 49"/>
                <a:gd name="T29" fmla="*/ 27 h 41"/>
                <a:gd name="T30" fmla="*/ 49 w 49"/>
                <a:gd name="T31" fmla="*/ 23 h 41"/>
                <a:gd name="T32" fmla="*/ 40 w 49"/>
                <a:gd name="T33" fmla="*/ 18 h 41"/>
                <a:gd name="T34" fmla="*/ 36 w 49"/>
                <a:gd name="T35" fmla="*/ 5 h 41"/>
                <a:gd name="T36" fmla="*/ 31 w 49"/>
                <a:gd name="T37" fmla="*/ 5 h 41"/>
                <a:gd name="T38" fmla="*/ 31 w 49"/>
                <a:gd name="T39" fmla="*/ 5 h 41"/>
                <a:gd name="T40" fmla="*/ 18 w 49"/>
                <a:gd name="T41" fmla="*/ 0 h 41"/>
                <a:gd name="T42" fmla="*/ 0 w 49"/>
                <a:gd name="T43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9" h="41">
                  <a:moveTo>
                    <a:pt x="0" y="0"/>
                  </a:moveTo>
                  <a:lnTo>
                    <a:pt x="0" y="9"/>
                  </a:lnTo>
                  <a:lnTo>
                    <a:pt x="5" y="9"/>
                  </a:lnTo>
                  <a:lnTo>
                    <a:pt x="0" y="14"/>
                  </a:lnTo>
                  <a:lnTo>
                    <a:pt x="0" y="23"/>
                  </a:lnTo>
                  <a:lnTo>
                    <a:pt x="14" y="27"/>
                  </a:lnTo>
                  <a:lnTo>
                    <a:pt x="18" y="23"/>
                  </a:lnTo>
                  <a:lnTo>
                    <a:pt x="18" y="18"/>
                  </a:lnTo>
                  <a:lnTo>
                    <a:pt x="22" y="27"/>
                  </a:lnTo>
                  <a:lnTo>
                    <a:pt x="31" y="36"/>
                  </a:lnTo>
                  <a:lnTo>
                    <a:pt x="31" y="41"/>
                  </a:lnTo>
                  <a:lnTo>
                    <a:pt x="40" y="41"/>
                  </a:lnTo>
                  <a:lnTo>
                    <a:pt x="40" y="36"/>
                  </a:lnTo>
                  <a:lnTo>
                    <a:pt x="40" y="41"/>
                  </a:lnTo>
                  <a:lnTo>
                    <a:pt x="40" y="27"/>
                  </a:lnTo>
                  <a:lnTo>
                    <a:pt x="49" y="23"/>
                  </a:lnTo>
                  <a:lnTo>
                    <a:pt x="40" y="18"/>
                  </a:lnTo>
                  <a:lnTo>
                    <a:pt x="36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05" name="Freeform 13"/>
            <p:cNvSpPr>
              <a:spLocks noEditPoints="1"/>
            </p:cNvSpPr>
            <p:nvPr/>
          </p:nvSpPr>
          <p:spPr bwMode="gray">
            <a:xfrm>
              <a:off x="3118" y="2431"/>
              <a:ext cx="160" cy="58"/>
            </a:xfrm>
            <a:custGeom>
              <a:avLst/>
              <a:gdLst>
                <a:gd name="T0" fmla="*/ 8 w 160"/>
                <a:gd name="T1" fmla="*/ 18 h 58"/>
                <a:gd name="T2" fmla="*/ 0 w 160"/>
                <a:gd name="T3" fmla="*/ 22 h 58"/>
                <a:gd name="T4" fmla="*/ 4 w 160"/>
                <a:gd name="T5" fmla="*/ 27 h 58"/>
                <a:gd name="T6" fmla="*/ 17 w 160"/>
                <a:gd name="T7" fmla="*/ 22 h 58"/>
                <a:gd name="T8" fmla="*/ 17 w 160"/>
                <a:gd name="T9" fmla="*/ 18 h 58"/>
                <a:gd name="T10" fmla="*/ 31 w 160"/>
                <a:gd name="T11" fmla="*/ 18 h 58"/>
                <a:gd name="T12" fmla="*/ 35 w 160"/>
                <a:gd name="T13" fmla="*/ 13 h 58"/>
                <a:gd name="T14" fmla="*/ 44 w 160"/>
                <a:gd name="T15" fmla="*/ 13 h 58"/>
                <a:gd name="T16" fmla="*/ 40 w 160"/>
                <a:gd name="T17" fmla="*/ 18 h 58"/>
                <a:gd name="T18" fmla="*/ 53 w 160"/>
                <a:gd name="T19" fmla="*/ 18 h 58"/>
                <a:gd name="T20" fmla="*/ 80 w 160"/>
                <a:gd name="T21" fmla="*/ 27 h 58"/>
                <a:gd name="T22" fmla="*/ 89 w 160"/>
                <a:gd name="T23" fmla="*/ 27 h 58"/>
                <a:gd name="T24" fmla="*/ 93 w 160"/>
                <a:gd name="T25" fmla="*/ 40 h 58"/>
                <a:gd name="T26" fmla="*/ 102 w 160"/>
                <a:gd name="T27" fmla="*/ 44 h 58"/>
                <a:gd name="T28" fmla="*/ 107 w 160"/>
                <a:gd name="T29" fmla="*/ 40 h 58"/>
                <a:gd name="T30" fmla="*/ 111 w 160"/>
                <a:gd name="T31" fmla="*/ 49 h 58"/>
                <a:gd name="T32" fmla="*/ 98 w 160"/>
                <a:gd name="T33" fmla="*/ 58 h 58"/>
                <a:gd name="T34" fmla="*/ 147 w 160"/>
                <a:gd name="T35" fmla="*/ 58 h 58"/>
                <a:gd name="T36" fmla="*/ 160 w 160"/>
                <a:gd name="T37" fmla="*/ 53 h 58"/>
                <a:gd name="T38" fmla="*/ 156 w 160"/>
                <a:gd name="T39" fmla="*/ 44 h 58"/>
                <a:gd name="T40" fmla="*/ 134 w 160"/>
                <a:gd name="T41" fmla="*/ 44 h 58"/>
                <a:gd name="T42" fmla="*/ 134 w 160"/>
                <a:gd name="T43" fmla="*/ 31 h 58"/>
                <a:gd name="T44" fmla="*/ 125 w 160"/>
                <a:gd name="T45" fmla="*/ 35 h 58"/>
                <a:gd name="T46" fmla="*/ 107 w 160"/>
                <a:gd name="T47" fmla="*/ 18 h 58"/>
                <a:gd name="T48" fmla="*/ 102 w 160"/>
                <a:gd name="T49" fmla="*/ 9 h 58"/>
                <a:gd name="T50" fmla="*/ 98 w 160"/>
                <a:gd name="T51" fmla="*/ 9 h 58"/>
                <a:gd name="T52" fmla="*/ 98 w 160"/>
                <a:gd name="T53" fmla="*/ 13 h 58"/>
                <a:gd name="T54" fmla="*/ 84 w 160"/>
                <a:gd name="T55" fmla="*/ 9 h 58"/>
                <a:gd name="T56" fmla="*/ 80 w 160"/>
                <a:gd name="T57" fmla="*/ 13 h 58"/>
                <a:gd name="T58" fmla="*/ 67 w 160"/>
                <a:gd name="T59" fmla="*/ 0 h 58"/>
                <a:gd name="T60" fmla="*/ 40 w 160"/>
                <a:gd name="T61" fmla="*/ 0 h 58"/>
                <a:gd name="T62" fmla="*/ 8 w 160"/>
                <a:gd name="T63" fmla="*/ 9 h 58"/>
                <a:gd name="T64" fmla="*/ 8 w 160"/>
                <a:gd name="T65" fmla="*/ 18 h 58"/>
                <a:gd name="T66" fmla="*/ 31 w 160"/>
                <a:gd name="T67" fmla="*/ 22 h 58"/>
                <a:gd name="T68" fmla="*/ 31 w 160"/>
                <a:gd name="T69" fmla="*/ 27 h 58"/>
                <a:gd name="T70" fmla="*/ 22 w 160"/>
                <a:gd name="T71" fmla="*/ 27 h 58"/>
                <a:gd name="T72" fmla="*/ 31 w 160"/>
                <a:gd name="T73" fmla="*/ 31 h 58"/>
                <a:gd name="T74" fmla="*/ 35 w 160"/>
                <a:gd name="T75" fmla="*/ 27 h 58"/>
                <a:gd name="T76" fmla="*/ 35 w 160"/>
                <a:gd name="T77" fmla="*/ 22 h 58"/>
                <a:gd name="T78" fmla="*/ 31 w 160"/>
                <a:gd name="T79" fmla="*/ 2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0" h="58">
                  <a:moveTo>
                    <a:pt x="8" y="18"/>
                  </a:moveTo>
                  <a:lnTo>
                    <a:pt x="0" y="22"/>
                  </a:lnTo>
                  <a:lnTo>
                    <a:pt x="4" y="27"/>
                  </a:lnTo>
                  <a:lnTo>
                    <a:pt x="17" y="22"/>
                  </a:lnTo>
                  <a:lnTo>
                    <a:pt x="17" y="18"/>
                  </a:lnTo>
                  <a:lnTo>
                    <a:pt x="31" y="18"/>
                  </a:lnTo>
                  <a:lnTo>
                    <a:pt x="35" y="13"/>
                  </a:lnTo>
                  <a:lnTo>
                    <a:pt x="44" y="13"/>
                  </a:lnTo>
                  <a:lnTo>
                    <a:pt x="40" y="18"/>
                  </a:lnTo>
                  <a:lnTo>
                    <a:pt x="53" y="18"/>
                  </a:lnTo>
                  <a:lnTo>
                    <a:pt x="80" y="27"/>
                  </a:lnTo>
                  <a:lnTo>
                    <a:pt x="89" y="27"/>
                  </a:lnTo>
                  <a:lnTo>
                    <a:pt x="93" y="40"/>
                  </a:lnTo>
                  <a:lnTo>
                    <a:pt x="102" y="44"/>
                  </a:lnTo>
                  <a:lnTo>
                    <a:pt x="107" y="40"/>
                  </a:lnTo>
                  <a:lnTo>
                    <a:pt x="111" y="49"/>
                  </a:lnTo>
                  <a:lnTo>
                    <a:pt x="98" y="58"/>
                  </a:lnTo>
                  <a:lnTo>
                    <a:pt x="147" y="58"/>
                  </a:lnTo>
                  <a:lnTo>
                    <a:pt x="160" y="53"/>
                  </a:lnTo>
                  <a:lnTo>
                    <a:pt x="156" y="44"/>
                  </a:lnTo>
                  <a:lnTo>
                    <a:pt x="134" y="44"/>
                  </a:lnTo>
                  <a:lnTo>
                    <a:pt x="134" y="31"/>
                  </a:lnTo>
                  <a:lnTo>
                    <a:pt x="125" y="35"/>
                  </a:lnTo>
                  <a:lnTo>
                    <a:pt x="107" y="18"/>
                  </a:lnTo>
                  <a:lnTo>
                    <a:pt x="102" y="9"/>
                  </a:lnTo>
                  <a:lnTo>
                    <a:pt x="98" y="9"/>
                  </a:lnTo>
                  <a:lnTo>
                    <a:pt x="98" y="13"/>
                  </a:lnTo>
                  <a:lnTo>
                    <a:pt x="84" y="9"/>
                  </a:lnTo>
                  <a:lnTo>
                    <a:pt x="80" y="13"/>
                  </a:lnTo>
                  <a:lnTo>
                    <a:pt x="67" y="0"/>
                  </a:lnTo>
                  <a:lnTo>
                    <a:pt x="40" y="0"/>
                  </a:lnTo>
                  <a:lnTo>
                    <a:pt x="8" y="9"/>
                  </a:lnTo>
                  <a:lnTo>
                    <a:pt x="8" y="18"/>
                  </a:lnTo>
                  <a:close/>
                  <a:moveTo>
                    <a:pt x="31" y="22"/>
                  </a:moveTo>
                  <a:lnTo>
                    <a:pt x="31" y="27"/>
                  </a:lnTo>
                  <a:lnTo>
                    <a:pt x="22" y="27"/>
                  </a:lnTo>
                  <a:lnTo>
                    <a:pt x="31" y="31"/>
                  </a:lnTo>
                  <a:lnTo>
                    <a:pt x="35" y="27"/>
                  </a:lnTo>
                  <a:lnTo>
                    <a:pt x="35" y="22"/>
                  </a:lnTo>
                  <a:lnTo>
                    <a:pt x="31" y="2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06" name="Freeform 14"/>
            <p:cNvSpPr>
              <a:spLocks/>
            </p:cNvSpPr>
            <p:nvPr/>
          </p:nvSpPr>
          <p:spPr bwMode="gray">
            <a:xfrm>
              <a:off x="3301" y="2489"/>
              <a:ext cx="53" cy="36"/>
            </a:xfrm>
            <a:custGeom>
              <a:avLst/>
              <a:gdLst>
                <a:gd name="T0" fmla="*/ 0 w 53"/>
                <a:gd name="T1" fmla="*/ 22 h 36"/>
                <a:gd name="T2" fmla="*/ 13 w 53"/>
                <a:gd name="T3" fmla="*/ 36 h 36"/>
                <a:gd name="T4" fmla="*/ 18 w 53"/>
                <a:gd name="T5" fmla="*/ 22 h 36"/>
                <a:gd name="T6" fmla="*/ 22 w 53"/>
                <a:gd name="T7" fmla="*/ 18 h 36"/>
                <a:gd name="T8" fmla="*/ 22 w 53"/>
                <a:gd name="T9" fmla="*/ 22 h 36"/>
                <a:gd name="T10" fmla="*/ 35 w 53"/>
                <a:gd name="T11" fmla="*/ 18 h 36"/>
                <a:gd name="T12" fmla="*/ 44 w 53"/>
                <a:gd name="T13" fmla="*/ 18 h 36"/>
                <a:gd name="T14" fmla="*/ 49 w 53"/>
                <a:gd name="T15" fmla="*/ 22 h 36"/>
                <a:gd name="T16" fmla="*/ 53 w 53"/>
                <a:gd name="T17" fmla="*/ 18 h 36"/>
                <a:gd name="T18" fmla="*/ 53 w 53"/>
                <a:gd name="T19" fmla="*/ 13 h 36"/>
                <a:gd name="T20" fmla="*/ 44 w 53"/>
                <a:gd name="T21" fmla="*/ 9 h 36"/>
                <a:gd name="T22" fmla="*/ 40 w 53"/>
                <a:gd name="T23" fmla="*/ 4 h 36"/>
                <a:gd name="T24" fmla="*/ 35 w 53"/>
                <a:gd name="T25" fmla="*/ 4 h 36"/>
                <a:gd name="T26" fmla="*/ 31 w 53"/>
                <a:gd name="T27" fmla="*/ 0 h 36"/>
                <a:gd name="T28" fmla="*/ 26 w 53"/>
                <a:gd name="T29" fmla="*/ 0 h 36"/>
                <a:gd name="T30" fmla="*/ 9 w 53"/>
                <a:gd name="T31" fmla="*/ 0 h 36"/>
                <a:gd name="T32" fmla="*/ 4 w 53"/>
                <a:gd name="T33" fmla="*/ 0 h 36"/>
                <a:gd name="T34" fmla="*/ 4 w 53"/>
                <a:gd name="T35" fmla="*/ 9 h 36"/>
                <a:gd name="T36" fmla="*/ 0 w 53"/>
                <a:gd name="T37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3" h="36">
                  <a:moveTo>
                    <a:pt x="0" y="22"/>
                  </a:moveTo>
                  <a:lnTo>
                    <a:pt x="13" y="36"/>
                  </a:lnTo>
                  <a:lnTo>
                    <a:pt x="18" y="22"/>
                  </a:lnTo>
                  <a:lnTo>
                    <a:pt x="22" y="18"/>
                  </a:lnTo>
                  <a:lnTo>
                    <a:pt x="22" y="22"/>
                  </a:lnTo>
                  <a:lnTo>
                    <a:pt x="35" y="18"/>
                  </a:lnTo>
                  <a:lnTo>
                    <a:pt x="44" y="18"/>
                  </a:lnTo>
                  <a:lnTo>
                    <a:pt x="49" y="22"/>
                  </a:lnTo>
                  <a:lnTo>
                    <a:pt x="53" y="18"/>
                  </a:lnTo>
                  <a:lnTo>
                    <a:pt x="53" y="13"/>
                  </a:lnTo>
                  <a:lnTo>
                    <a:pt x="44" y="9"/>
                  </a:lnTo>
                  <a:lnTo>
                    <a:pt x="40" y="4"/>
                  </a:lnTo>
                  <a:lnTo>
                    <a:pt x="35" y="4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9" y="0"/>
                  </a:lnTo>
                  <a:lnTo>
                    <a:pt x="4" y="0"/>
                  </a:lnTo>
                  <a:lnTo>
                    <a:pt x="4" y="9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07" name="Freeform 15"/>
            <p:cNvSpPr>
              <a:spLocks noEditPoints="1"/>
            </p:cNvSpPr>
            <p:nvPr/>
          </p:nvSpPr>
          <p:spPr bwMode="gray">
            <a:xfrm>
              <a:off x="3024" y="2757"/>
              <a:ext cx="232" cy="94"/>
            </a:xfrm>
            <a:custGeom>
              <a:avLst/>
              <a:gdLst>
                <a:gd name="T0" fmla="*/ 4 w 232"/>
                <a:gd name="T1" fmla="*/ 22 h 94"/>
                <a:gd name="T2" fmla="*/ 0 w 232"/>
                <a:gd name="T3" fmla="*/ 27 h 94"/>
                <a:gd name="T4" fmla="*/ 4 w 232"/>
                <a:gd name="T5" fmla="*/ 36 h 94"/>
                <a:gd name="T6" fmla="*/ 0 w 232"/>
                <a:gd name="T7" fmla="*/ 40 h 94"/>
                <a:gd name="T8" fmla="*/ 4 w 232"/>
                <a:gd name="T9" fmla="*/ 45 h 94"/>
                <a:gd name="T10" fmla="*/ 9 w 232"/>
                <a:gd name="T11" fmla="*/ 40 h 94"/>
                <a:gd name="T12" fmla="*/ 4 w 232"/>
                <a:gd name="T13" fmla="*/ 22 h 94"/>
                <a:gd name="T14" fmla="*/ 13 w 232"/>
                <a:gd name="T15" fmla="*/ 31 h 94"/>
                <a:gd name="T16" fmla="*/ 13 w 232"/>
                <a:gd name="T17" fmla="*/ 31 h 94"/>
                <a:gd name="T18" fmla="*/ 18 w 232"/>
                <a:gd name="T19" fmla="*/ 40 h 94"/>
                <a:gd name="T20" fmla="*/ 18 w 232"/>
                <a:gd name="T21" fmla="*/ 36 h 94"/>
                <a:gd name="T22" fmla="*/ 13 w 232"/>
                <a:gd name="T23" fmla="*/ 31 h 94"/>
                <a:gd name="T24" fmla="*/ 161 w 232"/>
                <a:gd name="T25" fmla="*/ 76 h 94"/>
                <a:gd name="T26" fmla="*/ 161 w 232"/>
                <a:gd name="T27" fmla="*/ 80 h 94"/>
                <a:gd name="T28" fmla="*/ 156 w 232"/>
                <a:gd name="T29" fmla="*/ 85 h 94"/>
                <a:gd name="T30" fmla="*/ 161 w 232"/>
                <a:gd name="T31" fmla="*/ 94 h 94"/>
                <a:gd name="T32" fmla="*/ 183 w 232"/>
                <a:gd name="T33" fmla="*/ 94 h 94"/>
                <a:gd name="T34" fmla="*/ 187 w 232"/>
                <a:gd name="T35" fmla="*/ 71 h 94"/>
                <a:gd name="T36" fmla="*/ 210 w 232"/>
                <a:gd name="T37" fmla="*/ 62 h 94"/>
                <a:gd name="T38" fmla="*/ 232 w 232"/>
                <a:gd name="T39" fmla="*/ 36 h 94"/>
                <a:gd name="T40" fmla="*/ 232 w 232"/>
                <a:gd name="T41" fmla="*/ 27 h 94"/>
                <a:gd name="T42" fmla="*/ 210 w 232"/>
                <a:gd name="T43" fmla="*/ 13 h 94"/>
                <a:gd name="T44" fmla="*/ 201 w 232"/>
                <a:gd name="T45" fmla="*/ 18 h 94"/>
                <a:gd name="T46" fmla="*/ 196 w 232"/>
                <a:gd name="T47" fmla="*/ 13 h 94"/>
                <a:gd name="T48" fmla="*/ 183 w 232"/>
                <a:gd name="T49" fmla="*/ 0 h 94"/>
                <a:gd name="T50" fmla="*/ 161 w 232"/>
                <a:gd name="T51" fmla="*/ 9 h 94"/>
                <a:gd name="T52" fmla="*/ 165 w 232"/>
                <a:gd name="T53" fmla="*/ 18 h 94"/>
                <a:gd name="T54" fmla="*/ 156 w 232"/>
                <a:gd name="T55" fmla="*/ 36 h 94"/>
                <a:gd name="T56" fmla="*/ 152 w 232"/>
                <a:gd name="T57" fmla="*/ 36 h 94"/>
                <a:gd name="T58" fmla="*/ 152 w 232"/>
                <a:gd name="T59" fmla="*/ 45 h 94"/>
                <a:gd name="T60" fmla="*/ 147 w 232"/>
                <a:gd name="T61" fmla="*/ 58 h 94"/>
                <a:gd name="T62" fmla="*/ 156 w 232"/>
                <a:gd name="T63" fmla="*/ 62 h 94"/>
                <a:gd name="T64" fmla="*/ 169 w 232"/>
                <a:gd name="T65" fmla="*/ 58 h 94"/>
                <a:gd name="T66" fmla="*/ 169 w 232"/>
                <a:gd name="T67" fmla="*/ 62 h 94"/>
                <a:gd name="T68" fmla="*/ 161 w 232"/>
                <a:gd name="T69" fmla="*/ 7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2" h="94">
                  <a:moveTo>
                    <a:pt x="4" y="22"/>
                  </a:moveTo>
                  <a:lnTo>
                    <a:pt x="0" y="27"/>
                  </a:lnTo>
                  <a:lnTo>
                    <a:pt x="4" y="36"/>
                  </a:lnTo>
                  <a:lnTo>
                    <a:pt x="0" y="40"/>
                  </a:lnTo>
                  <a:lnTo>
                    <a:pt x="4" y="45"/>
                  </a:lnTo>
                  <a:lnTo>
                    <a:pt x="9" y="40"/>
                  </a:lnTo>
                  <a:lnTo>
                    <a:pt x="4" y="22"/>
                  </a:lnTo>
                  <a:close/>
                  <a:moveTo>
                    <a:pt x="13" y="31"/>
                  </a:moveTo>
                  <a:lnTo>
                    <a:pt x="13" y="31"/>
                  </a:lnTo>
                  <a:lnTo>
                    <a:pt x="18" y="40"/>
                  </a:lnTo>
                  <a:lnTo>
                    <a:pt x="18" y="36"/>
                  </a:lnTo>
                  <a:lnTo>
                    <a:pt x="13" y="31"/>
                  </a:lnTo>
                  <a:close/>
                  <a:moveTo>
                    <a:pt x="161" y="76"/>
                  </a:moveTo>
                  <a:lnTo>
                    <a:pt x="161" y="80"/>
                  </a:lnTo>
                  <a:lnTo>
                    <a:pt x="156" y="85"/>
                  </a:lnTo>
                  <a:lnTo>
                    <a:pt x="161" y="94"/>
                  </a:lnTo>
                  <a:lnTo>
                    <a:pt x="183" y="94"/>
                  </a:lnTo>
                  <a:lnTo>
                    <a:pt x="187" y="71"/>
                  </a:lnTo>
                  <a:lnTo>
                    <a:pt x="210" y="62"/>
                  </a:lnTo>
                  <a:lnTo>
                    <a:pt x="232" y="36"/>
                  </a:lnTo>
                  <a:lnTo>
                    <a:pt x="232" y="27"/>
                  </a:lnTo>
                  <a:lnTo>
                    <a:pt x="210" y="13"/>
                  </a:lnTo>
                  <a:lnTo>
                    <a:pt x="201" y="18"/>
                  </a:lnTo>
                  <a:lnTo>
                    <a:pt x="196" y="13"/>
                  </a:lnTo>
                  <a:lnTo>
                    <a:pt x="183" y="0"/>
                  </a:lnTo>
                  <a:lnTo>
                    <a:pt x="161" y="9"/>
                  </a:lnTo>
                  <a:lnTo>
                    <a:pt x="165" y="18"/>
                  </a:lnTo>
                  <a:lnTo>
                    <a:pt x="156" y="36"/>
                  </a:lnTo>
                  <a:lnTo>
                    <a:pt x="152" y="36"/>
                  </a:lnTo>
                  <a:lnTo>
                    <a:pt x="152" y="45"/>
                  </a:lnTo>
                  <a:lnTo>
                    <a:pt x="147" y="58"/>
                  </a:lnTo>
                  <a:lnTo>
                    <a:pt x="156" y="62"/>
                  </a:lnTo>
                  <a:lnTo>
                    <a:pt x="169" y="58"/>
                  </a:lnTo>
                  <a:lnTo>
                    <a:pt x="169" y="62"/>
                  </a:lnTo>
                  <a:lnTo>
                    <a:pt x="161" y="76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08" name="Freeform 16"/>
            <p:cNvSpPr>
              <a:spLocks/>
            </p:cNvSpPr>
            <p:nvPr/>
          </p:nvSpPr>
          <p:spPr bwMode="gray">
            <a:xfrm>
              <a:off x="3037" y="2569"/>
              <a:ext cx="36" cy="23"/>
            </a:xfrm>
            <a:custGeom>
              <a:avLst/>
              <a:gdLst>
                <a:gd name="T0" fmla="*/ 0 w 36"/>
                <a:gd name="T1" fmla="*/ 9 h 23"/>
                <a:gd name="T2" fmla="*/ 27 w 36"/>
                <a:gd name="T3" fmla="*/ 23 h 23"/>
                <a:gd name="T4" fmla="*/ 36 w 36"/>
                <a:gd name="T5" fmla="*/ 18 h 23"/>
                <a:gd name="T6" fmla="*/ 36 w 36"/>
                <a:gd name="T7" fmla="*/ 18 h 23"/>
                <a:gd name="T8" fmla="*/ 36 w 36"/>
                <a:gd name="T9" fmla="*/ 5 h 23"/>
                <a:gd name="T10" fmla="*/ 27 w 36"/>
                <a:gd name="T11" fmla="*/ 5 h 23"/>
                <a:gd name="T12" fmla="*/ 22 w 36"/>
                <a:gd name="T13" fmla="*/ 0 h 23"/>
                <a:gd name="T14" fmla="*/ 14 w 36"/>
                <a:gd name="T15" fmla="*/ 0 h 23"/>
                <a:gd name="T16" fmla="*/ 14 w 36"/>
                <a:gd name="T17" fmla="*/ 5 h 23"/>
                <a:gd name="T18" fmla="*/ 0 w 36"/>
                <a:gd name="T1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23">
                  <a:moveTo>
                    <a:pt x="0" y="9"/>
                  </a:moveTo>
                  <a:lnTo>
                    <a:pt x="27" y="23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5"/>
                  </a:lnTo>
                  <a:lnTo>
                    <a:pt x="27" y="5"/>
                  </a:lnTo>
                  <a:lnTo>
                    <a:pt x="22" y="0"/>
                  </a:lnTo>
                  <a:lnTo>
                    <a:pt x="14" y="0"/>
                  </a:lnTo>
                  <a:lnTo>
                    <a:pt x="14" y="5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09" name="Freeform 17"/>
            <p:cNvSpPr>
              <a:spLocks noEditPoints="1"/>
            </p:cNvSpPr>
            <p:nvPr/>
          </p:nvSpPr>
          <p:spPr bwMode="gray">
            <a:xfrm>
              <a:off x="3470" y="3655"/>
              <a:ext cx="45" cy="27"/>
            </a:xfrm>
            <a:custGeom>
              <a:avLst/>
              <a:gdLst>
                <a:gd name="T0" fmla="*/ 18 w 45"/>
                <a:gd name="T1" fmla="*/ 5 h 27"/>
                <a:gd name="T2" fmla="*/ 0 w 45"/>
                <a:gd name="T3" fmla="*/ 0 h 27"/>
                <a:gd name="T4" fmla="*/ 9 w 45"/>
                <a:gd name="T5" fmla="*/ 9 h 27"/>
                <a:gd name="T6" fmla="*/ 0 w 45"/>
                <a:gd name="T7" fmla="*/ 22 h 27"/>
                <a:gd name="T8" fmla="*/ 5 w 45"/>
                <a:gd name="T9" fmla="*/ 27 h 27"/>
                <a:gd name="T10" fmla="*/ 14 w 45"/>
                <a:gd name="T11" fmla="*/ 18 h 27"/>
                <a:gd name="T12" fmla="*/ 18 w 45"/>
                <a:gd name="T13" fmla="*/ 5 h 27"/>
                <a:gd name="T14" fmla="*/ 23 w 45"/>
                <a:gd name="T15" fmla="*/ 0 h 27"/>
                <a:gd name="T16" fmla="*/ 23 w 45"/>
                <a:gd name="T17" fmla="*/ 9 h 27"/>
                <a:gd name="T18" fmla="*/ 18 w 45"/>
                <a:gd name="T19" fmla="*/ 9 h 27"/>
                <a:gd name="T20" fmla="*/ 14 w 45"/>
                <a:gd name="T21" fmla="*/ 22 h 27"/>
                <a:gd name="T22" fmla="*/ 23 w 45"/>
                <a:gd name="T23" fmla="*/ 27 h 27"/>
                <a:gd name="T24" fmla="*/ 27 w 45"/>
                <a:gd name="T25" fmla="*/ 27 h 27"/>
                <a:gd name="T26" fmla="*/ 36 w 45"/>
                <a:gd name="T27" fmla="*/ 18 h 27"/>
                <a:gd name="T28" fmla="*/ 45 w 45"/>
                <a:gd name="T29" fmla="*/ 9 h 27"/>
                <a:gd name="T30" fmla="*/ 41 w 45"/>
                <a:gd name="T31" fmla="*/ 5 h 27"/>
                <a:gd name="T32" fmla="*/ 23 w 45"/>
                <a:gd name="T3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27">
                  <a:moveTo>
                    <a:pt x="18" y="5"/>
                  </a:moveTo>
                  <a:lnTo>
                    <a:pt x="0" y="0"/>
                  </a:lnTo>
                  <a:lnTo>
                    <a:pt x="9" y="9"/>
                  </a:lnTo>
                  <a:lnTo>
                    <a:pt x="0" y="22"/>
                  </a:lnTo>
                  <a:lnTo>
                    <a:pt x="5" y="27"/>
                  </a:lnTo>
                  <a:lnTo>
                    <a:pt x="14" y="18"/>
                  </a:lnTo>
                  <a:lnTo>
                    <a:pt x="18" y="5"/>
                  </a:lnTo>
                  <a:close/>
                  <a:moveTo>
                    <a:pt x="23" y="0"/>
                  </a:moveTo>
                  <a:lnTo>
                    <a:pt x="23" y="9"/>
                  </a:lnTo>
                  <a:lnTo>
                    <a:pt x="18" y="9"/>
                  </a:lnTo>
                  <a:lnTo>
                    <a:pt x="14" y="22"/>
                  </a:lnTo>
                  <a:lnTo>
                    <a:pt x="23" y="27"/>
                  </a:lnTo>
                  <a:lnTo>
                    <a:pt x="27" y="27"/>
                  </a:lnTo>
                  <a:lnTo>
                    <a:pt x="36" y="18"/>
                  </a:lnTo>
                  <a:lnTo>
                    <a:pt x="45" y="9"/>
                  </a:lnTo>
                  <a:lnTo>
                    <a:pt x="41" y="5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10" name="Freeform 18"/>
            <p:cNvSpPr>
              <a:spLocks/>
            </p:cNvSpPr>
            <p:nvPr/>
          </p:nvSpPr>
          <p:spPr bwMode="gray">
            <a:xfrm>
              <a:off x="3551" y="2699"/>
              <a:ext cx="44" cy="53"/>
            </a:xfrm>
            <a:custGeom>
              <a:avLst/>
              <a:gdLst>
                <a:gd name="T0" fmla="*/ 9 w 44"/>
                <a:gd name="T1" fmla="*/ 4 h 53"/>
                <a:gd name="T2" fmla="*/ 4 w 44"/>
                <a:gd name="T3" fmla="*/ 13 h 53"/>
                <a:gd name="T4" fmla="*/ 13 w 44"/>
                <a:gd name="T5" fmla="*/ 31 h 53"/>
                <a:gd name="T6" fmla="*/ 0 w 44"/>
                <a:gd name="T7" fmla="*/ 45 h 53"/>
                <a:gd name="T8" fmla="*/ 9 w 44"/>
                <a:gd name="T9" fmla="*/ 53 h 53"/>
                <a:gd name="T10" fmla="*/ 22 w 44"/>
                <a:gd name="T11" fmla="*/ 53 h 53"/>
                <a:gd name="T12" fmla="*/ 36 w 44"/>
                <a:gd name="T13" fmla="*/ 45 h 53"/>
                <a:gd name="T14" fmla="*/ 44 w 44"/>
                <a:gd name="T15" fmla="*/ 27 h 53"/>
                <a:gd name="T16" fmla="*/ 40 w 44"/>
                <a:gd name="T17" fmla="*/ 18 h 53"/>
                <a:gd name="T18" fmla="*/ 27 w 44"/>
                <a:gd name="T19" fmla="*/ 4 h 53"/>
                <a:gd name="T20" fmla="*/ 13 w 44"/>
                <a:gd name="T21" fmla="*/ 0 h 53"/>
                <a:gd name="T22" fmla="*/ 9 w 44"/>
                <a:gd name="T23" fmla="*/ 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" h="53">
                  <a:moveTo>
                    <a:pt x="9" y="4"/>
                  </a:moveTo>
                  <a:lnTo>
                    <a:pt x="4" y="13"/>
                  </a:lnTo>
                  <a:lnTo>
                    <a:pt x="13" y="31"/>
                  </a:lnTo>
                  <a:lnTo>
                    <a:pt x="0" y="45"/>
                  </a:lnTo>
                  <a:lnTo>
                    <a:pt x="9" y="53"/>
                  </a:lnTo>
                  <a:lnTo>
                    <a:pt x="22" y="53"/>
                  </a:lnTo>
                  <a:lnTo>
                    <a:pt x="36" y="45"/>
                  </a:lnTo>
                  <a:lnTo>
                    <a:pt x="44" y="27"/>
                  </a:lnTo>
                  <a:lnTo>
                    <a:pt x="40" y="18"/>
                  </a:lnTo>
                  <a:lnTo>
                    <a:pt x="27" y="4"/>
                  </a:lnTo>
                  <a:lnTo>
                    <a:pt x="13" y="0"/>
                  </a:lnTo>
                  <a:lnTo>
                    <a:pt x="9" y="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11" name="Freeform 19"/>
            <p:cNvSpPr>
              <a:spLocks noEditPoints="1"/>
            </p:cNvSpPr>
            <p:nvPr/>
          </p:nvSpPr>
          <p:spPr bwMode="gray">
            <a:xfrm>
              <a:off x="2162" y="2927"/>
              <a:ext cx="250" cy="290"/>
            </a:xfrm>
            <a:custGeom>
              <a:avLst/>
              <a:gdLst>
                <a:gd name="T0" fmla="*/ 0 w 250"/>
                <a:gd name="T1" fmla="*/ 103 h 290"/>
                <a:gd name="T2" fmla="*/ 0 w 250"/>
                <a:gd name="T3" fmla="*/ 103 h 290"/>
                <a:gd name="T4" fmla="*/ 4 w 250"/>
                <a:gd name="T5" fmla="*/ 103 h 290"/>
                <a:gd name="T6" fmla="*/ 0 w 250"/>
                <a:gd name="T7" fmla="*/ 103 h 290"/>
                <a:gd name="T8" fmla="*/ 26 w 250"/>
                <a:gd name="T9" fmla="*/ 120 h 290"/>
                <a:gd name="T10" fmla="*/ 26 w 250"/>
                <a:gd name="T11" fmla="*/ 120 h 290"/>
                <a:gd name="T12" fmla="*/ 31 w 250"/>
                <a:gd name="T13" fmla="*/ 125 h 290"/>
                <a:gd name="T14" fmla="*/ 35 w 250"/>
                <a:gd name="T15" fmla="*/ 120 h 290"/>
                <a:gd name="T16" fmla="*/ 26 w 250"/>
                <a:gd name="T17" fmla="*/ 120 h 290"/>
                <a:gd name="T18" fmla="*/ 49 w 250"/>
                <a:gd name="T19" fmla="*/ 80 h 290"/>
                <a:gd name="T20" fmla="*/ 49 w 250"/>
                <a:gd name="T21" fmla="*/ 85 h 290"/>
                <a:gd name="T22" fmla="*/ 58 w 250"/>
                <a:gd name="T23" fmla="*/ 85 h 290"/>
                <a:gd name="T24" fmla="*/ 53 w 250"/>
                <a:gd name="T25" fmla="*/ 80 h 290"/>
                <a:gd name="T26" fmla="*/ 49 w 250"/>
                <a:gd name="T27" fmla="*/ 80 h 290"/>
                <a:gd name="T28" fmla="*/ 80 w 250"/>
                <a:gd name="T29" fmla="*/ 98 h 290"/>
                <a:gd name="T30" fmla="*/ 84 w 250"/>
                <a:gd name="T31" fmla="*/ 103 h 290"/>
                <a:gd name="T32" fmla="*/ 89 w 250"/>
                <a:gd name="T33" fmla="*/ 103 h 290"/>
                <a:gd name="T34" fmla="*/ 84 w 250"/>
                <a:gd name="T35" fmla="*/ 98 h 290"/>
                <a:gd name="T36" fmla="*/ 80 w 250"/>
                <a:gd name="T37" fmla="*/ 98 h 290"/>
                <a:gd name="T38" fmla="*/ 102 w 250"/>
                <a:gd name="T39" fmla="*/ 286 h 290"/>
                <a:gd name="T40" fmla="*/ 102 w 250"/>
                <a:gd name="T41" fmla="*/ 286 h 290"/>
                <a:gd name="T42" fmla="*/ 107 w 250"/>
                <a:gd name="T43" fmla="*/ 290 h 290"/>
                <a:gd name="T44" fmla="*/ 107 w 250"/>
                <a:gd name="T45" fmla="*/ 286 h 290"/>
                <a:gd name="T46" fmla="*/ 102 w 250"/>
                <a:gd name="T47" fmla="*/ 286 h 290"/>
                <a:gd name="T48" fmla="*/ 111 w 250"/>
                <a:gd name="T49" fmla="*/ 98 h 290"/>
                <a:gd name="T50" fmla="*/ 111 w 250"/>
                <a:gd name="T51" fmla="*/ 103 h 290"/>
                <a:gd name="T52" fmla="*/ 116 w 250"/>
                <a:gd name="T53" fmla="*/ 103 h 290"/>
                <a:gd name="T54" fmla="*/ 116 w 250"/>
                <a:gd name="T55" fmla="*/ 103 h 290"/>
                <a:gd name="T56" fmla="*/ 111 w 250"/>
                <a:gd name="T57" fmla="*/ 98 h 290"/>
                <a:gd name="T58" fmla="*/ 116 w 250"/>
                <a:gd name="T59" fmla="*/ 165 h 290"/>
                <a:gd name="T60" fmla="*/ 116 w 250"/>
                <a:gd name="T61" fmla="*/ 165 h 290"/>
                <a:gd name="T62" fmla="*/ 120 w 250"/>
                <a:gd name="T63" fmla="*/ 165 h 290"/>
                <a:gd name="T64" fmla="*/ 120 w 250"/>
                <a:gd name="T65" fmla="*/ 170 h 290"/>
                <a:gd name="T66" fmla="*/ 120 w 250"/>
                <a:gd name="T67" fmla="*/ 170 h 290"/>
                <a:gd name="T68" fmla="*/ 116 w 250"/>
                <a:gd name="T69" fmla="*/ 165 h 290"/>
                <a:gd name="T70" fmla="*/ 151 w 250"/>
                <a:gd name="T71" fmla="*/ 125 h 290"/>
                <a:gd name="T72" fmla="*/ 156 w 250"/>
                <a:gd name="T73" fmla="*/ 129 h 290"/>
                <a:gd name="T74" fmla="*/ 156 w 250"/>
                <a:gd name="T75" fmla="*/ 129 h 290"/>
                <a:gd name="T76" fmla="*/ 151 w 250"/>
                <a:gd name="T77" fmla="*/ 125 h 290"/>
                <a:gd name="T78" fmla="*/ 151 w 250"/>
                <a:gd name="T79" fmla="*/ 125 h 290"/>
                <a:gd name="T80" fmla="*/ 174 w 250"/>
                <a:gd name="T81" fmla="*/ 0 h 290"/>
                <a:gd name="T82" fmla="*/ 174 w 250"/>
                <a:gd name="T83" fmla="*/ 0 h 290"/>
                <a:gd name="T84" fmla="*/ 178 w 250"/>
                <a:gd name="T85" fmla="*/ 0 h 290"/>
                <a:gd name="T86" fmla="*/ 178 w 250"/>
                <a:gd name="T87" fmla="*/ 0 h 290"/>
                <a:gd name="T88" fmla="*/ 174 w 250"/>
                <a:gd name="T89" fmla="*/ 0 h 290"/>
                <a:gd name="T90" fmla="*/ 214 w 250"/>
                <a:gd name="T91" fmla="*/ 125 h 290"/>
                <a:gd name="T92" fmla="*/ 214 w 250"/>
                <a:gd name="T93" fmla="*/ 134 h 290"/>
                <a:gd name="T94" fmla="*/ 214 w 250"/>
                <a:gd name="T95" fmla="*/ 129 h 290"/>
                <a:gd name="T96" fmla="*/ 214 w 250"/>
                <a:gd name="T97" fmla="*/ 125 h 290"/>
                <a:gd name="T98" fmla="*/ 241 w 250"/>
                <a:gd name="T99" fmla="*/ 201 h 290"/>
                <a:gd name="T100" fmla="*/ 236 w 250"/>
                <a:gd name="T101" fmla="*/ 205 h 290"/>
                <a:gd name="T102" fmla="*/ 241 w 250"/>
                <a:gd name="T103" fmla="*/ 205 h 290"/>
                <a:gd name="T104" fmla="*/ 241 w 250"/>
                <a:gd name="T105" fmla="*/ 201 h 290"/>
                <a:gd name="T106" fmla="*/ 241 w 250"/>
                <a:gd name="T107" fmla="*/ 201 h 290"/>
                <a:gd name="T108" fmla="*/ 245 w 250"/>
                <a:gd name="T109" fmla="*/ 205 h 290"/>
                <a:gd name="T110" fmla="*/ 245 w 250"/>
                <a:gd name="T111" fmla="*/ 205 h 290"/>
                <a:gd name="T112" fmla="*/ 250 w 250"/>
                <a:gd name="T113" fmla="*/ 210 h 290"/>
                <a:gd name="T114" fmla="*/ 250 w 250"/>
                <a:gd name="T115" fmla="*/ 205 h 290"/>
                <a:gd name="T116" fmla="*/ 245 w 250"/>
                <a:gd name="T117" fmla="*/ 205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0" h="290">
                  <a:moveTo>
                    <a:pt x="0" y="103"/>
                  </a:moveTo>
                  <a:lnTo>
                    <a:pt x="0" y="103"/>
                  </a:lnTo>
                  <a:lnTo>
                    <a:pt x="4" y="103"/>
                  </a:lnTo>
                  <a:lnTo>
                    <a:pt x="0" y="103"/>
                  </a:lnTo>
                  <a:close/>
                  <a:moveTo>
                    <a:pt x="26" y="120"/>
                  </a:moveTo>
                  <a:lnTo>
                    <a:pt x="26" y="120"/>
                  </a:lnTo>
                  <a:lnTo>
                    <a:pt x="31" y="125"/>
                  </a:lnTo>
                  <a:lnTo>
                    <a:pt x="35" y="120"/>
                  </a:lnTo>
                  <a:lnTo>
                    <a:pt x="26" y="120"/>
                  </a:lnTo>
                  <a:close/>
                  <a:moveTo>
                    <a:pt x="49" y="80"/>
                  </a:moveTo>
                  <a:lnTo>
                    <a:pt x="49" y="85"/>
                  </a:lnTo>
                  <a:lnTo>
                    <a:pt x="58" y="85"/>
                  </a:lnTo>
                  <a:lnTo>
                    <a:pt x="53" y="80"/>
                  </a:lnTo>
                  <a:lnTo>
                    <a:pt x="49" y="80"/>
                  </a:lnTo>
                  <a:close/>
                  <a:moveTo>
                    <a:pt x="80" y="98"/>
                  </a:moveTo>
                  <a:lnTo>
                    <a:pt x="84" y="103"/>
                  </a:lnTo>
                  <a:lnTo>
                    <a:pt x="89" y="103"/>
                  </a:lnTo>
                  <a:lnTo>
                    <a:pt x="84" y="98"/>
                  </a:lnTo>
                  <a:lnTo>
                    <a:pt x="80" y="98"/>
                  </a:lnTo>
                  <a:close/>
                  <a:moveTo>
                    <a:pt x="102" y="286"/>
                  </a:moveTo>
                  <a:lnTo>
                    <a:pt x="102" y="286"/>
                  </a:lnTo>
                  <a:lnTo>
                    <a:pt x="107" y="290"/>
                  </a:lnTo>
                  <a:lnTo>
                    <a:pt x="107" y="286"/>
                  </a:lnTo>
                  <a:lnTo>
                    <a:pt x="102" y="286"/>
                  </a:lnTo>
                  <a:close/>
                  <a:moveTo>
                    <a:pt x="111" y="98"/>
                  </a:moveTo>
                  <a:lnTo>
                    <a:pt x="111" y="103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1" y="98"/>
                  </a:lnTo>
                  <a:close/>
                  <a:moveTo>
                    <a:pt x="116" y="165"/>
                  </a:moveTo>
                  <a:lnTo>
                    <a:pt x="116" y="165"/>
                  </a:lnTo>
                  <a:lnTo>
                    <a:pt x="120" y="165"/>
                  </a:lnTo>
                  <a:lnTo>
                    <a:pt x="120" y="170"/>
                  </a:lnTo>
                  <a:lnTo>
                    <a:pt x="120" y="170"/>
                  </a:lnTo>
                  <a:lnTo>
                    <a:pt x="116" y="165"/>
                  </a:lnTo>
                  <a:close/>
                  <a:moveTo>
                    <a:pt x="151" y="125"/>
                  </a:moveTo>
                  <a:lnTo>
                    <a:pt x="156" y="129"/>
                  </a:lnTo>
                  <a:lnTo>
                    <a:pt x="156" y="129"/>
                  </a:lnTo>
                  <a:lnTo>
                    <a:pt x="151" y="125"/>
                  </a:lnTo>
                  <a:lnTo>
                    <a:pt x="151" y="125"/>
                  </a:lnTo>
                  <a:close/>
                  <a:moveTo>
                    <a:pt x="174" y="0"/>
                  </a:moveTo>
                  <a:lnTo>
                    <a:pt x="174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4" y="0"/>
                  </a:lnTo>
                  <a:close/>
                  <a:moveTo>
                    <a:pt x="214" y="125"/>
                  </a:moveTo>
                  <a:lnTo>
                    <a:pt x="214" y="134"/>
                  </a:lnTo>
                  <a:lnTo>
                    <a:pt x="214" y="129"/>
                  </a:lnTo>
                  <a:lnTo>
                    <a:pt x="214" y="125"/>
                  </a:lnTo>
                  <a:close/>
                  <a:moveTo>
                    <a:pt x="241" y="201"/>
                  </a:moveTo>
                  <a:lnTo>
                    <a:pt x="236" y="205"/>
                  </a:lnTo>
                  <a:lnTo>
                    <a:pt x="241" y="205"/>
                  </a:lnTo>
                  <a:lnTo>
                    <a:pt x="241" y="201"/>
                  </a:lnTo>
                  <a:lnTo>
                    <a:pt x="241" y="201"/>
                  </a:lnTo>
                  <a:close/>
                  <a:moveTo>
                    <a:pt x="245" y="205"/>
                  </a:moveTo>
                  <a:lnTo>
                    <a:pt x="245" y="205"/>
                  </a:lnTo>
                  <a:lnTo>
                    <a:pt x="250" y="210"/>
                  </a:lnTo>
                  <a:lnTo>
                    <a:pt x="250" y="205"/>
                  </a:lnTo>
                  <a:lnTo>
                    <a:pt x="245" y="20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12" name="Freeform 20"/>
            <p:cNvSpPr>
              <a:spLocks/>
            </p:cNvSpPr>
            <p:nvPr/>
          </p:nvSpPr>
          <p:spPr bwMode="gray">
            <a:xfrm>
              <a:off x="3448" y="2601"/>
              <a:ext cx="9" cy="4"/>
            </a:xfrm>
            <a:custGeom>
              <a:avLst/>
              <a:gdLst>
                <a:gd name="T0" fmla="*/ 5 w 9"/>
                <a:gd name="T1" fmla="*/ 0 h 4"/>
                <a:gd name="T2" fmla="*/ 0 w 9"/>
                <a:gd name="T3" fmla="*/ 4 h 4"/>
                <a:gd name="T4" fmla="*/ 5 w 9"/>
                <a:gd name="T5" fmla="*/ 4 h 4"/>
                <a:gd name="T6" fmla="*/ 9 w 9"/>
                <a:gd name="T7" fmla="*/ 4 h 4"/>
                <a:gd name="T8" fmla="*/ 5 w 9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5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9" y="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13" name="Freeform 21"/>
            <p:cNvSpPr>
              <a:spLocks/>
            </p:cNvSpPr>
            <p:nvPr/>
          </p:nvSpPr>
          <p:spPr bwMode="gray">
            <a:xfrm>
              <a:off x="3453" y="2538"/>
              <a:ext cx="8" cy="9"/>
            </a:xfrm>
            <a:custGeom>
              <a:avLst/>
              <a:gdLst>
                <a:gd name="T0" fmla="*/ 4 w 8"/>
                <a:gd name="T1" fmla="*/ 0 h 9"/>
                <a:gd name="T2" fmla="*/ 4 w 8"/>
                <a:gd name="T3" fmla="*/ 4 h 9"/>
                <a:gd name="T4" fmla="*/ 0 w 8"/>
                <a:gd name="T5" fmla="*/ 4 h 9"/>
                <a:gd name="T6" fmla="*/ 4 w 8"/>
                <a:gd name="T7" fmla="*/ 9 h 9"/>
                <a:gd name="T8" fmla="*/ 4 w 8"/>
                <a:gd name="T9" fmla="*/ 4 h 9"/>
                <a:gd name="T10" fmla="*/ 8 w 8"/>
                <a:gd name="T11" fmla="*/ 4 h 9"/>
                <a:gd name="T12" fmla="*/ 4 w 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9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9"/>
                  </a:lnTo>
                  <a:lnTo>
                    <a:pt x="4" y="4"/>
                  </a:lnTo>
                  <a:lnTo>
                    <a:pt x="8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14" name="Freeform 22"/>
            <p:cNvSpPr>
              <a:spLocks/>
            </p:cNvSpPr>
            <p:nvPr/>
          </p:nvSpPr>
          <p:spPr bwMode="gray">
            <a:xfrm>
              <a:off x="3010" y="2516"/>
              <a:ext cx="58" cy="62"/>
            </a:xfrm>
            <a:custGeom>
              <a:avLst/>
              <a:gdLst>
                <a:gd name="T0" fmla="*/ 0 w 58"/>
                <a:gd name="T1" fmla="*/ 53 h 62"/>
                <a:gd name="T2" fmla="*/ 9 w 58"/>
                <a:gd name="T3" fmla="*/ 62 h 62"/>
                <a:gd name="T4" fmla="*/ 18 w 58"/>
                <a:gd name="T5" fmla="*/ 58 h 62"/>
                <a:gd name="T6" fmla="*/ 27 w 58"/>
                <a:gd name="T7" fmla="*/ 62 h 62"/>
                <a:gd name="T8" fmla="*/ 41 w 58"/>
                <a:gd name="T9" fmla="*/ 58 h 62"/>
                <a:gd name="T10" fmla="*/ 41 w 58"/>
                <a:gd name="T11" fmla="*/ 53 h 62"/>
                <a:gd name="T12" fmla="*/ 41 w 58"/>
                <a:gd name="T13" fmla="*/ 49 h 62"/>
                <a:gd name="T14" fmla="*/ 49 w 58"/>
                <a:gd name="T15" fmla="*/ 44 h 62"/>
                <a:gd name="T16" fmla="*/ 58 w 58"/>
                <a:gd name="T17" fmla="*/ 35 h 62"/>
                <a:gd name="T18" fmla="*/ 58 w 58"/>
                <a:gd name="T19" fmla="*/ 31 h 62"/>
                <a:gd name="T20" fmla="*/ 49 w 58"/>
                <a:gd name="T21" fmla="*/ 35 h 62"/>
                <a:gd name="T22" fmla="*/ 45 w 58"/>
                <a:gd name="T23" fmla="*/ 35 h 62"/>
                <a:gd name="T24" fmla="*/ 49 w 58"/>
                <a:gd name="T25" fmla="*/ 31 h 62"/>
                <a:gd name="T26" fmla="*/ 45 w 58"/>
                <a:gd name="T27" fmla="*/ 31 h 62"/>
                <a:gd name="T28" fmla="*/ 41 w 58"/>
                <a:gd name="T29" fmla="*/ 17 h 62"/>
                <a:gd name="T30" fmla="*/ 45 w 58"/>
                <a:gd name="T31" fmla="*/ 0 h 62"/>
                <a:gd name="T32" fmla="*/ 41 w 58"/>
                <a:gd name="T33" fmla="*/ 4 h 62"/>
                <a:gd name="T34" fmla="*/ 36 w 58"/>
                <a:gd name="T35" fmla="*/ 0 h 62"/>
                <a:gd name="T36" fmla="*/ 18 w 58"/>
                <a:gd name="T37" fmla="*/ 0 h 62"/>
                <a:gd name="T38" fmla="*/ 14 w 58"/>
                <a:gd name="T39" fmla="*/ 9 h 62"/>
                <a:gd name="T40" fmla="*/ 27 w 58"/>
                <a:gd name="T41" fmla="*/ 26 h 62"/>
                <a:gd name="T42" fmla="*/ 27 w 58"/>
                <a:gd name="T43" fmla="*/ 31 h 62"/>
                <a:gd name="T44" fmla="*/ 5 w 58"/>
                <a:gd name="T45" fmla="*/ 31 h 62"/>
                <a:gd name="T46" fmla="*/ 0 w 58"/>
                <a:gd name="T47" fmla="*/ 5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8" h="62">
                  <a:moveTo>
                    <a:pt x="0" y="53"/>
                  </a:moveTo>
                  <a:lnTo>
                    <a:pt x="9" y="62"/>
                  </a:lnTo>
                  <a:lnTo>
                    <a:pt x="18" y="58"/>
                  </a:lnTo>
                  <a:lnTo>
                    <a:pt x="27" y="62"/>
                  </a:lnTo>
                  <a:lnTo>
                    <a:pt x="41" y="58"/>
                  </a:lnTo>
                  <a:lnTo>
                    <a:pt x="41" y="53"/>
                  </a:lnTo>
                  <a:lnTo>
                    <a:pt x="41" y="49"/>
                  </a:lnTo>
                  <a:lnTo>
                    <a:pt x="49" y="44"/>
                  </a:lnTo>
                  <a:lnTo>
                    <a:pt x="58" y="35"/>
                  </a:lnTo>
                  <a:lnTo>
                    <a:pt x="58" y="31"/>
                  </a:lnTo>
                  <a:lnTo>
                    <a:pt x="49" y="35"/>
                  </a:lnTo>
                  <a:lnTo>
                    <a:pt x="45" y="35"/>
                  </a:lnTo>
                  <a:lnTo>
                    <a:pt x="49" y="31"/>
                  </a:lnTo>
                  <a:lnTo>
                    <a:pt x="45" y="31"/>
                  </a:lnTo>
                  <a:lnTo>
                    <a:pt x="41" y="17"/>
                  </a:lnTo>
                  <a:lnTo>
                    <a:pt x="45" y="0"/>
                  </a:lnTo>
                  <a:lnTo>
                    <a:pt x="41" y="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14" y="9"/>
                  </a:lnTo>
                  <a:lnTo>
                    <a:pt x="27" y="26"/>
                  </a:lnTo>
                  <a:lnTo>
                    <a:pt x="27" y="31"/>
                  </a:lnTo>
                  <a:lnTo>
                    <a:pt x="5" y="31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15" name="Freeform 23"/>
            <p:cNvSpPr>
              <a:spLocks/>
            </p:cNvSpPr>
            <p:nvPr/>
          </p:nvSpPr>
          <p:spPr bwMode="gray">
            <a:xfrm>
              <a:off x="3457" y="2654"/>
              <a:ext cx="71" cy="112"/>
            </a:xfrm>
            <a:custGeom>
              <a:avLst/>
              <a:gdLst>
                <a:gd name="T0" fmla="*/ 18 w 71"/>
                <a:gd name="T1" fmla="*/ 0 h 112"/>
                <a:gd name="T2" fmla="*/ 22 w 71"/>
                <a:gd name="T3" fmla="*/ 14 h 112"/>
                <a:gd name="T4" fmla="*/ 9 w 71"/>
                <a:gd name="T5" fmla="*/ 18 h 112"/>
                <a:gd name="T6" fmla="*/ 13 w 71"/>
                <a:gd name="T7" fmla="*/ 27 h 112"/>
                <a:gd name="T8" fmla="*/ 4 w 71"/>
                <a:gd name="T9" fmla="*/ 31 h 112"/>
                <a:gd name="T10" fmla="*/ 0 w 71"/>
                <a:gd name="T11" fmla="*/ 40 h 112"/>
                <a:gd name="T12" fmla="*/ 9 w 71"/>
                <a:gd name="T13" fmla="*/ 49 h 112"/>
                <a:gd name="T14" fmla="*/ 18 w 71"/>
                <a:gd name="T15" fmla="*/ 49 h 112"/>
                <a:gd name="T16" fmla="*/ 18 w 71"/>
                <a:gd name="T17" fmla="*/ 63 h 112"/>
                <a:gd name="T18" fmla="*/ 27 w 71"/>
                <a:gd name="T19" fmla="*/ 63 h 112"/>
                <a:gd name="T20" fmla="*/ 18 w 71"/>
                <a:gd name="T21" fmla="*/ 72 h 112"/>
                <a:gd name="T22" fmla="*/ 18 w 71"/>
                <a:gd name="T23" fmla="*/ 94 h 112"/>
                <a:gd name="T24" fmla="*/ 27 w 71"/>
                <a:gd name="T25" fmla="*/ 107 h 112"/>
                <a:gd name="T26" fmla="*/ 36 w 71"/>
                <a:gd name="T27" fmla="*/ 112 h 112"/>
                <a:gd name="T28" fmla="*/ 45 w 71"/>
                <a:gd name="T29" fmla="*/ 103 h 112"/>
                <a:gd name="T30" fmla="*/ 71 w 71"/>
                <a:gd name="T31" fmla="*/ 98 h 112"/>
                <a:gd name="T32" fmla="*/ 67 w 71"/>
                <a:gd name="T33" fmla="*/ 90 h 112"/>
                <a:gd name="T34" fmla="*/ 63 w 71"/>
                <a:gd name="T35" fmla="*/ 76 h 112"/>
                <a:gd name="T36" fmla="*/ 54 w 71"/>
                <a:gd name="T37" fmla="*/ 76 h 112"/>
                <a:gd name="T38" fmla="*/ 45 w 71"/>
                <a:gd name="T39" fmla="*/ 67 h 112"/>
                <a:gd name="T40" fmla="*/ 49 w 71"/>
                <a:gd name="T41" fmla="*/ 58 h 112"/>
                <a:gd name="T42" fmla="*/ 58 w 71"/>
                <a:gd name="T43" fmla="*/ 54 h 112"/>
                <a:gd name="T44" fmla="*/ 63 w 71"/>
                <a:gd name="T45" fmla="*/ 40 h 112"/>
                <a:gd name="T46" fmla="*/ 58 w 71"/>
                <a:gd name="T47" fmla="*/ 36 h 112"/>
                <a:gd name="T48" fmla="*/ 40 w 71"/>
                <a:gd name="T49" fmla="*/ 22 h 112"/>
                <a:gd name="T50" fmla="*/ 36 w 71"/>
                <a:gd name="T51" fmla="*/ 14 h 112"/>
                <a:gd name="T52" fmla="*/ 27 w 71"/>
                <a:gd name="T53" fmla="*/ 5 h 112"/>
                <a:gd name="T54" fmla="*/ 18 w 71"/>
                <a:gd name="T55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1" h="112">
                  <a:moveTo>
                    <a:pt x="18" y="0"/>
                  </a:moveTo>
                  <a:lnTo>
                    <a:pt x="22" y="14"/>
                  </a:lnTo>
                  <a:lnTo>
                    <a:pt x="9" y="18"/>
                  </a:lnTo>
                  <a:lnTo>
                    <a:pt x="13" y="27"/>
                  </a:lnTo>
                  <a:lnTo>
                    <a:pt x="4" y="31"/>
                  </a:lnTo>
                  <a:lnTo>
                    <a:pt x="0" y="40"/>
                  </a:lnTo>
                  <a:lnTo>
                    <a:pt x="9" y="49"/>
                  </a:lnTo>
                  <a:lnTo>
                    <a:pt x="18" y="49"/>
                  </a:lnTo>
                  <a:lnTo>
                    <a:pt x="18" y="63"/>
                  </a:lnTo>
                  <a:lnTo>
                    <a:pt x="27" y="63"/>
                  </a:lnTo>
                  <a:lnTo>
                    <a:pt x="18" y="72"/>
                  </a:lnTo>
                  <a:lnTo>
                    <a:pt x="18" y="94"/>
                  </a:lnTo>
                  <a:lnTo>
                    <a:pt x="27" y="107"/>
                  </a:lnTo>
                  <a:lnTo>
                    <a:pt x="36" y="112"/>
                  </a:lnTo>
                  <a:lnTo>
                    <a:pt x="45" y="103"/>
                  </a:lnTo>
                  <a:lnTo>
                    <a:pt x="71" y="98"/>
                  </a:lnTo>
                  <a:lnTo>
                    <a:pt x="67" y="90"/>
                  </a:lnTo>
                  <a:lnTo>
                    <a:pt x="63" y="76"/>
                  </a:lnTo>
                  <a:lnTo>
                    <a:pt x="54" y="76"/>
                  </a:lnTo>
                  <a:lnTo>
                    <a:pt x="45" y="67"/>
                  </a:lnTo>
                  <a:lnTo>
                    <a:pt x="49" y="58"/>
                  </a:lnTo>
                  <a:lnTo>
                    <a:pt x="58" y="54"/>
                  </a:lnTo>
                  <a:lnTo>
                    <a:pt x="63" y="40"/>
                  </a:lnTo>
                  <a:lnTo>
                    <a:pt x="58" y="36"/>
                  </a:lnTo>
                  <a:lnTo>
                    <a:pt x="40" y="22"/>
                  </a:lnTo>
                  <a:lnTo>
                    <a:pt x="36" y="14"/>
                  </a:lnTo>
                  <a:lnTo>
                    <a:pt x="27" y="5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16" name="Freeform 24"/>
            <p:cNvSpPr>
              <a:spLocks/>
            </p:cNvSpPr>
            <p:nvPr/>
          </p:nvSpPr>
          <p:spPr bwMode="gray">
            <a:xfrm>
              <a:off x="3269" y="2484"/>
              <a:ext cx="36" cy="32"/>
            </a:xfrm>
            <a:custGeom>
              <a:avLst/>
              <a:gdLst>
                <a:gd name="T0" fmla="*/ 36 w 36"/>
                <a:gd name="T1" fmla="*/ 5 h 32"/>
                <a:gd name="T2" fmla="*/ 36 w 36"/>
                <a:gd name="T3" fmla="*/ 14 h 32"/>
                <a:gd name="T4" fmla="*/ 32 w 36"/>
                <a:gd name="T5" fmla="*/ 27 h 32"/>
                <a:gd name="T6" fmla="*/ 14 w 36"/>
                <a:gd name="T7" fmla="*/ 27 h 32"/>
                <a:gd name="T8" fmla="*/ 9 w 36"/>
                <a:gd name="T9" fmla="*/ 32 h 32"/>
                <a:gd name="T10" fmla="*/ 5 w 36"/>
                <a:gd name="T11" fmla="*/ 27 h 32"/>
                <a:gd name="T12" fmla="*/ 0 w 36"/>
                <a:gd name="T13" fmla="*/ 27 h 32"/>
                <a:gd name="T14" fmla="*/ 0 w 36"/>
                <a:gd name="T15" fmla="*/ 18 h 32"/>
                <a:gd name="T16" fmla="*/ 14 w 36"/>
                <a:gd name="T17" fmla="*/ 23 h 32"/>
                <a:gd name="T18" fmla="*/ 23 w 36"/>
                <a:gd name="T19" fmla="*/ 23 h 32"/>
                <a:gd name="T20" fmla="*/ 23 w 36"/>
                <a:gd name="T21" fmla="*/ 18 h 32"/>
                <a:gd name="T22" fmla="*/ 23 w 36"/>
                <a:gd name="T23" fmla="*/ 9 h 32"/>
                <a:gd name="T24" fmla="*/ 14 w 36"/>
                <a:gd name="T25" fmla="*/ 9 h 32"/>
                <a:gd name="T26" fmla="*/ 14 w 36"/>
                <a:gd name="T27" fmla="*/ 5 h 32"/>
                <a:gd name="T28" fmla="*/ 23 w 36"/>
                <a:gd name="T29" fmla="*/ 0 h 32"/>
                <a:gd name="T30" fmla="*/ 36 w 36"/>
                <a:gd name="T31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32">
                  <a:moveTo>
                    <a:pt x="36" y="5"/>
                  </a:moveTo>
                  <a:lnTo>
                    <a:pt x="36" y="14"/>
                  </a:lnTo>
                  <a:lnTo>
                    <a:pt x="32" y="27"/>
                  </a:lnTo>
                  <a:lnTo>
                    <a:pt x="14" y="27"/>
                  </a:lnTo>
                  <a:lnTo>
                    <a:pt x="9" y="32"/>
                  </a:lnTo>
                  <a:lnTo>
                    <a:pt x="5" y="27"/>
                  </a:lnTo>
                  <a:lnTo>
                    <a:pt x="0" y="27"/>
                  </a:lnTo>
                  <a:lnTo>
                    <a:pt x="0" y="18"/>
                  </a:lnTo>
                  <a:lnTo>
                    <a:pt x="14" y="23"/>
                  </a:lnTo>
                  <a:lnTo>
                    <a:pt x="23" y="23"/>
                  </a:lnTo>
                  <a:lnTo>
                    <a:pt x="23" y="18"/>
                  </a:lnTo>
                  <a:lnTo>
                    <a:pt x="23" y="9"/>
                  </a:lnTo>
                  <a:lnTo>
                    <a:pt x="14" y="9"/>
                  </a:lnTo>
                  <a:lnTo>
                    <a:pt x="14" y="5"/>
                  </a:lnTo>
                  <a:lnTo>
                    <a:pt x="23" y="0"/>
                  </a:lnTo>
                  <a:lnTo>
                    <a:pt x="36" y="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17" name="Freeform 25"/>
            <p:cNvSpPr>
              <a:spLocks/>
            </p:cNvSpPr>
            <p:nvPr/>
          </p:nvSpPr>
          <p:spPr bwMode="gray">
            <a:xfrm>
              <a:off x="3051" y="2542"/>
              <a:ext cx="89" cy="50"/>
            </a:xfrm>
            <a:custGeom>
              <a:avLst/>
              <a:gdLst>
                <a:gd name="T0" fmla="*/ 0 w 89"/>
                <a:gd name="T1" fmla="*/ 27 h 50"/>
                <a:gd name="T2" fmla="*/ 0 w 89"/>
                <a:gd name="T3" fmla="*/ 23 h 50"/>
                <a:gd name="T4" fmla="*/ 8 w 89"/>
                <a:gd name="T5" fmla="*/ 18 h 50"/>
                <a:gd name="T6" fmla="*/ 17 w 89"/>
                <a:gd name="T7" fmla="*/ 9 h 50"/>
                <a:gd name="T8" fmla="*/ 26 w 89"/>
                <a:gd name="T9" fmla="*/ 9 h 50"/>
                <a:gd name="T10" fmla="*/ 49 w 89"/>
                <a:gd name="T11" fmla="*/ 5 h 50"/>
                <a:gd name="T12" fmla="*/ 49 w 89"/>
                <a:gd name="T13" fmla="*/ 0 h 50"/>
                <a:gd name="T14" fmla="*/ 67 w 89"/>
                <a:gd name="T15" fmla="*/ 5 h 50"/>
                <a:gd name="T16" fmla="*/ 75 w 89"/>
                <a:gd name="T17" fmla="*/ 9 h 50"/>
                <a:gd name="T18" fmla="*/ 80 w 89"/>
                <a:gd name="T19" fmla="*/ 14 h 50"/>
                <a:gd name="T20" fmla="*/ 84 w 89"/>
                <a:gd name="T21" fmla="*/ 14 h 50"/>
                <a:gd name="T22" fmla="*/ 89 w 89"/>
                <a:gd name="T23" fmla="*/ 18 h 50"/>
                <a:gd name="T24" fmla="*/ 75 w 89"/>
                <a:gd name="T25" fmla="*/ 27 h 50"/>
                <a:gd name="T26" fmla="*/ 71 w 89"/>
                <a:gd name="T27" fmla="*/ 27 h 50"/>
                <a:gd name="T28" fmla="*/ 58 w 89"/>
                <a:gd name="T29" fmla="*/ 36 h 50"/>
                <a:gd name="T30" fmla="*/ 49 w 89"/>
                <a:gd name="T31" fmla="*/ 36 h 50"/>
                <a:gd name="T32" fmla="*/ 40 w 89"/>
                <a:gd name="T33" fmla="*/ 41 h 50"/>
                <a:gd name="T34" fmla="*/ 40 w 89"/>
                <a:gd name="T35" fmla="*/ 45 h 50"/>
                <a:gd name="T36" fmla="*/ 31 w 89"/>
                <a:gd name="T37" fmla="*/ 50 h 50"/>
                <a:gd name="T38" fmla="*/ 31 w 89"/>
                <a:gd name="T39" fmla="*/ 41 h 50"/>
                <a:gd name="T40" fmla="*/ 22 w 89"/>
                <a:gd name="T41" fmla="*/ 45 h 50"/>
                <a:gd name="T42" fmla="*/ 22 w 89"/>
                <a:gd name="T43" fmla="*/ 32 h 50"/>
                <a:gd name="T44" fmla="*/ 13 w 89"/>
                <a:gd name="T45" fmla="*/ 32 h 50"/>
                <a:gd name="T46" fmla="*/ 8 w 89"/>
                <a:gd name="T47" fmla="*/ 27 h 50"/>
                <a:gd name="T48" fmla="*/ 0 w 89"/>
                <a:gd name="T49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9" h="50">
                  <a:moveTo>
                    <a:pt x="0" y="27"/>
                  </a:moveTo>
                  <a:lnTo>
                    <a:pt x="0" y="23"/>
                  </a:lnTo>
                  <a:lnTo>
                    <a:pt x="8" y="18"/>
                  </a:lnTo>
                  <a:lnTo>
                    <a:pt x="17" y="9"/>
                  </a:lnTo>
                  <a:lnTo>
                    <a:pt x="26" y="9"/>
                  </a:lnTo>
                  <a:lnTo>
                    <a:pt x="49" y="5"/>
                  </a:lnTo>
                  <a:lnTo>
                    <a:pt x="49" y="0"/>
                  </a:lnTo>
                  <a:lnTo>
                    <a:pt x="67" y="5"/>
                  </a:lnTo>
                  <a:lnTo>
                    <a:pt x="75" y="9"/>
                  </a:lnTo>
                  <a:lnTo>
                    <a:pt x="80" y="14"/>
                  </a:lnTo>
                  <a:lnTo>
                    <a:pt x="84" y="14"/>
                  </a:lnTo>
                  <a:lnTo>
                    <a:pt x="89" y="18"/>
                  </a:lnTo>
                  <a:lnTo>
                    <a:pt x="75" y="27"/>
                  </a:lnTo>
                  <a:lnTo>
                    <a:pt x="71" y="27"/>
                  </a:lnTo>
                  <a:lnTo>
                    <a:pt x="58" y="36"/>
                  </a:lnTo>
                  <a:lnTo>
                    <a:pt x="49" y="36"/>
                  </a:lnTo>
                  <a:lnTo>
                    <a:pt x="40" y="41"/>
                  </a:lnTo>
                  <a:lnTo>
                    <a:pt x="40" y="45"/>
                  </a:lnTo>
                  <a:lnTo>
                    <a:pt x="31" y="50"/>
                  </a:lnTo>
                  <a:lnTo>
                    <a:pt x="31" y="41"/>
                  </a:lnTo>
                  <a:lnTo>
                    <a:pt x="22" y="45"/>
                  </a:lnTo>
                  <a:lnTo>
                    <a:pt x="22" y="32"/>
                  </a:lnTo>
                  <a:lnTo>
                    <a:pt x="13" y="32"/>
                  </a:lnTo>
                  <a:lnTo>
                    <a:pt x="8" y="27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18" name="Freeform 26"/>
            <p:cNvSpPr>
              <a:spLocks/>
            </p:cNvSpPr>
            <p:nvPr/>
          </p:nvSpPr>
          <p:spPr bwMode="gray">
            <a:xfrm>
              <a:off x="3211" y="2502"/>
              <a:ext cx="32" cy="18"/>
            </a:xfrm>
            <a:custGeom>
              <a:avLst/>
              <a:gdLst>
                <a:gd name="T0" fmla="*/ 0 w 32"/>
                <a:gd name="T1" fmla="*/ 5 h 18"/>
                <a:gd name="T2" fmla="*/ 9 w 32"/>
                <a:gd name="T3" fmla="*/ 14 h 18"/>
                <a:gd name="T4" fmla="*/ 9 w 32"/>
                <a:gd name="T5" fmla="*/ 14 h 18"/>
                <a:gd name="T6" fmla="*/ 18 w 32"/>
                <a:gd name="T7" fmla="*/ 18 h 18"/>
                <a:gd name="T8" fmla="*/ 32 w 32"/>
                <a:gd name="T9" fmla="*/ 14 h 18"/>
                <a:gd name="T10" fmla="*/ 32 w 32"/>
                <a:gd name="T11" fmla="*/ 9 h 18"/>
                <a:gd name="T12" fmla="*/ 23 w 32"/>
                <a:gd name="T13" fmla="*/ 0 h 18"/>
                <a:gd name="T14" fmla="*/ 5 w 32"/>
                <a:gd name="T15" fmla="*/ 0 h 18"/>
                <a:gd name="T16" fmla="*/ 0 w 32"/>
                <a:gd name="T17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18">
                  <a:moveTo>
                    <a:pt x="0" y="5"/>
                  </a:moveTo>
                  <a:lnTo>
                    <a:pt x="9" y="14"/>
                  </a:lnTo>
                  <a:lnTo>
                    <a:pt x="9" y="14"/>
                  </a:lnTo>
                  <a:lnTo>
                    <a:pt x="18" y="18"/>
                  </a:lnTo>
                  <a:lnTo>
                    <a:pt x="32" y="14"/>
                  </a:lnTo>
                  <a:lnTo>
                    <a:pt x="32" y="9"/>
                  </a:lnTo>
                  <a:lnTo>
                    <a:pt x="23" y="0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19" name="Freeform 27"/>
            <p:cNvSpPr>
              <a:spLocks/>
            </p:cNvSpPr>
            <p:nvPr/>
          </p:nvSpPr>
          <p:spPr bwMode="gray">
            <a:xfrm>
              <a:off x="3461" y="2560"/>
              <a:ext cx="5" cy="9"/>
            </a:xfrm>
            <a:custGeom>
              <a:avLst/>
              <a:gdLst>
                <a:gd name="T0" fmla="*/ 5 w 5"/>
                <a:gd name="T1" fmla="*/ 9 h 9"/>
                <a:gd name="T2" fmla="*/ 5 w 5"/>
                <a:gd name="T3" fmla="*/ 5 h 9"/>
                <a:gd name="T4" fmla="*/ 0 w 5"/>
                <a:gd name="T5" fmla="*/ 0 h 9"/>
                <a:gd name="T6" fmla="*/ 0 w 5"/>
                <a:gd name="T7" fmla="*/ 0 h 9"/>
                <a:gd name="T8" fmla="*/ 0 w 5"/>
                <a:gd name="T9" fmla="*/ 9 h 9"/>
                <a:gd name="T10" fmla="*/ 5 w 5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9">
                  <a:moveTo>
                    <a:pt x="5" y="9"/>
                  </a:moveTo>
                  <a:lnTo>
                    <a:pt x="5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5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20" name="Freeform 28"/>
            <p:cNvSpPr>
              <a:spLocks/>
            </p:cNvSpPr>
            <p:nvPr/>
          </p:nvSpPr>
          <p:spPr bwMode="gray">
            <a:xfrm>
              <a:off x="2653" y="2279"/>
              <a:ext cx="442" cy="290"/>
            </a:xfrm>
            <a:custGeom>
              <a:avLst/>
              <a:gdLst>
                <a:gd name="T0" fmla="*/ 4 w 442"/>
                <a:gd name="T1" fmla="*/ 9 h 290"/>
                <a:gd name="T2" fmla="*/ 36 w 442"/>
                <a:gd name="T3" fmla="*/ 53 h 290"/>
                <a:gd name="T4" fmla="*/ 49 w 442"/>
                <a:gd name="T5" fmla="*/ 80 h 290"/>
                <a:gd name="T6" fmla="*/ 40 w 442"/>
                <a:gd name="T7" fmla="*/ 94 h 290"/>
                <a:gd name="T8" fmla="*/ 71 w 442"/>
                <a:gd name="T9" fmla="*/ 107 h 290"/>
                <a:gd name="T10" fmla="*/ 80 w 442"/>
                <a:gd name="T11" fmla="*/ 134 h 290"/>
                <a:gd name="T12" fmla="*/ 80 w 442"/>
                <a:gd name="T13" fmla="*/ 129 h 290"/>
                <a:gd name="T14" fmla="*/ 116 w 442"/>
                <a:gd name="T15" fmla="*/ 147 h 290"/>
                <a:gd name="T16" fmla="*/ 107 w 442"/>
                <a:gd name="T17" fmla="*/ 134 h 290"/>
                <a:gd name="T18" fmla="*/ 98 w 442"/>
                <a:gd name="T19" fmla="*/ 138 h 290"/>
                <a:gd name="T20" fmla="*/ 94 w 442"/>
                <a:gd name="T21" fmla="*/ 111 h 290"/>
                <a:gd name="T22" fmla="*/ 80 w 442"/>
                <a:gd name="T23" fmla="*/ 94 h 290"/>
                <a:gd name="T24" fmla="*/ 63 w 442"/>
                <a:gd name="T25" fmla="*/ 58 h 290"/>
                <a:gd name="T26" fmla="*/ 49 w 442"/>
                <a:gd name="T27" fmla="*/ 49 h 290"/>
                <a:gd name="T28" fmla="*/ 58 w 442"/>
                <a:gd name="T29" fmla="*/ 22 h 290"/>
                <a:gd name="T30" fmla="*/ 67 w 442"/>
                <a:gd name="T31" fmla="*/ 58 h 290"/>
                <a:gd name="T32" fmla="*/ 76 w 442"/>
                <a:gd name="T33" fmla="*/ 62 h 290"/>
                <a:gd name="T34" fmla="*/ 89 w 442"/>
                <a:gd name="T35" fmla="*/ 80 h 290"/>
                <a:gd name="T36" fmla="*/ 103 w 442"/>
                <a:gd name="T37" fmla="*/ 89 h 290"/>
                <a:gd name="T38" fmla="*/ 121 w 442"/>
                <a:gd name="T39" fmla="*/ 103 h 290"/>
                <a:gd name="T40" fmla="*/ 130 w 442"/>
                <a:gd name="T41" fmla="*/ 120 h 290"/>
                <a:gd name="T42" fmla="*/ 170 w 442"/>
                <a:gd name="T43" fmla="*/ 165 h 290"/>
                <a:gd name="T44" fmla="*/ 174 w 442"/>
                <a:gd name="T45" fmla="*/ 196 h 290"/>
                <a:gd name="T46" fmla="*/ 201 w 442"/>
                <a:gd name="T47" fmla="*/ 232 h 290"/>
                <a:gd name="T48" fmla="*/ 259 w 442"/>
                <a:gd name="T49" fmla="*/ 259 h 290"/>
                <a:gd name="T50" fmla="*/ 317 w 442"/>
                <a:gd name="T51" fmla="*/ 268 h 290"/>
                <a:gd name="T52" fmla="*/ 357 w 442"/>
                <a:gd name="T53" fmla="*/ 290 h 290"/>
                <a:gd name="T54" fmla="*/ 384 w 442"/>
                <a:gd name="T55" fmla="*/ 263 h 290"/>
                <a:gd name="T56" fmla="*/ 393 w 442"/>
                <a:gd name="T57" fmla="*/ 237 h 290"/>
                <a:gd name="T58" fmla="*/ 411 w 442"/>
                <a:gd name="T59" fmla="*/ 228 h 290"/>
                <a:gd name="T60" fmla="*/ 429 w 442"/>
                <a:gd name="T61" fmla="*/ 214 h 290"/>
                <a:gd name="T62" fmla="*/ 433 w 442"/>
                <a:gd name="T63" fmla="*/ 205 h 290"/>
                <a:gd name="T64" fmla="*/ 438 w 442"/>
                <a:gd name="T65" fmla="*/ 183 h 290"/>
                <a:gd name="T66" fmla="*/ 398 w 442"/>
                <a:gd name="T67" fmla="*/ 183 h 290"/>
                <a:gd name="T68" fmla="*/ 384 w 442"/>
                <a:gd name="T69" fmla="*/ 210 h 290"/>
                <a:gd name="T70" fmla="*/ 366 w 442"/>
                <a:gd name="T71" fmla="*/ 223 h 290"/>
                <a:gd name="T72" fmla="*/ 326 w 442"/>
                <a:gd name="T73" fmla="*/ 232 h 290"/>
                <a:gd name="T74" fmla="*/ 299 w 442"/>
                <a:gd name="T75" fmla="*/ 205 h 290"/>
                <a:gd name="T76" fmla="*/ 286 w 442"/>
                <a:gd name="T77" fmla="*/ 179 h 290"/>
                <a:gd name="T78" fmla="*/ 286 w 442"/>
                <a:gd name="T79" fmla="*/ 143 h 290"/>
                <a:gd name="T80" fmla="*/ 281 w 442"/>
                <a:gd name="T81" fmla="*/ 134 h 290"/>
                <a:gd name="T82" fmla="*/ 290 w 442"/>
                <a:gd name="T83" fmla="*/ 111 h 290"/>
                <a:gd name="T84" fmla="*/ 255 w 442"/>
                <a:gd name="T85" fmla="*/ 85 h 290"/>
                <a:gd name="T86" fmla="*/ 201 w 442"/>
                <a:gd name="T87" fmla="*/ 67 h 290"/>
                <a:gd name="T88" fmla="*/ 156 w 442"/>
                <a:gd name="T89" fmla="*/ 18 h 290"/>
                <a:gd name="T90" fmla="*/ 89 w 442"/>
                <a:gd name="T91" fmla="*/ 2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42" h="290">
                  <a:moveTo>
                    <a:pt x="0" y="4"/>
                  </a:moveTo>
                  <a:lnTo>
                    <a:pt x="0" y="9"/>
                  </a:lnTo>
                  <a:lnTo>
                    <a:pt x="4" y="9"/>
                  </a:lnTo>
                  <a:lnTo>
                    <a:pt x="18" y="36"/>
                  </a:lnTo>
                  <a:lnTo>
                    <a:pt x="22" y="49"/>
                  </a:lnTo>
                  <a:lnTo>
                    <a:pt x="36" y="53"/>
                  </a:lnTo>
                  <a:lnTo>
                    <a:pt x="45" y="67"/>
                  </a:lnTo>
                  <a:lnTo>
                    <a:pt x="45" y="76"/>
                  </a:lnTo>
                  <a:lnTo>
                    <a:pt x="49" y="80"/>
                  </a:lnTo>
                  <a:lnTo>
                    <a:pt x="40" y="76"/>
                  </a:lnTo>
                  <a:lnTo>
                    <a:pt x="31" y="80"/>
                  </a:lnTo>
                  <a:lnTo>
                    <a:pt x="40" y="94"/>
                  </a:lnTo>
                  <a:lnTo>
                    <a:pt x="54" y="98"/>
                  </a:lnTo>
                  <a:lnTo>
                    <a:pt x="58" y="94"/>
                  </a:lnTo>
                  <a:lnTo>
                    <a:pt x="71" y="107"/>
                  </a:lnTo>
                  <a:lnTo>
                    <a:pt x="71" y="134"/>
                  </a:lnTo>
                  <a:lnTo>
                    <a:pt x="80" y="138"/>
                  </a:lnTo>
                  <a:lnTo>
                    <a:pt x="80" y="134"/>
                  </a:lnTo>
                  <a:lnTo>
                    <a:pt x="76" y="134"/>
                  </a:lnTo>
                  <a:lnTo>
                    <a:pt x="76" y="129"/>
                  </a:lnTo>
                  <a:lnTo>
                    <a:pt x="80" y="129"/>
                  </a:lnTo>
                  <a:lnTo>
                    <a:pt x="85" y="138"/>
                  </a:lnTo>
                  <a:lnTo>
                    <a:pt x="107" y="161"/>
                  </a:lnTo>
                  <a:lnTo>
                    <a:pt x="116" y="147"/>
                  </a:lnTo>
                  <a:lnTo>
                    <a:pt x="112" y="138"/>
                  </a:lnTo>
                  <a:lnTo>
                    <a:pt x="112" y="134"/>
                  </a:lnTo>
                  <a:lnTo>
                    <a:pt x="107" y="134"/>
                  </a:lnTo>
                  <a:lnTo>
                    <a:pt x="107" y="138"/>
                  </a:lnTo>
                  <a:lnTo>
                    <a:pt x="103" y="134"/>
                  </a:lnTo>
                  <a:lnTo>
                    <a:pt x="98" y="138"/>
                  </a:lnTo>
                  <a:lnTo>
                    <a:pt x="94" y="120"/>
                  </a:lnTo>
                  <a:lnTo>
                    <a:pt x="89" y="111"/>
                  </a:lnTo>
                  <a:lnTo>
                    <a:pt x="94" y="111"/>
                  </a:lnTo>
                  <a:lnTo>
                    <a:pt x="94" y="107"/>
                  </a:lnTo>
                  <a:lnTo>
                    <a:pt x="89" y="107"/>
                  </a:lnTo>
                  <a:lnTo>
                    <a:pt x="80" y="94"/>
                  </a:lnTo>
                  <a:lnTo>
                    <a:pt x="80" y="98"/>
                  </a:lnTo>
                  <a:lnTo>
                    <a:pt x="58" y="62"/>
                  </a:lnTo>
                  <a:lnTo>
                    <a:pt x="63" y="58"/>
                  </a:lnTo>
                  <a:lnTo>
                    <a:pt x="54" y="53"/>
                  </a:lnTo>
                  <a:lnTo>
                    <a:pt x="54" y="58"/>
                  </a:lnTo>
                  <a:lnTo>
                    <a:pt x="49" y="49"/>
                  </a:lnTo>
                  <a:lnTo>
                    <a:pt x="40" y="44"/>
                  </a:lnTo>
                  <a:lnTo>
                    <a:pt x="36" y="18"/>
                  </a:lnTo>
                  <a:lnTo>
                    <a:pt x="58" y="22"/>
                  </a:lnTo>
                  <a:lnTo>
                    <a:pt x="58" y="31"/>
                  </a:lnTo>
                  <a:lnTo>
                    <a:pt x="71" y="58"/>
                  </a:lnTo>
                  <a:lnTo>
                    <a:pt x="67" y="58"/>
                  </a:lnTo>
                  <a:lnTo>
                    <a:pt x="67" y="67"/>
                  </a:lnTo>
                  <a:lnTo>
                    <a:pt x="71" y="67"/>
                  </a:lnTo>
                  <a:lnTo>
                    <a:pt x="76" y="62"/>
                  </a:lnTo>
                  <a:lnTo>
                    <a:pt x="71" y="58"/>
                  </a:lnTo>
                  <a:lnTo>
                    <a:pt x="80" y="67"/>
                  </a:lnTo>
                  <a:lnTo>
                    <a:pt x="89" y="80"/>
                  </a:lnTo>
                  <a:lnTo>
                    <a:pt x="94" y="80"/>
                  </a:lnTo>
                  <a:lnTo>
                    <a:pt x="98" y="89"/>
                  </a:lnTo>
                  <a:lnTo>
                    <a:pt x="103" y="89"/>
                  </a:lnTo>
                  <a:lnTo>
                    <a:pt x="112" y="98"/>
                  </a:lnTo>
                  <a:lnTo>
                    <a:pt x="116" y="98"/>
                  </a:lnTo>
                  <a:lnTo>
                    <a:pt x="121" y="103"/>
                  </a:lnTo>
                  <a:lnTo>
                    <a:pt x="116" y="116"/>
                  </a:lnTo>
                  <a:lnTo>
                    <a:pt x="121" y="120"/>
                  </a:lnTo>
                  <a:lnTo>
                    <a:pt x="130" y="120"/>
                  </a:lnTo>
                  <a:lnTo>
                    <a:pt x="152" y="147"/>
                  </a:lnTo>
                  <a:lnTo>
                    <a:pt x="152" y="152"/>
                  </a:lnTo>
                  <a:lnTo>
                    <a:pt x="170" y="165"/>
                  </a:lnTo>
                  <a:lnTo>
                    <a:pt x="174" y="187"/>
                  </a:lnTo>
                  <a:lnTo>
                    <a:pt x="174" y="192"/>
                  </a:lnTo>
                  <a:lnTo>
                    <a:pt x="174" y="196"/>
                  </a:lnTo>
                  <a:lnTo>
                    <a:pt x="170" y="201"/>
                  </a:lnTo>
                  <a:lnTo>
                    <a:pt x="174" y="210"/>
                  </a:lnTo>
                  <a:lnTo>
                    <a:pt x="201" y="232"/>
                  </a:lnTo>
                  <a:lnTo>
                    <a:pt x="228" y="237"/>
                  </a:lnTo>
                  <a:lnTo>
                    <a:pt x="237" y="254"/>
                  </a:lnTo>
                  <a:lnTo>
                    <a:pt x="259" y="259"/>
                  </a:lnTo>
                  <a:lnTo>
                    <a:pt x="295" y="277"/>
                  </a:lnTo>
                  <a:lnTo>
                    <a:pt x="308" y="272"/>
                  </a:lnTo>
                  <a:lnTo>
                    <a:pt x="317" y="268"/>
                  </a:lnTo>
                  <a:lnTo>
                    <a:pt x="331" y="268"/>
                  </a:lnTo>
                  <a:lnTo>
                    <a:pt x="339" y="272"/>
                  </a:lnTo>
                  <a:lnTo>
                    <a:pt x="357" y="290"/>
                  </a:lnTo>
                  <a:lnTo>
                    <a:pt x="362" y="268"/>
                  </a:lnTo>
                  <a:lnTo>
                    <a:pt x="384" y="268"/>
                  </a:lnTo>
                  <a:lnTo>
                    <a:pt x="384" y="263"/>
                  </a:lnTo>
                  <a:lnTo>
                    <a:pt x="371" y="246"/>
                  </a:lnTo>
                  <a:lnTo>
                    <a:pt x="375" y="237"/>
                  </a:lnTo>
                  <a:lnTo>
                    <a:pt x="393" y="237"/>
                  </a:lnTo>
                  <a:lnTo>
                    <a:pt x="398" y="241"/>
                  </a:lnTo>
                  <a:lnTo>
                    <a:pt x="402" y="237"/>
                  </a:lnTo>
                  <a:lnTo>
                    <a:pt x="411" y="228"/>
                  </a:lnTo>
                  <a:lnTo>
                    <a:pt x="415" y="223"/>
                  </a:lnTo>
                  <a:lnTo>
                    <a:pt x="420" y="232"/>
                  </a:lnTo>
                  <a:lnTo>
                    <a:pt x="429" y="214"/>
                  </a:lnTo>
                  <a:lnTo>
                    <a:pt x="424" y="210"/>
                  </a:lnTo>
                  <a:lnTo>
                    <a:pt x="433" y="201"/>
                  </a:lnTo>
                  <a:lnTo>
                    <a:pt x="433" y="205"/>
                  </a:lnTo>
                  <a:lnTo>
                    <a:pt x="442" y="196"/>
                  </a:lnTo>
                  <a:lnTo>
                    <a:pt x="438" y="196"/>
                  </a:lnTo>
                  <a:lnTo>
                    <a:pt x="438" y="183"/>
                  </a:lnTo>
                  <a:lnTo>
                    <a:pt x="433" y="179"/>
                  </a:lnTo>
                  <a:lnTo>
                    <a:pt x="415" y="179"/>
                  </a:lnTo>
                  <a:lnTo>
                    <a:pt x="398" y="183"/>
                  </a:lnTo>
                  <a:lnTo>
                    <a:pt x="384" y="192"/>
                  </a:lnTo>
                  <a:lnTo>
                    <a:pt x="389" y="192"/>
                  </a:lnTo>
                  <a:lnTo>
                    <a:pt x="384" y="210"/>
                  </a:lnTo>
                  <a:lnTo>
                    <a:pt x="375" y="219"/>
                  </a:lnTo>
                  <a:lnTo>
                    <a:pt x="380" y="223"/>
                  </a:lnTo>
                  <a:lnTo>
                    <a:pt x="366" y="223"/>
                  </a:lnTo>
                  <a:lnTo>
                    <a:pt x="366" y="219"/>
                  </a:lnTo>
                  <a:lnTo>
                    <a:pt x="339" y="228"/>
                  </a:lnTo>
                  <a:lnTo>
                    <a:pt x="326" y="232"/>
                  </a:lnTo>
                  <a:lnTo>
                    <a:pt x="322" y="228"/>
                  </a:lnTo>
                  <a:lnTo>
                    <a:pt x="308" y="219"/>
                  </a:lnTo>
                  <a:lnTo>
                    <a:pt x="299" y="205"/>
                  </a:lnTo>
                  <a:lnTo>
                    <a:pt x="290" y="196"/>
                  </a:lnTo>
                  <a:lnTo>
                    <a:pt x="286" y="187"/>
                  </a:lnTo>
                  <a:lnTo>
                    <a:pt x="286" y="179"/>
                  </a:lnTo>
                  <a:lnTo>
                    <a:pt x="281" y="174"/>
                  </a:lnTo>
                  <a:lnTo>
                    <a:pt x="281" y="156"/>
                  </a:lnTo>
                  <a:lnTo>
                    <a:pt x="286" y="143"/>
                  </a:lnTo>
                  <a:lnTo>
                    <a:pt x="281" y="138"/>
                  </a:lnTo>
                  <a:lnTo>
                    <a:pt x="281" y="138"/>
                  </a:lnTo>
                  <a:lnTo>
                    <a:pt x="281" y="134"/>
                  </a:lnTo>
                  <a:lnTo>
                    <a:pt x="281" y="134"/>
                  </a:lnTo>
                  <a:lnTo>
                    <a:pt x="286" y="125"/>
                  </a:lnTo>
                  <a:lnTo>
                    <a:pt x="290" y="111"/>
                  </a:lnTo>
                  <a:lnTo>
                    <a:pt x="286" y="111"/>
                  </a:lnTo>
                  <a:lnTo>
                    <a:pt x="264" y="103"/>
                  </a:lnTo>
                  <a:lnTo>
                    <a:pt x="255" y="85"/>
                  </a:lnTo>
                  <a:lnTo>
                    <a:pt x="228" y="53"/>
                  </a:lnTo>
                  <a:lnTo>
                    <a:pt x="214" y="49"/>
                  </a:lnTo>
                  <a:lnTo>
                    <a:pt x="201" y="67"/>
                  </a:lnTo>
                  <a:lnTo>
                    <a:pt x="183" y="53"/>
                  </a:lnTo>
                  <a:lnTo>
                    <a:pt x="179" y="31"/>
                  </a:lnTo>
                  <a:lnTo>
                    <a:pt x="156" y="18"/>
                  </a:lnTo>
                  <a:lnTo>
                    <a:pt x="130" y="18"/>
                  </a:lnTo>
                  <a:lnTo>
                    <a:pt x="134" y="27"/>
                  </a:lnTo>
                  <a:lnTo>
                    <a:pt x="89" y="27"/>
                  </a:lnTo>
                  <a:lnTo>
                    <a:pt x="36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21" name="Freeform 29"/>
            <p:cNvSpPr>
              <a:spLocks noEditPoints="1"/>
            </p:cNvSpPr>
            <p:nvPr/>
          </p:nvSpPr>
          <p:spPr bwMode="gray">
            <a:xfrm>
              <a:off x="3341" y="2596"/>
              <a:ext cx="18" cy="9"/>
            </a:xfrm>
            <a:custGeom>
              <a:avLst/>
              <a:gdLst>
                <a:gd name="T0" fmla="*/ 9 w 18"/>
                <a:gd name="T1" fmla="*/ 9 h 9"/>
                <a:gd name="T2" fmla="*/ 9 w 18"/>
                <a:gd name="T3" fmla="*/ 9 h 9"/>
                <a:gd name="T4" fmla="*/ 13 w 18"/>
                <a:gd name="T5" fmla="*/ 5 h 9"/>
                <a:gd name="T6" fmla="*/ 4 w 18"/>
                <a:gd name="T7" fmla="*/ 0 h 9"/>
                <a:gd name="T8" fmla="*/ 0 w 18"/>
                <a:gd name="T9" fmla="*/ 5 h 9"/>
                <a:gd name="T10" fmla="*/ 9 w 18"/>
                <a:gd name="T11" fmla="*/ 9 h 9"/>
                <a:gd name="T12" fmla="*/ 18 w 18"/>
                <a:gd name="T13" fmla="*/ 9 h 9"/>
                <a:gd name="T14" fmla="*/ 18 w 18"/>
                <a:gd name="T15" fmla="*/ 5 h 9"/>
                <a:gd name="T16" fmla="*/ 13 w 18"/>
                <a:gd name="T17" fmla="*/ 5 h 9"/>
                <a:gd name="T18" fmla="*/ 13 w 18"/>
                <a:gd name="T19" fmla="*/ 5 h 9"/>
                <a:gd name="T20" fmla="*/ 18 w 18"/>
                <a:gd name="T21" fmla="*/ 5 h 9"/>
                <a:gd name="T22" fmla="*/ 18 w 18"/>
                <a:gd name="T23" fmla="*/ 9 h 9"/>
                <a:gd name="T24" fmla="*/ 18 w 18"/>
                <a:gd name="T2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9">
                  <a:moveTo>
                    <a:pt x="9" y="9"/>
                  </a:moveTo>
                  <a:lnTo>
                    <a:pt x="9" y="9"/>
                  </a:lnTo>
                  <a:lnTo>
                    <a:pt x="13" y="5"/>
                  </a:lnTo>
                  <a:lnTo>
                    <a:pt x="4" y="0"/>
                  </a:lnTo>
                  <a:lnTo>
                    <a:pt x="0" y="5"/>
                  </a:lnTo>
                  <a:lnTo>
                    <a:pt x="9" y="9"/>
                  </a:lnTo>
                  <a:close/>
                  <a:moveTo>
                    <a:pt x="18" y="9"/>
                  </a:moveTo>
                  <a:lnTo>
                    <a:pt x="18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8" y="5"/>
                  </a:lnTo>
                  <a:lnTo>
                    <a:pt x="18" y="9"/>
                  </a:lnTo>
                  <a:lnTo>
                    <a:pt x="18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22" name="Freeform 30"/>
            <p:cNvSpPr>
              <a:spLocks/>
            </p:cNvSpPr>
            <p:nvPr/>
          </p:nvSpPr>
          <p:spPr bwMode="gray">
            <a:xfrm>
              <a:off x="3077" y="2560"/>
              <a:ext cx="67" cy="63"/>
            </a:xfrm>
            <a:custGeom>
              <a:avLst/>
              <a:gdLst>
                <a:gd name="T0" fmla="*/ 5 w 67"/>
                <a:gd name="T1" fmla="*/ 32 h 63"/>
                <a:gd name="T2" fmla="*/ 0 w 67"/>
                <a:gd name="T3" fmla="*/ 36 h 63"/>
                <a:gd name="T4" fmla="*/ 27 w 67"/>
                <a:gd name="T5" fmla="*/ 58 h 63"/>
                <a:gd name="T6" fmla="*/ 45 w 67"/>
                <a:gd name="T7" fmla="*/ 58 h 63"/>
                <a:gd name="T8" fmla="*/ 58 w 67"/>
                <a:gd name="T9" fmla="*/ 63 h 63"/>
                <a:gd name="T10" fmla="*/ 58 w 67"/>
                <a:gd name="T11" fmla="*/ 63 h 63"/>
                <a:gd name="T12" fmla="*/ 58 w 67"/>
                <a:gd name="T13" fmla="*/ 54 h 63"/>
                <a:gd name="T14" fmla="*/ 63 w 67"/>
                <a:gd name="T15" fmla="*/ 54 h 63"/>
                <a:gd name="T16" fmla="*/ 58 w 67"/>
                <a:gd name="T17" fmla="*/ 41 h 63"/>
                <a:gd name="T18" fmla="*/ 63 w 67"/>
                <a:gd name="T19" fmla="*/ 36 h 63"/>
                <a:gd name="T20" fmla="*/ 63 w 67"/>
                <a:gd name="T21" fmla="*/ 27 h 63"/>
                <a:gd name="T22" fmla="*/ 67 w 67"/>
                <a:gd name="T23" fmla="*/ 9 h 63"/>
                <a:gd name="T24" fmla="*/ 63 w 67"/>
                <a:gd name="T25" fmla="*/ 5 h 63"/>
                <a:gd name="T26" fmla="*/ 63 w 67"/>
                <a:gd name="T27" fmla="*/ 0 h 63"/>
                <a:gd name="T28" fmla="*/ 49 w 67"/>
                <a:gd name="T29" fmla="*/ 9 h 63"/>
                <a:gd name="T30" fmla="*/ 45 w 67"/>
                <a:gd name="T31" fmla="*/ 9 h 63"/>
                <a:gd name="T32" fmla="*/ 32 w 67"/>
                <a:gd name="T33" fmla="*/ 18 h 63"/>
                <a:gd name="T34" fmla="*/ 23 w 67"/>
                <a:gd name="T35" fmla="*/ 18 h 63"/>
                <a:gd name="T36" fmla="*/ 14 w 67"/>
                <a:gd name="T37" fmla="*/ 23 h 63"/>
                <a:gd name="T38" fmla="*/ 14 w 67"/>
                <a:gd name="T39" fmla="*/ 27 h 63"/>
                <a:gd name="T40" fmla="*/ 5 w 67"/>
                <a:gd name="T41" fmla="*/ 3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7" h="63">
                  <a:moveTo>
                    <a:pt x="5" y="32"/>
                  </a:moveTo>
                  <a:lnTo>
                    <a:pt x="0" y="36"/>
                  </a:lnTo>
                  <a:lnTo>
                    <a:pt x="27" y="58"/>
                  </a:lnTo>
                  <a:lnTo>
                    <a:pt x="45" y="58"/>
                  </a:lnTo>
                  <a:lnTo>
                    <a:pt x="58" y="63"/>
                  </a:lnTo>
                  <a:lnTo>
                    <a:pt x="58" y="63"/>
                  </a:lnTo>
                  <a:lnTo>
                    <a:pt x="58" y="54"/>
                  </a:lnTo>
                  <a:lnTo>
                    <a:pt x="63" y="54"/>
                  </a:lnTo>
                  <a:lnTo>
                    <a:pt x="58" y="41"/>
                  </a:lnTo>
                  <a:lnTo>
                    <a:pt x="63" y="36"/>
                  </a:lnTo>
                  <a:lnTo>
                    <a:pt x="63" y="27"/>
                  </a:lnTo>
                  <a:lnTo>
                    <a:pt x="67" y="9"/>
                  </a:lnTo>
                  <a:lnTo>
                    <a:pt x="63" y="5"/>
                  </a:lnTo>
                  <a:lnTo>
                    <a:pt x="63" y="0"/>
                  </a:lnTo>
                  <a:lnTo>
                    <a:pt x="49" y="9"/>
                  </a:lnTo>
                  <a:lnTo>
                    <a:pt x="45" y="9"/>
                  </a:lnTo>
                  <a:lnTo>
                    <a:pt x="32" y="18"/>
                  </a:lnTo>
                  <a:lnTo>
                    <a:pt x="23" y="18"/>
                  </a:lnTo>
                  <a:lnTo>
                    <a:pt x="14" y="23"/>
                  </a:lnTo>
                  <a:lnTo>
                    <a:pt x="14" y="27"/>
                  </a:lnTo>
                  <a:lnTo>
                    <a:pt x="5" y="3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23" name="Freeform 31"/>
            <p:cNvSpPr>
              <a:spLocks/>
            </p:cNvSpPr>
            <p:nvPr/>
          </p:nvSpPr>
          <p:spPr bwMode="gray">
            <a:xfrm>
              <a:off x="3144" y="2641"/>
              <a:ext cx="81" cy="40"/>
            </a:xfrm>
            <a:custGeom>
              <a:avLst/>
              <a:gdLst>
                <a:gd name="T0" fmla="*/ 0 w 81"/>
                <a:gd name="T1" fmla="*/ 18 h 40"/>
                <a:gd name="T2" fmla="*/ 0 w 81"/>
                <a:gd name="T3" fmla="*/ 4 h 40"/>
                <a:gd name="T4" fmla="*/ 9 w 81"/>
                <a:gd name="T5" fmla="*/ 0 h 40"/>
                <a:gd name="T6" fmla="*/ 14 w 81"/>
                <a:gd name="T7" fmla="*/ 9 h 40"/>
                <a:gd name="T8" fmla="*/ 18 w 81"/>
                <a:gd name="T9" fmla="*/ 4 h 40"/>
                <a:gd name="T10" fmla="*/ 27 w 81"/>
                <a:gd name="T11" fmla="*/ 13 h 40"/>
                <a:gd name="T12" fmla="*/ 49 w 81"/>
                <a:gd name="T13" fmla="*/ 0 h 40"/>
                <a:gd name="T14" fmla="*/ 58 w 81"/>
                <a:gd name="T15" fmla="*/ 0 h 40"/>
                <a:gd name="T16" fmla="*/ 72 w 81"/>
                <a:gd name="T17" fmla="*/ 4 h 40"/>
                <a:gd name="T18" fmla="*/ 81 w 81"/>
                <a:gd name="T19" fmla="*/ 13 h 40"/>
                <a:gd name="T20" fmla="*/ 81 w 81"/>
                <a:gd name="T21" fmla="*/ 27 h 40"/>
                <a:gd name="T22" fmla="*/ 72 w 81"/>
                <a:gd name="T23" fmla="*/ 31 h 40"/>
                <a:gd name="T24" fmla="*/ 72 w 81"/>
                <a:gd name="T25" fmla="*/ 31 h 40"/>
                <a:gd name="T26" fmla="*/ 67 w 81"/>
                <a:gd name="T27" fmla="*/ 27 h 40"/>
                <a:gd name="T28" fmla="*/ 72 w 81"/>
                <a:gd name="T29" fmla="*/ 18 h 40"/>
                <a:gd name="T30" fmla="*/ 58 w 81"/>
                <a:gd name="T31" fmla="*/ 13 h 40"/>
                <a:gd name="T32" fmla="*/ 49 w 81"/>
                <a:gd name="T33" fmla="*/ 9 h 40"/>
                <a:gd name="T34" fmla="*/ 45 w 81"/>
                <a:gd name="T35" fmla="*/ 18 h 40"/>
                <a:gd name="T36" fmla="*/ 41 w 81"/>
                <a:gd name="T37" fmla="*/ 22 h 40"/>
                <a:gd name="T38" fmla="*/ 45 w 81"/>
                <a:gd name="T39" fmla="*/ 31 h 40"/>
                <a:gd name="T40" fmla="*/ 32 w 81"/>
                <a:gd name="T41" fmla="*/ 40 h 40"/>
                <a:gd name="T42" fmla="*/ 27 w 81"/>
                <a:gd name="T43" fmla="*/ 31 h 40"/>
                <a:gd name="T44" fmla="*/ 18 w 81"/>
                <a:gd name="T45" fmla="*/ 27 h 40"/>
                <a:gd name="T46" fmla="*/ 9 w 81"/>
                <a:gd name="T47" fmla="*/ 18 h 40"/>
                <a:gd name="T48" fmla="*/ 5 w 81"/>
                <a:gd name="T49" fmla="*/ 27 h 40"/>
                <a:gd name="T50" fmla="*/ 0 w 81"/>
                <a:gd name="T51" fmla="*/ 1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1" h="40">
                  <a:moveTo>
                    <a:pt x="0" y="18"/>
                  </a:moveTo>
                  <a:lnTo>
                    <a:pt x="0" y="4"/>
                  </a:lnTo>
                  <a:lnTo>
                    <a:pt x="9" y="0"/>
                  </a:lnTo>
                  <a:lnTo>
                    <a:pt x="14" y="9"/>
                  </a:lnTo>
                  <a:lnTo>
                    <a:pt x="18" y="4"/>
                  </a:lnTo>
                  <a:lnTo>
                    <a:pt x="27" y="13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72" y="4"/>
                  </a:lnTo>
                  <a:lnTo>
                    <a:pt x="81" y="13"/>
                  </a:lnTo>
                  <a:lnTo>
                    <a:pt x="81" y="27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67" y="27"/>
                  </a:lnTo>
                  <a:lnTo>
                    <a:pt x="72" y="18"/>
                  </a:lnTo>
                  <a:lnTo>
                    <a:pt x="58" y="13"/>
                  </a:lnTo>
                  <a:lnTo>
                    <a:pt x="49" y="9"/>
                  </a:lnTo>
                  <a:lnTo>
                    <a:pt x="45" y="18"/>
                  </a:lnTo>
                  <a:lnTo>
                    <a:pt x="41" y="22"/>
                  </a:lnTo>
                  <a:lnTo>
                    <a:pt x="45" y="31"/>
                  </a:lnTo>
                  <a:lnTo>
                    <a:pt x="32" y="40"/>
                  </a:lnTo>
                  <a:lnTo>
                    <a:pt x="27" y="31"/>
                  </a:lnTo>
                  <a:lnTo>
                    <a:pt x="18" y="27"/>
                  </a:lnTo>
                  <a:lnTo>
                    <a:pt x="9" y="18"/>
                  </a:lnTo>
                  <a:lnTo>
                    <a:pt x="5" y="27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24" name="Freeform 32"/>
            <p:cNvSpPr>
              <a:spLocks/>
            </p:cNvSpPr>
            <p:nvPr/>
          </p:nvSpPr>
          <p:spPr bwMode="gray">
            <a:xfrm>
              <a:off x="3439" y="3070"/>
              <a:ext cx="121" cy="129"/>
            </a:xfrm>
            <a:custGeom>
              <a:avLst/>
              <a:gdLst>
                <a:gd name="T0" fmla="*/ 0 w 121"/>
                <a:gd name="T1" fmla="*/ 44 h 129"/>
                <a:gd name="T2" fmla="*/ 5 w 121"/>
                <a:gd name="T3" fmla="*/ 31 h 129"/>
                <a:gd name="T4" fmla="*/ 5 w 121"/>
                <a:gd name="T5" fmla="*/ 18 h 129"/>
                <a:gd name="T6" fmla="*/ 14 w 121"/>
                <a:gd name="T7" fmla="*/ 9 h 129"/>
                <a:gd name="T8" fmla="*/ 49 w 121"/>
                <a:gd name="T9" fmla="*/ 0 h 129"/>
                <a:gd name="T10" fmla="*/ 63 w 121"/>
                <a:gd name="T11" fmla="*/ 4 h 129"/>
                <a:gd name="T12" fmla="*/ 67 w 121"/>
                <a:gd name="T13" fmla="*/ 18 h 129"/>
                <a:gd name="T14" fmla="*/ 72 w 121"/>
                <a:gd name="T15" fmla="*/ 13 h 129"/>
                <a:gd name="T16" fmla="*/ 72 w 121"/>
                <a:gd name="T17" fmla="*/ 27 h 129"/>
                <a:gd name="T18" fmla="*/ 67 w 121"/>
                <a:gd name="T19" fmla="*/ 44 h 129"/>
                <a:gd name="T20" fmla="*/ 81 w 121"/>
                <a:gd name="T21" fmla="*/ 44 h 129"/>
                <a:gd name="T22" fmla="*/ 94 w 121"/>
                <a:gd name="T23" fmla="*/ 40 h 129"/>
                <a:gd name="T24" fmla="*/ 103 w 121"/>
                <a:gd name="T25" fmla="*/ 49 h 129"/>
                <a:gd name="T26" fmla="*/ 103 w 121"/>
                <a:gd name="T27" fmla="*/ 76 h 129"/>
                <a:gd name="T28" fmla="*/ 116 w 121"/>
                <a:gd name="T29" fmla="*/ 71 h 129"/>
                <a:gd name="T30" fmla="*/ 121 w 121"/>
                <a:gd name="T31" fmla="*/ 76 h 129"/>
                <a:gd name="T32" fmla="*/ 116 w 121"/>
                <a:gd name="T33" fmla="*/ 94 h 129"/>
                <a:gd name="T34" fmla="*/ 121 w 121"/>
                <a:gd name="T35" fmla="*/ 98 h 129"/>
                <a:gd name="T36" fmla="*/ 116 w 121"/>
                <a:gd name="T37" fmla="*/ 116 h 129"/>
                <a:gd name="T38" fmla="*/ 103 w 121"/>
                <a:gd name="T39" fmla="*/ 129 h 129"/>
                <a:gd name="T40" fmla="*/ 85 w 121"/>
                <a:gd name="T41" fmla="*/ 129 h 129"/>
                <a:gd name="T42" fmla="*/ 72 w 121"/>
                <a:gd name="T43" fmla="*/ 125 h 129"/>
                <a:gd name="T44" fmla="*/ 58 w 121"/>
                <a:gd name="T45" fmla="*/ 125 h 129"/>
                <a:gd name="T46" fmla="*/ 72 w 121"/>
                <a:gd name="T47" fmla="*/ 98 h 129"/>
                <a:gd name="T48" fmla="*/ 72 w 121"/>
                <a:gd name="T49" fmla="*/ 89 h 129"/>
                <a:gd name="T50" fmla="*/ 36 w 121"/>
                <a:gd name="T51" fmla="*/ 71 h 129"/>
                <a:gd name="T52" fmla="*/ 27 w 121"/>
                <a:gd name="T53" fmla="*/ 71 h 129"/>
                <a:gd name="T54" fmla="*/ 0 w 121"/>
                <a:gd name="T55" fmla="*/ 4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1" h="129">
                  <a:moveTo>
                    <a:pt x="0" y="44"/>
                  </a:moveTo>
                  <a:lnTo>
                    <a:pt x="5" y="31"/>
                  </a:lnTo>
                  <a:lnTo>
                    <a:pt x="5" y="18"/>
                  </a:lnTo>
                  <a:lnTo>
                    <a:pt x="14" y="9"/>
                  </a:lnTo>
                  <a:lnTo>
                    <a:pt x="49" y="0"/>
                  </a:lnTo>
                  <a:lnTo>
                    <a:pt x="63" y="4"/>
                  </a:lnTo>
                  <a:lnTo>
                    <a:pt x="67" y="18"/>
                  </a:lnTo>
                  <a:lnTo>
                    <a:pt x="72" y="13"/>
                  </a:lnTo>
                  <a:lnTo>
                    <a:pt x="72" y="27"/>
                  </a:lnTo>
                  <a:lnTo>
                    <a:pt x="67" y="44"/>
                  </a:lnTo>
                  <a:lnTo>
                    <a:pt x="81" y="44"/>
                  </a:lnTo>
                  <a:lnTo>
                    <a:pt x="94" y="40"/>
                  </a:lnTo>
                  <a:lnTo>
                    <a:pt x="103" y="49"/>
                  </a:lnTo>
                  <a:lnTo>
                    <a:pt x="103" y="76"/>
                  </a:lnTo>
                  <a:lnTo>
                    <a:pt x="116" y="71"/>
                  </a:lnTo>
                  <a:lnTo>
                    <a:pt x="121" y="76"/>
                  </a:lnTo>
                  <a:lnTo>
                    <a:pt x="116" y="94"/>
                  </a:lnTo>
                  <a:lnTo>
                    <a:pt x="121" y="98"/>
                  </a:lnTo>
                  <a:lnTo>
                    <a:pt x="116" y="116"/>
                  </a:lnTo>
                  <a:lnTo>
                    <a:pt x="103" y="129"/>
                  </a:lnTo>
                  <a:lnTo>
                    <a:pt x="85" y="129"/>
                  </a:lnTo>
                  <a:lnTo>
                    <a:pt x="72" y="125"/>
                  </a:lnTo>
                  <a:lnTo>
                    <a:pt x="58" y="125"/>
                  </a:lnTo>
                  <a:lnTo>
                    <a:pt x="72" y="98"/>
                  </a:lnTo>
                  <a:lnTo>
                    <a:pt x="72" y="89"/>
                  </a:lnTo>
                  <a:lnTo>
                    <a:pt x="36" y="71"/>
                  </a:lnTo>
                  <a:lnTo>
                    <a:pt x="27" y="71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25" name="Freeform 33"/>
            <p:cNvSpPr>
              <a:spLocks/>
            </p:cNvSpPr>
            <p:nvPr/>
          </p:nvSpPr>
          <p:spPr bwMode="gray">
            <a:xfrm>
              <a:off x="3171" y="2784"/>
              <a:ext cx="179" cy="268"/>
            </a:xfrm>
            <a:custGeom>
              <a:avLst/>
              <a:gdLst>
                <a:gd name="T0" fmla="*/ 14 w 179"/>
                <a:gd name="T1" fmla="*/ 49 h 268"/>
                <a:gd name="T2" fmla="*/ 9 w 179"/>
                <a:gd name="T3" fmla="*/ 49 h 268"/>
                <a:gd name="T4" fmla="*/ 0 w 179"/>
                <a:gd name="T5" fmla="*/ 58 h 268"/>
                <a:gd name="T6" fmla="*/ 0 w 179"/>
                <a:gd name="T7" fmla="*/ 71 h 268"/>
                <a:gd name="T8" fmla="*/ 5 w 179"/>
                <a:gd name="T9" fmla="*/ 80 h 268"/>
                <a:gd name="T10" fmla="*/ 0 w 179"/>
                <a:gd name="T11" fmla="*/ 85 h 268"/>
                <a:gd name="T12" fmla="*/ 18 w 179"/>
                <a:gd name="T13" fmla="*/ 98 h 268"/>
                <a:gd name="T14" fmla="*/ 31 w 179"/>
                <a:gd name="T15" fmla="*/ 116 h 268"/>
                <a:gd name="T16" fmla="*/ 49 w 179"/>
                <a:gd name="T17" fmla="*/ 156 h 268"/>
                <a:gd name="T18" fmla="*/ 58 w 179"/>
                <a:gd name="T19" fmla="*/ 174 h 268"/>
                <a:gd name="T20" fmla="*/ 72 w 179"/>
                <a:gd name="T21" fmla="*/ 196 h 268"/>
                <a:gd name="T22" fmla="*/ 72 w 179"/>
                <a:gd name="T23" fmla="*/ 201 h 268"/>
                <a:gd name="T24" fmla="*/ 94 w 179"/>
                <a:gd name="T25" fmla="*/ 228 h 268"/>
                <a:gd name="T26" fmla="*/ 98 w 179"/>
                <a:gd name="T27" fmla="*/ 223 h 268"/>
                <a:gd name="T28" fmla="*/ 139 w 179"/>
                <a:gd name="T29" fmla="*/ 250 h 268"/>
                <a:gd name="T30" fmla="*/ 156 w 179"/>
                <a:gd name="T31" fmla="*/ 268 h 268"/>
                <a:gd name="T32" fmla="*/ 170 w 179"/>
                <a:gd name="T33" fmla="*/ 259 h 268"/>
                <a:gd name="T34" fmla="*/ 170 w 179"/>
                <a:gd name="T35" fmla="*/ 250 h 268"/>
                <a:gd name="T36" fmla="*/ 174 w 179"/>
                <a:gd name="T37" fmla="*/ 237 h 268"/>
                <a:gd name="T38" fmla="*/ 170 w 179"/>
                <a:gd name="T39" fmla="*/ 232 h 268"/>
                <a:gd name="T40" fmla="*/ 174 w 179"/>
                <a:gd name="T41" fmla="*/ 210 h 268"/>
                <a:gd name="T42" fmla="*/ 174 w 179"/>
                <a:gd name="T43" fmla="*/ 187 h 268"/>
                <a:gd name="T44" fmla="*/ 179 w 179"/>
                <a:gd name="T45" fmla="*/ 178 h 268"/>
                <a:gd name="T46" fmla="*/ 170 w 179"/>
                <a:gd name="T47" fmla="*/ 161 h 268"/>
                <a:gd name="T48" fmla="*/ 152 w 179"/>
                <a:gd name="T49" fmla="*/ 161 h 268"/>
                <a:gd name="T50" fmla="*/ 152 w 179"/>
                <a:gd name="T51" fmla="*/ 134 h 268"/>
                <a:gd name="T52" fmla="*/ 130 w 179"/>
                <a:gd name="T53" fmla="*/ 147 h 268"/>
                <a:gd name="T54" fmla="*/ 125 w 179"/>
                <a:gd name="T55" fmla="*/ 138 h 268"/>
                <a:gd name="T56" fmla="*/ 112 w 179"/>
                <a:gd name="T57" fmla="*/ 138 h 268"/>
                <a:gd name="T58" fmla="*/ 112 w 179"/>
                <a:gd name="T59" fmla="*/ 125 h 268"/>
                <a:gd name="T60" fmla="*/ 103 w 179"/>
                <a:gd name="T61" fmla="*/ 107 h 268"/>
                <a:gd name="T62" fmla="*/ 116 w 179"/>
                <a:gd name="T63" fmla="*/ 89 h 268"/>
                <a:gd name="T64" fmla="*/ 121 w 179"/>
                <a:gd name="T65" fmla="*/ 76 h 268"/>
                <a:gd name="T66" fmla="*/ 130 w 179"/>
                <a:gd name="T67" fmla="*/ 67 h 268"/>
                <a:gd name="T68" fmla="*/ 148 w 179"/>
                <a:gd name="T69" fmla="*/ 62 h 268"/>
                <a:gd name="T70" fmla="*/ 161 w 179"/>
                <a:gd name="T71" fmla="*/ 62 h 268"/>
                <a:gd name="T72" fmla="*/ 156 w 179"/>
                <a:gd name="T73" fmla="*/ 58 h 268"/>
                <a:gd name="T74" fmla="*/ 148 w 179"/>
                <a:gd name="T75" fmla="*/ 53 h 268"/>
                <a:gd name="T76" fmla="*/ 161 w 179"/>
                <a:gd name="T77" fmla="*/ 31 h 268"/>
                <a:gd name="T78" fmla="*/ 134 w 179"/>
                <a:gd name="T79" fmla="*/ 22 h 268"/>
                <a:gd name="T80" fmla="*/ 121 w 179"/>
                <a:gd name="T81" fmla="*/ 27 h 268"/>
                <a:gd name="T82" fmla="*/ 98 w 179"/>
                <a:gd name="T83" fmla="*/ 4 h 268"/>
                <a:gd name="T84" fmla="*/ 85 w 179"/>
                <a:gd name="T85" fmla="*/ 0 h 268"/>
                <a:gd name="T86" fmla="*/ 85 w 179"/>
                <a:gd name="T87" fmla="*/ 9 h 268"/>
                <a:gd name="T88" fmla="*/ 63 w 179"/>
                <a:gd name="T89" fmla="*/ 35 h 268"/>
                <a:gd name="T90" fmla="*/ 40 w 179"/>
                <a:gd name="T91" fmla="*/ 44 h 268"/>
                <a:gd name="T92" fmla="*/ 36 w 179"/>
                <a:gd name="T93" fmla="*/ 67 h 268"/>
                <a:gd name="T94" fmla="*/ 14 w 179"/>
                <a:gd name="T95" fmla="*/ 67 h 268"/>
                <a:gd name="T96" fmla="*/ 9 w 179"/>
                <a:gd name="T97" fmla="*/ 58 h 268"/>
                <a:gd name="T98" fmla="*/ 14 w 179"/>
                <a:gd name="T99" fmla="*/ 53 h 268"/>
                <a:gd name="T100" fmla="*/ 14 w 179"/>
                <a:gd name="T101" fmla="*/ 49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9" h="268">
                  <a:moveTo>
                    <a:pt x="14" y="49"/>
                  </a:moveTo>
                  <a:lnTo>
                    <a:pt x="9" y="49"/>
                  </a:lnTo>
                  <a:lnTo>
                    <a:pt x="0" y="58"/>
                  </a:lnTo>
                  <a:lnTo>
                    <a:pt x="0" y="71"/>
                  </a:lnTo>
                  <a:lnTo>
                    <a:pt x="5" y="80"/>
                  </a:lnTo>
                  <a:lnTo>
                    <a:pt x="0" y="85"/>
                  </a:lnTo>
                  <a:lnTo>
                    <a:pt x="18" y="98"/>
                  </a:lnTo>
                  <a:lnTo>
                    <a:pt x="31" y="116"/>
                  </a:lnTo>
                  <a:lnTo>
                    <a:pt x="49" y="156"/>
                  </a:lnTo>
                  <a:lnTo>
                    <a:pt x="58" y="174"/>
                  </a:lnTo>
                  <a:lnTo>
                    <a:pt x="72" y="196"/>
                  </a:lnTo>
                  <a:lnTo>
                    <a:pt x="72" y="201"/>
                  </a:lnTo>
                  <a:lnTo>
                    <a:pt x="94" y="228"/>
                  </a:lnTo>
                  <a:lnTo>
                    <a:pt x="98" y="223"/>
                  </a:lnTo>
                  <a:lnTo>
                    <a:pt x="139" y="250"/>
                  </a:lnTo>
                  <a:lnTo>
                    <a:pt x="156" y="268"/>
                  </a:lnTo>
                  <a:lnTo>
                    <a:pt x="170" y="259"/>
                  </a:lnTo>
                  <a:lnTo>
                    <a:pt x="170" y="250"/>
                  </a:lnTo>
                  <a:lnTo>
                    <a:pt x="174" y="237"/>
                  </a:lnTo>
                  <a:lnTo>
                    <a:pt x="170" y="232"/>
                  </a:lnTo>
                  <a:lnTo>
                    <a:pt x="174" y="210"/>
                  </a:lnTo>
                  <a:lnTo>
                    <a:pt x="174" y="187"/>
                  </a:lnTo>
                  <a:lnTo>
                    <a:pt x="179" y="178"/>
                  </a:lnTo>
                  <a:lnTo>
                    <a:pt x="170" y="161"/>
                  </a:lnTo>
                  <a:lnTo>
                    <a:pt x="152" y="161"/>
                  </a:lnTo>
                  <a:lnTo>
                    <a:pt x="152" y="134"/>
                  </a:lnTo>
                  <a:lnTo>
                    <a:pt x="130" y="147"/>
                  </a:lnTo>
                  <a:lnTo>
                    <a:pt x="125" y="138"/>
                  </a:lnTo>
                  <a:lnTo>
                    <a:pt x="112" y="138"/>
                  </a:lnTo>
                  <a:lnTo>
                    <a:pt x="112" y="125"/>
                  </a:lnTo>
                  <a:lnTo>
                    <a:pt x="103" y="107"/>
                  </a:lnTo>
                  <a:lnTo>
                    <a:pt x="116" y="89"/>
                  </a:lnTo>
                  <a:lnTo>
                    <a:pt x="121" y="76"/>
                  </a:lnTo>
                  <a:lnTo>
                    <a:pt x="130" y="67"/>
                  </a:lnTo>
                  <a:lnTo>
                    <a:pt x="148" y="62"/>
                  </a:lnTo>
                  <a:lnTo>
                    <a:pt x="161" y="62"/>
                  </a:lnTo>
                  <a:lnTo>
                    <a:pt x="156" y="58"/>
                  </a:lnTo>
                  <a:lnTo>
                    <a:pt x="148" y="53"/>
                  </a:lnTo>
                  <a:lnTo>
                    <a:pt x="161" y="31"/>
                  </a:lnTo>
                  <a:lnTo>
                    <a:pt x="134" y="22"/>
                  </a:lnTo>
                  <a:lnTo>
                    <a:pt x="121" y="27"/>
                  </a:lnTo>
                  <a:lnTo>
                    <a:pt x="98" y="4"/>
                  </a:lnTo>
                  <a:lnTo>
                    <a:pt x="85" y="0"/>
                  </a:lnTo>
                  <a:lnTo>
                    <a:pt x="85" y="9"/>
                  </a:lnTo>
                  <a:lnTo>
                    <a:pt x="63" y="35"/>
                  </a:lnTo>
                  <a:lnTo>
                    <a:pt x="40" y="44"/>
                  </a:lnTo>
                  <a:lnTo>
                    <a:pt x="36" y="67"/>
                  </a:lnTo>
                  <a:lnTo>
                    <a:pt x="14" y="67"/>
                  </a:lnTo>
                  <a:lnTo>
                    <a:pt x="9" y="58"/>
                  </a:lnTo>
                  <a:lnTo>
                    <a:pt x="14" y="53"/>
                  </a:lnTo>
                  <a:lnTo>
                    <a:pt x="14" y="4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26" name="Freeform 34"/>
            <p:cNvSpPr>
              <a:spLocks/>
            </p:cNvSpPr>
            <p:nvPr/>
          </p:nvSpPr>
          <p:spPr bwMode="gray">
            <a:xfrm>
              <a:off x="3377" y="2502"/>
              <a:ext cx="22" cy="14"/>
            </a:xfrm>
            <a:custGeom>
              <a:avLst/>
              <a:gdLst>
                <a:gd name="T0" fmla="*/ 0 w 22"/>
                <a:gd name="T1" fmla="*/ 14 h 14"/>
                <a:gd name="T2" fmla="*/ 13 w 22"/>
                <a:gd name="T3" fmla="*/ 9 h 14"/>
                <a:gd name="T4" fmla="*/ 17 w 22"/>
                <a:gd name="T5" fmla="*/ 14 h 14"/>
                <a:gd name="T6" fmla="*/ 22 w 22"/>
                <a:gd name="T7" fmla="*/ 9 h 14"/>
                <a:gd name="T8" fmla="*/ 22 w 22"/>
                <a:gd name="T9" fmla="*/ 0 h 14"/>
                <a:gd name="T10" fmla="*/ 13 w 22"/>
                <a:gd name="T11" fmla="*/ 5 h 14"/>
                <a:gd name="T12" fmla="*/ 0 w 22"/>
                <a:gd name="T13" fmla="*/ 0 h 14"/>
                <a:gd name="T14" fmla="*/ 0 w 22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4">
                  <a:moveTo>
                    <a:pt x="0" y="14"/>
                  </a:moveTo>
                  <a:lnTo>
                    <a:pt x="13" y="9"/>
                  </a:lnTo>
                  <a:lnTo>
                    <a:pt x="17" y="14"/>
                  </a:lnTo>
                  <a:lnTo>
                    <a:pt x="22" y="9"/>
                  </a:lnTo>
                  <a:lnTo>
                    <a:pt x="22" y="0"/>
                  </a:lnTo>
                  <a:lnTo>
                    <a:pt x="13" y="5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27" name="Freeform 35"/>
            <p:cNvSpPr>
              <a:spLocks/>
            </p:cNvSpPr>
            <p:nvPr/>
          </p:nvSpPr>
          <p:spPr bwMode="gray">
            <a:xfrm>
              <a:off x="3466" y="2574"/>
              <a:ext cx="1" cy="9"/>
            </a:xfrm>
            <a:custGeom>
              <a:avLst/>
              <a:gdLst>
                <a:gd name="T0" fmla="*/ 0 h 9"/>
                <a:gd name="T1" fmla="*/ 9 h 9"/>
                <a:gd name="T2" fmla="*/ 4 h 9"/>
                <a:gd name="T3" fmla="*/ 0 h 9"/>
                <a:gd name="T4" fmla="*/ 0 h 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9">
                  <a:moveTo>
                    <a:pt x="0" y="0"/>
                  </a:moveTo>
                  <a:lnTo>
                    <a:pt x="0" y="9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28" name="Freeform 36"/>
            <p:cNvSpPr>
              <a:spLocks/>
            </p:cNvSpPr>
            <p:nvPr/>
          </p:nvSpPr>
          <p:spPr bwMode="gray">
            <a:xfrm>
              <a:off x="3461" y="2583"/>
              <a:ext cx="5" cy="9"/>
            </a:xfrm>
            <a:custGeom>
              <a:avLst/>
              <a:gdLst>
                <a:gd name="T0" fmla="*/ 5 w 5"/>
                <a:gd name="T1" fmla="*/ 0 h 9"/>
                <a:gd name="T2" fmla="*/ 0 w 5"/>
                <a:gd name="T3" fmla="*/ 4 h 9"/>
                <a:gd name="T4" fmla="*/ 5 w 5"/>
                <a:gd name="T5" fmla="*/ 9 h 9"/>
                <a:gd name="T6" fmla="*/ 5 w 5"/>
                <a:gd name="T7" fmla="*/ 4 h 9"/>
                <a:gd name="T8" fmla="*/ 5 w 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5" y="0"/>
                  </a:moveTo>
                  <a:lnTo>
                    <a:pt x="0" y="4"/>
                  </a:lnTo>
                  <a:lnTo>
                    <a:pt x="5" y="9"/>
                  </a:lnTo>
                  <a:lnTo>
                    <a:pt x="5" y="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29" name="Freeform 37"/>
            <p:cNvSpPr>
              <a:spLocks/>
            </p:cNvSpPr>
            <p:nvPr/>
          </p:nvSpPr>
          <p:spPr bwMode="gray">
            <a:xfrm>
              <a:off x="3502" y="2690"/>
              <a:ext cx="62" cy="67"/>
            </a:xfrm>
            <a:custGeom>
              <a:avLst/>
              <a:gdLst>
                <a:gd name="T0" fmla="*/ 26 w 62"/>
                <a:gd name="T1" fmla="*/ 62 h 67"/>
                <a:gd name="T2" fmla="*/ 22 w 62"/>
                <a:gd name="T3" fmla="*/ 54 h 67"/>
                <a:gd name="T4" fmla="*/ 18 w 62"/>
                <a:gd name="T5" fmla="*/ 40 h 67"/>
                <a:gd name="T6" fmla="*/ 9 w 62"/>
                <a:gd name="T7" fmla="*/ 40 h 67"/>
                <a:gd name="T8" fmla="*/ 0 w 62"/>
                <a:gd name="T9" fmla="*/ 31 h 67"/>
                <a:gd name="T10" fmla="*/ 4 w 62"/>
                <a:gd name="T11" fmla="*/ 22 h 67"/>
                <a:gd name="T12" fmla="*/ 13 w 62"/>
                <a:gd name="T13" fmla="*/ 18 h 67"/>
                <a:gd name="T14" fmla="*/ 18 w 62"/>
                <a:gd name="T15" fmla="*/ 4 h 67"/>
                <a:gd name="T16" fmla="*/ 22 w 62"/>
                <a:gd name="T17" fmla="*/ 0 h 67"/>
                <a:gd name="T18" fmla="*/ 35 w 62"/>
                <a:gd name="T19" fmla="*/ 4 h 67"/>
                <a:gd name="T20" fmla="*/ 58 w 62"/>
                <a:gd name="T21" fmla="*/ 4 h 67"/>
                <a:gd name="T22" fmla="*/ 58 w 62"/>
                <a:gd name="T23" fmla="*/ 13 h 67"/>
                <a:gd name="T24" fmla="*/ 53 w 62"/>
                <a:gd name="T25" fmla="*/ 22 h 67"/>
                <a:gd name="T26" fmla="*/ 62 w 62"/>
                <a:gd name="T27" fmla="*/ 40 h 67"/>
                <a:gd name="T28" fmla="*/ 49 w 62"/>
                <a:gd name="T29" fmla="*/ 54 h 67"/>
                <a:gd name="T30" fmla="*/ 31 w 62"/>
                <a:gd name="T31" fmla="*/ 54 h 67"/>
                <a:gd name="T32" fmla="*/ 31 w 62"/>
                <a:gd name="T33" fmla="*/ 67 h 67"/>
                <a:gd name="T34" fmla="*/ 26 w 62"/>
                <a:gd name="T35" fmla="*/ 6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2" h="67">
                  <a:moveTo>
                    <a:pt x="26" y="62"/>
                  </a:moveTo>
                  <a:lnTo>
                    <a:pt x="22" y="54"/>
                  </a:lnTo>
                  <a:lnTo>
                    <a:pt x="18" y="40"/>
                  </a:lnTo>
                  <a:lnTo>
                    <a:pt x="9" y="40"/>
                  </a:lnTo>
                  <a:lnTo>
                    <a:pt x="0" y="31"/>
                  </a:lnTo>
                  <a:lnTo>
                    <a:pt x="4" y="22"/>
                  </a:lnTo>
                  <a:lnTo>
                    <a:pt x="13" y="18"/>
                  </a:lnTo>
                  <a:lnTo>
                    <a:pt x="18" y="4"/>
                  </a:lnTo>
                  <a:lnTo>
                    <a:pt x="22" y="0"/>
                  </a:lnTo>
                  <a:lnTo>
                    <a:pt x="35" y="4"/>
                  </a:lnTo>
                  <a:lnTo>
                    <a:pt x="58" y="4"/>
                  </a:lnTo>
                  <a:lnTo>
                    <a:pt x="58" y="13"/>
                  </a:lnTo>
                  <a:lnTo>
                    <a:pt x="53" y="22"/>
                  </a:lnTo>
                  <a:lnTo>
                    <a:pt x="62" y="40"/>
                  </a:lnTo>
                  <a:lnTo>
                    <a:pt x="49" y="54"/>
                  </a:lnTo>
                  <a:lnTo>
                    <a:pt x="31" y="54"/>
                  </a:lnTo>
                  <a:lnTo>
                    <a:pt x="31" y="67"/>
                  </a:lnTo>
                  <a:lnTo>
                    <a:pt x="26" y="62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30" name="Freeform 38"/>
            <p:cNvSpPr>
              <a:spLocks noEditPoints="1"/>
            </p:cNvSpPr>
            <p:nvPr/>
          </p:nvSpPr>
          <p:spPr bwMode="gray">
            <a:xfrm>
              <a:off x="3453" y="2614"/>
              <a:ext cx="22" cy="22"/>
            </a:xfrm>
            <a:custGeom>
              <a:avLst/>
              <a:gdLst>
                <a:gd name="T0" fmla="*/ 13 w 22"/>
                <a:gd name="T1" fmla="*/ 0 h 22"/>
                <a:gd name="T2" fmla="*/ 13 w 22"/>
                <a:gd name="T3" fmla="*/ 4 h 22"/>
                <a:gd name="T4" fmla="*/ 22 w 22"/>
                <a:gd name="T5" fmla="*/ 0 h 22"/>
                <a:gd name="T6" fmla="*/ 17 w 22"/>
                <a:gd name="T7" fmla="*/ 0 h 22"/>
                <a:gd name="T8" fmla="*/ 13 w 22"/>
                <a:gd name="T9" fmla="*/ 0 h 22"/>
                <a:gd name="T10" fmla="*/ 13 w 22"/>
                <a:gd name="T11" fmla="*/ 9 h 22"/>
                <a:gd name="T12" fmla="*/ 4 w 22"/>
                <a:gd name="T13" fmla="*/ 9 h 22"/>
                <a:gd name="T14" fmla="*/ 0 w 22"/>
                <a:gd name="T15" fmla="*/ 18 h 22"/>
                <a:gd name="T16" fmla="*/ 0 w 22"/>
                <a:gd name="T17" fmla="*/ 22 h 22"/>
                <a:gd name="T18" fmla="*/ 4 w 22"/>
                <a:gd name="T19" fmla="*/ 22 h 22"/>
                <a:gd name="T20" fmla="*/ 13 w 22"/>
                <a:gd name="T21" fmla="*/ 22 h 22"/>
                <a:gd name="T22" fmla="*/ 13 w 22"/>
                <a:gd name="T23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22">
                  <a:moveTo>
                    <a:pt x="13" y="0"/>
                  </a:moveTo>
                  <a:lnTo>
                    <a:pt x="13" y="4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13" y="0"/>
                  </a:lnTo>
                  <a:close/>
                  <a:moveTo>
                    <a:pt x="13" y="9"/>
                  </a:moveTo>
                  <a:lnTo>
                    <a:pt x="4" y="9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13" y="22"/>
                  </a:lnTo>
                  <a:lnTo>
                    <a:pt x="13" y="9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31" name="Freeform 39"/>
            <p:cNvSpPr>
              <a:spLocks noEditPoints="1"/>
            </p:cNvSpPr>
            <p:nvPr/>
          </p:nvSpPr>
          <p:spPr bwMode="gray">
            <a:xfrm>
              <a:off x="3403" y="2507"/>
              <a:ext cx="14" cy="13"/>
            </a:xfrm>
            <a:custGeom>
              <a:avLst/>
              <a:gdLst>
                <a:gd name="T0" fmla="*/ 5 w 14"/>
                <a:gd name="T1" fmla="*/ 4 h 13"/>
                <a:gd name="T2" fmla="*/ 9 w 14"/>
                <a:gd name="T3" fmla="*/ 4 h 13"/>
                <a:gd name="T4" fmla="*/ 5 w 14"/>
                <a:gd name="T5" fmla="*/ 0 h 13"/>
                <a:gd name="T6" fmla="*/ 5 w 14"/>
                <a:gd name="T7" fmla="*/ 0 h 13"/>
                <a:gd name="T8" fmla="*/ 5 w 14"/>
                <a:gd name="T9" fmla="*/ 4 h 13"/>
                <a:gd name="T10" fmla="*/ 5 w 14"/>
                <a:gd name="T11" fmla="*/ 13 h 13"/>
                <a:gd name="T12" fmla="*/ 9 w 14"/>
                <a:gd name="T13" fmla="*/ 9 h 13"/>
                <a:gd name="T14" fmla="*/ 0 w 14"/>
                <a:gd name="T15" fmla="*/ 13 h 13"/>
                <a:gd name="T16" fmla="*/ 0 w 14"/>
                <a:gd name="T17" fmla="*/ 13 h 13"/>
                <a:gd name="T18" fmla="*/ 5 w 14"/>
                <a:gd name="T19" fmla="*/ 13 h 13"/>
                <a:gd name="T20" fmla="*/ 9 w 14"/>
                <a:gd name="T21" fmla="*/ 0 h 13"/>
                <a:gd name="T22" fmla="*/ 9 w 14"/>
                <a:gd name="T23" fmla="*/ 0 h 13"/>
                <a:gd name="T24" fmla="*/ 9 w 14"/>
                <a:gd name="T25" fmla="*/ 0 h 13"/>
                <a:gd name="T26" fmla="*/ 14 w 14"/>
                <a:gd name="T27" fmla="*/ 0 h 13"/>
                <a:gd name="T28" fmla="*/ 9 w 14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3">
                  <a:moveTo>
                    <a:pt x="5" y="4"/>
                  </a:moveTo>
                  <a:lnTo>
                    <a:pt x="9" y="4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4"/>
                  </a:lnTo>
                  <a:close/>
                  <a:moveTo>
                    <a:pt x="5" y="13"/>
                  </a:moveTo>
                  <a:lnTo>
                    <a:pt x="9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5" y="13"/>
                  </a:lnTo>
                  <a:close/>
                  <a:moveTo>
                    <a:pt x="9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32" name="Freeform 40"/>
            <p:cNvSpPr>
              <a:spLocks/>
            </p:cNvSpPr>
            <p:nvPr/>
          </p:nvSpPr>
          <p:spPr bwMode="gray">
            <a:xfrm>
              <a:off x="3502" y="3244"/>
              <a:ext cx="71" cy="85"/>
            </a:xfrm>
            <a:custGeom>
              <a:avLst/>
              <a:gdLst>
                <a:gd name="T0" fmla="*/ 0 w 71"/>
                <a:gd name="T1" fmla="*/ 54 h 85"/>
                <a:gd name="T2" fmla="*/ 4 w 71"/>
                <a:gd name="T3" fmla="*/ 49 h 85"/>
                <a:gd name="T4" fmla="*/ 0 w 71"/>
                <a:gd name="T5" fmla="*/ 31 h 85"/>
                <a:gd name="T6" fmla="*/ 9 w 71"/>
                <a:gd name="T7" fmla="*/ 4 h 85"/>
                <a:gd name="T8" fmla="*/ 13 w 71"/>
                <a:gd name="T9" fmla="*/ 0 h 85"/>
                <a:gd name="T10" fmla="*/ 22 w 71"/>
                <a:gd name="T11" fmla="*/ 0 h 85"/>
                <a:gd name="T12" fmla="*/ 31 w 71"/>
                <a:gd name="T13" fmla="*/ 13 h 85"/>
                <a:gd name="T14" fmla="*/ 40 w 71"/>
                <a:gd name="T15" fmla="*/ 9 h 85"/>
                <a:gd name="T16" fmla="*/ 49 w 71"/>
                <a:gd name="T17" fmla="*/ 22 h 85"/>
                <a:gd name="T18" fmla="*/ 62 w 71"/>
                <a:gd name="T19" fmla="*/ 27 h 85"/>
                <a:gd name="T20" fmla="*/ 71 w 71"/>
                <a:gd name="T21" fmla="*/ 45 h 85"/>
                <a:gd name="T22" fmla="*/ 67 w 71"/>
                <a:gd name="T23" fmla="*/ 54 h 85"/>
                <a:gd name="T24" fmla="*/ 67 w 71"/>
                <a:gd name="T25" fmla="*/ 67 h 85"/>
                <a:gd name="T26" fmla="*/ 49 w 71"/>
                <a:gd name="T27" fmla="*/ 85 h 85"/>
                <a:gd name="T28" fmla="*/ 31 w 71"/>
                <a:gd name="T29" fmla="*/ 85 h 85"/>
                <a:gd name="T30" fmla="*/ 13 w 71"/>
                <a:gd name="T31" fmla="*/ 80 h 85"/>
                <a:gd name="T32" fmla="*/ 4 w 71"/>
                <a:gd name="T33" fmla="*/ 80 h 85"/>
                <a:gd name="T34" fmla="*/ 0 w 71"/>
                <a:gd name="T35" fmla="*/ 67 h 85"/>
                <a:gd name="T36" fmla="*/ 0 w 71"/>
                <a:gd name="T37" fmla="*/ 5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1" h="85">
                  <a:moveTo>
                    <a:pt x="0" y="54"/>
                  </a:moveTo>
                  <a:lnTo>
                    <a:pt x="4" y="49"/>
                  </a:lnTo>
                  <a:lnTo>
                    <a:pt x="0" y="31"/>
                  </a:lnTo>
                  <a:lnTo>
                    <a:pt x="9" y="4"/>
                  </a:lnTo>
                  <a:lnTo>
                    <a:pt x="13" y="0"/>
                  </a:lnTo>
                  <a:lnTo>
                    <a:pt x="22" y="0"/>
                  </a:lnTo>
                  <a:lnTo>
                    <a:pt x="31" y="13"/>
                  </a:lnTo>
                  <a:lnTo>
                    <a:pt x="40" y="9"/>
                  </a:lnTo>
                  <a:lnTo>
                    <a:pt x="49" y="22"/>
                  </a:lnTo>
                  <a:lnTo>
                    <a:pt x="62" y="27"/>
                  </a:lnTo>
                  <a:lnTo>
                    <a:pt x="71" y="45"/>
                  </a:lnTo>
                  <a:lnTo>
                    <a:pt x="67" y="54"/>
                  </a:lnTo>
                  <a:lnTo>
                    <a:pt x="67" y="67"/>
                  </a:lnTo>
                  <a:lnTo>
                    <a:pt x="49" y="85"/>
                  </a:lnTo>
                  <a:lnTo>
                    <a:pt x="31" y="85"/>
                  </a:lnTo>
                  <a:lnTo>
                    <a:pt x="13" y="80"/>
                  </a:lnTo>
                  <a:lnTo>
                    <a:pt x="4" y="80"/>
                  </a:lnTo>
                  <a:lnTo>
                    <a:pt x="0" y="67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8633" name="Freeform 41"/>
            <p:cNvSpPr>
              <a:spLocks/>
            </p:cNvSpPr>
            <p:nvPr/>
          </p:nvSpPr>
          <p:spPr bwMode="gray">
            <a:xfrm>
              <a:off x="3283" y="2601"/>
              <a:ext cx="196" cy="165"/>
            </a:xfrm>
            <a:custGeom>
              <a:avLst/>
              <a:gdLst>
                <a:gd name="T0" fmla="*/ 89 w 196"/>
                <a:gd name="T1" fmla="*/ 138 h 165"/>
                <a:gd name="T2" fmla="*/ 85 w 196"/>
                <a:gd name="T3" fmla="*/ 129 h 165"/>
                <a:gd name="T4" fmla="*/ 80 w 196"/>
                <a:gd name="T5" fmla="*/ 107 h 165"/>
                <a:gd name="T6" fmla="*/ 58 w 196"/>
                <a:gd name="T7" fmla="*/ 89 h 165"/>
                <a:gd name="T8" fmla="*/ 22 w 196"/>
                <a:gd name="T9" fmla="*/ 80 h 165"/>
                <a:gd name="T10" fmla="*/ 13 w 196"/>
                <a:gd name="T11" fmla="*/ 58 h 165"/>
                <a:gd name="T12" fmla="*/ 0 w 196"/>
                <a:gd name="T13" fmla="*/ 49 h 165"/>
                <a:gd name="T14" fmla="*/ 4 w 196"/>
                <a:gd name="T15" fmla="*/ 26 h 165"/>
                <a:gd name="T16" fmla="*/ 22 w 196"/>
                <a:gd name="T17" fmla="*/ 4 h 165"/>
                <a:gd name="T18" fmla="*/ 18 w 196"/>
                <a:gd name="T19" fmla="*/ 13 h 165"/>
                <a:gd name="T20" fmla="*/ 13 w 196"/>
                <a:gd name="T21" fmla="*/ 35 h 165"/>
                <a:gd name="T22" fmla="*/ 31 w 196"/>
                <a:gd name="T23" fmla="*/ 44 h 165"/>
                <a:gd name="T24" fmla="*/ 22 w 196"/>
                <a:gd name="T25" fmla="*/ 26 h 165"/>
                <a:gd name="T26" fmla="*/ 49 w 196"/>
                <a:gd name="T27" fmla="*/ 17 h 165"/>
                <a:gd name="T28" fmla="*/ 44 w 196"/>
                <a:gd name="T29" fmla="*/ 13 h 165"/>
                <a:gd name="T30" fmla="*/ 49 w 196"/>
                <a:gd name="T31" fmla="*/ 0 h 165"/>
                <a:gd name="T32" fmla="*/ 62 w 196"/>
                <a:gd name="T33" fmla="*/ 13 h 165"/>
                <a:gd name="T34" fmla="*/ 71 w 196"/>
                <a:gd name="T35" fmla="*/ 26 h 165"/>
                <a:gd name="T36" fmla="*/ 120 w 196"/>
                <a:gd name="T37" fmla="*/ 35 h 165"/>
                <a:gd name="T38" fmla="*/ 129 w 196"/>
                <a:gd name="T39" fmla="*/ 17 h 165"/>
                <a:gd name="T40" fmla="*/ 143 w 196"/>
                <a:gd name="T41" fmla="*/ 17 h 165"/>
                <a:gd name="T42" fmla="*/ 170 w 196"/>
                <a:gd name="T43" fmla="*/ 26 h 165"/>
                <a:gd name="T44" fmla="*/ 161 w 196"/>
                <a:gd name="T45" fmla="*/ 40 h 165"/>
                <a:gd name="T46" fmla="*/ 183 w 196"/>
                <a:gd name="T47" fmla="*/ 44 h 165"/>
                <a:gd name="T48" fmla="*/ 192 w 196"/>
                <a:gd name="T49" fmla="*/ 53 h 165"/>
                <a:gd name="T50" fmla="*/ 183 w 196"/>
                <a:gd name="T51" fmla="*/ 71 h 165"/>
                <a:gd name="T52" fmla="*/ 178 w 196"/>
                <a:gd name="T53" fmla="*/ 84 h 165"/>
                <a:gd name="T54" fmla="*/ 183 w 196"/>
                <a:gd name="T55" fmla="*/ 102 h 165"/>
                <a:gd name="T56" fmla="*/ 152 w 196"/>
                <a:gd name="T57" fmla="*/ 120 h 165"/>
                <a:gd name="T58" fmla="*/ 125 w 196"/>
                <a:gd name="T59" fmla="*/ 111 h 165"/>
                <a:gd name="T60" fmla="*/ 125 w 196"/>
                <a:gd name="T61" fmla="*/ 125 h 165"/>
                <a:gd name="T62" fmla="*/ 143 w 196"/>
                <a:gd name="T63" fmla="*/ 147 h 165"/>
                <a:gd name="T64" fmla="*/ 125 w 196"/>
                <a:gd name="T65" fmla="*/ 156 h 165"/>
                <a:gd name="T66" fmla="*/ 94 w 196"/>
                <a:gd name="T67" fmla="*/ 16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6" h="165">
                  <a:moveTo>
                    <a:pt x="94" y="160"/>
                  </a:moveTo>
                  <a:lnTo>
                    <a:pt x="89" y="138"/>
                  </a:lnTo>
                  <a:lnTo>
                    <a:pt x="76" y="143"/>
                  </a:lnTo>
                  <a:lnTo>
                    <a:pt x="85" y="129"/>
                  </a:lnTo>
                  <a:lnTo>
                    <a:pt x="80" y="125"/>
                  </a:lnTo>
                  <a:lnTo>
                    <a:pt x="80" y="107"/>
                  </a:lnTo>
                  <a:lnTo>
                    <a:pt x="85" y="84"/>
                  </a:lnTo>
                  <a:lnTo>
                    <a:pt x="58" y="89"/>
                  </a:lnTo>
                  <a:lnTo>
                    <a:pt x="49" y="75"/>
                  </a:lnTo>
                  <a:lnTo>
                    <a:pt x="22" y="80"/>
                  </a:lnTo>
                  <a:lnTo>
                    <a:pt x="9" y="67"/>
                  </a:lnTo>
                  <a:lnTo>
                    <a:pt x="13" y="58"/>
                  </a:lnTo>
                  <a:lnTo>
                    <a:pt x="4" y="49"/>
                  </a:lnTo>
                  <a:lnTo>
                    <a:pt x="0" y="49"/>
                  </a:lnTo>
                  <a:lnTo>
                    <a:pt x="4" y="44"/>
                  </a:lnTo>
                  <a:lnTo>
                    <a:pt x="4" y="26"/>
                  </a:lnTo>
                  <a:lnTo>
                    <a:pt x="13" y="13"/>
                  </a:lnTo>
                  <a:lnTo>
                    <a:pt x="22" y="4"/>
                  </a:lnTo>
                  <a:lnTo>
                    <a:pt x="31" y="4"/>
                  </a:lnTo>
                  <a:lnTo>
                    <a:pt x="18" y="13"/>
                  </a:lnTo>
                  <a:lnTo>
                    <a:pt x="22" y="22"/>
                  </a:lnTo>
                  <a:lnTo>
                    <a:pt x="13" y="35"/>
                  </a:lnTo>
                  <a:lnTo>
                    <a:pt x="22" y="49"/>
                  </a:lnTo>
                  <a:lnTo>
                    <a:pt x="31" y="44"/>
                  </a:lnTo>
                  <a:lnTo>
                    <a:pt x="31" y="35"/>
                  </a:lnTo>
                  <a:lnTo>
                    <a:pt x="22" y="26"/>
                  </a:lnTo>
                  <a:lnTo>
                    <a:pt x="27" y="22"/>
                  </a:lnTo>
                  <a:lnTo>
                    <a:pt x="49" y="17"/>
                  </a:lnTo>
                  <a:lnTo>
                    <a:pt x="49" y="8"/>
                  </a:lnTo>
                  <a:lnTo>
                    <a:pt x="44" y="13"/>
                  </a:lnTo>
                  <a:lnTo>
                    <a:pt x="44" y="4"/>
                  </a:lnTo>
                  <a:lnTo>
                    <a:pt x="49" y="0"/>
                  </a:lnTo>
                  <a:lnTo>
                    <a:pt x="53" y="13"/>
                  </a:lnTo>
                  <a:lnTo>
                    <a:pt x="62" y="13"/>
                  </a:lnTo>
                  <a:lnTo>
                    <a:pt x="71" y="17"/>
                  </a:lnTo>
                  <a:lnTo>
                    <a:pt x="71" y="26"/>
                  </a:lnTo>
                  <a:lnTo>
                    <a:pt x="103" y="26"/>
                  </a:lnTo>
                  <a:lnTo>
                    <a:pt x="120" y="35"/>
                  </a:lnTo>
                  <a:lnTo>
                    <a:pt x="134" y="26"/>
                  </a:lnTo>
                  <a:lnTo>
                    <a:pt x="129" y="17"/>
                  </a:lnTo>
                  <a:lnTo>
                    <a:pt x="143" y="13"/>
                  </a:lnTo>
                  <a:lnTo>
                    <a:pt x="143" y="17"/>
                  </a:lnTo>
                  <a:lnTo>
                    <a:pt x="138" y="22"/>
                  </a:lnTo>
                  <a:lnTo>
                    <a:pt x="170" y="26"/>
                  </a:lnTo>
                  <a:lnTo>
                    <a:pt x="152" y="31"/>
                  </a:lnTo>
                  <a:lnTo>
                    <a:pt x="161" y="40"/>
                  </a:lnTo>
                  <a:lnTo>
                    <a:pt x="178" y="40"/>
                  </a:lnTo>
                  <a:lnTo>
                    <a:pt x="183" y="44"/>
                  </a:lnTo>
                  <a:lnTo>
                    <a:pt x="183" y="53"/>
                  </a:lnTo>
                  <a:lnTo>
                    <a:pt x="192" y="53"/>
                  </a:lnTo>
                  <a:lnTo>
                    <a:pt x="196" y="67"/>
                  </a:lnTo>
                  <a:lnTo>
                    <a:pt x="183" y="71"/>
                  </a:lnTo>
                  <a:lnTo>
                    <a:pt x="187" y="80"/>
                  </a:lnTo>
                  <a:lnTo>
                    <a:pt x="178" y="84"/>
                  </a:lnTo>
                  <a:lnTo>
                    <a:pt x="174" y="93"/>
                  </a:lnTo>
                  <a:lnTo>
                    <a:pt x="183" y="102"/>
                  </a:lnTo>
                  <a:lnTo>
                    <a:pt x="183" y="116"/>
                  </a:lnTo>
                  <a:lnTo>
                    <a:pt x="152" y="120"/>
                  </a:lnTo>
                  <a:lnTo>
                    <a:pt x="138" y="120"/>
                  </a:lnTo>
                  <a:lnTo>
                    <a:pt x="125" y="111"/>
                  </a:lnTo>
                  <a:lnTo>
                    <a:pt x="120" y="120"/>
                  </a:lnTo>
                  <a:lnTo>
                    <a:pt x="125" y="125"/>
                  </a:lnTo>
                  <a:lnTo>
                    <a:pt x="129" y="143"/>
                  </a:lnTo>
                  <a:lnTo>
                    <a:pt x="143" y="147"/>
                  </a:lnTo>
                  <a:lnTo>
                    <a:pt x="134" y="147"/>
                  </a:lnTo>
                  <a:lnTo>
                    <a:pt x="125" y="156"/>
                  </a:lnTo>
                  <a:lnTo>
                    <a:pt x="103" y="165"/>
                  </a:lnTo>
                  <a:lnTo>
                    <a:pt x="94" y="160"/>
                  </a:lnTo>
                  <a:close/>
                </a:path>
              </a:pathLst>
            </a:custGeom>
            <a:solidFill>
              <a:schemeClr val="accent2"/>
            </a:solidFill>
            <a:ln w="3175" cmpd="sng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2" name="Slide Number Placeholder 10"/>
          <p:cNvSpPr>
            <a:spLocks noGrp="1"/>
          </p:cNvSpPr>
          <p:nvPr>
            <p:ph type="sldNum" sz="quarter" idx="4294967295"/>
          </p:nvPr>
        </p:nvSpPr>
        <p:spPr>
          <a:xfrm>
            <a:off x="10081200" y="6566400"/>
            <a:ext cx="262800" cy="151200"/>
          </a:xfrm>
          <a:prstGeom prst="rect">
            <a:avLst/>
          </a:prstGeo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3206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67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ermany – Zip Codes</a:t>
            </a:r>
          </a:p>
        </p:txBody>
      </p:sp>
      <p:grpSp>
        <p:nvGrpSpPr>
          <p:cNvPr id="2806787" name="Group 3"/>
          <p:cNvGrpSpPr>
            <a:grpSpLocks/>
          </p:cNvGrpSpPr>
          <p:nvPr/>
        </p:nvGrpSpPr>
        <p:grpSpPr bwMode="auto">
          <a:xfrm>
            <a:off x="4394201" y="1495425"/>
            <a:ext cx="3370263" cy="4554538"/>
            <a:chOff x="1808" y="910"/>
            <a:chExt cx="2123" cy="2869"/>
          </a:xfrm>
        </p:grpSpPr>
        <p:sp>
          <p:nvSpPr>
            <p:cNvPr id="2806788" name="Freeform 4"/>
            <p:cNvSpPr>
              <a:spLocks/>
            </p:cNvSpPr>
            <p:nvPr/>
          </p:nvSpPr>
          <p:spPr bwMode="gray">
            <a:xfrm>
              <a:off x="2519" y="3115"/>
              <a:ext cx="1036" cy="664"/>
            </a:xfrm>
            <a:custGeom>
              <a:avLst/>
              <a:gdLst>
                <a:gd name="T0" fmla="*/ 199 w 1036"/>
                <a:gd name="T1" fmla="*/ 566 h 664"/>
                <a:gd name="T2" fmla="*/ 236 w 1036"/>
                <a:gd name="T3" fmla="*/ 563 h 664"/>
                <a:gd name="T4" fmla="*/ 279 w 1036"/>
                <a:gd name="T5" fmla="*/ 585 h 664"/>
                <a:gd name="T6" fmla="*/ 288 w 1036"/>
                <a:gd name="T7" fmla="*/ 661 h 664"/>
                <a:gd name="T8" fmla="*/ 374 w 1036"/>
                <a:gd name="T9" fmla="*/ 621 h 664"/>
                <a:gd name="T10" fmla="*/ 408 w 1036"/>
                <a:gd name="T11" fmla="*/ 563 h 664"/>
                <a:gd name="T12" fmla="*/ 484 w 1036"/>
                <a:gd name="T13" fmla="*/ 560 h 664"/>
                <a:gd name="T14" fmla="*/ 509 w 1036"/>
                <a:gd name="T15" fmla="*/ 612 h 664"/>
                <a:gd name="T16" fmla="*/ 573 w 1036"/>
                <a:gd name="T17" fmla="*/ 609 h 664"/>
                <a:gd name="T18" fmla="*/ 616 w 1036"/>
                <a:gd name="T19" fmla="*/ 572 h 664"/>
                <a:gd name="T20" fmla="*/ 720 w 1036"/>
                <a:gd name="T21" fmla="*/ 539 h 664"/>
                <a:gd name="T22" fmla="*/ 824 w 1036"/>
                <a:gd name="T23" fmla="*/ 474 h 664"/>
                <a:gd name="T24" fmla="*/ 913 w 1036"/>
                <a:gd name="T25" fmla="*/ 496 h 664"/>
                <a:gd name="T26" fmla="*/ 962 w 1036"/>
                <a:gd name="T27" fmla="*/ 539 h 664"/>
                <a:gd name="T28" fmla="*/ 1020 w 1036"/>
                <a:gd name="T29" fmla="*/ 474 h 664"/>
                <a:gd name="T30" fmla="*/ 971 w 1036"/>
                <a:gd name="T31" fmla="*/ 386 h 664"/>
                <a:gd name="T32" fmla="*/ 944 w 1036"/>
                <a:gd name="T33" fmla="*/ 327 h 664"/>
                <a:gd name="T34" fmla="*/ 1008 w 1036"/>
                <a:gd name="T35" fmla="*/ 251 h 664"/>
                <a:gd name="T36" fmla="*/ 1017 w 1036"/>
                <a:gd name="T37" fmla="*/ 190 h 664"/>
                <a:gd name="T38" fmla="*/ 935 w 1036"/>
                <a:gd name="T39" fmla="*/ 187 h 664"/>
                <a:gd name="T40" fmla="*/ 895 w 1036"/>
                <a:gd name="T41" fmla="*/ 180 h 664"/>
                <a:gd name="T42" fmla="*/ 889 w 1036"/>
                <a:gd name="T43" fmla="*/ 125 h 664"/>
                <a:gd name="T44" fmla="*/ 815 w 1036"/>
                <a:gd name="T45" fmla="*/ 70 h 664"/>
                <a:gd name="T46" fmla="*/ 751 w 1036"/>
                <a:gd name="T47" fmla="*/ 58 h 664"/>
                <a:gd name="T48" fmla="*/ 720 w 1036"/>
                <a:gd name="T49" fmla="*/ 125 h 664"/>
                <a:gd name="T50" fmla="*/ 677 w 1036"/>
                <a:gd name="T51" fmla="*/ 107 h 664"/>
                <a:gd name="T52" fmla="*/ 677 w 1036"/>
                <a:gd name="T53" fmla="*/ 64 h 664"/>
                <a:gd name="T54" fmla="*/ 640 w 1036"/>
                <a:gd name="T55" fmla="*/ 70 h 664"/>
                <a:gd name="T56" fmla="*/ 610 w 1036"/>
                <a:gd name="T57" fmla="*/ 33 h 664"/>
                <a:gd name="T58" fmla="*/ 564 w 1036"/>
                <a:gd name="T59" fmla="*/ 15 h 664"/>
                <a:gd name="T60" fmla="*/ 512 w 1036"/>
                <a:gd name="T61" fmla="*/ 46 h 664"/>
                <a:gd name="T62" fmla="*/ 536 w 1036"/>
                <a:gd name="T63" fmla="*/ 61 h 664"/>
                <a:gd name="T64" fmla="*/ 530 w 1036"/>
                <a:gd name="T65" fmla="*/ 89 h 664"/>
                <a:gd name="T66" fmla="*/ 457 w 1036"/>
                <a:gd name="T67" fmla="*/ 40 h 664"/>
                <a:gd name="T68" fmla="*/ 429 w 1036"/>
                <a:gd name="T69" fmla="*/ 46 h 664"/>
                <a:gd name="T70" fmla="*/ 392 w 1036"/>
                <a:gd name="T71" fmla="*/ 12 h 664"/>
                <a:gd name="T72" fmla="*/ 362 w 1036"/>
                <a:gd name="T73" fmla="*/ 58 h 664"/>
                <a:gd name="T74" fmla="*/ 362 w 1036"/>
                <a:gd name="T75" fmla="*/ 119 h 664"/>
                <a:gd name="T76" fmla="*/ 303 w 1036"/>
                <a:gd name="T77" fmla="*/ 119 h 664"/>
                <a:gd name="T78" fmla="*/ 248 w 1036"/>
                <a:gd name="T79" fmla="*/ 125 h 664"/>
                <a:gd name="T80" fmla="*/ 248 w 1036"/>
                <a:gd name="T81" fmla="*/ 162 h 664"/>
                <a:gd name="T82" fmla="*/ 187 w 1036"/>
                <a:gd name="T83" fmla="*/ 205 h 664"/>
                <a:gd name="T84" fmla="*/ 184 w 1036"/>
                <a:gd name="T85" fmla="*/ 223 h 664"/>
                <a:gd name="T86" fmla="*/ 166 w 1036"/>
                <a:gd name="T87" fmla="*/ 257 h 664"/>
                <a:gd name="T88" fmla="*/ 147 w 1036"/>
                <a:gd name="T89" fmla="*/ 300 h 664"/>
                <a:gd name="T90" fmla="*/ 95 w 1036"/>
                <a:gd name="T91" fmla="*/ 312 h 664"/>
                <a:gd name="T92" fmla="*/ 83 w 1036"/>
                <a:gd name="T93" fmla="*/ 383 h 664"/>
                <a:gd name="T94" fmla="*/ 49 w 1036"/>
                <a:gd name="T95" fmla="*/ 389 h 664"/>
                <a:gd name="T96" fmla="*/ 34 w 1036"/>
                <a:gd name="T97" fmla="*/ 361 h 664"/>
                <a:gd name="T98" fmla="*/ 3 w 1036"/>
                <a:gd name="T99" fmla="*/ 376 h 664"/>
                <a:gd name="T100" fmla="*/ 22 w 1036"/>
                <a:gd name="T101" fmla="*/ 419 h 664"/>
                <a:gd name="T102" fmla="*/ 34 w 1036"/>
                <a:gd name="T103" fmla="*/ 450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6" h="664">
                  <a:moveTo>
                    <a:pt x="46" y="474"/>
                  </a:moveTo>
                  <a:lnTo>
                    <a:pt x="95" y="517"/>
                  </a:lnTo>
                  <a:lnTo>
                    <a:pt x="141" y="523"/>
                  </a:lnTo>
                  <a:lnTo>
                    <a:pt x="153" y="548"/>
                  </a:lnTo>
                  <a:lnTo>
                    <a:pt x="199" y="566"/>
                  </a:lnTo>
                  <a:lnTo>
                    <a:pt x="212" y="545"/>
                  </a:lnTo>
                  <a:lnTo>
                    <a:pt x="224" y="548"/>
                  </a:lnTo>
                  <a:lnTo>
                    <a:pt x="221" y="563"/>
                  </a:lnTo>
                  <a:lnTo>
                    <a:pt x="236" y="569"/>
                  </a:lnTo>
                  <a:lnTo>
                    <a:pt x="236" y="563"/>
                  </a:lnTo>
                  <a:lnTo>
                    <a:pt x="248" y="569"/>
                  </a:lnTo>
                  <a:lnTo>
                    <a:pt x="261" y="563"/>
                  </a:lnTo>
                  <a:lnTo>
                    <a:pt x="261" y="563"/>
                  </a:lnTo>
                  <a:lnTo>
                    <a:pt x="267" y="585"/>
                  </a:lnTo>
                  <a:lnTo>
                    <a:pt x="279" y="585"/>
                  </a:lnTo>
                  <a:lnTo>
                    <a:pt x="294" y="606"/>
                  </a:lnTo>
                  <a:lnTo>
                    <a:pt x="285" y="612"/>
                  </a:lnTo>
                  <a:lnTo>
                    <a:pt x="294" y="634"/>
                  </a:lnTo>
                  <a:lnTo>
                    <a:pt x="282" y="640"/>
                  </a:lnTo>
                  <a:lnTo>
                    <a:pt x="288" y="661"/>
                  </a:lnTo>
                  <a:lnTo>
                    <a:pt x="307" y="664"/>
                  </a:lnTo>
                  <a:lnTo>
                    <a:pt x="328" y="664"/>
                  </a:lnTo>
                  <a:lnTo>
                    <a:pt x="349" y="649"/>
                  </a:lnTo>
                  <a:lnTo>
                    <a:pt x="365" y="625"/>
                  </a:lnTo>
                  <a:lnTo>
                    <a:pt x="374" y="621"/>
                  </a:lnTo>
                  <a:lnTo>
                    <a:pt x="374" y="609"/>
                  </a:lnTo>
                  <a:lnTo>
                    <a:pt x="383" y="603"/>
                  </a:lnTo>
                  <a:lnTo>
                    <a:pt x="371" y="576"/>
                  </a:lnTo>
                  <a:lnTo>
                    <a:pt x="377" y="557"/>
                  </a:lnTo>
                  <a:lnTo>
                    <a:pt x="408" y="563"/>
                  </a:lnTo>
                  <a:lnTo>
                    <a:pt x="414" y="551"/>
                  </a:lnTo>
                  <a:lnTo>
                    <a:pt x="438" y="554"/>
                  </a:lnTo>
                  <a:lnTo>
                    <a:pt x="460" y="569"/>
                  </a:lnTo>
                  <a:lnTo>
                    <a:pt x="484" y="560"/>
                  </a:lnTo>
                  <a:lnTo>
                    <a:pt x="484" y="560"/>
                  </a:lnTo>
                  <a:lnTo>
                    <a:pt x="493" y="569"/>
                  </a:lnTo>
                  <a:lnTo>
                    <a:pt x="481" y="582"/>
                  </a:lnTo>
                  <a:lnTo>
                    <a:pt x="500" y="582"/>
                  </a:lnTo>
                  <a:lnTo>
                    <a:pt x="509" y="600"/>
                  </a:lnTo>
                  <a:lnTo>
                    <a:pt x="509" y="612"/>
                  </a:lnTo>
                  <a:lnTo>
                    <a:pt x="515" y="612"/>
                  </a:lnTo>
                  <a:lnTo>
                    <a:pt x="546" y="612"/>
                  </a:lnTo>
                  <a:lnTo>
                    <a:pt x="567" y="597"/>
                  </a:lnTo>
                  <a:lnTo>
                    <a:pt x="576" y="600"/>
                  </a:lnTo>
                  <a:lnTo>
                    <a:pt x="573" y="609"/>
                  </a:lnTo>
                  <a:lnTo>
                    <a:pt x="585" y="609"/>
                  </a:lnTo>
                  <a:lnTo>
                    <a:pt x="598" y="591"/>
                  </a:lnTo>
                  <a:lnTo>
                    <a:pt x="619" y="591"/>
                  </a:lnTo>
                  <a:lnTo>
                    <a:pt x="610" y="582"/>
                  </a:lnTo>
                  <a:lnTo>
                    <a:pt x="616" y="572"/>
                  </a:lnTo>
                  <a:lnTo>
                    <a:pt x="616" y="572"/>
                  </a:lnTo>
                  <a:lnTo>
                    <a:pt x="625" y="566"/>
                  </a:lnTo>
                  <a:lnTo>
                    <a:pt x="656" y="566"/>
                  </a:lnTo>
                  <a:lnTo>
                    <a:pt x="671" y="536"/>
                  </a:lnTo>
                  <a:lnTo>
                    <a:pt x="720" y="539"/>
                  </a:lnTo>
                  <a:lnTo>
                    <a:pt x="726" y="530"/>
                  </a:lnTo>
                  <a:lnTo>
                    <a:pt x="766" y="520"/>
                  </a:lnTo>
                  <a:lnTo>
                    <a:pt x="812" y="523"/>
                  </a:lnTo>
                  <a:lnTo>
                    <a:pt x="803" y="490"/>
                  </a:lnTo>
                  <a:lnTo>
                    <a:pt x="824" y="474"/>
                  </a:lnTo>
                  <a:lnTo>
                    <a:pt x="827" y="499"/>
                  </a:lnTo>
                  <a:lnTo>
                    <a:pt x="870" y="490"/>
                  </a:lnTo>
                  <a:lnTo>
                    <a:pt x="886" y="514"/>
                  </a:lnTo>
                  <a:lnTo>
                    <a:pt x="907" y="511"/>
                  </a:lnTo>
                  <a:lnTo>
                    <a:pt x="913" y="496"/>
                  </a:lnTo>
                  <a:lnTo>
                    <a:pt x="956" y="493"/>
                  </a:lnTo>
                  <a:lnTo>
                    <a:pt x="950" y="502"/>
                  </a:lnTo>
                  <a:lnTo>
                    <a:pt x="968" y="514"/>
                  </a:lnTo>
                  <a:lnTo>
                    <a:pt x="959" y="527"/>
                  </a:lnTo>
                  <a:lnTo>
                    <a:pt x="962" y="539"/>
                  </a:lnTo>
                  <a:lnTo>
                    <a:pt x="1017" y="569"/>
                  </a:lnTo>
                  <a:lnTo>
                    <a:pt x="1026" y="557"/>
                  </a:lnTo>
                  <a:lnTo>
                    <a:pt x="1023" y="523"/>
                  </a:lnTo>
                  <a:lnTo>
                    <a:pt x="1036" y="505"/>
                  </a:lnTo>
                  <a:lnTo>
                    <a:pt x="1020" y="474"/>
                  </a:lnTo>
                  <a:lnTo>
                    <a:pt x="993" y="478"/>
                  </a:lnTo>
                  <a:lnTo>
                    <a:pt x="987" y="471"/>
                  </a:lnTo>
                  <a:lnTo>
                    <a:pt x="1008" y="429"/>
                  </a:lnTo>
                  <a:lnTo>
                    <a:pt x="990" y="392"/>
                  </a:lnTo>
                  <a:lnTo>
                    <a:pt x="971" y="386"/>
                  </a:lnTo>
                  <a:lnTo>
                    <a:pt x="968" y="367"/>
                  </a:lnTo>
                  <a:lnTo>
                    <a:pt x="956" y="358"/>
                  </a:lnTo>
                  <a:lnTo>
                    <a:pt x="956" y="358"/>
                  </a:lnTo>
                  <a:lnTo>
                    <a:pt x="944" y="343"/>
                  </a:lnTo>
                  <a:lnTo>
                    <a:pt x="944" y="327"/>
                  </a:lnTo>
                  <a:lnTo>
                    <a:pt x="950" y="327"/>
                  </a:lnTo>
                  <a:lnTo>
                    <a:pt x="968" y="297"/>
                  </a:lnTo>
                  <a:lnTo>
                    <a:pt x="990" y="294"/>
                  </a:lnTo>
                  <a:lnTo>
                    <a:pt x="1020" y="266"/>
                  </a:lnTo>
                  <a:lnTo>
                    <a:pt x="1008" y="251"/>
                  </a:lnTo>
                  <a:lnTo>
                    <a:pt x="1017" y="239"/>
                  </a:lnTo>
                  <a:lnTo>
                    <a:pt x="1020" y="211"/>
                  </a:lnTo>
                  <a:lnTo>
                    <a:pt x="1033" y="208"/>
                  </a:lnTo>
                  <a:lnTo>
                    <a:pt x="1023" y="190"/>
                  </a:lnTo>
                  <a:lnTo>
                    <a:pt x="1017" y="190"/>
                  </a:lnTo>
                  <a:lnTo>
                    <a:pt x="1017" y="168"/>
                  </a:lnTo>
                  <a:lnTo>
                    <a:pt x="996" y="174"/>
                  </a:lnTo>
                  <a:lnTo>
                    <a:pt x="999" y="156"/>
                  </a:lnTo>
                  <a:lnTo>
                    <a:pt x="947" y="187"/>
                  </a:lnTo>
                  <a:lnTo>
                    <a:pt x="935" y="187"/>
                  </a:lnTo>
                  <a:lnTo>
                    <a:pt x="938" y="180"/>
                  </a:lnTo>
                  <a:lnTo>
                    <a:pt x="925" y="171"/>
                  </a:lnTo>
                  <a:lnTo>
                    <a:pt x="922" y="184"/>
                  </a:lnTo>
                  <a:lnTo>
                    <a:pt x="904" y="199"/>
                  </a:lnTo>
                  <a:lnTo>
                    <a:pt x="895" y="180"/>
                  </a:lnTo>
                  <a:lnTo>
                    <a:pt x="895" y="156"/>
                  </a:lnTo>
                  <a:lnTo>
                    <a:pt x="879" y="162"/>
                  </a:lnTo>
                  <a:lnTo>
                    <a:pt x="889" y="147"/>
                  </a:lnTo>
                  <a:lnTo>
                    <a:pt x="882" y="128"/>
                  </a:lnTo>
                  <a:lnTo>
                    <a:pt x="889" y="125"/>
                  </a:lnTo>
                  <a:lnTo>
                    <a:pt x="876" y="113"/>
                  </a:lnTo>
                  <a:lnTo>
                    <a:pt x="876" y="101"/>
                  </a:lnTo>
                  <a:lnTo>
                    <a:pt x="840" y="98"/>
                  </a:lnTo>
                  <a:lnTo>
                    <a:pt x="815" y="70"/>
                  </a:lnTo>
                  <a:lnTo>
                    <a:pt x="815" y="70"/>
                  </a:lnTo>
                  <a:lnTo>
                    <a:pt x="809" y="61"/>
                  </a:lnTo>
                  <a:lnTo>
                    <a:pt x="794" y="70"/>
                  </a:lnTo>
                  <a:lnTo>
                    <a:pt x="784" y="58"/>
                  </a:lnTo>
                  <a:lnTo>
                    <a:pt x="772" y="64"/>
                  </a:lnTo>
                  <a:lnTo>
                    <a:pt x="751" y="58"/>
                  </a:lnTo>
                  <a:lnTo>
                    <a:pt x="751" y="76"/>
                  </a:lnTo>
                  <a:lnTo>
                    <a:pt x="739" y="79"/>
                  </a:lnTo>
                  <a:lnTo>
                    <a:pt x="739" y="86"/>
                  </a:lnTo>
                  <a:lnTo>
                    <a:pt x="757" y="104"/>
                  </a:lnTo>
                  <a:lnTo>
                    <a:pt x="720" y="125"/>
                  </a:lnTo>
                  <a:lnTo>
                    <a:pt x="699" y="116"/>
                  </a:lnTo>
                  <a:lnTo>
                    <a:pt x="665" y="119"/>
                  </a:lnTo>
                  <a:lnTo>
                    <a:pt x="665" y="119"/>
                  </a:lnTo>
                  <a:lnTo>
                    <a:pt x="662" y="110"/>
                  </a:lnTo>
                  <a:lnTo>
                    <a:pt x="677" y="107"/>
                  </a:lnTo>
                  <a:lnTo>
                    <a:pt x="671" y="95"/>
                  </a:lnTo>
                  <a:lnTo>
                    <a:pt x="680" y="92"/>
                  </a:lnTo>
                  <a:lnTo>
                    <a:pt x="683" y="82"/>
                  </a:lnTo>
                  <a:lnTo>
                    <a:pt x="674" y="82"/>
                  </a:lnTo>
                  <a:lnTo>
                    <a:pt x="677" y="64"/>
                  </a:lnTo>
                  <a:lnTo>
                    <a:pt x="668" y="61"/>
                  </a:lnTo>
                  <a:lnTo>
                    <a:pt x="665" y="79"/>
                  </a:lnTo>
                  <a:lnTo>
                    <a:pt x="653" y="79"/>
                  </a:lnTo>
                  <a:lnTo>
                    <a:pt x="647" y="67"/>
                  </a:lnTo>
                  <a:lnTo>
                    <a:pt x="640" y="70"/>
                  </a:lnTo>
                  <a:lnTo>
                    <a:pt x="640" y="55"/>
                  </a:lnTo>
                  <a:lnTo>
                    <a:pt x="625" y="52"/>
                  </a:lnTo>
                  <a:lnTo>
                    <a:pt x="628" y="33"/>
                  </a:lnTo>
                  <a:lnTo>
                    <a:pt x="628" y="33"/>
                  </a:lnTo>
                  <a:lnTo>
                    <a:pt x="610" y="33"/>
                  </a:lnTo>
                  <a:lnTo>
                    <a:pt x="616" y="12"/>
                  </a:lnTo>
                  <a:lnTo>
                    <a:pt x="598" y="6"/>
                  </a:lnTo>
                  <a:lnTo>
                    <a:pt x="598" y="6"/>
                  </a:lnTo>
                  <a:lnTo>
                    <a:pt x="579" y="21"/>
                  </a:lnTo>
                  <a:lnTo>
                    <a:pt x="564" y="15"/>
                  </a:lnTo>
                  <a:lnTo>
                    <a:pt x="561" y="0"/>
                  </a:lnTo>
                  <a:lnTo>
                    <a:pt x="549" y="3"/>
                  </a:lnTo>
                  <a:lnTo>
                    <a:pt x="536" y="33"/>
                  </a:lnTo>
                  <a:lnTo>
                    <a:pt x="518" y="37"/>
                  </a:lnTo>
                  <a:lnTo>
                    <a:pt x="512" y="46"/>
                  </a:lnTo>
                  <a:lnTo>
                    <a:pt x="518" y="55"/>
                  </a:lnTo>
                  <a:lnTo>
                    <a:pt x="509" y="55"/>
                  </a:lnTo>
                  <a:lnTo>
                    <a:pt x="509" y="61"/>
                  </a:lnTo>
                  <a:lnTo>
                    <a:pt x="524" y="55"/>
                  </a:lnTo>
                  <a:lnTo>
                    <a:pt x="536" y="61"/>
                  </a:lnTo>
                  <a:lnTo>
                    <a:pt x="524" y="79"/>
                  </a:lnTo>
                  <a:lnTo>
                    <a:pt x="542" y="86"/>
                  </a:lnTo>
                  <a:lnTo>
                    <a:pt x="539" y="95"/>
                  </a:lnTo>
                  <a:lnTo>
                    <a:pt x="539" y="95"/>
                  </a:lnTo>
                  <a:lnTo>
                    <a:pt x="530" y="89"/>
                  </a:lnTo>
                  <a:lnTo>
                    <a:pt x="515" y="98"/>
                  </a:lnTo>
                  <a:lnTo>
                    <a:pt x="493" y="79"/>
                  </a:lnTo>
                  <a:lnTo>
                    <a:pt x="496" y="73"/>
                  </a:lnTo>
                  <a:lnTo>
                    <a:pt x="460" y="61"/>
                  </a:lnTo>
                  <a:lnTo>
                    <a:pt x="457" y="40"/>
                  </a:lnTo>
                  <a:lnTo>
                    <a:pt x="447" y="52"/>
                  </a:lnTo>
                  <a:lnTo>
                    <a:pt x="435" y="49"/>
                  </a:lnTo>
                  <a:lnTo>
                    <a:pt x="432" y="61"/>
                  </a:lnTo>
                  <a:lnTo>
                    <a:pt x="423" y="55"/>
                  </a:lnTo>
                  <a:lnTo>
                    <a:pt x="429" y="46"/>
                  </a:lnTo>
                  <a:lnTo>
                    <a:pt x="423" y="30"/>
                  </a:lnTo>
                  <a:lnTo>
                    <a:pt x="414" y="30"/>
                  </a:lnTo>
                  <a:lnTo>
                    <a:pt x="414" y="18"/>
                  </a:lnTo>
                  <a:lnTo>
                    <a:pt x="402" y="12"/>
                  </a:lnTo>
                  <a:lnTo>
                    <a:pt x="392" y="12"/>
                  </a:lnTo>
                  <a:lnTo>
                    <a:pt x="389" y="21"/>
                  </a:lnTo>
                  <a:lnTo>
                    <a:pt x="368" y="18"/>
                  </a:lnTo>
                  <a:lnTo>
                    <a:pt x="359" y="33"/>
                  </a:lnTo>
                  <a:lnTo>
                    <a:pt x="368" y="55"/>
                  </a:lnTo>
                  <a:lnTo>
                    <a:pt x="362" y="58"/>
                  </a:lnTo>
                  <a:lnTo>
                    <a:pt x="368" y="76"/>
                  </a:lnTo>
                  <a:lnTo>
                    <a:pt x="362" y="82"/>
                  </a:lnTo>
                  <a:lnTo>
                    <a:pt x="368" y="95"/>
                  </a:lnTo>
                  <a:lnTo>
                    <a:pt x="362" y="98"/>
                  </a:lnTo>
                  <a:lnTo>
                    <a:pt x="362" y="119"/>
                  </a:lnTo>
                  <a:lnTo>
                    <a:pt x="362" y="119"/>
                  </a:lnTo>
                  <a:lnTo>
                    <a:pt x="340" y="122"/>
                  </a:lnTo>
                  <a:lnTo>
                    <a:pt x="316" y="104"/>
                  </a:lnTo>
                  <a:lnTo>
                    <a:pt x="307" y="107"/>
                  </a:lnTo>
                  <a:lnTo>
                    <a:pt x="303" y="119"/>
                  </a:lnTo>
                  <a:lnTo>
                    <a:pt x="297" y="104"/>
                  </a:lnTo>
                  <a:lnTo>
                    <a:pt x="279" y="119"/>
                  </a:lnTo>
                  <a:lnTo>
                    <a:pt x="270" y="113"/>
                  </a:lnTo>
                  <a:lnTo>
                    <a:pt x="267" y="125"/>
                  </a:lnTo>
                  <a:lnTo>
                    <a:pt x="248" y="125"/>
                  </a:lnTo>
                  <a:lnTo>
                    <a:pt x="242" y="135"/>
                  </a:lnTo>
                  <a:lnTo>
                    <a:pt x="248" y="135"/>
                  </a:lnTo>
                  <a:lnTo>
                    <a:pt x="230" y="135"/>
                  </a:lnTo>
                  <a:lnTo>
                    <a:pt x="227" y="144"/>
                  </a:lnTo>
                  <a:lnTo>
                    <a:pt x="248" y="162"/>
                  </a:lnTo>
                  <a:lnTo>
                    <a:pt x="254" y="174"/>
                  </a:lnTo>
                  <a:lnTo>
                    <a:pt x="230" y="187"/>
                  </a:lnTo>
                  <a:lnTo>
                    <a:pt x="233" y="196"/>
                  </a:lnTo>
                  <a:lnTo>
                    <a:pt x="196" y="187"/>
                  </a:lnTo>
                  <a:lnTo>
                    <a:pt x="187" y="205"/>
                  </a:lnTo>
                  <a:lnTo>
                    <a:pt x="178" y="205"/>
                  </a:lnTo>
                  <a:lnTo>
                    <a:pt x="178" y="205"/>
                  </a:lnTo>
                  <a:lnTo>
                    <a:pt x="163" y="220"/>
                  </a:lnTo>
                  <a:lnTo>
                    <a:pt x="172" y="226"/>
                  </a:lnTo>
                  <a:lnTo>
                    <a:pt x="184" y="223"/>
                  </a:lnTo>
                  <a:lnTo>
                    <a:pt x="184" y="239"/>
                  </a:lnTo>
                  <a:lnTo>
                    <a:pt x="190" y="242"/>
                  </a:lnTo>
                  <a:lnTo>
                    <a:pt x="181" y="239"/>
                  </a:lnTo>
                  <a:lnTo>
                    <a:pt x="159" y="251"/>
                  </a:lnTo>
                  <a:lnTo>
                    <a:pt x="166" y="257"/>
                  </a:lnTo>
                  <a:lnTo>
                    <a:pt x="159" y="275"/>
                  </a:lnTo>
                  <a:lnTo>
                    <a:pt x="150" y="278"/>
                  </a:lnTo>
                  <a:lnTo>
                    <a:pt x="156" y="288"/>
                  </a:lnTo>
                  <a:lnTo>
                    <a:pt x="144" y="291"/>
                  </a:lnTo>
                  <a:lnTo>
                    <a:pt x="147" y="300"/>
                  </a:lnTo>
                  <a:lnTo>
                    <a:pt x="147" y="300"/>
                  </a:lnTo>
                  <a:lnTo>
                    <a:pt x="141" y="306"/>
                  </a:lnTo>
                  <a:lnTo>
                    <a:pt x="123" y="297"/>
                  </a:lnTo>
                  <a:lnTo>
                    <a:pt x="123" y="309"/>
                  </a:lnTo>
                  <a:lnTo>
                    <a:pt x="95" y="312"/>
                  </a:lnTo>
                  <a:lnTo>
                    <a:pt x="95" y="327"/>
                  </a:lnTo>
                  <a:lnTo>
                    <a:pt x="83" y="340"/>
                  </a:lnTo>
                  <a:lnTo>
                    <a:pt x="107" y="364"/>
                  </a:lnTo>
                  <a:lnTo>
                    <a:pt x="98" y="364"/>
                  </a:lnTo>
                  <a:lnTo>
                    <a:pt x="83" y="383"/>
                  </a:lnTo>
                  <a:lnTo>
                    <a:pt x="92" y="401"/>
                  </a:lnTo>
                  <a:lnTo>
                    <a:pt x="86" y="407"/>
                  </a:lnTo>
                  <a:lnTo>
                    <a:pt x="65" y="404"/>
                  </a:lnTo>
                  <a:lnTo>
                    <a:pt x="61" y="386"/>
                  </a:lnTo>
                  <a:lnTo>
                    <a:pt x="49" y="389"/>
                  </a:lnTo>
                  <a:lnTo>
                    <a:pt x="43" y="383"/>
                  </a:lnTo>
                  <a:lnTo>
                    <a:pt x="46" y="373"/>
                  </a:lnTo>
                  <a:lnTo>
                    <a:pt x="40" y="370"/>
                  </a:lnTo>
                  <a:lnTo>
                    <a:pt x="43" y="358"/>
                  </a:lnTo>
                  <a:lnTo>
                    <a:pt x="34" y="361"/>
                  </a:lnTo>
                  <a:lnTo>
                    <a:pt x="25" y="355"/>
                  </a:lnTo>
                  <a:lnTo>
                    <a:pt x="12" y="364"/>
                  </a:lnTo>
                  <a:lnTo>
                    <a:pt x="12" y="364"/>
                  </a:lnTo>
                  <a:lnTo>
                    <a:pt x="16" y="373"/>
                  </a:lnTo>
                  <a:lnTo>
                    <a:pt x="3" y="376"/>
                  </a:lnTo>
                  <a:lnTo>
                    <a:pt x="6" y="386"/>
                  </a:lnTo>
                  <a:lnTo>
                    <a:pt x="12" y="386"/>
                  </a:lnTo>
                  <a:lnTo>
                    <a:pt x="0" y="398"/>
                  </a:lnTo>
                  <a:lnTo>
                    <a:pt x="19" y="398"/>
                  </a:lnTo>
                  <a:lnTo>
                    <a:pt x="22" y="419"/>
                  </a:lnTo>
                  <a:lnTo>
                    <a:pt x="37" y="419"/>
                  </a:lnTo>
                  <a:lnTo>
                    <a:pt x="34" y="429"/>
                  </a:lnTo>
                  <a:lnTo>
                    <a:pt x="55" y="435"/>
                  </a:lnTo>
                  <a:lnTo>
                    <a:pt x="46" y="453"/>
                  </a:lnTo>
                  <a:lnTo>
                    <a:pt x="34" y="450"/>
                  </a:lnTo>
                  <a:lnTo>
                    <a:pt x="46" y="474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789" name="Freeform 5"/>
            <p:cNvSpPr>
              <a:spLocks/>
            </p:cNvSpPr>
            <p:nvPr/>
          </p:nvSpPr>
          <p:spPr bwMode="gray">
            <a:xfrm>
              <a:off x="2966" y="1969"/>
              <a:ext cx="965" cy="723"/>
            </a:xfrm>
            <a:custGeom>
              <a:avLst/>
              <a:gdLst>
                <a:gd name="T0" fmla="*/ 0 w 965"/>
                <a:gd name="T1" fmla="*/ 221 h 723"/>
                <a:gd name="T2" fmla="*/ 22 w 965"/>
                <a:gd name="T3" fmla="*/ 273 h 723"/>
                <a:gd name="T4" fmla="*/ 37 w 965"/>
                <a:gd name="T5" fmla="*/ 331 h 723"/>
                <a:gd name="T6" fmla="*/ 102 w 965"/>
                <a:gd name="T7" fmla="*/ 340 h 723"/>
                <a:gd name="T8" fmla="*/ 114 w 965"/>
                <a:gd name="T9" fmla="*/ 349 h 723"/>
                <a:gd name="T10" fmla="*/ 166 w 965"/>
                <a:gd name="T11" fmla="*/ 380 h 723"/>
                <a:gd name="T12" fmla="*/ 193 w 965"/>
                <a:gd name="T13" fmla="*/ 392 h 723"/>
                <a:gd name="T14" fmla="*/ 163 w 965"/>
                <a:gd name="T15" fmla="*/ 447 h 723"/>
                <a:gd name="T16" fmla="*/ 141 w 965"/>
                <a:gd name="T17" fmla="*/ 487 h 723"/>
                <a:gd name="T18" fmla="*/ 111 w 965"/>
                <a:gd name="T19" fmla="*/ 503 h 723"/>
                <a:gd name="T20" fmla="*/ 80 w 965"/>
                <a:gd name="T21" fmla="*/ 524 h 723"/>
                <a:gd name="T22" fmla="*/ 53 w 965"/>
                <a:gd name="T23" fmla="*/ 533 h 723"/>
                <a:gd name="T24" fmla="*/ 40 w 965"/>
                <a:gd name="T25" fmla="*/ 545 h 723"/>
                <a:gd name="T26" fmla="*/ 71 w 965"/>
                <a:gd name="T27" fmla="*/ 576 h 723"/>
                <a:gd name="T28" fmla="*/ 95 w 965"/>
                <a:gd name="T29" fmla="*/ 585 h 723"/>
                <a:gd name="T30" fmla="*/ 120 w 965"/>
                <a:gd name="T31" fmla="*/ 607 h 723"/>
                <a:gd name="T32" fmla="*/ 154 w 965"/>
                <a:gd name="T33" fmla="*/ 637 h 723"/>
                <a:gd name="T34" fmla="*/ 181 w 965"/>
                <a:gd name="T35" fmla="*/ 647 h 723"/>
                <a:gd name="T36" fmla="*/ 233 w 965"/>
                <a:gd name="T37" fmla="*/ 650 h 723"/>
                <a:gd name="T38" fmla="*/ 270 w 965"/>
                <a:gd name="T39" fmla="*/ 662 h 723"/>
                <a:gd name="T40" fmla="*/ 341 w 965"/>
                <a:gd name="T41" fmla="*/ 692 h 723"/>
                <a:gd name="T42" fmla="*/ 356 w 965"/>
                <a:gd name="T43" fmla="*/ 723 h 723"/>
                <a:gd name="T44" fmla="*/ 396 w 965"/>
                <a:gd name="T45" fmla="*/ 640 h 723"/>
                <a:gd name="T46" fmla="*/ 460 w 965"/>
                <a:gd name="T47" fmla="*/ 616 h 723"/>
                <a:gd name="T48" fmla="*/ 485 w 965"/>
                <a:gd name="T49" fmla="*/ 622 h 723"/>
                <a:gd name="T50" fmla="*/ 515 w 965"/>
                <a:gd name="T51" fmla="*/ 591 h 723"/>
                <a:gd name="T52" fmla="*/ 592 w 965"/>
                <a:gd name="T53" fmla="*/ 533 h 723"/>
                <a:gd name="T54" fmla="*/ 656 w 965"/>
                <a:gd name="T55" fmla="*/ 503 h 723"/>
                <a:gd name="T56" fmla="*/ 705 w 965"/>
                <a:gd name="T57" fmla="*/ 500 h 723"/>
                <a:gd name="T58" fmla="*/ 733 w 965"/>
                <a:gd name="T59" fmla="*/ 463 h 723"/>
                <a:gd name="T60" fmla="*/ 825 w 965"/>
                <a:gd name="T61" fmla="*/ 426 h 723"/>
                <a:gd name="T62" fmla="*/ 791 w 965"/>
                <a:gd name="T63" fmla="*/ 395 h 723"/>
                <a:gd name="T64" fmla="*/ 828 w 965"/>
                <a:gd name="T65" fmla="*/ 383 h 723"/>
                <a:gd name="T66" fmla="*/ 855 w 965"/>
                <a:gd name="T67" fmla="*/ 386 h 723"/>
                <a:gd name="T68" fmla="*/ 886 w 965"/>
                <a:gd name="T69" fmla="*/ 411 h 723"/>
                <a:gd name="T70" fmla="*/ 926 w 965"/>
                <a:gd name="T71" fmla="*/ 423 h 723"/>
                <a:gd name="T72" fmla="*/ 944 w 965"/>
                <a:gd name="T73" fmla="*/ 248 h 723"/>
                <a:gd name="T74" fmla="*/ 886 w 965"/>
                <a:gd name="T75" fmla="*/ 172 h 723"/>
                <a:gd name="T76" fmla="*/ 867 w 965"/>
                <a:gd name="T77" fmla="*/ 55 h 723"/>
                <a:gd name="T78" fmla="*/ 818 w 965"/>
                <a:gd name="T79" fmla="*/ 19 h 723"/>
                <a:gd name="T80" fmla="*/ 791 w 965"/>
                <a:gd name="T81" fmla="*/ 25 h 723"/>
                <a:gd name="T82" fmla="*/ 748 w 965"/>
                <a:gd name="T83" fmla="*/ 80 h 723"/>
                <a:gd name="T84" fmla="*/ 662 w 965"/>
                <a:gd name="T85" fmla="*/ 111 h 723"/>
                <a:gd name="T86" fmla="*/ 610 w 965"/>
                <a:gd name="T87" fmla="*/ 132 h 723"/>
                <a:gd name="T88" fmla="*/ 592 w 965"/>
                <a:gd name="T89" fmla="*/ 95 h 723"/>
                <a:gd name="T90" fmla="*/ 537 w 965"/>
                <a:gd name="T91" fmla="*/ 107 h 723"/>
                <a:gd name="T92" fmla="*/ 515 w 965"/>
                <a:gd name="T93" fmla="*/ 95 h 723"/>
                <a:gd name="T94" fmla="*/ 475 w 965"/>
                <a:gd name="T95" fmla="*/ 83 h 723"/>
                <a:gd name="T96" fmla="*/ 429 w 965"/>
                <a:gd name="T97" fmla="*/ 62 h 723"/>
                <a:gd name="T98" fmla="*/ 374 w 965"/>
                <a:gd name="T99" fmla="*/ 55 h 723"/>
                <a:gd name="T100" fmla="*/ 322 w 965"/>
                <a:gd name="T101" fmla="*/ 52 h 723"/>
                <a:gd name="T102" fmla="*/ 301 w 965"/>
                <a:gd name="T103" fmla="*/ 74 h 723"/>
                <a:gd name="T104" fmla="*/ 279 w 965"/>
                <a:gd name="T105" fmla="*/ 101 h 723"/>
                <a:gd name="T106" fmla="*/ 212 w 965"/>
                <a:gd name="T107" fmla="*/ 104 h 723"/>
                <a:gd name="T108" fmla="*/ 172 w 965"/>
                <a:gd name="T109" fmla="*/ 126 h 723"/>
                <a:gd name="T110" fmla="*/ 123 w 965"/>
                <a:gd name="T111" fmla="*/ 117 h 723"/>
                <a:gd name="T112" fmla="*/ 92 w 965"/>
                <a:gd name="T113" fmla="*/ 95 h 723"/>
                <a:gd name="T114" fmla="*/ 77 w 965"/>
                <a:gd name="T115" fmla="*/ 117 h 723"/>
                <a:gd name="T116" fmla="*/ 28 w 965"/>
                <a:gd name="T117" fmla="*/ 135 h 723"/>
                <a:gd name="T118" fmla="*/ 19 w 965"/>
                <a:gd name="T119" fmla="*/ 166 h 723"/>
                <a:gd name="T120" fmla="*/ 4 w 965"/>
                <a:gd name="T121" fmla="*/ 209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65" h="723">
                  <a:moveTo>
                    <a:pt x="4" y="209"/>
                  </a:moveTo>
                  <a:lnTo>
                    <a:pt x="13" y="212"/>
                  </a:lnTo>
                  <a:lnTo>
                    <a:pt x="4" y="212"/>
                  </a:lnTo>
                  <a:lnTo>
                    <a:pt x="0" y="221"/>
                  </a:lnTo>
                  <a:lnTo>
                    <a:pt x="16" y="233"/>
                  </a:lnTo>
                  <a:lnTo>
                    <a:pt x="13" y="242"/>
                  </a:lnTo>
                  <a:lnTo>
                    <a:pt x="22" y="254"/>
                  </a:lnTo>
                  <a:lnTo>
                    <a:pt x="22" y="273"/>
                  </a:lnTo>
                  <a:lnTo>
                    <a:pt x="31" y="273"/>
                  </a:lnTo>
                  <a:lnTo>
                    <a:pt x="37" y="291"/>
                  </a:lnTo>
                  <a:lnTo>
                    <a:pt x="25" y="310"/>
                  </a:lnTo>
                  <a:lnTo>
                    <a:pt x="37" y="331"/>
                  </a:lnTo>
                  <a:lnTo>
                    <a:pt x="53" y="328"/>
                  </a:lnTo>
                  <a:lnTo>
                    <a:pt x="83" y="343"/>
                  </a:lnTo>
                  <a:lnTo>
                    <a:pt x="89" y="334"/>
                  </a:lnTo>
                  <a:lnTo>
                    <a:pt x="102" y="340"/>
                  </a:lnTo>
                  <a:lnTo>
                    <a:pt x="105" y="322"/>
                  </a:lnTo>
                  <a:lnTo>
                    <a:pt x="114" y="337"/>
                  </a:lnTo>
                  <a:lnTo>
                    <a:pt x="120" y="337"/>
                  </a:lnTo>
                  <a:lnTo>
                    <a:pt x="114" y="349"/>
                  </a:lnTo>
                  <a:lnTo>
                    <a:pt x="141" y="359"/>
                  </a:lnTo>
                  <a:lnTo>
                    <a:pt x="138" y="386"/>
                  </a:lnTo>
                  <a:lnTo>
                    <a:pt x="160" y="389"/>
                  </a:lnTo>
                  <a:lnTo>
                    <a:pt x="166" y="380"/>
                  </a:lnTo>
                  <a:lnTo>
                    <a:pt x="175" y="389"/>
                  </a:lnTo>
                  <a:lnTo>
                    <a:pt x="187" y="383"/>
                  </a:lnTo>
                  <a:lnTo>
                    <a:pt x="193" y="392"/>
                  </a:lnTo>
                  <a:lnTo>
                    <a:pt x="193" y="392"/>
                  </a:lnTo>
                  <a:lnTo>
                    <a:pt x="187" y="414"/>
                  </a:lnTo>
                  <a:lnTo>
                    <a:pt x="151" y="438"/>
                  </a:lnTo>
                  <a:lnTo>
                    <a:pt x="151" y="447"/>
                  </a:lnTo>
                  <a:lnTo>
                    <a:pt x="163" y="447"/>
                  </a:lnTo>
                  <a:lnTo>
                    <a:pt x="154" y="451"/>
                  </a:lnTo>
                  <a:lnTo>
                    <a:pt x="151" y="469"/>
                  </a:lnTo>
                  <a:lnTo>
                    <a:pt x="138" y="475"/>
                  </a:lnTo>
                  <a:lnTo>
                    <a:pt x="141" y="487"/>
                  </a:lnTo>
                  <a:lnTo>
                    <a:pt x="135" y="496"/>
                  </a:lnTo>
                  <a:lnTo>
                    <a:pt x="126" y="500"/>
                  </a:lnTo>
                  <a:lnTo>
                    <a:pt x="126" y="493"/>
                  </a:lnTo>
                  <a:lnTo>
                    <a:pt x="111" y="503"/>
                  </a:lnTo>
                  <a:lnTo>
                    <a:pt x="92" y="490"/>
                  </a:lnTo>
                  <a:lnTo>
                    <a:pt x="95" y="496"/>
                  </a:lnTo>
                  <a:lnTo>
                    <a:pt x="80" y="503"/>
                  </a:lnTo>
                  <a:lnTo>
                    <a:pt x="80" y="524"/>
                  </a:lnTo>
                  <a:lnTo>
                    <a:pt x="68" y="533"/>
                  </a:lnTo>
                  <a:lnTo>
                    <a:pt x="62" y="527"/>
                  </a:lnTo>
                  <a:lnTo>
                    <a:pt x="56" y="542"/>
                  </a:lnTo>
                  <a:lnTo>
                    <a:pt x="53" y="533"/>
                  </a:lnTo>
                  <a:lnTo>
                    <a:pt x="49" y="536"/>
                  </a:lnTo>
                  <a:lnTo>
                    <a:pt x="49" y="536"/>
                  </a:lnTo>
                  <a:lnTo>
                    <a:pt x="49" y="545"/>
                  </a:lnTo>
                  <a:lnTo>
                    <a:pt x="40" y="545"/>
                  </a:lnTo>
                  <a:lnTo>
                    <a:pt x="43" y="552"/>
                  </a:lnTo>
                  <a:lnTo>
                    <a:pt x="53" y="549"/>
                  </a:lnTo>
                  <a:lnTo>
                    <a:pt x="53" y="570"/>
                  </a:lnTo>
                  <a:lnTo>
                    <a:pt x="71" y="576"/>
                  </a:lnTo>
                  <a:lnTo>
                    <a:pt x="71" y="564"/>
                  </a:lnTo>
                  <a:lnTo>
                    <a:pt x="77" y="567"/>
                  </a:lnTo>
                  <a:lnTo>
                    <a:pt x="80" y="576"/>
                  </a:lnTo>
                  <a:lnTo>
                    <a:pt x="95" y="585"/>
                  </a:lnTo>
                  <a:lnTo>
                    <a:pt x="108" y="579"/>
                  </a:lnTo>
                  <a:lnTo>
                    <a:pt x="102" y="588"/>
                  </a:lnTo>
                  <a:lnTo>
                    <a:pt x="120" y="607"/>
                  </a:lnTo>
                  <a:lnTo>
                    <a:pt x="120" y="607"/>
                  </a:lnTo>
                  <a:lnTo>
                    <a:pt x="138" y="607"/>
                  </a:lnTo>
                  <a:lnTo>
                    <a:pt x="138" y="631"/>
                  </a:lnTo>
                  <a:lnTo>
                    <a:pt x="144" y="640"/>
                  </a:lnTo>
                  <a:lnTo>
                    <a:pt x="154" y="637"/>
                  </a:lnTo>
                  <a:lnTo>
                    <a:pt x="151" y="647"/>
                  </a:lnTo>
                  <a:lnTo>
                    <a:pt x="163" y="650"/>
                  </a:lnTo>
                  <a:lnTo>
                    <a:pt x="163" y="656"/>
                  </a:lnTo>
                  <a:lnTo>
                    <a:pt x="181" y="647"/>
                  </a:lnTo>
                  <a:lnTo>
                    <a:pt x="181" y="647"/>
                  </a:lnTo>
                  <a:lnTo>
                    <a:pt x="200" y="650"/>
                  </a:lnTo>
                  <a:lnTo>
                    <a:pt x="227" y="637"/>
                  </a:lnTo>
                  <a:lnTo>
                    <a:pt x="233" y="650"/>
                  </a:lnTo>
                  <a:lnTo>
                    <a:pt x="255" y="634"/>
                  </a:lnTo>
                  <a:lnTo>
                    <a:pt x="255" y="634"/>
                  </a:lnTo>
                  <a:lnTo>
                    <a:pt x="270" y="647"/>
                  </a:lnTo>
                  <a:lnTo>
                    <a:pt x="270" y="662"/>
                  </a:lnTo>
                  <a:lnTo>
                    <a:pt x="301" y="671"/>
                  </a:lnTo>
                  <a:lnTo>
                    <a:pt x="319" y="671"/>
                  </a:lnTo>
                  <a:lnTo>
                    <a:pt x="325" y="689"/>
                  </a:lnTo>
                  <a:lnTo>
                    <a:pt x="341" y="692"/>
                  </a:lnTo>
                  <a:lnTo>
                    <a:pt x="334" y="699"/>
                  </a:lnTo>
                  <a:lnTo>
                    <a:pt x="347" y="705"/>
                  </a:lnTo>
                  <a:lnTo>
                    <a:pt x="347" y="723"/>
                  </a:lnTo>
                  <a:lnTo>
                    <a:pt x="356" y="723"/>
                  </a:lnTo>
                  <a:lnTo>
                    <a:pt x="362" y="683"/>
                  </a:lnTo>
                  <a:lnTo>
                    <a:pt x="371" y="668"/>
                  </a:lnTo>
                  <a:lnTo>
                    <a:pt x="390" y="656"/>
                  </a:lnTo>
                  <a:lnTo>
                    <a:pt x="396" y="640"/>
                  </a:lnTo>
                  <a:lnTo>
                    <a:pt x="435" y="631"/>
                  </a:lnTo>
                  <a:lnTo>
                    <a:pt x="442" y="637"/>
                  </a:lnTo>
                  <a:lnTo>
                    <a:pt x="448" y="622"/>
                  </a:lnTo>
                  <a:lnTo>
                    <a:pt x="460" y="616"/>
                  </a:lnTo>
                  <a:lnTo>
                    <a:pt x="466" y="622"/>
                  </a:lnTo>
                  <a:lnTo>
                    <a:pt x="466" y="613"/>
                  </a:lnTo>
                  <a:lnTo>
                    <a:pt x="485" y="622"/>
                  </a:lnTo>
                  <a:lnTo>
                    <a:pt x="485" y="622"/>
                  </a:lnTo>
                  <a:lnTo>
                    <a:pt x="497" y="631"/>
                  </a:lnTo>
                  <a:lnTo>
                    <a:pt x="506" y="625"/>
                  </a:lnTo>
                  <a:lnTo>
                    <a:pt x="515" y="613"/>
                  </a:lnTo>
                  <a:lnTo>
                    <a:pt x="515" y="591"/>
                  </a:lnTo>
                  <a:lnTo>
                    <a:pt x="555" y="591"/>
                  </a:lnTo>
                  <a:lnTo>
                    <a:pt x="564" y="558"/>
                  </a:lnTo>
                  <a:lnTo>
                    <a:pt x="583" y="561"/>
                  </a:lnTo>
                  <a:lnTo>
                    <a:pt x="592" y="533"/>
                  </a:lnTo>
                  <a:lnTo>
                    <a:pt x="616" y="552"/>
                  </a:lnTo>
                  <a:lnTo>
                    <a:pt x="628" y="536"/>
                  </a:lnTo>
                  <a:lnTo>
                    <a:pt x="628" y="512"/>
                  </a:lnTo>
                  <a:lnTo>
                    <a:pt x="656" y="503"/>
                  </a:lnTo>
                  <a:lnTo>
                    <a:pt x="656" y="503"/>
                  </a:lnTo>
                  <a:lnTo>
                    <a:pt x="668" y="506"/>
                  </a:lnTo>
                  <a:lnTo>
                    <a:pt x="674" y="500"/>
                  </a:lnTo>
                  <a:lnTo>
                    <a:pt x="705" y="500"/>
                  </a:lnTo>
                  <a:lnTo>
                    <a:pt x="714" y="490"/>
                  </a:lnTo>
                  <a:lnTo>
                    <a:pt x="714" y="472"/>
                  </a:lnTo>
                  <a:lnTo>
                    <a:pt x="720" y="475"/>
                  </a:lnTo>
                  <a:lnTo>
                    <a:pt x="733" y="463"/>
                  </a:lnTo>
                  <a:lnTo>
                    <a:pt x="754" y="463"/>
                  </a:lnTo>
                  <a:lnTo>
                    <a:pt x="788" y="444"/>
                  </a:lnTo>
                  <a:lnTo>
                    <a:pt x="797" y="429"/>
                  </a:lnTo>
                  <a:lnTo>
                    <a:pt x="825" y="426"/>
                  </a:lnTo>
                  <a:lnTo>
                    <a:pt x="828" y="414"/>
                  </a:lnTo>
                  <a:lnTo>
                    <a:pt x="803" y="405"/>
                  </a:lnTo>
                  <a:lnTo>
                    <a:pt x="809" y="398"/>
                  </a:lnTo>
                  <a:lnTo>
                    <a:pt x="791" y="395"/>
                  </a:lnTo>
                  <a:lnTo>
                    <a:pt x="794" y="377"/>
                  </a:lnTo>
                  <a:lnTo>
                    <a:pt x="815" y="374"/>
                  </a:lnTo>
                  <a:lnTo>
                    <a:pt x="815" y="374"/>
                  </a:lnTo>
                  <a:lnTo>
                    <a:pt x="828" y="383"/>
                  </a:lnTo>
                  <a:lnTo>
                    <a:pt x="837" y="377"/>
                  </a:lnTo>
                  <a:lnTo>
                    <a:pt x="846" y="380"/>
                  </a:lnTo>
                  <a:lnTo>
                    <a:pt x="846" y="374"/>
                  </a:lnTo>
                  <a:lnTo>
                    <a:pt x="855" y="386"/>
                  </a:lnTo>
                  <a:lnTo>
                    <a:pt x="864" y="383"/>
                  </a:lnTo>
                  <a:lnTo>
                    <a:pt x="871" y="392"/>
                  </a:lnTo>
                  <a:lnTo>
                    <a:pt x="864" y="417"/>
                  </a:lnTo>
                  <a:lnTo>
                    <a:pt x="886" y="411"/>
                  </a:lnTo>
                  <a:lnTo>
                    <a:pt x="880" y="438"/>
                  </a:lnTo>
                  <a:lnTo>
                    <a:pt x="904" y="451"/>
                  </a:lnTo>
                  <a:lnTo>
                    <a:pt x="923" y="447"/>
                  </a:lnTo>
                  <a:lnTo>
                    <a:pt x="926" y="423"/>
                  </a:lnTo>
                  <a:lnTo>
                    <a:pt x="941" y="402"/>
                  </a:lnTo>
                  <a:lnTo>
                    <a:pt x="956" y="352"/>
                  </a:lnTo>
                  <a:lnTo>
                    <a:pt x="965" y="279"/>
                  </a:lnTo>
                  <a:lnTo>
                    <a:pt x="944" y="248"/>
                  </a:lnTo>
                  <a:lnTo>
                    <a:pt x="941" y="209"/>
                  </a:lnTo>
                  <a:lnTo>
                    <a:pt x="886" y="193"/>
                  </a:lnTo>
                  <a:lnTo>
                    <a:pt x="886" y="172"/>
                  </a:lnTo>
                  <a:lnTo>
                    <a:pt x="886" y="172"/>
                  </a:lnTo>
                  <a:lnTo>
                    <a:pt x="892" y="163"/>
                  </a:lnTo>
                  <a:lnTo>
                    <a:pt x="889" y="141"/>
                  </a:lnTo>
                  <a:lnTo>
                    <a:pt x="846" y="86"/>
                  </a:lnTo>
                  <a:lnTo>
                    <a:pt x="867" y="55"/>
                  </a:lnTo>
                  <a:lnTo>
                    <a:pt x="871" y="19"/>
                  </a:lnTo>
                  <a:lnTo>
                    <a:pt x="840" y="9"/>
                  </a:lnTo>
                  <a:lnTo>
                    <a:pt x="834" y="19"/>
                  </a:lnTo>
                  <a:lnTo>
                    <a:pt x="818" y="19"/>
                  </a:lnTo>
                  <a:lnTo>
                    <a:pt x="815" y="0"/>
                  </a:lnTo>
                  <a:lnTo>
                    <a:pt x="806" y="9"/>
                  </a:lnTo>
                  <a:lnTo>
                    <a:pt x="809" y="19"/>
                  </a:lnTo>
                  <a:lnTo>
                    <a:pt x="791" y="25"/>
                  </a:lnTo>
                  <a:lnTo>
                    <a:pt x="797" y="49"/>
                  </a:lnTo>
                  <a:lnTo>
                    <a:pt x="760" y="62"/>
                  </a:lnTo>
                  <a:lnTo>
                    <a:pt x="760" y="77"/>
                  </a:lnTo>
                  <a:lnTo>
                    <a:pt x="748" y="80"/>
                  </a:lnTo>
                  <a:lnTo>
                    <a:pt x="690" y="68"/>
                  </a:lnTo>
                  <a:lnTo>
                    <a:pt x="671" y="83"/>
                  </a:lnTo>
                  <a:lnTo>
                    <a:pt x="674" y="111"/>
                  </a:lnTo>
                  <a:lnTo>
                    <a:pt x="662" y="111"/>
                  </a:lnTo>
                  <a:lnTo>
                    <a:pt x="647" y="120"/>
                  </a:lnTo>
                  <a:lnTo>
                    <a:pt x="644" y="135"/>
                  </a:lnTo>
                  <a:lnTo>
                    <a:pt x="635" y="129"/>
                  </a:lnTo>
                  <a:lnTo>
                    <a:pt x="610" y="132"/>
                  </a:lnTo>
                  <a:lnTo>
                    <a:pt x="610" y="132"/>
                  </a:lnTo>
                  <a:lnTo>
                    <a:pt x="592" y="114"/>
                  </a:lnTo>
                  <a:lnTo>
                    <a:pt x="601" y="101"/>
                  </a:lnTo>
                  <a:lnTo>
                    <a:pt x="592" y="95"/>
                  </a:lnTo>
                  <a:lnTo>
                    <a:pt x="576" y="107"/>
                  </a:lnTo>
                  <a:lnTo>
                    <a:pt x="552" y="104"/>
                  </a:lnTo>
                  <a:lnTo>
                    <a:pt x="552" y="104"/>
                  </a:lnTo>
                  <a:lnTo>
                    <a:pt x="537" y="107"/>
                  </a:lnTo>
                  <a:lnTo>
                    <a:pt x="534" y="86"/>
                  </a:lnTo>
                  <a:lnTo>
                    <a:pt x="518" y="86"/>
                  </a:lnTo>
                  <a:lnTo>
                    <a:pt x="515" y="95"/>
                  </a:lnTo>
                  <a:lnTo>
                    <a:pt x="515" y="95"/>
                  </a:lnTo>
                  <a:lnTo>
                    <a:pt x="509" y="86"/>
                  </a:lnTo>
                  <a:lnTo>
                    <a:pt x="491" y="92"/>
                  </a:lnTo>
                  <a:lnTo>
                    <a:pt x="491" y="80"/>
                  </a:lnTo>
                  <a:lnTo>
                    <a:pt x="475" y="83"/>
                  </a:lnTo>
                  <a:lnTo>
                    <a:pt x="472" y="71"/>
                  </a:lnTo>
                  <a:lnTo>
                    <a:pt x="448" y="71"/>
                  </a:lnTo>
                  <a:lnTo>
                    <a:pt x="445" y="58"/>
                  </a:lnTo>
                  <a:lnTo>
                    <a:pt x="429" y="62"/>
                  </a:lnTo>
                  <a:lnTo>
                    <a:pt x="411" y="46"/>
                  </a:lnTo>
                  <a:lnTo>
                    <a:pt x="402" y="43"/>
                  </a:lnTo>
                  <a:lnTo>
                    <a:pt x="393" y="55"/>
                  </a:lnTo>
                  <a:lnTo>
                    <a:pt x="374" y="55"/>
                  </a:lnTo>
                  <a:lnTo>
                    <a:pt x="359" y="40"/>
                  </a:lnTo>
                  <a:lnTo>
                    <a:pt x="350" y="46"/>
                  </a:lnTo>
                  <a:lnTo>
                    <a:pt x="334" y="34"/>
                  </a:lnTo>
                  <a:lnTo>
                    <a:pt x="322" y="52"/>
                  </a:lnTo>
                  <a:lnTo>
                    <a:pt x="310" y="58"/>
                  </a:lnTo>
                  <a:lnTo>
                    <a:pt x="316" y="65"/>
                  </a:lnTo>
                  <a:lnTo>
                    <a:pt x="298" y="68"/>
                  </a:lnTo>
                  <a:lnTo>
                    <a:pt x="301" y="74"/>
                  </a:lnTo>
                  <a:lnTo>
                    <a:pt x="288" y="80"/>
                  </a:lnTo>
                  <a:lnTo>
                    <a:pt x="295" y="92"/>
                  </a:lnTo>
                  <a:lnTo>
                    <a:pt x="285" y="89"/>
                  </a:lnTo>
                  <a:lnTo>
                    <a:pt x="279" y="101"/>
                  </a:lnTo>
                  <a:lnTo>
                    <a:pt x="267" y="107"/>
                  </a:lnTo>
                  <a:lnTo>
                    <a:pt x="236" y="101"/>
                  </a:lnTo>
                  <a:lnTo>
                    <a:pt x="221" y="117"/>
                  </a:lnTo>
                  <a:lnTo>
                    <a:pt x="212" y="104"/>
                  </a:lnTo>
                  <a:lnTo>
                    <a:pt x="178" y="107"/>
                  </a:lnTo>
                  <a:lnTo>
                    <a:pt x="184" y="111"/>
                  </a:lnTo>
                  <a:lnTo>
                    <a:pt x="178" y="111"/>
                  </a:lnTo>
                  <a:lnTo>
                    <a:pt x="172" y="126"/>
                  </a:lnTo>
                  <a:lnTo>
                    <a:pt x="175" y="144"/>
                  </a:lnTo>
                  <a:lnTo>
                    <a:pt x="166" y="153"/>
                  </a:lnTo>
                  <a:lnTo>
                    <a:pt x="132" y="117"/>
                  </a:lnTo>
                  <a:lnTo>
                    <a:pt x="123" y="117"/>
                  </a:lnTo>
                  <a:lnTo>
                    <a:pt x="120" y="95"/>
                  </a:lnTo>
                  <a:lnTo>
                    <a:pt x="114" y="95"/>
                  </a:lnTo>
                  <a:lnTo>
                    <a:pt x="108" y="104"/>
                  </a:lnTo>
                  <a:lnTo>
                    <a:pt x="92" y="95"/>
                  </a:lnTo>
                  <a:lnTo>
                    <a:pt x="83" y="98"/>
                  </a:lnTo>
                  <a:lnTo>
                    <a:pt x="86" y="101"/>
                  </a:lnTo>
                  <a:lnTo>
                    <a:pt x="86" y="101"/>
                  </a:lnTo>
                  <a:lnTo>
                    <a:pt x="77" y="117"/>
                  </a:lnTo>
                  <a:lnTo>
                    <a:pt x="68" y="114"/>
                  </a:lnTo>
                  <a:lnTo>
                    <a:pt x="43" y="126"/>
                  </a:lnTo>
                  <a:lnTo>
                    <a:pt x="37" y="123"/>
                  </a:lnTo>
                  <a:lnTo>
                    <a:pt x="28" y="135"/>
                  </a:lnTo>
                  <a:lnTo>
                    <a:pt x="28" y="144"/>
                  </a:lnTo>
                  <a:lnTo>
                    <a:pt x="22" y="147"/>
                  </a:lnTo>
                  <a:lnTo>
                    <a:pt x="28" y="156"/>
                  </a:lnTo>
                  <a:lnTo>
                    <a:pt x="19" y="166"/>
                  </a:lnTo>
                  <a:lnTo>
                    <a:pt x="22" y="175"/>
                  </a:lnTo>
                  <a:lnTo>
                    <a:pt x="4" y="178"/>
                  </a:lnTo>
                  <a:lnTo>
                    <a:pt x="16" y="190"/>
                  </a:lnTo>
                  <a:lnTo>
                    <a:pt x="4" y="209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790" name="Freeform 6"/>
            <p:cNvSpPr>
              <a:spLocks/>
            </p:cNvSpPr>
            <p:nvPr/>
          </p:nvSpPr>
          <p:spPr bwMode="gray">
            <a:xfrm>
              <a:off x="2887" y="1103"/>
              <a:ext cx="956" cy="1001"/>
            </a:xfrm>
            <a:custGeom>
              <a:avLst/>
              <a:gdLst>
                <a:gd name="T0" fmla="*/ 511 w 956"/>
                <a:gd name="T1" fmla="*/ 12 h 1001"/>
                <a:gd name="T2" fmla="*/ 548 w 956"/>
                <a:gd name="T3" fmla="*/ 70 h 1001"/>
                <a:gd name="T4" fmla="*/ 573 w 956"/>
                <a:gd name="T5" fmla="*/ 82 h 1001"/>
                <a:gd name="T6" fmla="*/ 582 w 956"/>
                <a:gd name="T7" fmla="*/ 110 h 1001"/>
                <a:gd name="T8" fmla="*/ 622 w 956"/>
                <a:gd name="T9" fmla="*/ 137 h 1001"/>
                <a:gd name="T10" fmla="*/ 665 w 956"/>
                <a:gd name="T11" fmla="*/ 110 h 1001"/>
                <a:gd name="T12" fmla="*/ 732 w 956"/>
                <a:gd name="T13" fmla="*/ 245 h 1001"/>
                <a:gd name="T14" fmla="*/ 799 w 956"/>
                <a:gd name="T15" fmla="*/ 251 h 1001"/>
                <a:gd name="T16" fmla="*/ 842 w 956"/>
                <a:gd name="T17" fmla="*/ 401 h 1001"/>
                <a:gd name="T18" fmla="*/ 839 w 956"/>
                <a:gd name="T19" fmla="*/ 493 h 1001"/>
                <a:gd name="T20" fmla="*/ 790 w 956"/>
                <a:gd name="T21" fmla="*/ 585 h 1001"/>
                <a:gd name="T22" fmla="*/ 907 w 956"/>
                <a:gd name="T23" fmla="*/ 689 h 1001"/>
                <a:gd name="T24" fmla="*/ 940 w 956"/>
                <a:gd name="T25" fmla="*/ 799 h 1001"/>
                <a:gd name="T26" fmla="*/ 919 w 956"/>
                <a:gd name="T27" fmla="*/ 875 h 1001"/>
                <a:gd name="T28" fmla="*/ 885 w 956"/>
                <a:gd name="T29" fmla="*/ 875 h 1001"/>
                <a:gd name="T30" fmla="*/ 839 w 956"/>
                <a:gd name="T31" fmla="*/ 928 h 1001"/>
                <a:gd name="T32" fmla="*/ 750 w 956"/>
                <a:gd name="T33" fmla="*/ 949 h 1001"/>
                <a:gd name="T34" fmla="*/ 723 w 956"/>
                <a:gd name="T35" fmla="*/ 1001 h 1001"/>
                <a:gd name="T36" fmla="*/ 671 w 956"/>
                <a:gd name="T37" fmla="*/ 980 h 1001"/>
                <a:gd name="T38" fmla="*/ 631 w 956"/>
                <a:gd name="T39" fmla="*/ 970 h 1001"/>
                <a:gd name="T40" fmla="*/ 597 w 956"/>
                <a:gd name="T41" fmla="*/ 952 h 1001"/>
                <a:gd name="T42" fmla="*/ 570 w 956"/>
                <a:gd name="T43" fmla="*/ 958 h 1001"/>
                <a:gd name="T44" fmla="*/ 527 w 956"/>
                <a:gd name="T45" fmla="*/ 937 h 1001"/>
                <a:gd name="T46" fmla="*/ 481 w 956"/>
                <a:gd name="T47" fmla="*/ 909 h 1001"/>
                <a:gd name="T48" fmla="*/ 429 w 956"/>
                <a:gd name="T49" fmla="*/ 912 h 1001"/>
                <a:gd name="T50" fmla="*/ 383 w 956"/>
                <a:gd name="T51" fmla="*/ 826 h 1001"/>
                <a:gd name="T52" fmla="*/ 386 w 956"/>
                <a:gd name="T53" fmla="*/ 765 h 1001"/>
                <a:gd name="T54" fmla="*/ 364 w 956"/>
                <a:gd name="T55" fmla="*/ 738 h 1001"/>
                <a:gd name="T56" fmla="*/ 346 w 956"/>
                <a:gd name="T57" fmla="*/ 664 h 1001"/>
                <a:gd name="T58" fmla="*/ 374 w 956"/>
                <a:gd name="T59" fmla="*/ 627 h 1001"/>
                <a:gd name="T60" fmla="*/ 346 w 956"/>
                <a:gd name="T61" fmla="*/ 591 h 1001"/>
                <a:gd name="T62" fmla="*/ 306 w 956"/>
                <a:gd name="T63" fmla="*/ 597 h 1001"/>
                <a:gd name="T64" fmla="*/ 248 w 956"/>
                <a:gd name="T65" fmla="*/ 563 h 1001"/>
                <a:gd name="T66" fmla="*/ 190 w 956"/>
                <a:gd name="T67" fmla="*/ 529 h 1001"/>
                <a:gd name="T68" fmla="*/ 122 w 956"/>
                <a:gd name="T69" fmla="*/ 496 h 1001"/>
                <a:gd name="T70" fmla="*/ 34 w 956"/>
                <a:gd name="T71" fmla="*/ 453 h 1001"/>
                <a:gd name="T72" fmla="*/ 18 w 956"/>
                <a:gd name="T73" fmla="*/ 395 h 1001"/>
                <a:gd name="T74" fmla="*/ 49 w 956"/>
                <a:gd name="T75" fmla="*/ 349 h 1001"/>
                <a:gd name="T76" fmla="*/ 52 w 956"/>
                <a:gd name="T77" fmla="*/ 303 h 1001"/>
                <a:gd name="T78" fmla="*/ 98 w 956"/>
                <a:gd name="T79" fmla="*/ 251 h 1001"/>
                <a:gd name="T80" fmla="*/ 122 w 956"/>
                <a:gd name="T81" fmla="*/ 266 h 1001"/>
                <a:gd name="T82" fmla="*/ 178 w 956"/>
                <a:gd name="T83" fmla="*/ 281 h 1001"/>
                <a:gd name="T84" fmla="*/ 202 w 956"/>
                <a:gd name="T85" fmla="*/ 257 h 1001"/>
                <a:gd name="T86" fmla="*/ 248 w 956"/>
                <a:gd name="T87" fmla="*/ 241 h 1001"/>
                <a:gd name="T88" fmla="*/ 245 w 956"/>
                <a:gd name="T89" fmla="*/ 196 h 1001"/>
                <a:gd name="T90" fmla="*/ 202 w 956"/>
                <a:gd name="T91" fmla="*/ 177 h 1001"/>
                <a:gd name="T92" fmla="*/ 196 w 956"/>
                <a:gd name="T93" fmla="*/ 159 h 1001"/>
                <a:gd name="T94" fmla="*/ 266 w 956"/>
                <a:gd name="T95" fmla="*/ 131 h 1001"/>
                <a:gd name="T96" fmla="*/ 318 w 956"/>
                <a:gd name="T97" fmla="*/ 137 h 1001"/>
                <a:gd name="T98" fmla="*/ 367 w 956"/>
                <a:gd name="T99" fmla="*/ 70 h 1001"/>
                <a:gd name="T100" fmla="*/ 493 w 956"/>
                <a:gd name="T101" fmla="*/ 18 h 1001"/>
                <a:gd name="T102" fmla="*/ 416 w 956"/>
                <a:gd name="T103" fmla="*/ 30 h 1001"/>
                <a:gd name="T104" fmla="*/ 395 w 956"/>
                <a:gd name="T105" fmla="*/ 58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56" h="1001">
                  <a:moveTo>
                    <a:pt x="462" y="30"/>
                  </a:moveTo>
                  <a:lnTo>
                    <a:pt x="484" y="39"/>
                  </a:lnTo>
                  <a:lnTo>
                    <a:pt x="487" y="27"/>
                  </a:lnTo>
                  <a:lnTo>
                    <a:pt x="511" y="12"/>
                  </a:lnTo>
                  <a:lnTo>
                    <a:pt x="514" y="27"/>
                  </a:lnTo>
                  <a:lnTo>
                    <a:pt x="530" y="36"/>
                  </a:lnTo>
                  <a:lnTo>
                    <a:pt x="533" y="67"/>
                  </a:lnTo>
                  <a:lnTo>
                    <a:pt x="548" y="70"/>
                  </a:lnTo>
                  <a:lnTo>
                    <a:pt x="542" y="79"/>
                  </a:lnTo>
                  <a:lnTo>
                    <a:pt x="551" y="73"/>
                  </a:lnTo>
                  <a:lnTo>
                    <a:pt x="557" y="82"/>
                  </a:lnTo>
                  <a:lnTo>
                    <a:pt x="573" y="82"/>
                  </a:lnTo>
                  <a:lnTo>
                    <a:pt x="582" y="98"/>
                  </a:lnTo>
                  <a:lnTo>
                    <a:pt x="582" y="98"/>
                  </a:lnTo>
                  <a:lnTo>
                    <a:pt x="594" y="101"/>
                  </a:lnTo>
                  <a:lnTo>
                    <a:pt x="582" y="110"/>
                  </a:lnTo>
                  <a:lnTo>
                    <a:pt x="603" y="104"/>
                  </a:lnTo>
                  <a:lnTo>
                    <a:pt x="597" y="116"/>
                  </a:lnTo>
                  <a:lnTo>
                    <a:pt x="603" y="110"/>
                  </a:lnTo>
                  <a:lnTo>
                    <a:pt x="622" y="137"/>
                  </a:lnTo>
                  <a:lnTo>
                    <a:pt x="622" y="122"/>
                  </a:lnTo>
                  <a:lnTo>
                    <a:pt x="646" y="113"/>
                  </a:lnTo>
                  <a:lnTo>
                    <a:pt x="665" y="101"/>
                  </a:lnTo>
                  <a:lnTo>
                    <a:pt x="665" y="110"/>
                  </a:lnTo>
                  <a:lnTo>
                    <a:pt x="689" y="125"/>
                  </a:lnTo>
                  <a:lnTo>
                    <a:pt x="677" y="153"/>
                  </a:lnTo>
                  <a:lnTo>
                    <a:pt x="717" y="189"/>
                  </a:lnTo>
                  <a:lnTo>
                    <a:pt x="732" y="245"/>
                  </a:lnTo>
                  <a:lnTo>
                    <a:pt x="763" y="254"/>
                  </a:lnTo>
                  <a:lnTo>
                    <a:pt x="781" y="254"/>
                  </a:lnTo>
                  <a:lnTo>
                    <a:pt x="793" y="245"/>
                  </a:lnTo>
                  <a:lnTo>
                    <a:pt x="799" y="251"/>
                  </a:lnTo>
                  <a:lnTo>
                    <a:pt x="787" y="266"/>
                  </a:lnTo>
                  <a:lnTo>
                    <a:pt x="799" y="266"/>
                  </a:lnTo>
                  <a:lnTo>
                    <a:pt x="812" y="321"/>
                  </a:lnTo>
                  <a:lnTo>
                    <a:pt x="842" y="401"/>
                  </a:lnTo>
                  <a:lnTo>
                    <a:pt x="842" y="401"/>
                  </a:lnTo>
                  <a:lnTo>
                    <a:pt x="851" y="425"/>
                  </a:lnTo>
                  <a:lnTo>
                    <a:pt x="839" y="447"/>
                  </a:lnTo>
                  <a:lnTo>
                    <a:pt x="839" y="493"/>
                  </a:lnTo>
                  <a:lnTo>
                    <a:pt x="824" y="514"/>
                  </a:lnTo>
                  <a:lnTo>
                    <a:pt x="793" y="542"/>
                  </a:lnTo>
                  <a:lnTo>
                    <a:pt x="799" y="566"/>
                  </a:lnTo>
                  <a:lnTo>
                    <a:pt x="790" y="585"/>
                  </a:lnTo>
                  <a:lnTo>
                    <a:pt x="839" y="612"/>
                  </a:lnTo>
                  <a:lnTo>
                    <a:pt x="839" y="612"/>
                  </a:lnTo>
                  <a:lnTo>
                    <a:pt x="913" y="673"/>
                  </a:lnTo>
                  <a:lnTo>
                    <a:pt x="907" y="689"/>
                  </a:lnTo>
                  <a:lnTo>
                    <a:pt x="916" y="704"/>
                  </a:lnTo>
                  <a:lnTo>
                    <a:pt x="894" y="744"/>
                  </a:lnTo>
                  <a:lnTo>
                    <a:pt x="910" y="781"/>
                  </a:lnTo>
                  <a:lnTo>
                    <a:pt x="940" y="799"/>
                  </a:lnTo>
                  <a:lnTo>
                    <a:pt x="937" y="842"/>
                  </a:lnTo>
                  <a:lnTo>
                    <a:pt x="956" y="860"/>
                  </a:lnTo>
                  <a:lnTo>
                    <a:pt x="950" y="885"/>
                  </a:lnTo>
                  <a:lnTo>
                    <a:pt x="919" y="875"/>
                  </a:lnTo>
                  <a:lnTo>
                    <a:pt x="913" y="885"/>
                  </a:lnTo>
                  <a:lnTo>
                    <a:pt x="897" y="885"/>
                  </a:lnTo>
                  <a:lnTo>
                    <a:pt x="894" y="866"/>
                  </a:lnTo>
                  <a:lnTo>
                    <a:pt x="885" y="875"/>
                  </a:lnTo>
                  <a:lnTo>
                    <a:pt x="888" y="885"/>
                  </a:lnTo>
                  <a:lnTo>
                    <a:pt x="870" y="891"/>
                  </a:lnTo>
                  <a:lnTo>
                    <a:pt x="876" y="915"/>
                  </a:lnTo>
                  <a:lnTo>
                    <a:pt x="839" y="928"/>
                  </a:lnTo>
                  <a:lnTo>
                    <a:pt x="839" y="943"/>
                  </a:lnTo>
                  <a:lnTo>
                    <a:pt x="827" y="946"/>
                  </a:lnTo>
                  <a:lnTo>
                    <a:pt x="769" y="934"/>
                  </a:lnTo>
                  <a:lnTo>
                    <a:pt x="750" y="949"/>
                  </a:lnTo>
                  <a:lnTo>
                    <a:pt x="753" y="977"/>
                  </a:lnTo>
                  <a:lnTo>
                    <a:pt x="741" y="977"/>
                  </a:lnTo>
                  <a:lnTo>
                    <a:pt x="726" y="986"/>
                  </a:lnTo>
                  <a:lnTo>
                    <a:pt x="723" y="1001"/>
                  </a:lnTo>
                  <a:lnTo>
                    <a:pt x="714" y="995"/>
                  </a:lnTo>
                  <a:lnTo>
                    <a:pt x="689" y="998"/>
                  </a:lnTo>
                  <a:lnTo>
                    <a:pt x="689" y="998"/>
                  </a:lnTo>
                  <a:lnTo>
                    <a:pt x="671" y="980"/>
                  </a:lnTo>
                  <a:lnTo>
                    <a:pt x="680" y="967"/>
                  </a:lnTo>
                  <a:lnTo>
                    <a:pt x="671" y="961"/>
                  </a:lnTo>
                  <a:lnTo>
                    <a:pt x="655" y="973"/>
                  </a:lnTo>
                  <a:lnTo>
                    <a:pt x="631" y="970"/>
                  </a:lnTo>
                  <a:lnTo>
                    <a:pt x="631" y="970"/>
                  </a:lnTo>
                  <a:lnTo>
                    <a:pt x="616" y="973"/>
                  </a:lnTo>
                  <a:lnTo>
                    <a:pt x="613" y="952"/>
                  </a:lnTo>
                  <a:lnTo>
                    <a:pt x="597" y="952"/>
                  </a:lnTo>
                  <a:lnTo>
                    <a:pt x="594" y="961"/>
                  </a:lnTo>
                  <a:lnTo>
                    <a:pt x="594" y="961"/>
                  </a:lnTo>
                  <a:lnTo>
                    <a:pt x="588" y="952"/>
                  </a:lnTo>
                  <a:lnTo>
                    <a:pt x="570" y="958"/>
                  </a:lnTo>
                  <a:lnTo>
                    <a:pt x="570" y="946"/>
                  </a:lnTo>
                  <a:lnTo>
                    <a:pt x="554" y="949"/>
                  </a:lnTo>
                  <a:lnTo>
                    <a:pt x="551" y="937"/>
                  </a:lnTo>
                  <a:lnTo>
                    <a:pt x="527" y="937"/>
                  </a:lnTo>
                  <a:lnTo>
                    <a:pt x="524" y="924"/>
                  </a:lnTo>
                  <a:lnTo>
                    <a:pt x="508" y="928"/>
                  </a:lnTo>
                  <a:lnTo>
                    <a:pt x="490" y="912"/>
                  </a:lnTo>
                  <a:lnTo>
                    <a:pt x="481" y="909"/>
                  </a:lnTo>
                  <a:lnTo>
                    <a:pt x="472" y="921"/>
                  </a:lnTo>
                  <a:lnTo>
                    <a:pt x="453" y="921"/>
                  </a:lnTo>
                  <a:lnTo>
                    <a:pt x="438" y="906"/>
                  </a:lnTo>
                  <a:lnTo>
                    <a:pt x="429" y="912"/>
                  </a:lnTo>
                  <a:lnTo>
                    <a:pt x="413" y="900"/>
                  </a:lnTo>
                  <a:lnTo>
                    <a:pt x="377" y="857"/>
                  </a:lnTo>
                  <a:lnTo>
                    <a:pt x="392" y="836"/>
                  </a:lnTo>
                  <a:lnTo>
                    <a:pt x="383" y="826"/>
                  </a:lnTo>
                  <a:lnTo>
                    <a:pt x="395" y="793"/>
                  </a:lnTo>
                  <a:lnTo>
                    <a:pt x="389" y="784"/>
                  </a:lnTo>
                  <a:lnTo>
                    <a:pt x="392" y="771"/>
                  </a:lnTo>
                  <a:lnTo>
                    <a:pt x="386" y="765"/>
                  </a:lnTo>
                  <a:lnTo>
                    <a:pt x="395" y="735"/>
                  </a:lnTo>
                  <a:lnTo>
                    <a:pt x="383" y="738"/>
                  </a:lnTo>
                  <a:lnTo>
                    <a:pt x="374" y="725"/>
                  </a:lnTo>
                  <a:lnTo>
                    <a:pt x="364" y="738"/>
                  </a:lnTo>
                  <a:lnTo>
                    <a:pt x="364" y="722"/>
                  </a:lnTo>
                  <a:lnTo>
                    <a:pt x="355" y="725"/>
                  </a:lnTo>
                  <a:lnTo>
                    <a:pt x="361" y="692"/>
                  </a:lnTo>
                  <a:lnTo>
                    <a:pt x="346" y="664"/>
                  </a:lnTo>
                  <a:lnTo>
                    <a:pt x="364" y="652"/>
                  </a:lnTo>
                  <a:lnTo>
                    <a:pt x="364" y="634"/>
                  </a:lnTo>
                  <a:lnTo>
                    <a:pt x="374" y="627"/>
                  </a:lnTo>
                  <a:lnTo>
                    <a:pt x="374" y="627"/>
                  </a:lnTo>
                  <a:lnTo>
                    <a:pt x="367" y="603"/>
                  </a:lnTo>
                  <a:lnTo>
                    <a:pt x="361" y="597"/>
                  </a:lnTo>
                  <a:lnTo>
                    <a:pt x="346" y="606"/>
                  </a:lnTo>
                  <a:lnTo>
                    <a:pt x="346" y="591"/>
                  </a:lnTo>
                  <a:lnTo>
                    <a:pt x="346" y="591"/>
                  </a:lnTo>
                  <a:lnTo>
                    <a:pt x="343" y="597"/>
                  </a:lnTo>
                  <a:lnTo>
                    <a:pt x="321" y="594"/>
                  </a:lnTo>
                  <a:lnTo>
                    <a:pt x="306" y="597"/>
                  </a:lnTo>
                  <a:lnTo>
                    <a:pt x="279" y="588"/>
                  </a:lnTo>
                  <a:lnTo>
                    <a:pt x="282" y="572"/>
                  </a:lnTo>
                  <a:lnTo>
                    <a:pt x="257" y="560"/>
                  </a:lnTo>
                  <a:lnTo>
                    <a:pt x="248" y="563"/>
                  </a:lnTo>
                  <a:lnTo>
                    <a:pt x="242" y="551"/>
                  </a:lnTo>
                  <a:lnTo>
                    <a:pt x="236" y="542"/>
                  </a:lnTo>
                  <a:lnTo>
                    <a:pt x="220" y="540"/>
                  </a:lnTo>
                  <a:lnTo>
                    <a:pt x="190" y="529"/>
                  </a:lnTo>
                  <a:lnTo>
                    <a:pt x="164" y="540"/>
                  </a:lnTo>
                  <a:lnTo>
                    <a:pt x="141" y="505"/>
                  </a:lnTo>
                  <a:lnTo>
                    <a:pt x="132" y="508"/>
                  </a:lnTo>
                  <a:lnTo>
                    <a:pt x="122" y="496"/>
                  </a:lnTo>
                  <a:lnTo>
                    <a:pt x="107" y="508"/>
                  </a:lnTo>
                  <a:lnTo>
                    <a:pt x="58" y="468"/>
                  </a:lnTo>
                  <a:lnTo>
                    <a:pt x="58" y="468"/>
                  </a:lnTo>
                  <a:lnTo>
                    <a:pt x="34" y="453"/>
                  </a:lnTo>
                  <a:lnTo>
                    <a:pt x="21" y="425"/>
                  </a:lnTo>
                  <a:lnTo>
                    <a:pt x="0" y="428"/>
                  </a:lnTo>
                  <a:lnTo>
                    <a:pt x="6" y="395"/>
                  </a:lnTo>
                  <a:lnTo>
                    <a:pt x="18" y="395"/>
                  </a:lnTo>
                  <a:lnTo>
                    <a:pt x="40" y="373"/>
                  </a:lnTo>
                  <a:lnTo>
                    <a:pt x="40" y="373"/>
                  </a:lnTo>
                  <a:lnTo>
                    <a:pt x="49" y="373"/>
                  </a:lnTo>
                  <a:lnTo>
                    <a:pt x="49" y="349"/>
                  </a:lnTo>
                  <a:lnTo>
                    <a:pt x="67" y="349"/>
                  </a:lnTo>
                  <a:lnTo>
                    <a:pt x="76" y="318"/>
                  </a:lnTo>
                  <a:lnTo>
                    <a:pt x="67" y="303"/>
                  </a:lnTo>
                  <a:lnTo>
                    <a:pt x="52" y="303"/>
                  </a:lnTo>
                  <a:lnTo>
                    <a:pt x="30" y="287"/>
                  </a:lnTo>
                  <a:lnTo>
                    <a:pt x="34" y="269"/>
                  </a:lnTo>
                  <a:lnTo>
                    <a:pt x="76" y="269"/>
                  </a:lnTo>
                  <a:lnTo>
                    <a:pt x="98" y="251"/>
                  </a:lnTo>
                  <a:lnTo>
                    <a:pt x="101" y="266"/>
                  </a:lnTo>
                  <a:lnTo>
                    <a:pt x="107" y="263"/>
                  </a:lnTo>
                  <a:lnTo>
                    <a:pt x="113" y="269"/>
                  </a:lnTo>
                  <a:lnTo>
                    <a:pt x="122" y="266"/>
                  </a:lnTo>
                  <a:lnTo>
                    <a:pt x="147" y="281"/>
                  </a:lnTo>
                  <a:lnTo>
                    <a:pt x="147" y="278"/>
                  </a:lnTo>
                  <a:lnTo>
                    <a:pt x="178" y="272"/>
                  </a:lnTo>
                  <a:lnTo>
                    <a:pt x="178" y="281"/>
                  </a:lnTo>
                  <a:lnTo>
                    <a:pt x="187" y="275"/>
                  </a:lnTo>
                  <a:lnTo>
                    <a:pt x="184" y="284"/>
                  </a:lnTo>
                  <a:lnTo>
                    <a:pt x="202" y="272"/>
                  </a:lnTo>
                  <a:lnTo>
                    <a:pt x="202" y="257"/>
                  </a:lnTo>
                  <a:lnTo>
                    <a:pt x="211" y="260"/>
                  </a:lnTo>
                  <a:lnTo>
                    <a:pt x="217" y="245"/>
                  </a:lnTo>
                  <a:lnTo>
                    <a:pt x="236" y="257"/>
                  </a:lnTo>
                  <a:lnTo>
                    <a:pt x="248" y="241"/>
                  </a:lnTo>
                  <a:lnTo>
                    <a:pt x="248" y="241"/>
                  </a:lnTo>
                  <a:lnTo>
                    <a:pt x="257" y="226"/>
                  </a:lnTo>
                  <a:lnTo>
                    <a:pt x="257" y="199"/>
                  </a:lnTo>
                  <a:lnTo>
                    <a:pt x="245" y="196"/>
                  </a:lnTo>
                  <a:lnTo>
                    <a:pt x="230" y="211"/>
                  </a:lnTo>
                  <a:lnTo>
                    <a:pt x="223" y="192"/>
                  </a:lnTo>
                  <a:lnTo>
                    <a:pt x="211" y="192"/>
                  </a:lnTo>
                  <a:lnTo>
                    <a:pt x="202" y="177"/>
                  </a:lnTo>
                  <a:lnTo>
                    <a:pt x="217" y="153"/>
                  </a:lnTo>
                  <a:lnTo>
                    <a:pt x="211" y="150"/>
                  </a:lnTo>
                  <a:lnTo>
                    <a:pt x="196" y="171"/>
                  </a:lnTo>
                  <a:lnTo>
                    <a:pt x="196" y="159"/>
                  </a:lnTo>
                  <a:lnTo>
                    <a:pt x="193" y="174"/>
                  </a:lnTo>
                  <a:lnTo>
                    <a:pt x="196" y="162"/>
                  </a:lnTo>
                  <a:lnTo>
                    <a:pt x="230" y="131"/>
                  </a:lnTo>
                  <a:lnTo>
                    <a:pt x="266" y="131"/>
                  </a:lnTo>
                  <a:lnTo>
                    <a:pt x="315" y="116"/>
                  </a:lnTo>
                  <a:lnTo>
                    <a:pt x="315" y="143"/>
                  </a:lnTo>
                  <a:lnTo>
                    <a:pt x="331" y="150"/>
                  </a:lnTo>
                  <a:lnTo>
                    <a:pt x="318" y="137"/>
                  </a:lnTo>
                  <a:lnTo>
                    <a:pt x="318" y="125"/>
                  </a:lnTo>
                  <a:lnTo>
                    <a:pt x="328" y="119"/>
                  </a:lnTo>
                  <a:lnTo>
                    <a:pt x="315" y="116"/>
                  </a:lnTo>
                  <a:lnTo>
                    <a:pt x="367" y="70"/>
                  </a:lnTo>
                  <a:lnTo>
                    <a:pt x="401" y="0"/>
                  </a:lnTo>
                  <a:lnTo>
                    <a:pt x="413" y="12"/>
                  </a:lnTo>
                  <a:lnTo>
                    <a:pt x="490" y="9"/>
                  </a:lnTo>
                  <a:lnTo>
                    <a:pt x="493" y="18"/>
                  </a:lnTo>
                  <a:lnTo>
                    <a:pt x="465" y="24"/>
                  </a:lnTo>
                  <a:lnTo>
                    <a:pt x="441" y="18"/>
                  </a:lnTo>
                  <a:lnTo>
                    <a:pt x="429" y="21"/>
                  </a:lnTo>
                  <a:lnTo>
                    <a:pt x="416" y="30"/>
                  </a:lnTo>
                  <a:lnTo>
                    <a:pt x="420" y="36"/>
                  </a:lnTo>
                  <a:lnTo>
                    <a:pt x="386" y="39"/>
                  </a:lnTo>
                  <a:lnTo>
                    <a:pt x="371" y="70"/>
                  </a:lnTo>
                  <a:lnTo>
                    <a:pt x="395" y="58"/>
                  </a:lnTo>
                  <a:lnTo>
                    <a:pt x="413" y="39"/>
                  </a:lnTo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791" name="Freeform 7"/>
            <p:cNvSpPr>
              <a:spLocks/>
            </p:cNvSpPr>
            <p:nvPr/>
          </p:nvSpPr>
          <p:spPr bwMode="gray">
            <a:xfrm>
              <a:off x="3420" y="1017"/>
              <a:ext cx="141" cy="171"/>
            </a:xfrm>
            <a:custGeom>
              <a:avLst/>
              <a:gdLst>
                <a:gd name="T0" fmla="*/ 18 w 141"/>
                <a:gd name="T1" fmla="*/ 147 h 171"/>
                <a:gd name="T2" fmla="*/ 9 w 141"/>
                <a:gd name="T3" fmla="*/ 153 h 171"/>
                <a:gd name="T4" fmla="*/ 21 w 141"/>
                <a:gd name="T5" fmla="*/ 156 h 171"/>
                <a:gd name="T6" fmla="*/ 49 w 141"/>
                <a:gd name="T7" fmla="*/ 159 h 171"/>
                <a:gd name="T8" fmla="*/ 49 w 141"/>
                <a:gd name="T9" fmla="*/ 165 h 171"/>
                <a:gd name="T10" fmla="*/ 64 w 141"/>
                <a:gd name="T11" fmla="*/ 171 h 171"/>
                <a:gd name="T12" fmla="*/ 58 w 141"/>
                <a:gd name="T13" fmla="*/ 156 h 171"/>
                <a:gd name="T14" fmla="*/ 55 w 141"/>
                <a:gd name="T15" fmla="*/ 156 h 171"/>
                <a:gd name="T16" fmla="*/ 76 w 141"/>
                <a:gd name="T17" fmla="*/ 135 h 171"/>
                <a:gd name="T18" fmla="*/ 101 w 141"/>
                <a:gd name="T19" fmla="*/ 122 h 171"/>
                <a:gd name="T20" fmla="*/ 116 w 141"/>
                <a:gd name="T21" fmla="*/ 119 h 171"/>
                <a:gd name="T22" fmla="*/ 107 w 141"/>
                <a:gd name="T23" fmla="*/ 135 h 171"/>
                <a:gd name="T24" fmla="*/ 116 w 141"/>
                <a:gd name="T25" fmla="*/ 141 h 171"/>
                <a:gd name="T26" fmla="*/ 125 w 141"/>
                <a:gd name="T27" fmla="*/ 147 h 171"/>
                <a:gd name="T28" fmla="*/ 132 w 141"/>
                <a:gd name="T29" fmla="*/ 135 h 171"/>
                <a:gd name="T30" fmla="*/ 119 w 141"/>
                <a:gd name="T31" fmla="*/ 101 h 171"/>
                <a:gd name="T32" fmla="*/ 98 w 141"/>
                <a:gd name="T33" fmla="*/ 82 h 171"/>
                <a:gd name="T34" fmla="*/ 116 w 141"/>
                <a:gd name="T35" fmla="*/ 43 h 171"/>
                <a:gd name="T36" fmla="*/ 61 w 141"/>
                <a:gd name="T37" fmla="*/ 40 h 171"/>
                <a:gd name="T38" fmla="*/ 61 w 141"/>
                <a:gd name="T39" fmla="*/ 0 h 171"/>
                <a:gd name="T40" fmla="*/ 6 w 141"/>
                <a:gd name="T41" fmla="*/ 52 h 171"/>
                <a:gd name="T42" fmla="*/ 24 w 141"/>
                <a:gd name="T43" fmla="*/ 49 h 171"/>
                <a:gd name="T44" fmla="*/ 67 w 141"/>
                <a:gd name="T45" fmla="*/ 49 h 171"/>
                <a:gd name="T46" fmla="*/ 83 w 141"/>
                <a:gd name="T47" fmla="*/ 76 h 171"/>
                <a:gd name="T48" fmla="*/ 61 w 141"/>
                <a:gd name="T49" fmla="*/ 70 h 171"/>
                <a:gd name="T50" fmla="*/ 49 w 141"/>
                <a:gd name="T51" fmla="*/ 52 h 171"/>
                <a:gd name="T52" fmla="*/ 46 w 141"/>
                <a:gd name="T53" fmla="*/ 64 h 171"/>
                <a:gd name="T54" fmla="*/ 37 w 141"/>
                <a:gd name="T55" fmla="*/ 52 h 171"/>
                <a:gd name="T56" fmla="*/ 24 w 141"/>
                <a:gd name="T57" fmla="*/ 52 h 171"/>
                <a:gd name="T58" fmla="*/ 9 w 141"/>
                <a:gd name="T59" fmla="*/ 70 h 171"/>
                <a:gd name="T60" fmla="*/ 21 w 141"/>
                <a:gd name="T61" fmla="*/ 76 h 171"/>
                <a:gd name="T62" fmla="*/ 6 w 141"/>
                <a:gd name="T63" fmla="*/ 98 h 171"/>
                <a:gd name="T64" fmla="*/ 31 w 141"/>
                <a:gd name="T65" fmla="*/ 113 h 171"/>
                <a:gd name="T66" fmla="*/ 0 w 141"/>
                <a:gd name="T67" fmla="*/ 135 h 171"/>
                <a:gd name="T68" fmla="*/ 86 w 141"/>
                <a:gd name="T69" fmla="*/ 76 h 171"/>
                <a:gd name="T70" fmla="*/ 86 w 141"/>
                <a:gd name="T71" fmla="*/ 89 h 171"/>
                <a:gd name="T72" fmla="*/ 86 w 141"/>
                <a:gd name="T73" fmla="*/ 92 h 171"/>
                <a:gd name="T74" fmla="*/ 76 w 141"/>
                <a:gd name="T75" fmla="*/ 98 h 171"/>
                <a:gd name="T76" fmla="*/ 76 w 141"/>
                <a:gd name="T77" fmla="*/ 86 h 171"/>
                <a:gd name="T78" fmla="*/ 12 w 141"/>
                <a:gd name="T7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1" h="171">
                  <a:moveTo>
                    <a:pt x="12" y="144"/>
                  </a:moveTo>
                  <a:lnTo>
                    <a:pt x="18" y="147"/>
                  </a:lnTo>
                  <a:lnTo>
                    <a:pt x="9" y="144"/>
                  </a:lnTo>
                  <a:lnTo>
                    <a:pt x="9" y="153"/>
                  </a:lnTo>
                  <a:lnTo>
                    <a:pt x="18" y="147"/>
                  </a:lnTo>
                  <a:lnTo>
                    <a:pt x="21" y="156"/>
                  </a:lnTo>
                  <a:lnTo>
                    <a:pt x="37" y="162"/>
                  </a:lnTo>
                  <a:lnTo>
                    <a:pt x="49" y="159"/>
                  </a:lnTo>
                  <a:lnTo>
                    <a:pt x="49" y="153"/>
                  </a:lnTo>
                  <a:lnTo>
                    <a:pt x="49" y="165"/>
                  </a:lnTo>
                  <a:lnTo>
                    <a:pt x="43" y="162"/>
                  </a:lnTo>
                  <a:lnTo>
                    <a:pt x="64" y="171"/>
                  </a:lnTo>
                  <a:lnTo>
                    <a:pt x="67" y="159"/>
                  </a:lnTo>
                  <a:lnTo>
                    <a:pt x="58" y="156"/>
                  </a:lnTo>
                  <a:lnTo>
                    <a:pt x="55" y="165"/>
                  </a:lnTo>
                  <a:lnTo>
                    <a:pt x="55" y="156"/>
                  </a:lnTo>
                  <a:lnTo>
                    <a:pt x="61" y="156"/>
                  </a:lnTo>
                  <a:lnTo>
                    <a:pt x="76" y="135"/>
                  </a:lnTo>
                  <a:lnTo>
                    <a:pt x="73" y="128"/>
                  </a:lnTo>
                  <a:lnTo>
                    <a:pt x="101" y="122"/>
                  </a:lnTo>
                  <a:lnTo>
                    <a:pt x="113" y="128"/>
                  </a:lnTo>
                  <a:lnTo>
                    <a:pt x="116" y="119"/>
                  </a:lnTo>
                  <a:lnTo>
                    <a:pt x="122" y="125"/>
                  </a:lnTo>
                  <a:lnTo>
                    <a:pt x="107" y="135"/>
                  </a:lnTo>
                  <a:lnTo>
                    <a:pt x="129" y="128"/>
                  </a:lnTo>
                  <a:lnTo>
                    <a:pt x="116" y="141"/>
                  </a:lnTo>
                  <a:lnTo>
                    <a:pt x="129" y="141"/>
                  </a:lnTo>
                  <a:lnTo>
                    <a:pt x="125" y="147"/>
                  </a:lnTo>
                  <a:lnTo>
                    <a:pt x="135" y="150"/>
                  </a:lnTo>
                  <a:lnTo>
                    <a:pt x="132" y="135"/>
                  </a:lnTo>
                  <a:lnTo>
                    <a:pt x="141" y="122"/>
                  </a:lnTo>
                  <a:lnTo>
                    <a:pt x="119" y="101"/>
                  </a:lnTo>
                  <a:lnTo>
                    <a:pt x="107" y="101"/>
                  </a:lnTo>
                  <a:lnTo>
                    <a:pt x="98" y="82"/>
                  </a:lnTo>
                  <a:lnTo>
                    <a:pt x="116" y="58"/>
                  </a:lnTo>
                  <a:lnTo>
                    <a:pt x="116" y="43"/>
                  </a:lnTo>
                  <a:lnTo>
                    <a:pt x="107" y="33"/>
                  </a:lnTo>
                  <a:lnTo>
                    <a:pt x="61" y="40"/>
                  </a:lnTo>
                  <a:lnTo>
                    <a:pt x="52" y="21"/>
                  </a:lnTo>
                  <a:lnTo>
                    <a:pt x="61" y="0"/>
                  </a:lnTo>
                  <a:lnTo>
                    <a:pt x="21" y="12"/>
                  </a:lnTo>
                  <a:lnTo>
                    <a:pt x="6" y="52"/>
                  </a:lnTo>
                  <a:lnTo>
                    <a:pt x="31" y="18"/>
                  </a:lnTo>
                  <a:lnTo>
                    <a:pt x="24" y="49"/>
                  </a:lnTo>
                  <a:lnTo>
                    <a:pt x="49" y="27"/>
                  </a:lnTo>
                  <a:lnTo>
                    <a:pt x="67" y="49"/>
                  </a:lnTo>
                  <a:lnTo>
                    <a:pt x="83" y="43"/>
                  </a:lnTo>
                  <a:lnTo>
                    <a:pt x="83" y="76"/>
                  </a:lnTo>
                  <a:lnTo>
                    <a:pt x="70" y="79"/>
                  </a:lnTo>
                  <a:lnTo>
                    <a:pt x="61" y="70"/>
                  </a:lnTo>
                  <a:lnTo>
                    <a:pt x="52" y="49"/>
                  </a:lnTo>
                  <a:lnTo>
                    <a:pt x="49" y="52"/>
                  </a:lnTo>
                  <a:lnTo>
                    <a:pt x="55" y="58"/>
                  </a:lnTo>
                  <a:lnTo>
                    <a:pt x="46" y="64"/>
                  </a:lnTo>
                  <a:lnTo>
                    <a:pt x="49" y="40"/>
                  </a:lnTo>
                  <a:lnTo>
                    <a:pt x="37" y="52"/>
                  </a:lnTo>
                  <a:lnTo>
                    <a:pt x="40" y="64"/>
                  </a:lnTo>
                  <a:lnTo>
                    <a:pt x="24" y="52"/>
                  </a:lnTo>
                  <a:lnTo>
                    <a:pt x="3" y="55"/>
                  </a:lnTo>
                  <a:lnTo>
                    <a:pt x="9" y="70"/>
                  </a:lnTo>
                  <a:lnTo>
                    <a:pt x="21" y="67"/>
                  </a:lnTo>
                  <a:lnTo>
                    <a:pt x="21" y="76"/>
                  </a:lnTo>
                  <a:lnTo>
                    <a:pt x="31" y="79"/>
                  </a:lnTo>
                  <a:lnTo>
                    <a:pt x="6" y="98"/>
                  </a:lnTo>
                  <a:lnTo>
                    <a:pt x="21" y="98"/>
                  </a:lnTo>
                  <a:lnTo>
                    <a:pt x="31" y="113"/>
                  </a:lnTo>
                  <a:lnTo>
                    <a:pt x="3" y="122"/>
                  </a:lnTo>
                  <a:lnTo>
                    <a:pt x="0" y="135"/>
                  </a:lnTo>
                  <a:lnTo>
                    <a:pt x="12" y="144"/>
                  </a:lnTo>
                  <a:lnTo>
                    <a:pt x="86" y="76"/>
                  </a:lnTo>
                  <a:lnTo>
                    <a:pt x="92" y="79"/>
                  </a:lnTo>
                  <a:lnTo>
                    <a:pt x="86" y="89"/>
                  </a:lnTo>
                  <a:lnTo>
                    <a:pt x="95" y="89"/>
                  </a:lnTo>
                  <a:lnTo>
                    <a:pt x="86" y="92"/>
                  </a:lnTo>
                  <a:lnTo>
                    <a:pt x="89" y="98"/>
                  </a:lnTo>
                  <a:lnTo>
                    <a:pt x="76" y="98"/>
                  </a:lnTo>
                  <a:lnTo>
                    <a:pt x="86" y="89"/>
                  </a:lnTo>
                  <a:lnTo>
                    <a:pt x="76" y="86"/>
                  </a:lnTo>
                  <a:lnTo>
                    <a:pt x="86" y="76"/>
                  </a:lnTo>
                  <a:lnTo>
                    <a:pt x="12" y="144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792" name="Freeform 8"/>
            <p:cNvSpPr>
              <a:spLocks/>
            </p:cNvSpPr>
            <p:nvPr/>
          </p:nvSpPr>
          <p:spPr bwMode="gray">
            <a:xfrm>
              <a:off x="3564" y="1201"/>
              <a:ext cx="107" cy="119"/>
            </a:xfrm>
            <a:custGeom>
              <a:avLst/>
              <a:gdLst>
                <a:gd name="T0" fmla="*/ 107 w 107"/>
                <a:gd name="T1" fmla="*/ 107 h 119"/>
                <a:gd name="T2" fmla="*/ 101 w 107"/>
                <a:gd name="T3" fmla="*/ 91 h 119"/>
                <a:gd name="T4" fmla="*/ 107 w 107"/>
                <a:gd name="T5" fmla="*/ 85 h 119"/>
                <a:gd name="T6" fmla="*/ 58 w 107"/>
                <a:gd name="T7" fmla="*/ 42 h 119"/>
                <a:gd name="T8" fmla="*/ 27 w 107"/>
                <a:gd name="T9" fmla="*/ 27 h 119"/>
                <a:gd name="T10" fmla="*/ 12 w 107"/>
                <a:gd name="T11" fmla="*/ 0 h 119"/>
                <a:gd name="T12" fmla="*/ 0 w 107"/>
                <a:gd name="T13" fmla="*/ 6 h 119"/>
                <a:gd name="T14" fmla="*/ 12 w 107"/>
                <a:gd name="T15" fmla="*/ 24 h 119"/>
                <a:gd name="T16" fmla="*/ 6 w 107"/>
                <a:gd name="T17" fmla="*/ 58 h 119"/>
                <a:gd name="T18" fmla="*/ 24 w 107"/>
                <a:gd name="T19" fmla="*/ 45 h 119"/>
                <a:gd name="T20" fmla="*/ 27 w 107"/>
                <a:gd name="T21" fmla="*/ 64 h 119"/>
                <a:gd name="T22" fmla="*/ 43 w 107"/>
                <a:gd name="T23" fmla="*/ 52 h 119"/>
                <a:gd name="T24" fmla="*/ 37 w 107"/>
                <a:gd name="T25" fmla="*/ 39 h 119"/>
                <a:gd name="T26" fmla="*/ 49 w 107"/>
                <a:gd name="T27" fmla="*/ 39 h 119"/>
                <a:gd name="T28" fmla="*/ 58 w 107"/>
                <a:gd name="T29" fmla="*/ 58 h 119"/>
                <a:gd name="T30" fmla="*/ 64 w 107"/>
                <a:gd name="T31" fmla="*/ 55 h 119"/>
                <a:gd name="T32" fmla="*/ 67 w 107"/>
                <a:gd name="T33" fmla="*/ 61 h 119"/>
                <a:gd name="T34" fmla="*/ 67 w 107"/>
                <a:gd name="T35" fmla="*/ 82 h 119"/>
                <a:gd name="T36" fmla="*/ 55 w 107"/>
                <a:gd name="T37" fmla="*/ 76 h 119"/>
                <a:gd name="T38" fmla="*/ 49 w 107"/>
                <a:gd name="T39" fmla="*/ 85 h 119"/>
                <a:gd name="T40" fmla="*/ 49 w 107"/>
                <a:gd name="T41" fmla="*/ 67 h 119"/>
                <a:gd name="T42" fmla="*/ 37 w 107"/>
                <a:gd name="T43" fmla="*/ 67 h 119"/>
                <a:gd name="T44" fmla="*/ 46 w 107"/>
                <a:gd name="T45" fmla="*/ 98 h 119"/>
                <a:gd name="T46" fmla="*/ 24 w 107"/>
                <a:gd name="T47" fmla="*/ 119 h 119"/>
                <a:gd name="T48" fmla="*/ 43 w 107"/>
                <a:gd name="T49" fmla="*/ 119 h 119"/>
                <a:gd name="T50" fmla="*/ 46 w 107"/>
                <a:gd name="T51" fmla="*/ 110 h 119"/>
                <a:gd name="T52" fmla="*/ 49 w 107"/>
                <a:gd name="T53" fmla="*/ 119 h 119"/>
                <a:gd name="T54" fmla="*/ 67 w 107"/>
                <a:gd name="T55" fmla="*/ 107 h 119"/>
                <a:gd name="T56" fmla="*/ 107 w 107"/>
                <a:gd name="T57" fmla="*/ 107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7" h="119">
                  <a:moveTo>
                    <a:pt x="107" y="107"/>
                  </a:moveTo>
                  <a:lnTo>
                    <a:pt x="101" y="91"/>
                  </a:lnTo>
                  <a:lnTo>
                    <a:pt x="107" y="85"/>
                  </a:lnTo>
                  <a:lnTo>
                    <a:pt x="58" y="42"/>
                  </a:lnTo>
                  <a:lnTo>
                    <a:pt x="27" y="27"/>
                  </a:lnTo>
                  <a:lnTo>
                    <a:pt x="12" y="0"/>
                  </a:lnTo>
                  <a:lnTo>
                    <a:pt x="0" y="6"/>
                  </a:lnTo>
                  <a:lnTo>
                    <a:pt x="12" y="24"/>
                  </a:lnTo>
                  <a:lnTo>
                    <a:pt x="6" y="58"/>
                  </a:lnTo>
                  <a:lnTo>
                    <a:pt x="24" y="45"/>
                  </a:lnTo>
                  <a:lnTo>
                    <a:pt x="27" y="64"/>
                  </a:lnTo>
                  <a:lnTo>
                    <a:pt x="43" y="52"/>
                  </a:lnTo>
                  <a:lnTo>
                    <a:pt x="37" y="39"/>
                  </a:lnTo>
                  <a:lnTo>
                    <a:pt x="49" y="39"/>
                  </a:lnTo>
                  <a:lnTo>
                    <a:pt x="58" y="58"/>
                  </a:lnTo>
                  <a:lnTo>
                    <a:pt x="64" y="55"/>
                  </a:lnTo>
                  <a:lnTo>
                    <a:pt x="67" y="61"/>
                  </a:lnTo>
                  <a:lnTo>
                    <a:pt x="67" y="82"/>
                  </a:lnTo>
                  <a:lnTo>
                    <a:pt x="55" y="76"/>
                  </a:lnTo>
                  <a:lnTo>
                    <a:pt x="49" y="85"/>
                  </a:lnTo>
                  <a:lnTo>
                    <a:pt x="49" y="67"/>
                  </a:lnTo>
                  <a:lnTo>
                    <a:pt x="37" y="67"/>
                  </a:lnTo>
                  <a:lnTo>
                    <a:pt x="46" y="98"/>
                  </a:lnTo>
                  <a:lnTo>
                    <a:pt x="24" y="119"/>
                  </a:lnTo>
                  <a:lnTo>
                    <a:pt x="43" y="119"/>
                  </a:lnTo>
                  <a:lnTo>
                    <a:pt x="46" y="110"/>
                  </a:lnTo>
                  <a:lnTo>
                    <a:pt x="49" y="119"/>
                  </a:lnTo>
                  <a:lnTo>
                    <a:pt x="67" y="107"/>
                  </a:lnTo>
                  <a:lnTo>
                    <a:pt x="107" y="107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793" name="Freeform 9"/>
            <p:cNvSpPr>
              <a:spLocks/>
            </p:cNvSpPr>
            <p:nvPr/>
          </p:nvSpPr>
          <p:spPr bwMode="gray">
            <a:xfrm>
              <a:off x="3683" y="1366"/>
              <a:ext cx="3" cy="3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3 h 3"/>
                <a:gd name="T4" fmla="*/ 3 w 3"/>
                <a:gd name="T5" fmla="*/ 0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794" name="Freeform 10"/>
            <p:cNvSpPr>
              <a:spLocks/>
            </p:cNvSpPr>
            <p:nvPr/>
          </p:nvSpPr>
          <p:spPr bwMode="gray">
            <a:xfrm>
              <a:off x="2023" y="1433"/>
              <a:ext cx="34" cy="25"/>
            </a:xfrm>
            <a:custGeom>
              <a:avLst/>
              <a:gdLst>
                <a:gd name="T0" fmla="*/ 34 w 34"/>
                <a:gd name="T1" fmla="*/ 9 h 25"/>
                <a:gd name="T2" fmla="*/ 21 w 34"/>
                <a:gd name="T3" fmla="*/ 0 h 25"/>
                <a:gd name="T4" fmla="*/ 0 w 34"/>
                <a:gd name="T5" fmla="*/ 9 h 25"/>
                <a:gd name="T6" fmla="*/ 18 w 34"/>
                <a:gd name="T7" fmla="*/ 25 h 25"/>
                <a:gd name="T8" fmla="*/ 12 w 34"/>
                <a:gd name="T9" fmla="*/ 13 h 25"/>
                <a:gd name="T10" fmla="*/ 34 w 34"/>
                <a:gd name="T11" fmla="*/ 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25">
                  <a:moveTo>
                    <a:pt x="34" y="9"/>
                  </a:moveTo>
                  <a:lnTo>
                    <a:pt x="21" y="0"/>
                  </a:lnTo>
                  <a:lnTo>
                    <a:pt x="0" y="9"/>
                  </a:lnTo>
                  <a:lnTo>
                    <a:pt x="18" y="25"/>
                  </a:lnTo>
                  <a:lnTo>
                    <a:pt x="12" y="13"/>
                  </a:lnTo>
                  <a:lnTo>
                    <a:pt x="34" y="9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795" name="Freeform 11"/>
            <p:cNvSpPr>
              <a:spLocks/>
            </p:cNvSpPr>
            <p:nvPr/>
          </p:nvSpPr>
          <p:spPr bwMode="gray">
            <a:xfrm>
              <a:off x="2066" y="1442"/>
              <a:ext cx="3" cy="4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4 h 4"/>
                <a:gd name="T4" fmla="*/ 3 w 3"/>
                <a:gd name="T5" fmla="*/ 0 h 4"/>
                <a:gd name="T6" fmla="*/ 0 w 3"/>
                <a:gd name="T7" fmla="*/ 0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796" name="Freeform 12"/>
            <p:cNvSpPr>
              <a:spLocks/>
            </p:cNvSpPr>
            <p:nvPr/>
          </p:nvSpPr>
          <p:spPr bwMode="gray">
            <a:xfrm>
              <a:off x="2069" y="1424"/>
              <a:ext cx="9" cy="9"/>
            </a:xfrm>
            <a:custGeom>
              <a:avLst/>
              <a:gdLst>
                <a:gd name="T0" fmla="*/ 0 w 9"/>
                <a:gd name="T1" fmla="*/ 0 h 9"/>
                <a:gd name="T2" fmla="*/ 3 w 9"/>
                <a:gd name="T3" fmla="*/ 9 h 9"/>
                <a:gd name="T4" fmla="*/ 9 w 9"/>
                <a:gd name="T5" fmla="*/ 3 h 9"/>
                <a:gd name="T6" fmla="*/ 0 w 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lnTo>
                    <a:pt x="3" y="9"/>
                  </a:lnTo>
                  <a:lnTo>
                    <a:pt x="9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797" name="Freeform 13"/>
            <p:cNvSpPr>
              <a:spLocks/>
            </p:cNvSpPr>
            <p:nvPr/>
          </p:nvSpPr>
          <p:spPr bwMode="gray">
            <a:xfrm>
              <a:off x="2075" y="1412"/>
              <a:ext cx="46" cy="6"/>
            </a:xfrm>
            <a:custGeom>
              <a:avLst/>
              <a:gdLst>
                <a:gd name="T0" fmla="*/ 6 w 46"/>
                <a:gd name="T1" fmla="*/ 3 h 6"/>
                <a:gd name="T2" fmla="*/ 0 w 46"/>
                <a:gd name="T3" fmla="*/ 6 h 6"/>
                <a:gd name="T4" fmla="*/ 46 w 46"/>
                <a:gd name="T5" fmla="*/ 0 h 6"/>
                <a:gd name="T6" fmla="*/ 37 w 46"/>
                <a:gd name="T7" fmla="*/ 0 h 6"/>
                <a:gd name="T8" fmla="*/ 6 w 46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6">
                  <a:moveTo>
                    <a:pt x="6" y="3"/>
                  </a:moveTo>
                  <a:lnTo>
                    <a:pt x="0" y="6"/>
                  </a:lnTo>
                  <a:lnTo>
                    <a:pt x="46" y="0"/>
                  </a:lnTo>
                  <a:lnTo>
                    <a:pt x="37" y="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798" name="Freeform 14"/>
            <p:cNvSpPr>
              <a:spLocks/>
            </p:cNvSpPr>
            <p:nvPr/>
          </p:nvSpPr>
          <p:spPr bwMode="gray">
            <a:xfrm>
              <a:off x="2093" y="910"/>
              <a:ext cx="1051" cy="946"/>
            </a:xfrm>
            <a:custGeom>
              <a:avLst/>
              <a:gdLst>
                <a:gd name="T0" fmla="*/ 86 w 1051"/>
                <a:gd name="T1" fmla="*/ 787 h 946"/>
                <a:gd name="T2" fmla="*/ 144 w 1051"/>
                <a:gd name="T3" fmla="*/ 793 h 946"/>
                <a:gd name="T4" fmla="*/ 181 w 1051"/>
                <a:gd name="T5" fmla="*/ 793 h 946"/>
                <a:gd name="T6" fmla="*/ 294 w 1051"/>
                <a:gd name="T7" fmla="*/ 802 h 946"/>
                <a:gd name="T8" fmla="*/ 325 w 1051"/>
                <a:gd name="T9" fmla="*/ 851 h 946"/>
                <a:gd name="T10" fmla="*/ 365 w 1051"/>
                <a:gd name="T11" fmla="*/ 897 h 946"/>
                <a:gd name="T12" fmla="*/ 420 w 1051"/>
                <a:gd name="T13" fmla="*/ 921 h 946"/>
                <a:gd name="T14" fmla="*/ 512 w 1051"/>
                <a:gd name="T15" fmla="*/ 860 h 946"/>
                <a:gd name="T16" fmla="*/ 546 w 1051"/>
                <a:gd name="T17" fmla="*/ 860 h 946"/>
                <a:gd name="T18" fmla="*/ 592 w 1051"/>
                <a:gd name="T19" fmla="*/ 906 h 946"/>
                <a:gd name="T20" fmla="*/ 668 w 1051"/>
                <a:gd name="T21" fmla="*/ 915 h 946"/>
                <a:gd name="T22" fmla="*/ 711 w 1051"/>
                <a:gd name="T23" fmla="*/ 937 h 946"/>
                <a:gd name="T24" fmla="*/ 754 w 1051"/>
                <a:gd name="T25" fmla="*/ 921 h 946"/>
                <a:gd name="T26" fmla="*/ 858 w 1051"/>
                <a:gd name="T27" fmla="*/ 860 h 946"/>
                <a:gd name="T28" fmla="*/ 956 w 1051"/>
                <a:gd name="T29" fmla="*/ 854 h 946"/>
                <a:gd name="T30" fmla="*/ 984 w 1051"/>
                <a:gd name="T31" fmla="*/ 796 h 946"/>
                <a:gd name="T32" fmla="*/ 984 w 1051"/>
                <a:gd name="T33" fmla="*/ 722 h 946"/>
                <a:gd name="T34" fmla="*/ 852 w 1051"/>
                <a:gd name="T35" fmla="*/ 661 h 946"/>
                <a:gd name="T36" fmla="*/ 812 w 1051"/>
                <a:gd name="T37" fmla="*/ 588 h 946"/>
                <a:gd name="T38" fmla="*/ 870 w 1051"/>
                <a:gd name="T39" fmla="*/ 511 h 946"/>
                <a:gd name="T40" fmla="*/ 892 w 1051"/>
                <a:gd name="T41" fmla="*/ 444 h 946"/>
                <a:gd name="T42" fmla="*/ 941 w 1051"/>
                <a:gd name="T43" fmla="*/ 471 h 946"/>
                <a:gd name="T44" fmla="*/ 996 w 1051"/>
                <a:gd name="T45" fmla="*/ 450 h 946"/>
                <a:gd name="T46" fmla="*/ 1051 w 1051"/>
                <a:gd name="T47" fmla="*/ 419 h 946"/>
                <a:gd name="T48" fmla="*/ 996 w 1051"/>
                <a:gd name="T49" fmla="*/ 370 h 946"/>
                <a:gd name="T50" fmla="*/ 932 w 1051"/>
                <a:gd name="T51" fmla="*/ 389 h 946"/>
                <a:gd name="T52" fmla="*/ 855 w 1051"/>
                <a:gd name="T53" fmla="*/ 404 h 946"/>
                <a:gd name="T54" fmla="*/ 849 w 1051"/>
                <a:gd name="T55" fmla="*/ 416 h 946"/>
                <a:gd name="T56" fmla="*/ 834 w 1051"/>
                <a:gd name="T57" fmla="*/ 346 h 946"/>
                <a:gd name="T58" fmla="*/ 895 w 1051"/>
                <a:gd name="T59" fmla="*/ 238 h 946"/>
                <a:gd name="T60" fmla="*/ 785 w 1051"/>
                <a:gd name="T61" fmla="*/ 254 h 946"/>
                <a:gd name="T62" fmla="*/ 690 w 1051"/>
                <a:gd name="T63" fmla="*/ 254 h 946"/>
                <a:gd name="T64" fmla="*/ 622 w 1051"/>
                <a:gd name="T65" fmla="*/ 214 h 946"/>
                <a:gd name="T66" fmla="*/ 607 w 1051"/>
                <a:gd name="T67" fmla="*/ 183 h 946"/>
                <a:gd name="T68" fmla="*/ 561 w 1051"/>
                <a:gd name="T69" fmla="*/ 205 h 946"/>
                <a:gd name="T70" fmla="*/ 644 w 1051"/>
                <a:gd name="T71" fmla="*/ 140 h 946"/>
                <a:gd name="T72" fmla="*/ 647 w 1051"/>
                <a:gd name="T73" fmla="*/ 101 h 946"/>
                <a:gd name="T74" fmla="*/ 573 w 1051"/>
                <a:gd name="T75" fmla="*/ 67 h 946"/>
                <a:gd name="T76" fmla="*/ 506 w 1051"/>
                <a:gd name="T77" fmla="*/ 95 h 946"/>
                <a:gd name="T78" fmla="*/ 386 w 1051"/>
                <a:gd name="T79" fmla="*/ 61 h 946"/>
                <a:gd name="T80" fmla="*/ 325 w 1051"/>
                <a:gd name="T81" fmla="*/ 15 h 946"/>
                <a:gd name="T82" fmla="*/ 294 w 1051"/>
                <a:gd name="T83" fmla="*/ 116 h 946"/>
                <a:gd name="T84" fmla="*/ 359 w 1051"/>
                <a:gd name="T85" fmla="*/ 79 h 946"/>
                <a:gd name="T86" fmla="*/ 380 w 1051"/>
                <a:gd name="T87" fmla="*/ 144 h 946"/>
                <a:gd name="T88" fmla="*/ 417 w 1051"/>
                <a:gd name="T89" fmla="*/ 183 h 946"/>
                <a:gd name="T90" fmla="*/ 426 w 1051"/>
                <a:gd name="T91" fmla="*/ 220 h 946"/>
                <a:gd name="T92" fmla="*/ 374 w 1051"/>
                <a:gd name="T93" fmla="*/ 260 h 946"/>
                <a:gd name="T94" fmla="*/ 389 w 1051"/>
                <a:gd name="T95" fmla="*/ 284 h 946"/>
                <a:gd name="T96" fmla="*/ 438 w 1051"/>
                <a:gd name="T97" fmla="*/ 364 h 946"/>
                <a:gd name="T98" fmla="*/ 417 w 1051"/>
                <a:gd name="T99" fmla="*/ 398 h 946"/>
                <a:gd name="T100" fmla="*/ 558 w 1051"/>
                <a:gd name="T101" fmla="*/ 496 h 946"/>
                <a:gd name="T102" fmla="*/ 585 w 1051"/>
                <a:gd name="T103" fmla="*/ 542 h 946"/>
                <a:gd name="T104" fmla="*/ 650 w 1051"/>
                <a:gd name="T105" fmla="*/ 560 h 946"/>
                <a:gd name="T106" fmla="*/ 448 w 1051"/>
                <a:gd name="T107" fmla="*/ 453 h 946"/>
                <a:gd name="T108" fmla="*/ 347 w 1051"/>
                <a:gd name="T109" fmla="*/ 456 h 946"/>
                <a:gd name="T110" fmla="*/ 337 w 1051"/>
                <a:gd name="T111" fmla="*/ 627 h 946"/>
                <a:gd name="T112" fmla="*/ 298 w 1051"/>
                <a:gd name="T113" fmla="*/ 532 h 946"/>
                <a:gd name="T114" fmla="*/ 267 w 1051"/>
                <a:gd name="T115" fmla="*/ 609 h 946"/>
                <a:gd name="T116" fmla="*/ 261 w 1051"/>
                <a:gd name="T117" fmla="*/ 554 h 946"/>
                <a:gd name="T118" fmla="*/ 77 w 1051"/>
                <a:gd name="T119" fmla="*/ 502 h 946"/>
                <a:gd name="T120" fmla="*/ 10 w 1051"/>
                <a:gd name="T121" fmla="*/ 557 h 946"/>
                <a:gd name="T122" fmla="*/ 89 w 1051"/>
                <a:gd name="T123" fmla="*/ 652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51" h="946">
                  <a:moveTo>
                    <a:pt x="46" y="664"/>
                  </a:moveTo>
                  <a:lnTo>
                    <a:pt x="49" y="689"/>
                  </a:lnTo>
                  <a:lnTo>
                    <a:pt x="40" y="704"/>
                  </a:lnTo>
                  <a:lnTo>
                    <a:pt x="46" y="753"/>
                  </a:lnTo>
                  <a:lnTo>
                    <a:pt x="31" y="787"/>
                  </a:lnTo>
                  <a:lnTo>
                    <a:pt x="86" y="787"/>
                  </a:lnTo>
                  <a:lnTo>
                    <a:pt x="89" y="799"/>
                  </a:lnTo>
                  <a:lnTo>
                    <a:pt x="95" y="781"/>
                  </a:lnTo>
                  <a:lnTo>
                    <a:pt x="120" y="799"/>
                  </a:lnTo>
                  <a:lnTo>
                    <a:pt x="126" y="787"/>
                  </a:lnTo>
                  <a:lnTo>
                    <a:pt x="132" y="793"/>
                  </a:lnTo>
                  <a:lnTo>
                    <a:pt x="144" y="793"/>
                  </a:lnTo>
                  <a:lnTo>
                    <a:pt x="141" y="799"/>
                  </a:lnTo>
                  <a:lnTo>
                    <a:pt x="147" y="799"/>
                  </a:lnTo>
                  <a:lnTo>
                    <a:pt x="160" y="796"/>
                  </a:lnTo>
                  <a:lnTo>
                    <a:pt x="166" y="778"/>
                  </a:lnTo>
                  <a:lnTo>
                    <a:pt x="181" y="784"/>
                  </a:lnTo>
                  <a:lnTo>
                    <a:pt x="181" y="793"/>
                  </a:lnTo>
                  <a:lnTo>
                    <a:pt x="206" y="784"/>
                  </a:lnTo>
                  <a:lnTo>
                    <a:pt x="218" y="765"/>
                  </a:lnTo>
                  <a:lnTo>
                    <a:pt x="245" y="753"/>
                  </a:lnTo>
                  <a:lnTo>
                    <a:pt x="249" y="784"/>
                  </a:lnTo>
                  <a:lnTo>
                    <a:pt x="267" y="805"/>
                  </a:lnTo>
                  <a:lnTo>
                    <a:pt x="294" y="802"/>
                  </a:lnTo>
                  <a:lnTo>
                    <a:pt x="294" y="802"/>
                  </a:lnTo>
                  <a:lnTo>
                    <a:pt x="301" y="814"/>
                  </a:lnTo>
                  <a:lnTo>
                    <a:pt x="310" y="814"/>
                  </a:lnTo>
                  <a:lnTo>
                    <a:pt x="310" y="823"/>
                  </a:lnTo>
                  <a:lnTo>
                    <a:pt x="325" y="823"/>
                  </a:lnTo>
                  <a:lnTo>
                    <a:pt x="325" y="851"/>
                  </a:lnTo>
                  <a:lnTo>
                    <a:pt x="337" y="842"/>
                  </a:lnTo>
                  <a:lnTo>
                    <a:pt x="359" y="857"/>
                  </a:lnTo>
                  <a:lnTo>
                    <a:pt x="368" y="879"/>
                  </a:lnTo>
                  <a:lnTo>
                    <a:pt x="359" y="876"/>
                  </a:lnTo>
                  <a:lnTo>
                    <a:pt x="359" y="894"/>
                  </a:lnTo>
                  <a:lnTo>
                    <a:pt x="365" y="897"/>
                  </a:lnTo>
                  <a:lnTo>
                    <a:pt x="356" y="909"/>
                  </a:lnTo>
                  <a:lnTo>
                    <a:pt x="377" y="915"/>
                  </a:lnTo>
                  <a:lnTo>
                    <a:pt x="377" y="925"/>
                  </a:lnTo>
                  <a:lnTo>
                    <a:pt x="392" y="931"/>
                  </a:lnTo>
                  <a:lnTo>
                    <a:pt x="411" y="934"/>
                  </a:lnTo>
                  <a:lnTo>
                    <a:pt x="420" y="921"/>
                  </a:lnTo>
                  <a:lnTo>
                    <a:pt x="414" y="900"/>
                  </a:lnTo>
                  <a:lnTo>
                    <a:pt x="445" y="888"/>
                  </a:lnTo>
                  <a:lnTo>
                    <a:pt x="448" y="863"/>
                  </a:lnTo>
                  <a:lnTo>
                    <a:pt x="503" y="854"/>
                  </a:lnTo>
                  <a:lnTo>
                    <a:pt x="509" y="845"/>
                  </a:lnTo>
                  <a:lnTo>
                    <a:pt x="512" y="860"/>
                  </a:lnTo>
                  <a:lnTo>
                    <a:pt x="512" y="848"/>
                  </a:lnTo>
                  <a:lnTo>
                    <a:pt x="521" y="851"/>
                  </a:lnTo>
                  <a:lnTo>
                    <a:pt x="518" y="863"/>
                  </a:lnTo>
                  <a:lnTo>
                    <a:pt x="527" y="857"/>
                  </a:lnTo>
                  <a:lnTo>
                    <a:pt x="546" y="860"/>
                  </a:lnTo>
                  <a:lnTo>
                    <a:pt x="546" y="860"/>
                  </a:lnTo>
                  <a:lnTo>
                    <a:pt x="561" y="885"/>
                  </a:lnTo>
                  <a:lnTo>
                    <a:pt x="576" y="879"/>
                  </a:lnTo>
                  <a:lnTo>
                    <a:pt x="579" y="891"/>
                  </a:lnTo>
                  <a:lnTo>
                    <a:pt x="592" y="894"/>
                  </a:lnTo>
                  <a:lnTo>
                    <a:pt x="585" y="897"/>
                  </a:lnTo>
                  <a:lnTo>
                    <a:pt x="592" y="906"/>
                  </a:lnTo>
                  <a:lnTo>
                    <a:pt x="592" y="906"/>
                  </a:lnTo>
                  <a:lnTo>
                    <a:pt x="601" y="906"/>
                  </a:lnTo>
                  <a:lnTo>
                    <a:pt x="610" y="894"/>
                  </a:lnTo>
                  <a:lnTo>
                    <a:pt x="631" y="909"/>
                  </a:lnTo>
                  <a:lnTo>
                    <a:pt x="662" y="909"/>
                  </a:lnTo>
                  <a:lnTo>
                    <a:pt x="668" y="915"/>
                  </a:lnTo>
                  <a:lnTo>
                    <a:pt x="662" y="925"/>
                  </a:lnTo>
                  <a:lnTo>
                    <a:pt x="665" y="931"/>
                  </a:lnTo>
                  <a:lnTo>
                    <a:pt x="665" y="931"/>
                  </a:lnTo>
                  <a:lnTo>
                    <a:pt x="687" y="928"/>
                  </a:lnTo>
                  <a:lnTo>
                    <a:pt x="702" y="943"/>
                  </a:lnTo>
                  <a:lnTo>
                    <a:pt x="711" y="937"/>
                  </a:lnTo>
                  <a:lnTo>
                    <a:pt x="729" y="946"/>
                  </a:lnTo>
                  <a:lnTo>
                    <a:pt x="729" y="937"/>
                  </a:lnTo>
                  <a:lnTo>
                    <a:pt x="729" y="937"/>
                  </a:lnTo>
                  <a:lnTo>
                    <a:pt x="748" y="918"/>
                  </a:lnTo>
                  <a:lnTo>
                    <a:pt x="754" y="925"/>
                  </a:lnTo>
                  <a:lnTo>
                    <a:pt x="754" y="921"/>
                  </a:lnTo>
                  <a:lnTo>
                    <a:pt x="775" y="915"/>
                  </a:lnTo>
                  <a:lnTo>
                    <a:pt x="800" y="918"/>
                  </a:lnTo>
                  <a:lnTo>
                    <a:pt x="821" y="903"/>
                  </a:lnTo>
                  <a:lnTo>
                    <a:pt x="867" y="891"/>
                  </a:lnTo>
                  <a:lnTo>
                    <a:pt x="852" y="866"/>
                  </a:lnTo>
                  <a:lnTo>
                    <a:pt x="858" y="860"/>
                  </a:lnTo>
                  <a:lnTo>
                    <a:pt x="883" y="863"/>
                  </a:lnTo>
                  <a:lnTo>
                    <a:pt x="883" y="857"/>
                  </a:lnTo>
                  <a:lnTo>
                    <a:pt x="926" y="845"/>
                  </a:lnTo>
                  <a:lnTo>
                    <a:pt x="944" y="854"/>
                  </a:lnTo>
                  <a:lnTo>
                    <a:pt x="944" y="854"/>
                  </a:lnTo>
                  <a:lnTo>
                    <a:pt x="956" y="854"/>
                  </a:lnTo>
                  <a:lnTo>
                    <a:pt x="959" y="845"/>
                  </a:lnTo>
                  <a:lnTo>
                    <a:pt x="972" y="848"/>
                  </a:lnTo>
                  <a:lnTo>
                    <a:pt x="990" y="833"/>
                  </a:lnTo>
                  <a:lnTo>
                    <a:pt x="990" y="823"/>
                  </a:lnTo>
                  <a:lnTo>
                    <a:pt x="978" y="817"/>
                  </a:lnTo>
                  <a:lnTo>
                    <a:pt x="984" y="796"/>
                  </a:lnTo>
                  <a:lnTo>
                    <a:pt x="978" y="787"/>
                  </a:lnTo>
                  <a:lnTo>
                    <a:pt x="999" y="771"/>
                  </a:lnTo>
                  <a:lnTo>
                    <a:pt x="999" y="750"/>
                  </a:lnTo>
                  <a:lnTo>
                    <a:pt x="1011" y="750"/>
                  </a:lnTo>
                  <a:lnTo>
                    <a:pt x="1017" y="735"/>
                  </a:lnTo>
                  <a:lnTo>
                    <a:pt x="984" y="722"/>
                  </a:lnTo>
                  <a:lnTo>
                    <a:pt x="962" y="732"/>
                  </a:lnTo>
                  <a:lnTo>
                    <a:pt x="935" y="698"/>
                  </a:lnTo>
                  <a:lnTo>
                    <a:pt x="926" y="701"/>
                  </a:lnTo>
                  <a:lnTo>
                    <a:pt x="916" y="689"/>
                  </a:lnTo>
                  <a:lnTo>
                    <a:pt x="901" y="701"/>
                  </a:lnTo>
                  <a:lnTo>
                    <a:pt x="852" y="661"/>
                  </a:lnTo>
                  <a:lnTo>
                    <a:pt x="852" y="661"/>
                  </a:lnTo>
                  <a:lnTo>
                    <a:pt x="828" y="646"/>
                  </a:lnTo>
                  <a:lnTo>
                    <a:pt x="815" y="618"/>
                  </a:lnTo>
                  <a:lnTo>
                    <a:pt x="794" y="621"/>
                  </a:lnTo>
                  <a:lnTo>
                    <a:pt x="800" y="588"/>
                  </a:lnTo>
                  <a:lnTo>
                    <a:pt x="812" y="588"/>
                  </a:lnTo>
                  <a:lnTo>
                    <a:pt x="834" y="566"/>
                  </a:lnTo>
                  <a:lnTo>
                    <a:pt x="834" y="566"/>
                  </a:lnTo>
                  <a:lnTo>
                    <a:pt x="843" y="566"/>
                  </a:lnTo>
                  <a:lnTo>
                    <a:pt x="843" y="542"/>
                  </a:lnTo>
                  <a:lnTo>
                    <a:pt x="861" y="542"/>
                  </a:lnTo>
                  <a:lnTo>
                    <a:pt x="870" y="511"/>
                  </a:lnTo>
                  <a:lnTo>
                    <a:pt x="861" y="496"/>
                  </a:lnTo>
                  <a:lnTo>
                    <a:pt x="846" y="496"/>
                  </a:lnTo>
                  <a:lnTo>
                    <a:pt x="824" y="480"/>
                  </a:lnTo>
                  <a:lnTo>
                    <a:pt x="828" y="462"/>
                  </a:lnTo>
                  <a:lnTo>
                    <a:pt x="870" y="462"/>
                  </a:lnTo>
                  <a:lnTo>
                    <a:pt x="892" y="444"/>
                  </a:lnTo>
                  <a:lnTo>
                    <a:pt x="895" y="459"/>
                  </a:lnTo>
                  <a:lnTo>
                    <a:pt x="901" y="456"/>
                  </a:lnTo>
                  <a:lnTo>
                    <a:pt x="907" y="462"/>
                  </a:lnTo>
                  <a:lnTo>
                    <a:pt x="916" y="459"/>
                  </a:lnTo>
                  <a:lnTo>
                    <a:pt x="941" y="474"/>
                  </a:lnTo>
                  <a:lnTo>
                    <a:pt x="941" y="471"/>
                  </a:lnTo>
                  <a:lnTo>
                    <a:pt x="972" y="465"/>
                  </a:lnTo>
                  <a:lnTo>
                    <a:pt x="972" y="474"/>
                  </a:lnTo>
                  <a:lnTo>
                    <a:pt x="981" y="468"/>
                  </a:lnTo>
                  <a:lnTo>
                    <a:pt x="978" y="477"/>
                  </a:lnTo>
                  <a:lnTo>
                    <a:pt x="996" y="465"/>
                  </a:lnTo>
                  <a:lnTo>
                    <a:pt x="996" y="450"/>
                  </a:lnTo>
                  <a:lnTo>
                    <a:pt x="1005" y="453"/>
                  </a:lnTo>
                  <a:lnTo>
                    <a:pt x="1011" y="438"/>
                  </a:lnTo>
                  <a:lnTo>
                    <a:pt x="1030" y="450"/>
                  </a:lnTo>
                  <a:lnTo>
                    <a:pt x="1042" y="434"/>
                  </a:lnTo>
                  <a:lnTo>
                    <a:pt x="1042" y="434"/>
                  </a:lnTo>
                  <a:lnTo>
                    <a:pt x="1051" y="419"/>
                  </a:lnTo>
                  <a:lnTo>
                    <a:pt x="1051" y="392"/>
                  </a:lnTo>
                  <a:lnTo>
                    <a:pt x="1039" y="389"/>
                  </a:lnTo>
                  <a:lnTo>
                    <a:pt x="1024" y="404"/>
                  </a:lnTo>
                  <a:lnTo>
                    <a:pt x="1017" y="385"/>
                  </a:lnTo>
                  <a:lnTo>
                    <a:pt x="1005" y="385"/>
                  </a:lnTo>
                  <a:lnTo>
                    <a:pt x="996" y="370"/>
                  </a:lnTo>
                  <a:lnTo>
                    <a:pt x="987" y="370"/>
                  </a:lnTo>
                  <a:lnTo>
                    <a:pt x="978" y="419"/>
                  </a:lnTo>
                  <a:lnTo>
                    <a:pt x="950" y="398"/>
                  </a:lnTo>
                  <a:lnTo>
                    <a:pt x="938" y="407"/>
                  </a:lnTo>
                  <a:lnTo>
                    <a:pt x="932" y="407"/>
                  </a:lnTo>
                  <a:lnTo>
                    <a:pt x="932" y="389"/>
                  </a:lnTo>
                  <a:lnTo>
                    <a:pt x="922" y="389"/>
                  </a:lnTo>
                  <a:lnTo>
                    <a:pt x="913" y="379"/>
                  </a:lnTo>
                  <a:lnTo>
                    <a:pt x="886" y="382"/>
                  </a:lnTo>
                  <a:lnTo>
                    <a:pt x="849" y="401"/>
                  </a:lnTo>
                  <a:lnTo>
                    <a:pt x="846" y="407"/>
                  </a:lnTo>
                  <a:lnTo>
                    <a:pt x="855" y="404"/>
                  </a:lnTo>
                  <a:lnTo>
                    <a:pt x="852" y="413"/>
                  </a:lnTo>
                  <a:lnTo>
                    <a:pt x="870" y="419"/>
                  </a:lnTo>
                  <a:lnTo>
                    <a:pt x="858" y="422"/>
                  </a:lnTo>
                  <a:lnTo>
                    <a:pt x="852" y="413"/>
                  </a:lnTo>
                  <a:lnTo>
                    <a:pt x="834" y="428"/>
                  </a:lnTo>
                  <a:lnTo>
                    <a:pt x="849" y="416"/>
                  </a:lnTo>
                  <a:lnTo>
                    <a:pt x="846" y="404"/>
                  </a:lnTo>
                  <a:lnTo>
                    <a:pt x="852" y="398"/>
                  </a:lnTo>
                  <a:lnTo>
                    <a:pt x="846" y="389"/>
                  </a:lnTo>
                  <a:lnTo>
                    <a:pt x="828" y="385"/>
                  </a:lnTo>
                  <a:lnTo>
                    <a:pt x="821" y="367"/>
                  </a:lnTo>
                  <a:lnTo>
                    <a:pt x="834" y="346"/>
                  </a:lnTo>
                  <a:lnTo>
                    <a:pt x="849" y="352"/>
                  </a:lnTo>
                  <a:lnTo>
                    <a:pt x="895" y="312"/>
                  </a:lnTo>
                  <a:lnTo>
                    <a:pt x="886" y="254"/>
                  </a:lnTo>
                  <a:lnTo>
                    <a:pt x="889" y="257"/>
                  </a:lnTo>
                  <a:lnTo>
                    <a:pt x="901" y="242"/>
                  </a:lnTo>
                  <a:lnTo>
                    <a:pt x="895" y="238"/>
                  </a:lnTo>
                  <a:lnTo>
                    <a:pt x="877" y="248"/>
                  </a:lnTo>
                  <a:lnTo>
                    <a:pt x="858" y="245"/>
                  </a:lnTo>
                  <a:lnTo>
                    <a:pt x="828" y="272"/>
                  </a:lnTo>
                  <a:lnTo>
                    <a:pt x="809" y="272"/>
                  </a:lnTo>
                  <a:lnTo>
                    <a:pt x="809" y="272"/>
                  </a:lnTo>
                  <a:lnTo>
                    <a:pt x="785" y="254"/>
                  </a:lnTo>
                  <a:lnTo>
                    <a:pt x="729" y="226"/>
                  </a:lnTo>
                  <a:lnTo>
                    <a:pt x="708" y="235"/>
                  </a:lnTo>
                  <a:lnTo>
                    <a:pt x="699" y="254"/>
                  </a:lnTo>
                  <a:lnTo>
                    <a:pt x="699" y="269"/>
                  </a:lnTo>
                  <a:lnTo>
                    <a:pt x="690" y="275"/>
                  </a:lnTo>
                  <a:lnTo>
                    <a:pt x="690" y="254"/>
                  </a:lnTo>
                  <a:lnTo>
                    <a:pt x="702" y="245"/>
                  </a:lnTo>
                  <a:lnTo>
                    <a:pt x="696" y="229"/>
                  </a:lnTo>
                  <a:lnTo>
                    <a:pt x="702" y="220"/>
                  </a:lnTo>
                  <a:lnTo>
                    <a:pt x="684" y="211"/>
                  </a:lnTo>
                  <a:lnTo>
                    <a:pt x="628" y="223"/>
                  </a:lnTo>
                  <a:lnTo>
                    <a:pt x="622" y="214"/>
                  </a:lnTo>
                  <a:lnTo>
                    <a:pt x="650" y="205"/>
                  </a:lnTo>
                  <a:lnTo>
                    <a:pt x="665" y="186"/>
                  </a:lnTo>
                  <a:lnTo>
                    <a:pt x="665" y="140"/>
                  </a:lnTo>
                  <a:lnTo>
                    <a:pt x="647" y="140"/>
                  </a:lnTo>
                  <a:lnTo>
                    <a:pt x="644" y="159"/>
                  </a:lnTo>
                  <a:lnTo>
                    <a:pt x="607" y="183"/>
                  </a:lnTo>
                  <a:lnTo>
                    <a:pt x="601" y="196"/>
                  </a:lnTo>
                  <a:lnTo>
                    <a:pt x="607" y="196"/>
                  </a:lnTo>
                  <a:lnTo>
                    <a:pt x="595" y="199"/>
                  </a:lnTo>
                  <a:lnTo>
                    <a:pt x="595" y="208"/>
                  </a:lnTo>
                  <a:lnTo>
                    <a:pt x="579" y="202"/>
                  </a:lnTo>
                  <a:lnTo>
                    <a:pt x="561" y="205"/>
                  </a:lnTo>
                  <a:lnTo>
                    <a:pt x="579" y="196"/>
                  </a:lnTo>
                  <a:lnTo>
                    <a:pt x="579" y="202"/>
                  </a:lnTo>
                  <a:lnTo>
                    <a:pt x="598" y="199"/>
                  </a:lnTo>
                  <a:lnTo>
                    <a:pt x="610" y="174"/>
                  </a:lnTo>
                  <a:lnTo>
                    <a:pt x="644" y="159"/>
                  </a:lnTo>
                  <a:lnTo>
                    <a:pt x="644" y="140"/>
                  </a:lnTo>
                  <a:lnTo>
                    <a:pt x="653" y="131"/>
                  </a:lnTo>
                  <a:lnTo>
                    <a:pt x="656" y="137"/>
                  </a:lnTo>
                  <a:lnTo>
                    <a:pt x="662" y="134"/>
                  </a:lnTo>
                  <a:lnTo>
                    <a:pt x="665" y="140"/>
                  </a:lnTo>
                  <a:lnTo>
                    <a:pt x="665" y="134"/>
                  </a:lnTo>
                  <a:lnTo>
                    <a:pt x="647" y="101"/>
                  </a:lnTo>
                  <a:lnTo>
                    <a:pt x="638" y="95"/>
                  </a:lnTo>
                  <a:lnTo>
                    <a:pt x="638" y="107"/>
                  </a:lnTo>
                  <a:lnTo>
                    <a:pt x="625" y="110"/>
                  </a:lnTo>
                  <a:lnTo>
                    <a:pt x="613" y="95"/>
                  </a:lnTo>
                  <a:lnTo>
                    <a:pt x="573" y="82"/>
                  </a:lnTo>
                  <a:lnTo>
                    <a:pt x="573" y="67"/>
                  </a:lnTo>
                  <a:lnTo>
                    <a:pt x="543" y="85"/>
                  </a:lnTo>
                  <a:lnTo>
                    <a:pt x="536" y="101"/>
                  </a:lnTo>
                  <a:lnTo>
                    <a:pt x="533" y="82"/>
                  </a:lnTo>
                  <a:lnTo>
                    <a:pt x="524" y="82"/>
                  </a:lnTo>
                  <a:lnTo>
                    <a:pt x="518" y="95"/>
                  </a:lnTo>
                  <a:lnTo>
                    <a:pt x="506" y="95"/>
                  </a:lnTo>
                  <a:lnTo>
                    <a:pt x="497" y="91"/>
                  </a:lnTo>
                  <a:lnTo>
                    <a:pt x="494" y="76"/>
                  </a:lnTo>
                  <a:lnTo>
                    <a:pt x="469" y="67"/>
                  </a:lnTo>
                  <a:lnTo>
                    <a:pt x="469" y="67"/>
                  </a:lnTo>
                  <a:lnTo>
                    <a:pt x="432" y="58"/>
                  </a:lnTo>
                  <a:lnTo>
                    <a:pt x="386" y="61"/>
                  </a:lnTo>
                  <a:lnTo>
                    <a:pt x="365" y="55"/>
                  </a:lnTo>
                  <a:lnTo>
                    <a:pt x="365" y="61"/>
                  </a:lnTo>
                  <a:lnTo>
                    <a:pt x="334" y="67"/>
                  </a:lnTo>
                  <a:lnTo>
                    <a:pt x="310" y="61"/>
                  </a:lnTo>
                  <a:lnTo>
                    <a:pt x="307" y="33"/>
                  </a:lnTo>
                  <a:lnTo>
                    <a:pt x="325" y="15"/>
                  </a:lnTo>
                  <a:lnTo>
                    <a:pt x="316" y="6"/>
                  </a:lnTo>
                  <a:lnTo>
                    <a:pt x="331" y="3"/>
                  </a:lnTo>
                  <a:lnTo>
                    <a:pt x="316" y="0"/>
                  </a:lnTo>
                  <a:lnTo>
                    <a:pt x="294" y="55"/>
                  </a:lnTo>
                  <a:lnTo>
                    <a:pt x="288" y="113"/>
                  </a:lnTo>
                  <a:lnTo>
                    <a:pt x="294" y="116"/>
                  </a:lnTo>
                  <a:lnTo>
                    <a:pt x="294" y="79"/>
                  </a:lnTo>
                  <a:lnTo>
                    <a:pt x="304" y="64"/>
                  </a:lnTo>
                  <a:lnTo>
                    <a:pt x="319" y="79"/>
                  </a:lnTo>
                  <a:lnTo>
                    <a:pt x="337" y="64"/>
                  </a:lnTo>
                  <a:lnTo>
                    <a:pt x="359" y="64"/>
                  </a:lnTo>
                  <a:lnTo>
                    <a:pt x="359" y="79"/>
                  </a:lnTo>
                  <a:lnTo>
                    <a:pt x="377" y="107"/>
                  </a:lnTo>
                  <a:lnTo>
                    <a:pt x="380" y="137"/>
                  </a:lnTo>
                  <a:lnTo>
                    <a:pt x="343" y="159"/>
                  </a:lnTo>
                  <a:lnTo>
                    <a:pt x="371" y="153"/>
                  </a:lnTo>
                  <a:lnTo>
                    <a:pt x="374" y="144"/>
                  </a:lnTo>
                  <a:lnTo>
                    <a:pt x="380" y="144"/>
                  </a:lnTo>
                  <a:lnTo>
                    <a:pt x="383" y="125"/>
                  </a:lnTo>
                  <a:lnTo>
                    <a:pt x="405" y="153"/>
                  </a:lnTo>
                  <a:lnTo>
                    <a:pt x="411" y="165"/>
                  </a:lnTo>
                  <a:lnTo>
                    <a:pt x="405" y="171"/>
                  </a:lnTo>
                  <a:lnTo>
                    <a:pt x="420" y="174"/>
                  </a:lnTo>
                  <a:lnTo>
                    <a:pt x="417" y="183"/>
                  </a:lnTo>
                  <a:lnTo>
                    <a:pt x="399" y="186"/>
                  </a:lnTo>
                  <a:lnTo>
                    <a:pt x="417" y="183"/>
                  </a:lnTo>
                  <a:lnTo>
                    <a:pt x="417" y="189"/>
                  </a:lnTo>
                  <a:lnTo>
                    <a:pt x="402" y="208"/>
                  </a:lnTo>
                  <a:lnTo>
                    <a:pt x="402" y="217"/>
                  </a:lnTo>
                  <a:lnTo>
                    <a:pt x="426" y="220"/>
                  </a:lnTo>
                  <a:lnTo>
                    <a:pt x="442" y="199"/>
                  </a:lnTo>
                  <a:lnTo>
                    <a:pt x="448" y="217"/>
                  </a:lnTo>
                  <a:lnTo>
                    <a:pt x="420" y="238"/>
                  </a:lnTo>
                  <a:lnTo>
                    <a:pt x="359" y="248"/>
                  </a:lnTo>
                  <a:lnTo>
                    <a:pt x="359" y="254"/>
                  </a:lnTo>
                  <a:lnTo>
                    <a:pt x="374" y="260"/>
                  </a:lnTo>
                  <a:lnTo>
                    <a:pt x="356" y="260"/>
                  </a:lnTo>
                  <a:lnTo>
                    <a:pt x="353" y="278"/>
                  </a:lnTo>
                  <a:lnTo>
                    <a:pt x="359" y="284"/>
                  </a:lnTo>
                  <a:lnTo>
                    <a:pt x="359" y="275"/>
                  </a:lnTo>
                  <a:lnTo>
                    <a:pt x="374" y="294"/>
                  </a:lnTo>
                  <a:lnTo>
                    <a:pt x="389" y="284"/>
                  </a:lnTo>
                  <a:lnTo>
                    <a:pt x="408" y="287"/>
                  </a:lnTo>
                  <a:lnTo>
                    <a:pt x="402" y="324"/>
                  </a:lnTo>
                  <a:lnTo>
                    <a:pt x="405" y="340"/>
                  </a:lnTo>
                  <a:lnTo>
                    <a:pt x="414" y="346"/>
                  </a:lnTo>
                  <a:lnTo>
                    <a:pt x="426" y="343"/>
                  </a:lnTo>
                  <a:lnTo>
                    <a:pt x="438" y="364"/>
                  </a:lnTo>
                  <a:lnTo>
                    <a:pt x="435" y="367"/>
                  </a:lnTo>
                  <a:lnTo>
                    <a:pt x="442" y="367"/>
                  </a:lnTo>
                  <a:lnTo>
                    <a:pt x="435" y="379"/>
                  </a:lnTo>
                  <a:lnTo>
                    <a:pt x="417" y="373"/>
                  </a:lnTo>
                  <a:lnTo>
                    <a:pt x="402" y="382"/>
                  </a:lnTo>
                  <a:lnTo>
                    <a:pt x="417" y="398"/>
                  </a:lnTo>
                  <a:lnTo>
                    <a:pt x="426" y="419"/>
                  </a:lnTo>
                  <a:lnTo>
                    <a:pt x="438" y="431"/>
                  </a:lnTo>
                  <a:lnTo>
                    <a:pt x="494" y="431"/>
                  </a:lnTo>
                  <a:lnTo>
                    <a:pt x="530" y="456"/>
                  </a:lnTo>
                  <a:lnTo>
                    <a:pt x="540" y="483"/>
                  </a:lnTo>
                  <a:lnTo>
                    <a:pt x="558" y="496"/>
                  </a:lnTo>
                  <a:lnTo>
                    <a:pt x="564" y="511"/>
                  </a:lnTo>
                  <a:lnTo>
                    <a:pt x="570" y="526"/>
                  </a:lnTo>
                  <a:lnTo>
                    <a:pt x="564" y="514"/>
                  </a:lnTo>
                  <a:lnTo>
                    <a:pt x="564" y="529"/>
                  </a:lnTo>
                  <a:lnTo>
                    <a:pt x="585" y="542"/>
                  </a:lnTo>
                  <a:lnTo>
                    <a:pt x="585" y="542"/>
                  </a:lnTo>
                  <a:lnTo>
                    <a:pt x="592" y="548"/>
                  </a:lnTo>
                  <a:lnTo>
                    <a:pt x="653" y="557"/>
                  </a:lnTo>
                  <a:lnTo>
                    <a:pt x="653" y="557"/>
                  </a:lnTo>
                  <a:lnTo>
                    <a:pt x="653" y="560"/>
                  </a:lnTo>
                  <a:lnTo>
                    <a:pt x="650" y="560"/>
                  </a:lnTo>
                  <a:lnTo>
                    <a:pt x="650" y="560"/>
                  </a:lnTo>
                  <a:lnTo>
                    <a:pt x="625" y="557"/>
                  </a:lnTo>
                  <a:lnTo>
                    <a:pt x="622" y="563"/>
                  </a:lnTo>
                  <a:lnTo>
                    <a:pt x="573" y="545"/>
                  </a:lnTo>
                  <a:lnTo>
                    <a:pt x="503" y="444"/>
                  </a:lnTo>
                  <a:lnTo>
                    <a:pt x="469" y="441"/>
                  </a:lnTo>
                  <a:lnTo>
                    <a:pt x="448" y="453"/>
                  </a:lnTo>
                  <a:lnTo>
                    <a:pt x="408" y="453"/>
                  </a:lnTo>
                  <a:lnTo>
                    <a:pt x="408" y="453"/>
                  </a:lnTo>
                  <a:lnTo>
                    <a:pt x="392" y="453"/>
                  </a:lnTo>
                  <a:lnTo>
                    <a:pt x="374" y="431"/>
                  </a:lnTo>
                  <a:lnTo>
                    <a:pt x="359" y="434"/>
                  </a:lnTo>
                  <a:lnTo>
                    <a:pt x="347" y="456"/>
                  </a:lnTo>
                  <a:lnTo>
                    <a:pt x="331" y="505"/>
                  </a:lnTo>
                  <a:lnTo>
                    <a:pt x="340" y="542"/>
                  </a:lnTo>
                  <a:lnTo>
                    <a:pt x="353" y="560"/>
                  </a:lnTo>
                  <a:lnTo>
                    <a:pt x="334" y="585"/>
                  </a:lnTo>
                  <a:lnTo>
                    <a:pt x="337" y="627"/>
                  </a:lnTo>
                  <a:lnTo>
                    <a:pt x="337" y="627"/>
                  </a:lnTo>
                  <a:lnTo>
                    <a:pt x="334" y="627"/>
                  </a:lnTo>
                  <a:lnTo>
                    <a:pt x="334" y="627"/>
                  </a:lnTo>
                  <a:lnTo>
                    <a:pt x="331" y="585"/>
                  </a:lnTo>
                  <a:lnTo>
                    <a:pt x="343" y="560"/>
                  </a:lnTo>
                  <a:lnTo>
                    <a:pt x="310" y="548"/>
                  </a:lnTo>
                  <a:lnTo>
                    <a:pt x="298" y="532"/>
                  </a:lnTo>
                  <a:lnTo>
                    <a:pt x="285" y="536"/>
                  </a:lnTo>
                  <a:lnTo>
                    <a:pt x="273" y="566"/>
                  </a:lnTo>
                  <a:lnTo>
                    <a:pt x="291" y="566"/>
                  </a:lnTo>
                  <a:lnTo>
                    <a:pt x="291" y="591"/>
                  </a:lnTo>
                  <a:lnTo>
                    <a:pt x="282" y="609"/>
                  </a:lnTo>
                  <a:lnTo>
                    <a:pt x="267" y="609"/>
                  </a:lnTo>
                  <a:lnTo>
                    <a:pt x="255" y="594"/>
                  </a:lnTo>
                  <a:lnTo>
                    <a:pt x="245" y="594"/>
                  </a:lnTo>
                  <a:lnTo>
                    <a:pt x="236" y="585"/>
                  </a:lnTo>
                  <a:lnTo>
                    <a:pt x="236" y="572"/>
                  </a:lnTo>
                  <a:lnTo>
                    <a:pt x="258" y="569"/>
                  </a:lnTo>
                  <a:lnTo>
                    <a:pt x="261" y="554"/>
                  </a:lnTo>
                  <a:lnTo>
                    <a:pt x="242" y="520"/>
                  </a:lnTo>
                  <a:lnTo>
                    <a:pt x="233" y="523"/>
                  </a:lnTo>
                  <a:lnTo>
                    <a:pt x="230" y="496"/>
                  </a:lnTo>
                  <a:lnTo>
                    <a:pt x="154" y="499"/>
                  </a:lnTo>
                  <a:lnTo>
                    <a:pt x="120" y="508"/>
                  </a:lnTo>
                  <a:lnTo>
                    <a:pt x="77" y="502"/>
                  </a:lnTo>
                  <a:lnTo>
                    <a:pt x="59" y="508"/>
                  </a:lnTo>
                  <a:lnTo>
                    <a:pt x="25" y="542"/>
                  </a:lnTo>
                  <a:lnTo>
                    <a:pt x="34" y="554"/>
                  </a:lnTo>
                  <a:lnTo>
                    <a:pt x="28" y="566"/>
                  </a:lnTo>
                  <a:lnTo>
                    <a:pt x="22" y="557"/>
                  </a:lnTo>
                  <a:lnTo>
                    <a:pt x="10" y="557"/>
                  </a:lnTo>
                  <a:lnTo>
                    <a:pt x="16" y="566"/>
                  </a:lnTo>
                  <a:lnTo>
                    <a:pt x="0" y="618"/>
                  </a:lnTo>
                  <a:lnTo>
                    <a:pt x="6" y="627"/>
                  </a:lnTo>
                  <a:lnTo>
                    <a:pt x="43" y="627"/>
                  </a:lnTo>
                  <a:lnTo>
                    <a:pt x="77" y="637"/>
                  </a:lnTo>
                  <a:lnTo>
                    <a:pt x="89" y="652"/>
                  </a:lnTo>
                  <a:lnTo>
                    <a:pt x="95" y="679"/>
                  </a:lnTo>
                  <a:lnTo>
                    <a:pt x="89" y="649"/>
                  </a:lnTo>
                  <a:lnTo>
                    <a:pt x="74" y="637"/>
                  </a:lnTo>
                  <a:lnTo>
                    <a:pt x="56" y="637"/>
                  </a:lnTo>
                  <a:lnTo>
                    <a:pt x="46" y="664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799" name="Freeform 15"/>
            <p:cNvSpPr>
              <a:spLocks/>
            </p:cNvSpPr>
            <p:nvPr/>
          </p:nvSpPr>
          <p:spPr bwMode="gray">
            <a:xfrm>
              <a:off x="2130" y="1400"/>
              <a:ext cx="46" cy="9"/>
            </a:xfrm>
            <a:custGeom>
              <a:avLst/>
              <a:gdLst>
                <a:gd name="T0" fmla="*/ 19 w 46"/>
                <a:gd name="T1" fmla="*/ 0 h 9"/>
                <a:gd name="T2" fmla="*/ 0 w 46"/>
                <a:gd name="T3" fmla="*/ 3 h 9"/>
                <a:gd name="T4" fmla="*/ 3 w 46"/>
                <a:gd name="T5" fmla="*/ 9 h 9"/>
                <a:gd name="T6" fmla="*/ 46 w 46"/>
                <a:gd name="T7" fmla="*/ 0 h 9"/>
                <a:gd name="T8" fmla="*/ 19 w 46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9">
                  <a:moveTo>
                    <a:pt x="19" y="0"/>
                  </a:moveTo>
                  <a:lnTo>
                    <a:pt x="0" y="3"/>
                  </a:lnTo>
                  <a:lnTo>
                    <a:pt x="3" y="9"/>
                  </a:lnTo>
                  <a:lnTo>
                    <a:pt x="46" y="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00" name="Freeform 16"/>
            <p:cNvSpPr>
              <a:spLocks/>
            </p:cNvSpPr>
            <p:nvPr/>
          </p:nvSpPr>
          <p:spPr bwMode="gray">
            <a:xfrm>
              <a:off x="2179" y="1397"/>
              <a:ext cx="15" cy="3"/>
            </a:xfrm>
            <a:custGeom>
              <a:avLst/>
              <a:gdLst>
                <a:gd name="T0" fmla="*/ 3 w 15"/>
                <a:gd name="T1" fmla="*/ 0 h 3"/>
                <a:gd name="T2" fmla="*/ 0 w 15"/>
                <a:gd name="T3" fmla="*/ 3 h 3"/>
                <a:gd name="T4" fmla="*/ 15 w 15"/>
                <a:gd name="T5" fmla="*/ 3 h 3"/>
                <a:gd name="T6" fmla="*/ 3 w 1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3">
                  <a:moveTo>
                    <a:pt x="3" y="0"/>
                  </a:moveTo>
                  <a:lnTo>
                    <a:pt x="0" y="3"/>
                  </a:lnTo>
                  <a:lnTo>
                    <a:pt x="15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01" name="Freeform 17"/>
            <p:cNvSpPr>
              <a:spLocks/>
            </p:cNvSpPr>
            <p:nvPr/>
          </p:nvSpPr>
          <p:spPr bwMode="gray">
            <a:xfrm>
              <a:off x="2201" y="1387"/>
              <a:ext cx="36" cy="13"/>
            </a:xfrm>
            <a:custGeom>
              <a:avLst/>
              <a:gdLst>
                <a:gd name="T0" fmla="*/ 0 w 36"/>
                <a:gd name="T1" fmla="*/ 13 h 13"/>
                <a:gd name="T2" fmla="*/ 9 w 36"/>
                <a:gd name="T3" fmla="*/ 6 h 13"/>
                <a:gd name="T4" fmla="*/ 36 w 36"/>
                <a:gd name="T5" fmla="*/ 3 h 13"/>
                <a:gd name="T6" fmla="*/ 3 w 36"/>
                <a:gd name="T7" fmla="*/ 0 h 13"/>
                <a:gd name="T8" fmla="*/ 0 w 36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3">
                  <a:moveTo>
                    <a:pt x="0" y="13"/>
                  </a:moveTo>
                  <a:lnTo>
                    <a:pt x="9" y="6"/>
                  </a:lnTo>
                  <a:lnTo>
                    <a:pt x="36" y="3"/>
                  </a:lnTo>
                  <a:lnTo>
                    <a:pt x="3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02" name="Freeform 18"/>
            <p:cNvSpPr>
              <a:spLocks/>
            </p:cNvSpPr>
            <p:nvPr/>
          </p:nvSpPr>
          <p:spPr bwMode="gray">
            <a:xfrm>
              <a:off x="2247" y="1378"/>
              <a:ext cx="30" cy="12"/>
            </a:xfrm>
            <a:custGeom>
              <a:avLst/>
              <a:gdLst>
                <a:gd name="T0" fmla="*/ 9 w 30"/>
                <a:gd name="T1" fmla="*/ 0 h 12"/>
                <a:gd name="T2" fmla="*/ 0 w 30"/>
                <a:gd name="T3" fmla="*/ 6 h 12"/>
                <a:gd name="T4" fmla="*/ 3 w 30"/>
                <a:gd name="T5" fmla="*/ 12 h 12"/>
                <a:gd name="T6" fmla="*/ 30 w 30"/>
                <a:gd name="T7" fmla="*/ 3 h 12"/>
                <a:gd name="T8" fmla="*/ 9 w 30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2">
                  <a:moveTo>
                    <a:pt x="9" y="0"/>
                  </a:moveTo>
                  <a:lnTo>
                    <a:pt x="0" y="6"/>
                  </a:lnTo>
                  <a:lnTo>
                    <a:pt x="3" y="12"/>
                  </a:lnTo>
                  <a:lnTo>
                    <a:pt x="30" y="3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03" name="Freeform 19"/>
            <p:cNvSpPr>
              <a:spLocks/>
            </p:cNvSpPr>
            <p:nvPr/>
          </p:nvSpPr>
          <p:spPr bwMode="gray">
            <a:xfrm>
              <a:off x="2283" y="1375"/>
              <a:ext cx="28" cy="6"/>
            </a:xfrm>
            <a:custGeom>
              <a:avLst/>
              <a:gdLst>
                <a:gd name="T0" fmla="*/ 6 w 28"/>
                <a:gd name="T1" fmla="*/ 6 h 6"/>
                <a:gd name="T2" fmla="*/ 28 w 28"/>
                <a:gd name="T3" fmla="*/ 6 h 6"/>
                <a:gd name="T4" fmla="*/ 9 w 28"/>
                <a:gd name="T5" fmla="*/ 0 h 6"/>
                <a:gd name="T6" fmla="*/ 0 w 28"/>
                <a:gd name="T7" fmla="*/ 3 h 6"/>
                <a:gd name="T8" fmla="*/ 6 w 2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6">
                  <a:moveTo>
                    <a:pt x="6" y="6"/>
                  </a:moveTo>
                  <a:lnTo>
                    <a:pt x="28" y="6"/>
                  </a:lnTo>
                  <a:lnTo>
                    <a:pt x="9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04" name="Freeform 20"/>
            <p:cNvSpPr>
              <a:spLocks/>
            </p:cNvSpPr>
            <p:nvPr/>
          </p:nvSpPr>
          <p:spPr bwMode="gray">
            <a:xfrm>
              <a:off x="2289" y="1228"/>
              <a:ext cx="7" cy="9"/>
            </a:xfrm>
            <a:custGeom>
              <a:avLst/>
              <a:gdLst>
                <a:gd name="T0" fmla="*/ 7 w 7"/>
                <a:gd name="T1" fmla="*/ 9 h 9"/>
                <a:gd name="T2" fmla="*/ 7 w 7"/>
                <a:gd name="T3" fmla="*/ 3 h 9"/>
                <a:gd name="T4" fmla="*/ 0 w 7"/>
                <a:gd name="T5" fmla="*/ 0 h 9"/>
                <a:gd name="T6" fmla="*/ 7 w 7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9">
                  <a:moveTo>
                    <a:pt x="7" y="9"/>
                  </a:moveTo>
                  <a:lnTo>
                    <a:pt x="7" y="3"/>
                  </a:lnTo>
                  <a:lnTo>
                    <a:pt x="0" y="0"/>
                  </a:lnTo>
                  <a:lnTo>
                    <a:pt x="7" y="9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05" name="Freeform 21"/>
            <p:cNvSpPr>
              <a:spLocks/>
            </p:cNvSpPr>
            <p:nvPr/>
          </p:nvSpPr>
          <p:spPr bwMode="gray">
            <a:xfrm>
              <a:off x="2299" y="1228"/>
              <a:ext cx="3" cy="3"/>
            </a:xfrm>
            <a:custGeom>
              <a:avLst/>
              <a:gdLst>
                <a:gd name="T0" fmla="*/ 0 w 3"/>
                <a:gd name="T1" fmla="*/ 3 h 3"/>
                <a:gd name="T2" fmla="*/ 3 w 3"/>
                <a:gd name="T3" fmla="*/ 3 h 3"/>
                <a:gd name="T4" fmla="*/ 3 w 3"/>
                <a:gd name="T5" fmla="*/ 0 h 3"/>
                <a:gd name="T6" fmla="*/ 0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06" name="Freeform 22"/>
            <p:cNvSpPr>
              <a:spLocks/>
            </p:cNvSpPr>
            <p:nvPr/>
          </p:nvSpPr>
          <p:spPr bwMode="gray">
            <a:xfrm>
              <a:off x="2317" y="1381"/>
              <a:ext cx="6" cy="12"/>
            </a:xfrm>
            <a:custGeom>
              <a:avLst/>
              <a:gdLst>
                <a:gd name="T0" fmla="*/ 3 w 6"/>
                <a:gd name="T1" fmla="*/ 0 h 12"/>
                <a:gd name="T2" fmla="*/ 0 w 6"/>
                <a:gd name="T3" fmla="*/ 3 h 12"/>
                <a:gd name="T4" fmla="*/ 6 w 6"/>
                <a:gd name="T5" fmla="*/ 12 h 12"/>
                <a:gd name="T6" fmla="*/ 6 w 6"/>
                <a:gd name="T7" fmla="*/ 9 h 12"/>
                <a:gd name="T8" fmla="*/ 3 w 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3" y="0"/>
                  </a:moveTo>
                  <a:lnTo>
                    <a:pt x="0" y="3"/>
                  </a:lnTo>
                  <a:lnTo>
                    <a:pt x="6" y="12"/>
                  </a:lnTo>
                  <a:lnTo>
                    <a:pt x="6" y="9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07" name="Freeform 23"/>
            <p:cNvSpPr>
              <a:spLocks/>
            </p:cNvSpPr>
            <p:nvPr/>
          </p:nvSpPr>
          <p:spPr bwMode="gray">
            <a:xfrm>
              <a:off x="2384" y="1038"/>
              <a:ext cx="22" cy="37"/>
            </a:xfrm>
            <a:custGeom>
              <a:avLst/>
              <a:gdLst>
                <a:gd name="T0" fmla="*/ 0 w 22"/>
                <a:gd name="T1" fmla="*/ 16 h 37"/>
                <a:gd name="T2" fmla="*/ 16 w 22"/>
                <a:gd name="T3" fmla="*/ 37 h 37"/>
                <a:gd name="T4" fmla="*/ 22 w 22"/>
                <a:gd name="T5" fmla="*/ 37 h 37"/>
                <a:gd name="T6" fmla="*/ 10 w 22"/>
                <a:gd name="T7" fmla="*/ 6 h 37"/>
                <a:gd name="T8" fmla="*/ 16 w 22"/>
                <a:gd name="T9" fmla="*/ 0 h 37"/>
                <a:gd name="T10" fmla="*/ 0 w 22"/>
                <a:gd name="T11" fmla="*/ 1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37">
                  <a:moveTo>
                    <a:pt x="0" y="16"/>
                  </a:moveTo>
                  <a:lnTo>
                    <a:pt x="16" y="37"/>
                  </a:lnTo>
                  <a:lnTo>
                    <a:pt x="22" y="37"/>
                  </a:lnTo>
                  <a:lnTo>
                    <a:pt x="10" y="6"/>
                  </a:lnTo>
                  <a:lnTo>
                    <a:pt x="16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08" name="Freeform 24"/>
            <p:cNvSpPr>
              <a:spLocks/>
            </p:cNvSpPr>
            <p:nvPr/>
          </p:nvSpPr>
          <p:spPr bwMode="gray">
            <a:xfrm>
              <a:off x="2409" y="1023"/>
              <a:ext cx="43" cy="27"/>
            </a:xfrm>
            <a:custGeom>
              <a:avLst/>
              <a:gdLst>
                <a:gd name="T0" fmla="*/ 0 w 43"/>
                <a:gd name="T1" fmla="*/ 9 h 27"/>
                <a:gd name="T2" fmla="*/ 0 w 43"/>
                <a:gd name="T3" fmla="*/ 18 h 27"/>
                <a:gd name="T4" fmla="*/ 18 w 43"/>
                <a:gd name="T5" fmla="*/ 27 h 27"/>
                <a:gd name="T6" fmla="*/ 34 w 43"/>
                <a:gd name="T7" fmla="*/ 27 h 27"/>
                <a:gd name="T8" fmla="*/ 43 w 43"/>
                <a:gd name="T9" fmla="*/ 12 h 27"/>
                <a:gd name="T10" fmla="*/ 40 w 43"/>
                <a:gd name="T11" fmla="*/ 3 h 27"/>
                <a:gd name="T12" fmla="*/ 27 w 43"/>
                <a:gd name="T13" fmla="*/ 0 h 27"/>
                <a:gd name="T14" fmla="*/ 0 w 43"/>
                <a:gd name="T15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7">
                  <a:moveTo>
                    <a:pt x="0" y="9"/>
                  </a:moveTo>
                  <a:lnTo>
                    <a:pt x="0" y="18"/>
                  </a:lnTo>
                  <a:lnTo>
                    <a:pt x="18" y="27"/>
                  </a:lnTo>
                  <a:lnTo>
                    <a:pt x="34" y="27"/>
                  </a:lnTo>
                  <a:lnTo>
                    <a:pt x="43" y="12"/>
                  </a:lnTo>
                  <a:lnTo>
                    <a:pt x="40" y="3"/>
                  </a:lnTo>
                  <a:lnTo>
                    <a:pt x="27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09" name="Freeform 25"/>
            <p:cNvSpPr>
              <a:spLocks/>
            </p:cNvSpPr>
            <p:nvPr/>
          </p:nvSpPr>
          <p:spPr bwMode="gray">
            <a:xfrm>
              <a:off x="2412" y="1314"/>
              <a:ext cx="6" cy="6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6 h 6"/>
                <a:gd name="T4" fmla="*/ 3 w 6"/>
                <a:gd name="T5" fmla="*/ 0 h 6"/>
                <a:gd name="T6" fmla="*/ 6 w 6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3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10" name="Freeform 26"/>
            <p:cNvSpPr>
              <a:spLocks/>
            </p:cNvSpPr>
            <p:nvPr/>
          </p:nvSpPr>
          <p:spPr bwMode="gray">
            <a:xfrm>
              <a:off x="2418" y="1084"/>
              <a:ext cx="6" cy="12"/>
            </a:xfrm>
            <a:custGeom>
              <a:avLst/>
              <a:gdLst>
                <a:gd name="T0" fmla="*/ 6 w 6"/>
                <a:gd name="T1" fmla="*/ 0 h 12"/>
                <a:gd name="T2" fmla="*/ 3 w 6"/>
                <a:gd name="T3" fmla="*/ 12 h 12"/>
                <a:gd name="T4" fmla="*/ 0 w 6"/>
                <a:gd name="T5" fmla="*/ 9 h 12"/>
                <a:gd name="T6" fmla="*/ 6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3" y="12"/>
                  </a:lnTo>
                  <a:lnTo>
                    <a:pt x="0" y="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11" name="Freeform 27"/>
            <p:cNvSpPr>
              <a:spLocks/>
            </p:cNvSpPr>
            <p:nvPr/>
          </p:nvSpPr>
          <p:spPr bwMode="gray">
            <a:xfrm>
              <a:off x="2418" y="1127"/>
              <a:ext cx="15" cy="21"/>
            </a:xfrm>
            <a:custGeom>
              <a:avLst/>
              <a:gdLst>
                <a:gd name="T0" fmla="*/ 6 w 15"/>
                <a:gd name="T1" fmla="*/ 0 h 21"/>
                <a:gd name="T2" fmla="*/ 15 w 15"/>
                <a:gd name="T3" fmla="*/ 15 h 21"/>
                <a:gd name="T4" fmla="*/ 9 w 15"/>
                <a:gd name="T5" fmla="*/ 21 h 21"/>
                <a:gd name="T6" fmla="*/ 0 w 15"/>
                <a:gd name="T7" fmla="*/ 6 h 21"/>
                <a:gd name="T8" fmla="*/ 6 w 15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1">
                  <a:moveTo>
                    <a:pt x="6" y="0"/>
                  </a:moveTo>
                  <a:lnTo>
                    <a:pt x="15" y="15"/>
                  </a:lnTo>
                  <a:lnTo>
                    <a:pt x="9" y="21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12" name="Freeform 28"/>
            <p:cNvSpPr>
              <a:spLocks/>
            </p:cNvSpPr>
            <p:nvPr/>
          </p:nvSpPr>
          <p:spPr bwMode="gray">
            <a:xfrm>
              <a:off x="2424" y="1099"/>
              <a:ext cx="6" cy="19"/>
            </a:xfrm>
            <a:custGeom>
              <a:avLst/>
              <a:gdLst>
                <a:gd name="T0" fmla="*/ 0 w 6"/>
                <a:gd name="T1" fmla="*/ 0 h 19"/>
                <a:gd name="T2" fmla="*/ 6 w 6"/>
                <a:gd name="T3" fmla="*/ 4 h 19"/>
                <a:gd name="T4" fmla="*/ 0 w 6"/>
                <a:gd name="T5" fmla="*/ 19 h 19"/>
                <a:gd name="T6" fmla="*/ 0 w 6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6" y="4"/>
                  </a:lnTo>
                  <a:lnTo>
                    <a:pt x="0" y="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13" name="Freeform 29"/>
            <p:cNvSpPr>
              <a:spLocks/>
            </p:cNvSpPr>
            <p:nvPr/>
          </p:nvSpPr>
          <p:spPr bwMode="gray">
            <a:xfrm>
              <a:off x="2424" y="1326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6 h 6"/>
                <a:gd name="T4" fmla="*/ 3 w 6"/>
                <a:gd name="T5" fmla="*/ 0 h 6"/>
                <a:gd name="T6" fmla="*/ 6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6"/>
                  </a:lnTo>
                  <a:lnTo>
                    <a:pt x="3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14" name="Rectangle 30"/>
            <p:cNvSpPr>
              <a:spLocks noChangeArrowheads="1"/>
            </p:cNvSpPr>
            <p:nvPr/>
          </p:nvSpPr>
          <p:spPr bwMode="gray">
            <a:xfrm>
              <a:off x="2430" y="1106"/>
              <a:ext cx="3" cy="1"/>
            </a:xfrm>
            <a:prstGeom prst="rect">
              <a:avLst/>
            </a:prstGeom>
            <a:solidFill>
              <a:schemeClr val="accent2"/>
            </a:solidFill>
            <a:ln w="3175">
              <a:solidFill>
                <a:schemeClr val="bg2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15" name="Freeform 31"/>
            <p:cNvSpPr>
              <a:spLocks/>
            </p:cNvSpPr>
            <p:nvPr/>
          </p:nvSpPr>
          <p:spPr bwMode="gray">
            <a:xfrm>
              <a:off x="2440" y="1127"/>
              <a:ext cx="3" cy="3"/>
            </a:xfrm>
            <a:custGeom>
              <a:avLst/>
              <a:gdLst>
                <a:gd name="T0" fmla="*/ 0 w 3"/>
                <a:gd name="T1" fmla="*/ 3 h 3"/>
                <a:gd name="T2" fmla="*/ 3 w 3"/>
                <a:gd name="T3" fmla="*/ 3 h 3"/>
                <a:gd name="T4" fmla="*/ 0 w 3"/>
                <a:gd name="T5" fmla="*/ 0 h 3"/>
                <a:gd name="T6" fmla="*/ 0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16" name="Freeform 32"/>
            <p:cNvSpPr>
              <a:spLocks/>
            </p:cNvSpPr>
            <p:nvPr/>
          </p:nvSpPr>
          <p:spPr bwMode="gray">
            <a:xfrm>
              <a:off x="2430" y="1087"/>
              <a:ext cx="16" cy="9"/>
            </a:xfrm>
            <a:custGeom>
              <a:avLst/>
              <a:gdLst>
                <a:gd name="T0" fmla="*/ 16 w 16"/>
                <a:gd name="T1" fmla="*/ 6 h 9"/>
                <a:gd name="T2" fmla="*/ 13 w 16"/>
                <a:gd name="T3" fmla="*/ 0 h 9"/>
                <a:gd name="T4" fmla="*/ 0 w 16"/>
                <a:gd name="T5" fmla="*/ 0 h 9"/>
                <a:gd name="T6" fmla="*/ 10 w 16"/>
                <a:gd name="T7" fmla="*/ 9 h 9"/>
                <a:gd name="T8" fmla="*/ 16 w 16"/>
                <a:gd name="T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9">
                  <a:moveTo>
                    <a:pt x="16" y="6"/>
                  </a:moveTo>
                  <a:lnTo>
                    <a:pt x="13" y="0"/>
                  </a:lnTo>
                  <a:lnTo>
                    <a:pt x="0" y="0"/>
                  </a:lnTo>
                  <a:lnTo>
                    <a:pt x="10" y="9"/>
                  </a:lnTo>
                  <a:lnTo>
                    <a:pt x="16" y="6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17" name="Freeform 33"/>
            <p:cNvSpPr>
              <a:spLocks/>
            </p:cNvSpPr>
            <p:nvPr/>
          </p:nvSpPr>
          <p:spPr bwMode="gray">
            <a:xfrm>
              <a:off x="2464" y="1277"/>
              <a:ext cx="6" cy="9"/>
            </a:xfrm>
            <a:custGeom>
              <a:avLst/>
              <a:gdLst>
                <a:gd name="T0" fmla="*/ 6 w 6"/>
                <a:gd name="T1" fmla="*/ 0 h 9"/>
                <a:gd name="T2" fmla="*/ 0 w 6"/>
                <a:gd name="T3" fmla="*/ 3 h 9"/>
                <a:gd name="T4" fmla="*/ 6 w 6"/>
                <a:gd name="T5" fmla="*/ 9 h 9"/>
                <a:gd name="T6" fmla="*/ 6 w 6"/>
                <a:gd name="T7" fmla="*/ 3 h 9"/>
                <a:gd name="T8" fmla="*/ 6 w 6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6" y="0"/>
                  </a:moveTo>
                  <a:lnTo>
                    <a:pt x="0" y="3"/>
                  </a:lnTo>
                  <a:lnTo>
                    <a:pt x="6" y="9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18" name="Freeform 34"/>
            <p:cNvSpPr>
              <a:spLocks/>
            </p:cNvSpPr>
            <p:nvPr/>
          </p:nvSpPr>
          <p:spPr bwMode="gray">
            <a:xfrm>
              <a:off x="2449" y="1096"/>
              <a:ext cx="24" cy="25"/>
            </a:xfrm>
            <a:custGeom>
              <a:avLst/>
              <a:gdLst>
                <a:gd name="T0" fmla="*/ 21 w 24"/>
                <a:gd name="T1" fmla="*/ 13 h 25"/>
                <a:gd name="T2" fmla="*/ 24 w 24"/>
                <a:gd name="T3" fmla="*/ 0 h 25"/>
                <a:gd name="T4" fmla="*/ 0 w 24"/>
                <a:gd name="T5" fmla="*/ 10 h 25"/>
                <a:gd name="T6" fmla="*/ 6 w 24"/>
                <a:gd name="T7" fmla="*/ 25 h 25"/>
                <a:gd name="T8" fmla="*/ 24 w 24"/>
                <a:gd name="T9" fmla="*/ 19 h 25"/>
                <a:gd name="T10" fmla="*/ 21 w 24"/>
                <a:gd name="T11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5">
                  <a:moveTo>
                    <a:pt x="21" y="13"/>
                  </a:moveTo>
                  <a:lnTo>
                    <a:pt x="24" y="0"/>
                  </a:lnTo>
                  <a:lnTo>
                    <a:pt x="0" y="10"/>
                  </a:lnTo>
                  <a:lnTo>
                    <a:pt x="6" y="25"/>
                  </a:lnTo>
                  <a:lnTo>
                    <a:pt x="24" y="19"/>
                  </a:lnTo>
                  <a:lnTo>
                    <a:pt x="21" y="13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19" name="Freeform 35"/>
            <p:cNvSpPr>
              <a:spLocks/>
            </p:cNvSpPr>
            <p:nvPr/>
          </p:nvSpPr>
          <p:spPr bwMode="gray">
            <a:xfrm>
              <a:off x="2473" y="1063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6 h 6"/>
                <a:gd name="T4" fmla="*/ 6 w 6"/>
                <a:gd name="T5" fmla="*/ 0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20" name="Rectangle 36"/>
            <p:cNvSpPr>
              <a:spLocks noChangeArrowheads="1"/>
            </p:cNvSpPr>
            <p:nvPr/>
          </p:nvSpPr>
          <p:spPr bwMode="gray">
            <a:xfrm>
              <a:off x="2476" y="1127"/>
              <a:ext cx="3" cy="3"/>
            </a:xfrm>
            <a:prstGeom prst="rect">
              <a:avLst/>
            </a:prstGeom>
            <a:solidFill>
              <a:schemeClr val="accent2"/>
            </a:solidFill>
            <a:ln w="3175">
              <a:solidFill>
                <a:schemeClr val="bg2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21" name="Freeform 37"/>
            <p:cNvSpPr>
              <a:spLocks/>
            </p:cNvSpPr>
            <p:nvPr/>
          </p:nvSpPr>
          <p:spPr bwMode="gray">
            <a:xfrm>
              <a:off x="2485" y="1066"/>
              <a:ext cx="4" cy="1"/>
            </a:xfrm>
            <a:custGeom>
              <a:avLst/>
              <a:gdLst>
                <a:gd name="T0" fmla="*/ 0 w 4"/>
                <a:gd name="T1" fmla="*/ 0 w 4"/>
                <a:gd name="T2" fmla="*/ 0 w 4"/>
                <a:gd name="T3" fmla="*/ 4 w 4"/>
                <a:gd name="T4" fmla="*/ 0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22" name="Freeform 38"/>
            <p:cNvSpPr>
              <a:spLocks/>
            </p:cNvSpPr>
            <p:nvPr/>
          </p:nvSpPr>
          <p:spPr bwMode="gray">
            <a:xfrm>
              <a:off x="2645" y="1406"/>
              <a:ext cx="6" cy="15"/>
            </a:xfrm>
            <a:custGeom>
              <a:avLst/>
              <a:gdLst>
                <a:gd name="T0" fmla="*/ 6 w 6"/>
                <a:gd name="T1" fmla="*/ 15 h 15"/>
                <a:gd name="T2" fmla="*/ 6 w 6"/>
                <a:gd name="T3" fmla="*/ 9 h 15"/>
                <a:gd name="T4" fmla="*/ 0 w 6"/>
                <a:gd name="T5" fmla="*/ 0 h 15"/>
                <a:gd name="T6" fmla="*/ 6 w 6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5">
                  <a:moveTo>
                    <a:pt x="6" y="15"/>
                  </a:moveTo>
                  <a:lnTo>
                    <a:pt x="6" y="9"/>
                  </a:lnTo>
                  <a:lnTo>
                    <a:pt x="0" y="0"/>
                  </a:lnTo>
                  <a:lnTo>
                    <a:pt x="6" y="15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23" name="Rectangle 39"/>
            <p:cNvSpPr>
              <a:spLocks noChangeArrowheads="1"/>
            </p:cNvSpPr>
            <p:nvPr/>
          </p:nvSpPr>
          <p:spPr bwMode="gray">
            <a:xfrm>
              <a:off x="2982" y="1133"/>
              <a:ext cx="3" cy="1"/>
            </a:xfrm>
            <a:prstGeom prst="rect">
              <a:avLst/>
            </a:prstGeom>
            <a:solidFill>
              <a:schemeClr val="accent2"/>
            </a:solidFill>
            <a:ln w="3175">
              <a:solidFill>
                <a:schemeClr val="bg2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24" name="Freeform 40"/>
            <p:cNvSpPr>
              <a:spLocks/>
            </p:cNvSpPr>
            <p:nvPr/>
          </p:nvSpPr>
          <p:spPr bwMode="gray">
            <a:xfrm>
              <a:off x="2966" y="1096"/>
              <a:ext cx="65" cy="49"/>
            </a:xfrm>
            <a:custGeom>
              <a:avLst/>
              <a:gdLst>
                <a:gd name="T0" fmla="*/ 19 w 65"/>
                <a:gd name="T1" fmla="*/ 34 h 49"/>
                <a:gd name="T2" fmla="*/ 25 w 65"/>
                <a:gd name="T3" fmla="*/ 49 h 49"/>
                <a:gd name="T4" fmla="*/ 37 w 65"/>
                <a:gd name="T5" fmla="*/ 49 h 49"/>
                <a:gd name="T6" fmla="*/ 37 w 65"/>
                <a:gd name="T7" fmla="*/ 43 h 49"/>
                <a:gd name="T8" fmla="*/ 65 w 65"/>
                <a:gd name="T9" fmla="*/ 49 h 49"/>
                <a:gd name="T10" fmla="*/ 46 w 65"/>
                <a:gd name="T11" fmla="*/ 10 h 49"/>
                <a:gd name="T12" fmla="*/ 31 w 65"/>
                <a:gd name="T13" fmla="*/ 3 h 49"/>
                <a:gd name="T14" fmla="*/ 13 w 65"/>
                <a:gd name="T15" fmla="*/ 0 h 49"/>
                <a:gd name="T16" fmla="*/ 4 w 65"/>
                <a:gd name="T17" fmla="*/ 10 h 49"/>
                <a:gd name="T18" fmla="*/ 0 w 65"/>
                <a:gd name="T19" fmla="*/ 34 h 49"/>
                <a:gd name="T20" fmla="*/ 10 w 65"/>
                <a:gd name="T21" fmla="*/ 40 h 49"/>
                <a:gd name="T22" fmla="*/ 4 w 65"/>
                <a:gd name="T23" fmla="*/ 34 h 49"/>
                <a:gd name="T24" fmla="*/ 19 w 65"/>
                <a:gd name="T25" fmla="*/ 3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49">
                  <a:moveTo>
                    <a:pt x="19" y="34"/>
                  </a:moveTo>
                  <a:lnTo>
                    <a:pt x="25" y="49"/>
                  </a:lnTo>
                  <a:lnTo>
                    <a:pt x="37" y="49"/>
                  </a:lnTo>
                  <a:lnTo>
                    <a:pt x="37" y="43"/>
                  </a:lnTo>
                  <a:lnTo>
                    <a:pt x="65" y="49"/>
                  </a:lnTo>
                  <a:lnTo>
                    <a:pt x="46" y="10"/>
                  </a:lnTo>
                  <a:lnTo>
                    <a:pt x="31" y="3"/>
                  </a:lnTo>
                  <a:lnTo>
                    <a:pt x="13" y="0"/>
                  </a:lnTo>
                  <a:lnTo>
                    <a:pt x="4" y="10"/>
                  </a:lnTo>
                  <a:lnTo>
                    <a:pt x="0" y="34"/>
                  </a:lnTo>
                  <a:lnTo>
                    <a:pt x="10" y="40"/>
                  </a:lnTo>
                  <a:lnTo>
                    <a:pt x="4" y="34"/>
                  </a:lnTo>
                  <a:lnTo>
                    <a:pt x="19" y="34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25" name="Freeform 41"/>
            <p:cNvSpPr>
              <a:spLocks/>
            </p:cNvSpPr>
            <p:nvPr/>
          </p:nvSpPr>
          <p:spPr bwMode="gray">
            <a:xfrm>
              <a:off x="3052" y="1283"/>
              <a:ext cx="25" cy="25"/>
            </a:xfrm>
            <a:custGeom>
              <a:avLst/>
              <a:gdLst>
                <a:gd name="T0" fmla="*/ 25 w 25"/>
                <a:gd name="T1" fmla="*/ 3 h 25"/>
                <a:gd name="T2" fmla="*/ 19 w 25"/>
                <a:gd name="T3" fmla="*/ 0 h 25"/>
                <a:gd name="T4" fmla="*/ 3 w 25"/>
                <a:gd name="T5" fmla="*/ 6 h 25"/>
                <a:gd name="T6" fmla="*/ 0 w 25"/>
                <a:gd name="T7" fmla="*/ 19 h 25"/>
                <a:gd name="T8" fmla="*/ 9 w 25"/>
                <a:gd name="T9" fmla="*/ 22 h 25"/>
                <a:gd name="T10" fmla="*/ 13 w 25"/>
                <a:gd name="T11" fmla="*/ 9 h 25"/>
                <a:gd name="T12" fmla="*/ 16 w 25"/>
                <a:gd name="T13" fmla="*/ 25 h 25"/>
                <a:gd name="T14" fmla="*/ 25 w 25"/>
                <a:gd name="T15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5">
                  <a:moveTo>
                    <a:pt x="25" y="3"/>
                  </a:moveTo>
                  <a:lnTo>
                    <a:pt x="19" y="0"/>
                  </a:lnTo>
                  <a:lnTo>
                    <a:pt x="3" y="6"/>
                  </a:lnTo>
                  <a:lnTo>
                    <a:pt x="0" y="19"/>
                  </a:lnTo>
                  <a:lnTo>
                    <a:pt x="9" y="22"/>
                  </a:lnTo>
                  <a:lnTo>
                    <a:pt x="13" y="9"/>
                  </a:lnTo>
                  <a:lnTo>
                    <a:pt x="16" y="25"/>
                  </a:lnTo>
                  <a:lnTo>
                    <a:pt x="25" y="3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26" name="Freeform 42"/>
            <p:cNvSpPr>
              <a:spLocks/>
            </p:cNvSpPr>
            <p:nvPr/>
          </p:nvSpPr>
          <p:spPr bwMode="gray">
            <a:xfrm>
              <a:off x="2326" y="1645"/>
              <a:ext cx="974" cy="1044"/>
            </a:xfrm>
            <a:custGeom>
              <a:avLst/>
              <a:gdLst>
                <a:gd name="T0" fmla="*/ 43 w 974"/>
                <a:gd name="T1" fmla="*/ 992 h 1044"/>
                <a:gd name="T2" fmla="*/ 132 w 974"/>
                <a:gd name="T3" fmla="*/ 992 h 1044"/>
                <a:gd name="T4" fmla="*/ 187 w 974"/>
                <a:gd name="T5" fmla="*/ 971 h 1044"/>
                <a:gd name="T6" fmla="*/ 242 w 974"/>
                <a:gd name="T7" fmla="*/ 928 h 1044"/>
                <a:gd name="T8" fmla="*/ 273 w 974"/>
                <a:gd name="T9" fmla="*/ 964 h 1044"/>
                <a:gd name="T10" fmla="*/ 307 w 974"/>
                <a:gd name="T11" fmla="*/ 1001 h 1044"/>
                <a:gd name="T12" fmla="*/ 365 w 974"/>
                <a:gd name="T13" fmla="*/ 1029 h 1044"/>
                <a:gd name="T14" fmla="*/ 435 w 974"/>
                <a:gd name="T15" fmla="*/ 971 h 1044"/>
                <a:gd name="T16" fmla="*/ 466 w 974"/>
                <a:gd name="T17" fmla="*/ 891 h 1044"/>
                <a:gd name="T18" fmla="*/ 496 w 974"/>
                <a:gd name="T19" fmla="*/ 854 h 1044"/>
                <a:gd name="T20" fmla="*/ 539 w 974"/>
                <a:gd name="T21" fmla="*/ 811 h 1044"/>
                <a:gd name="T22" fmla="*/ 484 w 974"/>
                <a:gd name="T23" fmla="*/ 805 h 1044"/>
                <a:gd name="T24" fmla="*/ 447 w 974"/>
                <a:gd name="T25" fmla="*/ 790 h 1044"/>
                <a:gd name="T26" fmla="*/ 460 w 974"/>
                <a:gd name="T27" fmla="*/ 778 h 1044"/>
                <a:gd name="T28" fmla="*/ 478 w 974"/>
                <a:gd name="T29" fmla="*/ 759 h 1044"/>
                <a:gd name="T30" fmla="*/ 472 w 974"/>
                <a:gd name="T31" fmla="*/ 707 h 1044"/>
                <a:gd name="T32" fmla="*/ 512 w 974"/>
                <a:gd name="T33" fmla="*/ 670 h 1044"/>
                <a:gd name="T34" fmla="*/ 558 w 974"/>
                <a:gd name="T35" fmla="*/ 624 h 1044"/>
                <a:gd name="T36" fmla="*/ 546 w 974"/>
                <a:gd name="T37" fmla="*/ 557 h 1044"/>
                <a:gd name="T38" fmla="*/ 582 w 974"/>
                <a:gd name="T39" fmla="*/ 536 h 1044"/>
                <a:gd name="T40" fmla="*/ 656 w 974"/>
                <a:gd name="T41" fmla="*/ 514 h 1044"/>
                <a:gd name="T42" fmla="*/ 662 w 974"/>
                <a:gd name="T43" fmla="*/ 471 h 1044"/>
                <a:gd name="T44" fmla="*/ 708 w 974"/>
                <a:gd name="T45" fmla="*/ 438 h 1044"/>
                <a:gd name="T46" fmla="*/ 732 w 974"/>
                <a:gd name="T47" fmla="*/ 419 h 1044"/>
                <a:gd name="T48" fmla="*/ 772 w 974"/>
                <a:gd name="T49" fmla="*/ 441 h 1044"/>
                <a:gd name="T50" fmla="*/ 824 w 974"/>
                <a:gd name="T51" fmla="*/ 435 h 1044"/>
                <a:gd name="T52" fmla="*/ 907 w 974"/>
                <a:gd name="T53" fmla="*/ 431 h 1044"/>
                <a:gd name="T54" fmla="*/ 941 w 974"/>
                <a:gd name="T55" fmla="*/ 398 h 1044"/>
                <a:gd name="T56" fmla="*/ 974 w 974"/>
                <a:gd name="T57" fmla="*/ 358 h 1044"/>
                <a:gd name="T58" fmla="*/ 950 w 974"/>
                <a:gd name="T59" fmla="*/ 242 h 1044"/>
                <a:gd name="T60" fmla="*/ 935 w 974"/>
                <a:gd name="T61" fmla="*/ 183 h 1044"/>
                <a:gd name="T62" fmla="*/ 907 w 974"/>
                <a:gd name="T63" fmla="*/ 122 h 1044"/>
                <a:gd name="T64" fmla="*/ 928 w 974"/>
                <a:gd name="T65" fmla="*/ 61 h 1044"/>
                <a:gd name="T66" fmla="*/ 904 w 974"/>
                <a:gd name="T67" fmla="*/ 55 h 1044"/>
                <a:gd name="T68" fmla="*/ 818 w 974"/>
                <a:gd name="T69" fmla="*/ 18 h 1044"/>
                <a:gd name="T70" fmla="*/ 784 w 974"/>
                <a:gd name="T71" fmla="*/ 0 h 1044"/>
                <a:gd name="T72" fmla="*/ 751 w 974"/>
                <a:gd name="T73" fmla="*/ 61 h 1044"/>
                <a:gd name="T74" fmla="*/ 726 w 974"/>
                <a:gd name="T75" fmla="*/ 110 h 1044"/>
                <a:gd name="T76" fmla="*/ 650 w 974"/>
                <a:gd name="T77" fmla="*/ 122 h 1044"/>
                <a:gd name="T78" fmla="*/ 588 w 974"/>
                <a:gd name="T79" fmla="*/ 168 h 1044"/>
                <a:gd name="T80" fmla="*/ 515 w 974"/>
                <a:gd name="T81" fmla="*/ 183 h 1044"/>
                <a:gd name="T82" fmla="*/ 469 w 974"/>
                <a:gd name="T83" fmla="*/ 208 h 1044"/>
                <a:gd name="T84" fmla="*/ 435 w 974"/>
                <a:gd name="T85" fmla="*/ 180 h 1044"/>
                <a:gd name="T86" fmla="*/ 359 w 974"/>
                <a:gd name="T87" fmla="*/ 171 h 1044"/>
                <a:gd name="T88" fmla="*/ 343 w 974"/>
                <a:gd name="T89" fmla="*/ 144 h 1044"/>
                <a:gd name="T90" fmla="*/ 285 w 974"/>
                <a:gd name="T91" fmla="*/ 128 h 1044"/>
                <a:gd name="T92" fmla="*/ 270 w 974"/>
                <a:gd name="T93" fmla="*/ 119 h 1044"/>
                <a:gd name="T94" fmla="*/ 178 w 974"/>
                <a:gd name="T95" fmla="*/ 199 h 1044"/>
                <a:gd name="T96" fmla="*/ 132 w 974"/>
                <a:gd name="T97" fmla="*/ 199 h 1044"/>
                <a:gd name="T98" fmla="*/ 55 w 974"/>
                <a:gd name="T99" fmla="*/ 245 h 1044"/>
                <a:gd name="T100" fmla="*/ 77 w 974"/>
                <a:gd name="T101" fmla="*/ 343 h 1044"/>
                <a:gd name="T102" fmla="*/ 6 w 974"/>
                <a:gd name="T103" fmla="*/ 370 h 1044"/>
                <a:gd name="T104" fmla="*/ 55 w 974"/>
                <a:gd name="T105" fmla="*/ 493 h 1044"/>
                <a:gd name="T106" fmla="*/ 92 w 974"/>
                <a:gd name="T107" fmla="*/ 545 h 1044"/>
                <a:gd name="T108" fmla="*/ 153 w 974"/>
                <a:gd name="T109" fmla="*/ 594 h 1044"/>
                <a:gd name="T110" fmla="*/ 156 w 974"/>
                <a:gd name="T111" fmla="*/ 686 h 1044"/>
                <a:gd name="T112" fmla="*/ 135 w 974"/>
                <a:gd name="T113" fmla="*/ 732 h 1044"/>
                <a:gd name="T114" fmla="*/ 86 w 974"/>
                <a:gd name="T115" fmla="*/ 790 h 1044"/>
                <a:gd name="T116" fmla="*/ 6 w 974"/>
                <a:gd name="T117" fmla="*/ 876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74" h="1044">
                  <a:moveTo>
                    <a:pt x="3" y="928"/>
                  </a:moveTo>
                  <a:lnTo>
                    <a:pt x="16" y="934"/>
                  </a:lnTo>
                  <a:lnTo>
                    <a:pt x="19" y="958"/>
                  </a:lnTo>
                  <a:lnTo>
                    <a:pt x="31" y="958"/>
                  </a:lnTo>
                  <a:lnTo>
                    <a:pt x="43" y="992"/>
                  </a:lnTo>
                  <a:lnTo>
                    <a:pt x="61" y="989"/>
                  </a:lnTo>
                  <a:lnTo>
                    <a:pt x="61" y="989"/>
                  </a:lnTo>
                  <a:lnTo>
                    <a:pt x="86" y="974"/>
                  </a:lnTo>
                  <a:lnTo>
                    <a:pt x="101" y="992"/>
                  </a:lnTo>
                  <a:lnTo>
                    <a:pt x="132" y="992"/>
                  </a:lnTo>
                  <a:lnTo>
                    <a:pt x="144" y="977"/>
                  </a:lnTo>
                  <a:lnTo>
                    <a:pt x="163" y="974"/>
                  </a:lnTo>
                  <a:lnTo>
                    <a:pt x="163" y="964"/>
                  </a:lnTo>
                  <a:lnTo>
                    <a:pt x="181" y="964"/>
                  </a:lnTo>
                  <a:lnTo>
                    <a:pt x="187" y="971"/>
                  </a:lnTo>
                  <a:lnTo>
                    <a:pt x="187" y="971"/>
                  </a:lnTo>
                  <a:lnTo>
                    <a:pt x="209" y="961"/>
                  </a:lnTo>
                  <a:lnTo>
                    <a:pt x="205" y="949"/>
                  </a:lnTo>
                  <a:lnTo>
                    <a:pt x="233" y="937"/>
                  </a:lnTo>
                  <a:lnTo>
                    <a:pt x="242" y="928"/>
                  </a:lnTo>
                  <a:lnTo>
                    <a:pt x="267" y="931"/>
                  </a:lnTo>
                  <a:lnTo>
                    <a:pt x="267" y="931"/>
                  </a:lnTo>
                  <a:lnTo>
                    <a:pt x="273" y="937"/>
                  </a:lnTo>
                  <a:lnTo>
                    <a:pt x="270" y="955"/>
                  </a:lnTo>
                  <a:lnTo>
                    <a:pt x="273" y="964"/>
                  </a:lnTo>
                  <a:lnTo>
                    <a:pt x="279" y="967"/>
                  </a:lnTo>
                  <a:lnTo>
                    <a:pt x="279" y="958"/>
                  </a:lnTo>
                  <a:lnTo>
                    <a:pt x="291" y="961"/>
                  </a:lnTo>
                  <a:lnTo>
                    <a:pt x="291" y="980"/>
                  </a:lnTo>
                  <a:lnTo>
                    <a:pt x="307" y="1001"/>
                  </a:lnTo>
                  <a:lnTo>
                    <a:pt x="303" y="1016"/>
                  </a:lnTo>
                  <a:lnTo>
                    <a:pt x="328" y="1038"/>
                  </a:lnTo>
                  <a:lnTo>
                    <a:pt x="340" y="1044"/>
                  </a:lnTo>
                  <a:lnTo>
                    <a:pt x="365" y="1041"/>
                  </a:lnTo>
                  <a:lnTo>
                    <a:pt x="365" y="1029"/>
                  </a:lnTo>
                  <a:lnTo>
                    <a:pt x="386" y="1013"/>
                  </a:lnTo>
                  <a:lnTo>
                    <a:pt x="389" y="974"/>
                  </a:lnTo>
                  <a:lnTo>
                    <a:pt x="402" y="971"/>
                  </a:lnTo>
                  <a:lnTo>
                    <a:pt x="414" y="980"/>
                  </a:lnTo>
                  <a:lnTo>
                    <a:pt x="435" y="971"/>
                  </a:lnTo>
                  <a:lnTo>
                    <a:pt x="457" y="937"/>
                  </a:lnTo>
                  <a:lnTo>
                    <a:pt x="457" y="937"/>
                  </a:lnTo>
                  <a:lnTo>
                    <a:pt x="457" y="897"/>
                  </a:lnTo>
                  <a:lnTo>
                    <a:pt x="466" y="897"/>
                  </a:lnTo>
                  <a:lnTo>
                    <a:pt x="466" y="891"/>
                  </a:lnTo>
                  <a:lnTo>
                    <a:pt x="490" y="900"/>
                  </a:lnTo>
                  <a:lnTo>
                    <a:pt x="496" y="891"/>
                  </a:lnTo>
                  <a:lnTo>
                    <a:pt x="487" y="879"/>
                  </a:lnTo>
                  <a:lnTo>
                    <a:pt x="487" y="860"/>
                  </a:lnTo>
                  <a:lnTo>
                    <a:pt x="496" y="854"/>
                  </a:lnTo>
                  <a:lnTo>
                    <a:pt x="490" y="839"/>
                  </a:lnTo>
                  <a:lnTo>
                    <a:pt x="506" y="845"/>
                  </a:lnTo>
                  <a:lnTo>
                    <a:pt x="521" y="836"/>
                  </a:lnTo>
                  <a:lnTo>
                    <a:pt x="533" y="839"/>
                  </a:lnTo>
                  <a:lnTo>
                    <a:pt x="539" y="811"/>
                  </a:lnTo>
                  <a:lnTo>
                    <a:pt x="539" y="811"/>
                  </a:lnTo>
                  <a:lnTo>
                    <a:pt x="521" y="805"/>
                  </a:lnTo>
                  <a:lnTo>
                    <a:pt x="518" y="790"/>
                  </a:lnTo>
                  <a:lnTo>
                    <a:pt x="490" y="808"/>
                  </a:lnTo>
                  <a:lnTo>
                    <a:pt x="484" y="805"/>
                  </a:lnTo>
                  <a:lnTo>
                    <a:pt x="490" y="802"/>
                  </a:lnTo>
                  <a:lnTo>
                    <a:pt x="472" y="802"/>
                  </a:lnTo>
                  <a:lnTo>
                    <a:pt x="463" y="793"/>
                  </a:lnTo>
                  <a:lnTo>
                    <a:pt x="460" y="805"/>
                  </a:lnTo>
                  <a:lnTo>
                    <a:pt x="447" y="790"/>
                  </a:lnTo>
                  <a:lnTo>
                    <a:pt x="435" y="790"/>
                  </a:lnTo>
                  <a:lnTo>
                    <a:pt x="441" y="784"/>
                  </a:lnTo>
                  <a:lnTo>
                    <a:pt x="435" y="787"/>
                  </a:lnTo>
                  <a:lnTo>
                    <a:pt x="432" y="781"/>
                  </a:lnTo>
                  <a:lnTo>
                    <a:pt x="460" y="778"/>
                  </a:lnTo>
                  <a:lnTo>
                    <a:pt x="447" y="762"/>
                  </a:lnTo>
                  <a:lnTo>
                    <a:pt x="451" y="753"/>
                  </a:lnTo>
                  <a:lnTo>
                    <a:pt x="451" y="753"/>
                  </a:lnTo>
                  <a:lnTo>
                    <a:pt x="472" y="753"/>
                  </a:lnTo>
                  <a:lnTo>
                    <a:pt x="478" y="759"/>
                  </a:lnTo>
                  <a:lnTo>
                    <a:pt x="490" y="756"/>
                  </a:lnTo>
                  <a:lnTo>
                    <a:pt x="490" y="744"/>
                  </a:lnTo>
                  <a:lnTo>
                    <a:pt x="475" y="735"/>
                  </a:lnTo>
                  <a:lnTo>
                    <a:pt x="484" y="716"/>
                  </a:lnTo>
                  <a:lnTo>
                    <a:pt x="472" y="707"/>
                  </a:lnTo>
                  <a:lnTo>
                    <a:pt x="481" y="701"/>
                  </a:lnTo>
                  <a:lnTo>
                    <a:pt x="490" y="713"/>
                  </a:lnTo>
                  <a:lnTo>
                    <a:pt x="496" y="695"/>
                  </a:lnTo>
                  <a:lnTo>
                    <a:pt x="484" y="680"/>
                  </a:lnTo>
                  <a:lnTo>
                    <a:pt x="512" y="670"/>
                  </a:lnTo>
                  <a:lnTo>
                    <a:pt x="512" y="658"/>
                  </a:lnTo>
                  <a:lnTo>
                    <a:pt x="524" y="655"/>
                  </a:lnTo>
                  <a:lnTo>
                    <a:pt x="533" y="634"/>
                  </a:lnTo>
                  <a:lnTo>
                    <a:pt x="552" y="634"/>
                  </a:lnTo>
                  <a:lnTo>
                    <a:pt x="558" y="624"/>
                  </a:lnTo>
                  <a:lnTo>
                    <a:pt x="549" y="606"/>
                  </a:lnTo>
                  <a:lnTo>
                    <a:pt x="558" y="597"/>
                  </a:lnTo>
                  <a:lnTo>
                    <a:pt x="555" y="585"/>
                  </a:lnTo>
                  <a:lnTo>
                    <a:pt x="561" y="566"/>
                  </a:lnTo>
                  <a:lnTo>
                    <a:pt x="546" y="557"/>
                  </a:lnTo>
                  <a:lnTo>
                    <a:pt x="552" y="548"/>
                  </a:lnTo>
                  <a:lnTo>
                    <a:pt x="558" y="554"/>
                  </a:lnTo>
                  <a:lnTo>
                    <a:pt x="576" y="545"/>
                  </a:lnTo>
                  <a:lnTo>
                    <a:pt x="588" y="554"/>
                  </a:lnTo>
                  <a:lnTo>
                    <a:pt x="582" y="536"/>
                  </a:lnTo>
                  <a:lnTo>
                    <a:pt x="591" y="523"/>
                  </a:lnTo>
                  <a:lnTo>
                    <a:pt x="591" y="523"/>
                  </a:lnTo>
                  <a:lnTo>
                    <a:pt x="613" y="517"/>
                  </a:lnTo>
                  <a:lnTo>
                    <a:pt x="644" y="533"/>
                  </a:lnTo>
                  <a:lnTo>
                    <a:pt x="656" y="514"/>
                  </a:lnTo>
                  <a:lnTo>
                    <a:pt x="644" y="502"/>
                  </a:lnTo>
                  <a:lnTo>
                    <a:pt x="662" y="499"/>
                  </a:lnTo>
                  <a:lnTo>
                    <a:pt x="659" y="490"/>
                  </a:lnTo>
                  <a:lnTo>
                    <a:pt x="668" y="480"/>
                  </a:lnTo>
                  <a:lnTo>
                    <a:pt x="662" y="471"/>
                  </a:lnTo>
                  <a:lnTo>
                    <a:pt x="668" y="468"/>
                  </a:lnTo>
                  <a:lnTo>
                    <a:pt x="668" y="459"/>
                  </a:lnTo>
                  <a:lnTo>
                    <a:pt x="677" y="447"/>
                  </a:lnTo>
                  <a:lnTo>
                    <a:pt x="683" y="450"/>
                  </a:lnTo>
                  <a:lnTo>
                    <a:pt x="708" y="438"/>
                  </a:lnTo>
                  <a:lnTo>
                    <a:pt x="717" y="441"/>
                  </a:lnTo>
                  <a:lnTo>
                    <a:pt x="726" y="425"/>
                  </a:lnTo>
                  <a:lnTo>
                    <a:pt x="726" y="425"/>
                  </a:lnTo>
                  <a:lnTo>
                    <a:pt x="723" y="422"/>
                  </a:lnTo>
                  <a:lnTo>
                    <a:pt x="732" y="419"/>
                  </a:lnTo>
                  <a:lnTo>
                    <a:pt x="748" y="428"/>
                  </a:lnTo>
                  <a:lnTo>
                    <a:pt x="754" y="419"/>
                  </a:lnTo>
                  <a:lnTo>
                    <a:pt x="760" y="419"/>
                  </a:lnTo>
                  <a:lnTo>
                    <a:pt x="763" y="441"/>
                  </a:lnTo>
                  <a:lnTo>
                    <a:pt x="772" y="441"/>
                  </a:lnTo>
                  <a:lnTo>
                    <a:pt x="806" y="477"/>
                  </a:lnTo>
                  <a:lnTo>
                    <a:pt x="815" y="468"/>
                  </a:lnTo>
                  <a:lnTo>
                    <a:pt x="812" y="450"/>
                  </a:lnTo>
                  <a:lnTo>
                    <a:pt x="818" y="435"/>
                  </a:lnTo>
                  <a:lnTo>
                    <a:pt x="824" y="435"/>
                  </a:lnTo>
                  <a:lnTo>
                    <a:pt x="818" y="431"/>
                  </a:lnTo>
                  <a:lnTo>
                    <a:pt x="852" y="428"/>
                  </a:lnTo>
                  <a:lnTo>
                    <a:pt x="861" y="441"/>
                  </a:lnTo>
                  <a:lnTo>
                    <a:pt x="876" y="425"/>
                  </a:lnTo>
                  <a:lnTo>
                    <a:pt x="907" y="431"/>
                  </a:lnTo>
                  <a:lnTo>
                    <a:pt x="919" y="425"/>
                  </a:lnTo>
                  <a:lnTo>
                    <a:pt x="925" y="413"/>
                  </a:lnTo>
                  <a:lnTo>
                    <a:pt x="935" y="416"/>
                  </a:lnTo>
                  <a:lnTo>
                    <a:pt x="928" y="404"/>
                  </a:lnTo>
                  <a:lnTo>
                    <a:pt x="941" y="398"/>
                  </a:lnTo>
                  <a:lnTo>
                    <a:pt x="938" y="392"/>
                  </a:lnTo>
                  <a:lnTo>
                    <a:pt x="956" y="389"/>
                  </a:lnTo>
                  <a:lnTo>
                    <a:pt x="950" y="382"/>
                  </a:lnTo>
                  <a:lnTo>
                    <a:pt x="962" y="376"/>
                  </a:lnTo>
                  <a:lnTo>
                    <a:pt x="974" y="358"/>
                  </a:lnTo>
                  <a:lnTo>
                    <a:pt x="938" y="315"/>
                  </a:lnTo>
                  <a:lnTo>
                    <a:pt x="953" y="294"/>
                  </a:lnTo>
                  <a:lnTo>
                    <a:pt x="944" y="284"/>
                  </a:lnTo>
                  <a:lnTo>
                    <a:pt x="956" y="251"/>
                  </a:lnTo>
                  <a:lnTo>
                    <a:pt x="950" y="242"/>
                  </a:lnTo>
                  <a:lnTo>
                    <a:pt x="953" y="229"/>
                  </a:lnTo>
                  <a:lnTo>
                    <a:pt x="947" y="223"/>
                  </a:lnTo>
                  <a:lnTo>
                    <a:pt x="956" y="193"/>
                  </a:lnTo>
                  <a:lnTo>
                    <a:pt x="944" y="196"/>
                  </a:lnTo>
                  <a:lnTo>
                    <a:pt x="935" y="183"/>
                  </a:lnTo>
                  <a:lnTo>
                    <a:pt x="925" y="196"/>
                  </a:lnTo>
                  <a:lnTo>
                    <a:pt x="925" y="180"/>
                  </a:lnTo>
                  <a:lnTo>
                    <a:pt x="916" y="183"/>
                  </a:lnTo>
                  <a:lnTo>
                    <a:pt x="922" y="150"/>
                  </a:lnTo>
                  <a:lnTo>
                    <a:pt x="907" y="122"/>
                  </a:lnTo>
                  <a:lnTo>
                    <a:pt x="925" y="110"/>
                  </a:lnTo>
                  <a:lnTo>
                    <a:pt x="925" y="92"/>
                  </a:lnTo>
                  <a:lnTo>
                    <a:pt x="935" y="85"/>
                  </a:lnTo>
                  <a:lnTo>
                    <a:pt x="935" y="85"/>
                  </a:lnTo>
                  <a:lnTo>
                    <a:pt x="928" y="61"/>
                  </a:lnTo>
                  <a:lnTo>
                    <a:pt x="922" y="55"/>
                  </a:lnTo>
                  <a:lnTo>
                    <a:pt x="907" y="64"/>
                  </a:lnTo>
                  <a:lnTo>
                    <a:pt x="907" y="49"/>
                  </a:lnTo>
                  <a:lnTo>
                    <a:pt x="907" y="49"/>
                  </a:lnTo>
                  <a:lnTo>
                    <a:pt x="904" y="55"/>
                  </a:lnTo>
                  <a:lnTo>
                    <a:pt x="882" y="52"/>
                  </a:lnTo>
                  <a:lnTo>
                    <a:pt x="867" y="55"/>
                  </a:lnTo>
                  <a:lnTo>
                    <a:pt x="840" y="46"/>
                  </a:lnTo>
                  <a:lnTo>
                    <a:pt x="843" y="30"/>
                  </a:lnTo>
                  <a:lnTo>
                    <a:pt x="818" y="18"/>
                  </a:lnTo>
                  <a:lnTo>
                    <a:pt x="809" y="21"/>
                  </a:lnTo>
                  <a:lnTo>
                    <a:pt x="803" y="9"/>
                  </a:lnTo>
                  <a:lnTo>
                    <a:pt x="794" y="9"/>
                  </a:lnTo>
                  <a:lnTo>
                    <a:pt x="797" y="0"/>
                  </a:lnTo>
                  <a:lnTo>
                    <a:pt x="784" y="0"/>
                  </a:lnTo>
                  <a:lnTo>
                    <a:pt x="778" y="15"/>
                  </a:lnTo>
                  <a:lnTo>
                    <a:pt x="766" y="15"/>
                  </a:lnTo>
                  <a:lnTo>
                    <a:pt x="766" y="36"/>
                  </a:lnTo>
                  <a:lnTo>
                    <a:pt x="745" y="52"/>
                  </a:lnTo>
                  <a:lnTo>
                    <a:pt x="751" y="61"/>
                  </a:lnTo>
                  <a:lnTo>
                    <a:pt x="745" y="82"/>
                  </a:lnTo>
                  <a:lnTo>
                    <a:pt x="757" y="88"/>
                  </a:lnTo>
                  <a:lnTo>
                    <a:pt x="757" y="98"/>
                  </a:lnTo>
                  <a:lnTo>
                    <a:pt x="739" y="113"/>
                  </a:lnTo>
                  <a:lnTo>
                    <a:pt x="726" y="110"/>
                  </a:lnTo>
                  <a:lnTo>
                    <a:pt x="723" y="119"/>
                  </a:lnTo>
                  <a:lnTo>
                    <a:pt x="711" y="119"/>
                  </a:lnTo>
                  <a:lnTo>
                    <a:pt x="711" y="119"/>
                  </a:lnTo>
                  <a:lnTo>
                    <a:pt x="693" y="110"/>
                  </a:lnTo>
                  <a:lnTo>
                    <a:pt x="650" y="122"/>
                  </a:lnTo>
                  <a:lnTo>
                    <a:pt x="650" y="128"/>
                  </a:lnTo>
                  <a:lnTo>
                    <a:pt x="625" y="125"/>
                  </a:lnTo>
                  <a:lnTo>
                    <a:pt x="619" y="131"/>
                  </a:lnTo>
                  <a:lnTo>
                    <a:pt x="634" y="156"/>
                  </a:lnTo>
                  <a:lnTo>
                    <a:pt x="588" y="168"/>
                  </a:lnTo>
                  <a:lnTo>
                    <a:pt x="567" y="183"/>
                  </a:lnTo>
                  <a:lnTo>
                    <a:pt x="542" y="180"/>
                  </a:lnTo>
                  <a:lnTo>
                    <a:pt x="521" y="186"/>
                  </a:lnTo>
                  <a:lnTo>
                    <a:pt x="521" y="190"/>
                  </a:lnTo>
                  <a:lnTo>
                    <a:pt x="515" y="183"/>
                  </a:lnTo>
                  <a:lnTo>
                    <a:pt x="496" y="202"/>
                  </a:lnTo>
                  <a:lnTo>
                    <a:pt x="496" y="202"/>
                  </a:lnTo>
                  <a:lnTo>
                    <a:pt x="496" y="211"/>
                  </a:lnTo>
                  <a:lnTo>
                    <a:pt x="478" y="202"/>
                  </a:lnTo>
                  <a:lnTo>
                    <a:pt x="469" y="208"/>
                  </a:lnTo>
                  <a:lnTo>
                    <a:pt x="454" y="193"/>
                  </a:lnTo>
                  <a:lnTo>
                    <a:pt x="432" y="196"/>
                  </a:lnTo>
                  <a:lnTo>
                    <a:pt x="432" y="196"/>
                  </a:lnTo>
                  <a:lnTo>
                    <a:pt x="429" y="190"/>
                  </a:lnTo>
                  <a:lnTo>
                    <a:pt x="435" y="180"/>
                  </a:lnTo>
                  <a:lnTo>
                    <a:pt x="429" y="174"/>
                  </a:lnTo>
                  <a:lnTo>
                    <a:pt x="398" y="174"/>
                  </a:lnTo>
                  <a:lnTo>
                    <a:pt x="377" y="159"/>
                  </a:lnTo>
                  <a:lnTo>
                    <a:pt x="368" y="171"/>
                  </a:lnTo>
                  <a:lnTo>
                    <a:pt x="359" y="171"/>
                  </a:lnTo>
                  <a:lnTo>
                    <a:pt x="359" y="171"/>
                  </a:lnTo>
                  <a:lnTo>
                    <a:pt x="352" y="162"/>
                  </a:lnTo>
                  <a:lnTo>
                    <a:pt x="359" y="159"/>
                  </a:lnTo>
                  <a:lnTo>
                    <a:pt x="346" y="156"/>
                  </a:lnTo>
                  <a:lnTo>
                    <a:pt x="343" y="144"/>
                  </a:lnTo>
                  <a:lnTo>
                    <a:pt x="328" y="150"/>
                  </a:lnTo>
                  <a:lnTo>
                    <a:pt x="313" y="125"/>
                  </a:lnTo>
                  <a:lnTo>
                    <a:pt x="313" y="125"/>
                  </a:lnTo>
                  <a:lnTo>
                    <a:pt x="294" y="122"/>
                  </a:lnTo>
                  <a:lnTo>
                    <a:pt x="285" y="128"/>
                  </a:lnTo>
                  <a:lnTo>
                    <a:pt x="288" y="116"/>
                  </a:lnTo>
                  <a:lnTo>
                    <a:pt x="279" y="113"/>
                  </a:lnTo>
                  <a:lnTo>
                    <a:pt x="279" y="125"/>
                  </a:lnTo>
                  <a:lnTo>
                    <a:pt x="276" y="110"/>
                  </a:lnTo>
                  <a:lnTo>
                    <a:pt x="270" y="119"/>
                  </a:lnTo>
                  <a:lnTo>
                    <a:pt x="215" y="128"/>
                  </a:lnTo>
                  <a:lnTo>
                    <a:pt x="212" y="153"/>
                  </a:lnTo>
                  <a:lnTo>
                    <a:pt x="181" y="165"/>
                  </a:lnTo>
                  <a:lnTo>
                    <a:pt x="187" y="186"/>
                  </a:lnTo>
                  <a:lnTo>
                    <a:pt x="178" y="199"/>
                  </a:lnTo>
                  <a:lnTo>
                    <a:pt x="159" y="196"/>
                  </a:lnTo>
                  <a:lnTo>
                    <a:pt x="159" y="202"/>
                  </a:lnTo>
                  <a:lnTo>
                    <a:pt x="144" y="208"/>
                  </a:lnTo>
                  <a:lnTo>
                    <a:pt x="144" y="208"/>
                  </a:lnTo>
                  <a:lnTo>
                    <a:pt x="132" y="199"/>
                  </a:lnTo>
                  <a:lnTo>
                    <a:pt x="110" y="211"/>
                  </a:lnTo>
                  <a:lnTo>
                    <a:pt x="101" y="205"/>
                  </a:lnTo>
                  <a:lnTo>
                    <a:pt x="80" y="229"/>
                  </a:lnTo>
                  <a:lnTo>
                    <a:pt x="52" y="226"/>
                  </a:lnTo>
                  <a:lnTo>
                    <a:pt x="55" y="245"/>
                  </a:lnTo>
                  <a:lnTo>
                    <a:pt x="86" y="260"/>
                  </a:lnTo>
                  <a:lnTo>
                    <a:pt x="92" y="278"/>
                  </a:lnTo>
                  <a:lnTo>
                    <a:pt x="86" y="315"/>
                  </a:lnTo>
                  <a:lnTo>
                    <a:pt x="101" y="324"/>
                  </a:lnTo>
                  <a:lnTo>
                    <a:pt x="77" y="343"/>
                  </a:lnTo>
                  <a:lnTo>
                    <a:pt x="77" y="352"/>
                  </a:lnTo>
                  <a:lnTo>
                    <a:pt x="77" y="352"/>
                  </a:lnTo>
                  <a:lnTo>
                    <a:pt x="43" y="346"/>
                  </a:lnTo>
                  <a:lnTo>
                    <a:pt x="28" y="367"/>
                  </a:lnTo>
                  <a:lnTo>
                    <a:pt x="6" y="370"/>
                  </a:lnTo>
                  <a:lnTo>
                    <a:pt x="6" y="370"/>
                  </a:lnTo>
                  <a:lnTo>
                    <a:pt x="0" y="389"/>
                  </a:lnTo>
                  <a:lnTo>
                    <a:pt x="22" y="419"/>
                  </a:lnTo>
                  <a:lnTo>
                    <a:pt x="16" y="431"/>
                  </a:lnTo>
                  <a:lnTo>
                    <a:pt x="55" y="493"/>
                  </a:lnTo>
                  <a:lnTo>
                    <a:pt x="86" y="496"/>
                  </a:lnTo>
                  <a:lnTo>
                    <a:pt x="92" y="511"/>
                  </a:lnTo>
                  <a:lnTo>
                    <a:pt x="114" y="520"/>
                  </a:lnTo>
                  <a:lnTo>
                    <a:pt x="117" y="536"/>
                  </a:lnTo>
                  <a:lnTo>
                    <a:pt x="92" y="545"/>
                  </a:lnTo>
                  <a:lnTo>
                    <a:pt x="89" y="554"/>
                  </a:lnTo>
                  <a:lnTo>
                    <a:pt x="107" y="591"/>
                  </a:lnTo>
                  <a:lnTo>
                    <a:pt x="132" y="585"/>
                  </a:lnTo>
                  <a:lnTo>
                    <a:pt x="153" y="594"/>
                  </a:lnTo>
                  <a:lnTo>
                    <a:pt x="153" y="594"/>
                  </a:lnTo>
                  <a:lnTo>
                    <a:pt x="138" y="631"/>
                  </a:lnTo>
                  <a:lnTo>
                    <a:pt x="107" y="661"/>
                  </a:lnTo>
                  <a:lnTo>
                    <a:pt x="120" y="670"/>
                  </a:lnTo>
                  <a:lnTo>
                    <a:pt x="147" y="661"/>
                  </a:lnTo>
                  <a:lnTo>
                    <a:pt x="156" y="686"/>
                  </a:lnTo>
                  <a:lnTo>
                    <a:pt x="156" y="686"/>
                  </a:lnTo>
                  <a:lnTo>
                    <a:pt x="138" y="710"/>
                  </a:lnTo>
                  <a:lnTo>
                    <a:pt x="144" y="719"/>
                  </a:lnTo>
                  <a:lnTo>
                    <a:pt x="135" y="722"/>
                  </a:lnTo>
                  <a:lnTo>
                    <a:pt x="135" y="732"/>
                  </a:lnTo>
                  <a:lnTo>
                    <a:pt x="98" y="735"/>
                  </a:lnTo>
                  <a:lnTo>
                    <a:pt x="98" y="735"/>
                  </a:lnTo>
                  <a:lnTo>
                    <a:pt x="104" y="753"/>
                  </a:lnTo>
                  <a:lnTo>
                    <a:pt x="86" y="771"/>
                  </a:lnTo>
                  <a:lnTo>
                    <a:pt x="86" y="790"/>
                  </a:lnTo>
                  <a:lnTo>
                    <a:pt x="61" y="811"/>
                  </a:lnTo>
                  <a:lnTo>
                    <a:pt x="40" y="802"/>
                  </a:lnTo>
                  <a:lnTo>
                    <a:pt x="6" y="836"/>
                  </a:lnTo>
                  <a:lnTo>
                    <a:pt x="16" y="857"/>
                  </a:lnTo>
                  <a:lnTo>
                    <a:pt x="6" y="876"/>
                  </a:lnTo>
                  <a:lnTo>
                    <a:pt x="6" y="876"/>
                  </a:lnTo>
                  <a:lnTo>
                    <a:pt x="3" y="885"/>
                  </a:lnTo>
                  <a:lnTo>
                    <a:pt x="12" y="906"/>
                  </a:lnTo>
                  <a:lnTo>
                    <a:pt x="3" y="92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27" name="Freeform 43"/>
            <p:cNvSpPr>
              <a:spLocks/>
            </p:cNvSpPr>
            <p:nvPr/>
          </p:nvSpPr>
          <p:spPr bwMode="gray">
            <a:xfrm>
              <a:off x="1839" y="1663"/>
              <a:ext cx="646" cy="735"/>
            </a:xfrm>
            <a:custGeom>
              <a:avLst/>
              <a:gdLst>
                <a:gd name="T0" fmla="*/ 257 w 646"/>
                <a:gd name="T1" fmla="*/ 135 h 735"/>
                <a:gd name="T2" fmla="*/ 196 w 646"/>
                <a:gd name="T3" fmla="*/ 159 h 735"/>
                <a:gd name="T4" fmla="*/ 190 w 646"/>
                <a:gd name="T5" fmla="*/ 196 h 735"/>
                <a:gd name="T6" fmla="*/ 245 w 646"/>
                <a:gd name="T7" fmla="*/ 202 h 735"/>
                <a:gd name="T8" fmla="*/ 251 w 646"/>
                <a:gd name="T9" fmla="*/ 263 h 735"/>
                <a:gd name="T10" fmla="*/ 211 w 646"/>
                <a:gd name="T11" fmla="*/ 325 h 735"/>
                <a:gd name="T12" fmla="*/ 172 w 646"/>
                <a:gd name="T13" fmla="*/ 346 h 735"/>
                <a:gd name="T14" fmla="*/ 205 w 646"/>
                <a:gd name="T15" fmla="*/ 380 h 735"/>
                <a:gd name="T16" fmla="*/ 120 w 646"/>
                <a:gd name="T17" fmla="*/ 420 h 735"/>
                <a:gd name="T18" fmla="*/ 83 w 646"/>
                <a:gd name="T19" fmla="*/ 420 h 735"/>
                <a:gd name="T20" fmla="*/ 52 w 646"/>
                <a:gd name="T21" fmla="*/ 401 h 735"/>
                <a:gd name="T22" fmla="*/ 49 w 646"/>
                <a:gd name="T23" fmla="*/ 423 h 735"/>
                <a:gd name="T24" fmla="*/ 3 w 646"/>
                <a:gd name="T25" fmla="*/ 423 h 735"/>
                <a:gd name="T26" fmla="*/ 0 w 646"/>
                <a:gd name="T27" fmla="*/ 456 h 735"/>
                <a:gd name="T28" fmla="*/ 37 w 646"/>
                <a:gd name="T29" fmla="*/ 490 h 735"/>
                <a:gd name="T30" fmla="*/ 55 w 646"/>
                <a:gd name="T31" fmla="*/ 597 h 735"/>
                <a:gd name="T32" fmla="*/ 22 w 646"/>
                <a:gd name="T33" fmla="*/ 668 h 735"/>
                <a:gd name="T34" fmla="*/ 40 w 646"/>
                <a:gd name="T35" fmla="*/ 677 h 735"/>
                <a:gd name="T36" fmla="*/ 67 w 646"/>
                <a:gd name="T37" fmla="*/ 720 h 735"/>
                <a:gd name="T38" fmla="*/ 110 w 646"/>
                <a:gd name="T39" fmla="*/ 720 h 735"/>
                <a:gd name="T40" fmla="*/ 132 w 646"/>
                <a:gd name="T41" fmla="*/ 726 h 735"/>
                <a:gd name="T42" fmla="*/ 175 w 646"/>
                <a:gd name="T43" fmla="*/ 711 h 735"/>
                <a:gd name="T44" fmla="*/ 199 w 646"/>
                <a:gd name="T45" fmla="*/ 704 h 735"/>
                <a:gd name="T46" fmla="*/ 208 w 646"/>
                <a:gd name="T47" fmla="*/ 711 h 735"/>
                <a:gd name="T48" fmla="*/ 230 w 646"/>
                <a:gd name="T49" fmla="*/ 701 h 735"/>
                <a:gd name="T50" fmla="*/ 267 w 646"/>
                <a:gd name="T51" fmla="*/ 714 h 735"/>
                <a:gd name="T52" fmla="*/ 313 w 646"/>
                <a:gd name="T53" fmla="*/ 701 h 735"/>
                <a:gd name="T54" fmla="*/ 325 w 646"/>
                <a:gd name="T55" fmla="*/ 683 h 735"/>
                <a:gd name="T56" fmla="*/ 331 w 646"/>
                <a:gd name="T57" fmla="*/ 671 h 735"/>
                <a:gd name="T58" fmla="*/ 325 w 646"/>
                <a:gd name="T59" fmla="*/ 649 h 735"/>
                <a:gd name="T60" fmla="*/ 294 w 646"/>
                <a:gd name="T61" fmla="*/ 628 h 735"/>
                <a:gd name="T62" fmla="*/ 294 w 646"/>
                <a:gd name="T63" fmla="*/ 588 h 735"/>
                <a:gd name="T64" fmla="*/ 319 w 646"/>
                <a:gd name="T65" fmla="*/ 560 h 735"/>
                <a:gd name="T66" fmla="*/ 362 w 646"/>
                <a:gd name="T67" fmla="*/ 570 h 735"/>
                <a:gd name="T68" fmla="*/ 374 w 646"/>
                <a:gd name="T69" fmla="*/ 554 h 735"/>
                <a:gd name="T70" fmla="*/ 371 w 646"/>
                <a:gd name="T71" fmla="*/ 511 h 735"/>
                <a:gd name="T72" fmla="*/ 343 w 646"/>
                <a:gd name="T73" fmla="*/ 505 h 735"/>
                <a:gd name="T74" fmla="*/ 303 w 646"/>
                <a:gd name="T75" fmla="*/ 462 h 735"/>
                <a:gd name="T76" fmla="*/ 340 w 646"/>
                <a:gd name="T77" fmla="*/ 435 h 735"/>
                <a:gd name="T78" fmla="*/ 377 w 646"/>
                <a:gd name="T79" fmla="*/ 432 h 735"/>
                <a:gd name="T80" fmla="*/ 417 w 646"/>
                <a:gd name="T81" fmla="*/ 475 h 735"/>
                <a:gd name="T82" fmla="*/ 441 w 646"/>
                <a:gd name="T83" fmla="*/ 447 h 735"/>
                <a:gd name="T84" fmla="*/ 475 w 646"/>
                <a:gd name="T85" fmla="*/ 404 h 735"/>
                <a:gd name="T86" fmla="*/ 487 w 646"/>
                <a:gd name="T87" fmla="*/ 371 h 735"/>
                <a:gd name="T88" fmla="*/ 515 w 646"/>
                <a:gd name="T89" fmla="*/ 349 h 735"/>
                <a:gd name="T90" fmla="*/ 564 w 646"/>
                <a:gd name="T91" fmla="*/ 334 h 735"/>
                <a:gd name="T92" fmla="*/ 573 w 646"/>
                <a:gd name="T93" fmla="*/ 297 h 735"/>
                <a:gd name="T94" fmla="*/ 542 w 646"/>
                <a:gd name="T95" fmla="*/ 227 h 735"/>
                <a:gd name="T96" fmla="*/ 588 w 646"/>
                <a:gd name="T97" fmla="*/ 187 h 735"/>
                <a:gd name="T98" fmla="*/ 631 w 646"/>
                <a:gd name="T99" fmla="*/ 190 h 735"/>
                <a:gd name="T100" fmla="*/ 646 w 646"/>
                <a:gd name="T101" fmla="*/ 178 h 735"/>
                <a:gd name="T102" fmla="*/ 610 w 646"/>
                <a:gd name="T103" fmla="*/ 156 h 735"/>
                <a:gd name="T104" fmla="*/ 613 w 646"/>
                <a:gd name="T105" fmla="*/ 123 h 735"/>
                <a:gd name="T106" fmla="*/ 591 w 646"/>
                <a:gd name="T107" fmla="*/ 89 h 735"/>
                <a:gd name="T108" fmla="*/ 564 w 646"/>
                <a:gd name="T109" fmla="*/ 70 h 735"/>
                <a:gd name="T110" fmla="*/ 548 w 646"/>
                <a:gd name="T111" fmla="*/ 49 h 735"/>
                <a:gd name="T112" fmla="*/ 503 w 646"/>
                <a:gd name="T113" fmla="*/ 31 h 735"/>
                <a:gd name="T114" fmla="*/ 460 w 646"/>
                <a:gd name="T115" fmla="*/ 31 h 735"/>
                <a:gd name="T116" fmla="*/ 420 w 646"/>
                <a:gd name="T117" fmla="*/ 25 h 735"/>
                <a:gd name="T118" fmla="*/ 395 w 646"/>
                <a:gd name="T119" fmla="*/ 46 h 735"/>
                <a:gd name="T120" fmla="*/ 380 w 646"/>
                <a:gd name="T121" fmla="*/ 34 h 735"/>
                <a:gd name="T122" fmla="*/ 343 w 646"/>
                <a:gd name="T123" fmla="*/ 46 h 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46" h="735">
                  <a:moveTo>
                    <a:pt x="285" y="34"/>
                  </a:moveTo>
                  <a:lnTo>
                    <a:pt x="270" y="58"/>
                  </a:lnTo>
                  <a:lnTo>
                    <a:pt x="257" y="135"/>
                  </a:lnTo>
                  <a:lnTo>
                    <a:pt x="193" y="129"/>
                  </a:lnTo>
                  <a:lnTo>
                    <a:pt x="184" y="138"/>
                  </a:lnTo>
                  <a:lnTo>
                    <a:pt x="196" y="159"/>
                  </a:lnTo>
                  <a:lnTo>
                    <a:pt x="175" y="162"/>
                  </a:lnTo>
                  <a:lnTo>
                    <a:pt x="181" y="190"/>
                  </a:lnTo>
                  <a:lnTo>
                    <a:pt x="190" y="196"/>
                  </a:lnTo>
                  <a:lnTo>
                    <a:pt x="233" y="208"/>
                  </a:lnTo>
                  <a:lnTo>
                    <a:pt x="242" y="199"/>
                  </a:lnTo>
                  <a:lnTo>
                    <a:pt x="245" y="202"/>
                  </a:lnTo>
                  <a:lnTo>
                    <a:pt x="245" y="202"/>
                  </a:lnTo>
                  <a:lnTo>
                    <a:pt x="264" y="233"/>
                  </a:lnTo>
                  <a:lnTo>
                    <a:pt x="251" y="263"/>
                  </a:lnTo>
                  <a:lnTo>
                    <a:pt x="257" y="285"/>
                  </a:lnTo>
                  <a:lnTo>
                    <a:pt x="242" y="288"/>
                  </a:lnTo>
                  <a:lnTo>
                    <a:pt x="211" y="325"/>
                  </a:lnTo>
                  <a:lnTo>
                    <a:pt x="190" y="325"/>
                  </a:lnTo>
                  <a:lnTo>
                    <a:pt x="187" y="337"/>
                  </a:lnTo>
                  <a:lnTo>
                    <a:pt x="172" y="346"/>
                  </a:lnTo>
                  <a:lnTo>
                    <a:pt x="202" y="371"/>
                  </a:lnTo>
                  <a:lnTo>
                    <a:pt x="202" y="371"/>
                  </a:lnTo>
                  <a:lnTo>
                    <a:pt x="205" y="380"/>
                  </a:lnTo>
                  <a:lnTo>
                    <a:pt x="178" y="407"/>
                  </a:lnTo>
                  <a:lnTo>
                    <a:pt x="169" y="398"/>
                  </a:lnTo>
                  <a:lnTo>
                    <a:pt x="120" y="420"/>
                  </a:lnTo>
                  <a:lnTo>
                    <a:pt x="101" y="413"/>
                  </a:lnTo>
                  <a:lnTo>
                    <a:pt x="104" y="429"/>
                  </a:lnTo>
                  <a:lnTo>
                    <a:pt x="83" y="420"/>
                  </a:lnTo>
                  <a:lnTo>
                    <a:pt x="77" y="410"/>
                  </a:lnTo>
                  <a:lnTo>
                    <a:pt x="61" y="413"/>
                  </a:lnTo>
                  <a:lnTo>
                    <a:pt x="52" y="401"/>
                  </a:lnTo>
                  <a:lnTo>
                    <a:pt x="40" y="398"/>
                  </a:lnTo>
                  <a:lnTo>
                    <a:pt x="49" y="423"/>
                  </a:lnTo>
                  <a:lnTo>
                    <a:pt x="49" y="423"/>
                  </a:lnTo>
                  <a:lnTo>
                    <a:pt x="28" y="413"/>
                  </a:lnTo>
                  <a:lnTo>
                    <a:pt x="12" y="423"/>
                  </a:lnTo>
                  <a:lnTo>
                    <a:pt x="3" y="423"/>
                  </a:lnTo>
                  <a:lnTo>
                    <a:pt x="0" y="429"/>
                  </a:lnTo>
                  <a:lnTo>
                    <a:pt x="9" y="447"/>
                  </a:lnTo>
                  <a:lnTo>
                    <a:pt x="0" y="456"/>
                  </a:lnTo>
                  <a:lnTo>
                    <a:pt x="22" y="466"/>
                  </a:lnTo>
                  <a:lnTo>
                    <a:pt x="18" y="484"/>
                  </a:lnTo>
                  <a:lnTo>
                    <a:pt x="37" y="490"/>
                  </a:lnTo>
                  <a:lnTo>
                    <a:pt x="31" y="508"/>
                  </a:lnTo>
                  <a:lnTo>
                    <a:pt x="55" y="545"/>
                  </a:lnTo>
                  <a:lnTo>
                    <a:pt x="55" y="597"/>
                  </a:lnTo>
                  <a:lnTo>
                    <a:pt x="55" y="597"/>
                  </a:lnTo>
                  <a:lnTo>
                    <a:pt x="18" y="643"/>
                  </a:lnTo>
                  <a:lnTo>
                    <a:pt x="22" y="668"/>
                  </a:lnTo>
                  <a:lnTo>
                    <a:pt x="43" y="665"/>
                  </a:lnTo>
                  <a:lnTo>
                    <a:pt x="34" y="668"/>
                  </a:lnTo>
                  <a:lnTo>
                    <a:pt x="40" y="677"/>
                  </a:lnTo>
                  <a:lnTo>
                    <a:pt x="18" y="683"/>
                  </a:lnTo>
                  <a:lnTo>
                    <a:pt x="55" y="735"/>
                  </a:lnTo>
                  <a:lnTo>
                    <a:pt x="67" y="720"/>
                  </a:lnTo>
                  <a:lnTo>
                    <a:pt x="74" y="726"/>
                  </a:lnTo>
                  <a:lnTo>
                    <a:pt x="86" y="720"/>
                  </a:lnTo>
                  <a:lnTo>
                    <a:pt x="110" y="720"/>
                  </a:lnTo>
                  <a:lnTo>
                    <a:pt x="110" y="720"/>
                  </a:lnTo>
                  <a:lnTo>
                    <a:pt x="126" y="711"/>
                  </a:lnTo>
                  <a:lnTo>
                    <a:pt x="132" y="726"/>
                  </a:lnTo>
                  <a:lnTo>
                    <a:pt x="166" y="729"/>
                  </a:lnTo>
                  <a:lnTo>
                    <a:pt x="178" y="720"/>
                  </a:lnTo>
                  <a:lnTo>
                    <a:pt x="175" y="711"/>
                  </a:lnTo>
                  <a:lnTo>
                    <a:pt x="190" y="717"/>
                  </a:lnTo>
                  <a:lnTo>
                    <a:pt x="199" y="704"/>
                  </a:lnTo>
                  <a:lnTo>
                    <a:pt x="199" y="704"/>
                  </a:lnTo>
                  <a:lnTo>
                    <a:pt x="199" y="708"/>
                  </a:lnTo>
                  <a:lnTo>
                    <a:pt x="208" y="711"/>
                  </a:lnTo>
                  <a:lnTo>
                    <a:pt x="208" y="711"/>
                  </a:lnTo>
                  <a:lnTo>
                    <a:pt x="215" y="704"/>
                  </a:lnTo>
                  <a:lnTo>
                    <a:pt x="227" y="711"/>
                  </a:lnTo>
                  <a:lnTo>
                    <a:pt x="230" y="701"/>
                  </a:lnTo>
                  <a:lnTo>
                    <a:pt x="230" y="701"/>
                  </a:lnTo>
                  <a:lnTo>
                    <a:pt x="270" y="692"/>
                  </a:lnTo>
                  <a:lnTo>
                    <a:pt x="267" y="714"/>
                  </a:lnTo>
                  <a:lnTo>
                    <a:pt x="288" y="711"/>
                  </a:lnTo>
                  <a:lnTo>
                    <a:pt x="303" y="698"/>
                  </a:lnTo>
                  <a:lnTo>
                    <a:pt x="313" y="701"/>
                  </a:lnTo>
                  <a:lnTo>
                    <a:pt x="306" y="692"/>
                  </a:lnTo>
                  <a:lnTo>
                    <a:pt x="319" y="692"/>
                  </a:lnTo>
                  <a:lnTo>
                    <a:pt x="325" y="683"/>
                  </a:lnTo>
                  <a:lnTo>
                    <a:pt x="322" y="677"/>
                  </a:lnTo>
                  <a:lnTo>
                    <a:pt x="331" y="671"/>
                  </a:lnTo>
                  <a:lnTo>
                    <a:pt x="331" y="671"/>
                  </a:lnTo>
                  <a:lnTo>
                    <a:pt x="334" y="658"/>
                  </a:lnTo>
                  <a:lnTo>
                    <a:pt x="328" y="658"/>
                  </a:lnTo>
                  <a:lnTo>
                    <a:pt x="325" y="649"/>
                  </a:lnTo>
                  <a:lnTo>
                    <a:pt x="306" y="652"/>
                  </a:lnTo>
                  <a:lnTo>
                    <a:pt x="294" y="628"/>
                  </a:lnTo>
                  <a:lnTo>
                    <a:pt x="294" y="628"/>
                  </a:lnTo>
                  <a:lnTo>
                    <a:pt x="310" y="619"/>
                  </a:lnTo>
                  <a:lnTo>
                    <a:pt x="294" y="588"/>
                  </a:lnTo>
                  <a:lnTo>
                    <a:pt x="294" y="588"/>
                  </a:lnTo>
                  <a:lnTo>
                    <a:pt x="303" y="573"/>
                  </a:lnTo>
                  <a:lnTo>
                    <a:pt x="316" y="573"/>
                  </a:lnTo>
                  <a:lnTo>
                    <a:pt x="319" y="560"/>
                  </a:lnTo>
                  <a:lnTo>
                    <a:pt x="343" y="588"/>
                  </a:lnTo>
                  <a:lnTo>
                    <a:pt x="355" y="588"/>
                  </a:lnTo>
                  <a:lnTo>
                    <a:pt x="362" y="570"/>
                  </a:lnTo>
                  <a:lnTo>
                    <a:pt x="377" y="567"/>
                  </a:lnTo>
                  <a:lnTo>
                    <a:pt x="377" y="567"/>
                  </a:lnTo>
                  <a:lnTo>
                    <a:pt x="374" y="554"/>
                  </a:lnTo>
                  <a:lnTo>
                    <a:pt x="383" y="548"/>
                  </a:lnTo>
                  <a:lnTo>
                    <a:pt x="368" y="518"/>
                  </a:lnTo>
                  <a:lnTo>
                    <a:pt x="371" y="511"/>
                  </a:lnTo>
                  <a:lnTo>
                    <a:pt x="362" y="502"/>
                  </a:lnTo>
                  <a:lnTo>
                    <a:pt x="343" y="505"/>
                  </a:lnTo>
                  <a:lnTo>
                    <a:pt x="343" y="505"/>
                  </a:lnTo>
                  <a:lnTo>
                    <a:pt x="306" y="481"/>
                  </a:lnTo>
                  <a:lnTo>
                    <a:pt x="313" y="469"/>
                  </a:lnTo>
                  <a:lnTo>
                    <a:pt x="303" y="462"/>
                  </a:lnTo>
                  <a:lnTo>
                    <a:pt x="303" y="453"/>
                  </a:lnTo>
                  <a:lnTo>
                    <a:pt x="303" y="453"/>
                  </a:lnTo>
                  <a:lnTo>
                    <a:pt x="340" y="435"/>
                  </a:lnTo>
                  <a:lnTo>
                    <a:pt x="359" y="438"/>
                  </a:lnTo>
                  <a:lnTo>
                    <a:pt x="368" y="456"/>
                  </a:lnTo>
                  <a:lnTo>
                    <a:pt x="377" y="432"/>
                  </a:lnTo>
                  <a:lnTo>
                    <a:pt x="392" y="441"/>
                  </a:lnTo>
                  <a:lnTo>
                    <a:pt x="401" y="466"/>
                  </a:lnTo>
                  <a:lnTo>
                    <a:pt x="417" y="475"/>
                  </a:lnTo>
                  <a:lnTo>
                    <a:pt x="426" y="466"/>
                  </a:lnTo>
                  <a:lnTo>
                    <a:pt x="423" y="441"/>
                  </a:lnTo>
                  <a:lnTo>
                    <a:pt x="441" y="447"/>
                  </a:lnTo>
                  <a:lnTo>
                    <a:pt x="441" y="426"/>
                  </a:lnTo>
                  <a:lnTo>
                    <a:pt x="460" y="426"/>
                  </a:lnTo>
                  <a:lnTo>
                    <a:pt x="475" y="404"/>
                  </a:lnTo>
                  <a:lnTo>
                    <a:pt x="503" y="413"/>
                  </a:lnTo>
                  <a:lnTo>
                    <a:pt x="509" y="401"/>
                  </a:lnTo>
                  <a:lnTo>
                    <a:pt x="487" y="371"/>
                  </a:lnTo>
                  <a:lnTo>
                    <a:pt x="493" y="352"/>
                  </a:lnTo>
                  <a:lnTo>
                    <a:pt x="493" y="352"/>
                  </a:lnTo>
                  <a:lnTo>
                    <a:pt x="515" y="349"/>
                  </a:lnTo>
                  <a:lnTo>
                    <a:pt x="530" y="328"/>
                  </a:lnTo>
                  <a:lnTo>
                    <a:pt x="564" y="334"/>
                  </a:lnTo>
                  <a:lnTo>
                    <a:pt x="564" y="334"/>
                  </a:lnTo>
                  <a:lnTo>
                    <a:pt x="564" y="325"/>
                  </a:lnTo>
                  <a:lnTo>
                    <a:pt x="588" y="306"/>
                  </a:lnTo>
                  <a:lnTo>
                    <a:pt x="573" y="297"/>
                  </a:lnTo>
                  <a:lnTo>
                    <a:pt x="579" y="260"/>
                  </a:lnTo>
                  <a:lnTo>
                    <a:pt x="573" y="242"/>
                  </a:lnTo>
                  <a:lnTo>
                    <a:pt x="542" y="227"/>
                  </a:lnTo>
                  <a:lnTo>
                    <a:pt x="539" y="208"/>
                  </a:lnTo>
                  <a:lnTo>
                    <a:pt x="567" y="211"/>
                  </a:lnTo>
                  <a:lnTo>
                    <a:pt x="588" y="187"/>
                  </a:lnTo>
                  <a:lnTo>
                    <a:pt x="597" y="193"/>
                  </a:lnTo>
                  <a:lnTo>
                    <a:pt x="619" y="181"/>
                  </a:lnTo>
                  <a:lnTo>
                    <a:pt x="631" y="190"/>
                  </a:lnTo>
                  <a:lnTo>
                    <a:pt x="631" y="190"/>
                  </a:lnTo>
                  <a:lnTo>
                    <a:pt x="646" y="184"/>
                  </a:lnTo>
                  <a:lnTo>
                    <a:pt x="646" y="178"/>
                  </a:lnTo>
                  <a:lnTo>
                    <a:pt x="631" y="172"/>
                  </a:lnTo>
                  <a:lnTo>
                    <a:pt x="631" y="162"/>
                  </a:lnTo>
                  <a:lnTo>
                    <a:pt x="610" y="156"/>
                  </a:lnTo>
                  <a:lnTo>
                    <a:pt x="619" y="144"/>
                  </a:lnTo>
                  <a:lnTo>
                    <a:pt x="613" y="141"/>
                  </a:lnTo>
                  <a:lnTo>
                    <a:pt x="613" y="123"/>
                  </a:lnTo>
                  <a:lnTo>
                    <a:pt x="622" y="126"/>
                  </a:lnTo>
                  <a:lnTo>
                    <a:pt x="613" y="104"/>
                  </a:lnTo>
                  <a:lnTo>
                    <a:pt x="591" y="89"/>
                  </a:lnTo>
                  <a:lnTo>
                    <a:pt x="579" y="98"/>
                  </a:lnTo>
                  <a:lnTo>
                    <a:pt x="579" y="70"/>
                  </a:lnTo>
                  <a:lnTo>
                    <a:pt x="564" y="70"/>
                  </a:lnTo>
                  <a:lnTo>
                    <a:pt x="564" y="61"/>
                  </a:lnTo>
                  <a:lnTo>
                    <a:pt x="555" y="61"/>
                  </a:lnTo>
                  <a:lnTo>
                    <a:pt x="548" y="49"/>
                  </a:lnTo>
                  <a:lnTo>
                    <a:pt x="548" y="49"/>
                  </a:lnTo>
                  <a:lnTo>
                    <a:pt x="521" y="52"/>
                  </a:lnTo>
                  <a:lnTo>
                    <a:pt x="503" y="31"/>
                  </a:lnTo>
                  <a:lnTo>
                    <a:pt x="499" y="0"/>
                  </a:lnTo>
                  <a:lnTo>
                    <a:pt x="472" y="12"/>
                  </a:lnTo>
                  <a:lnTo>
                    <a:pt x="460" y="31"/>
                  </a:lnTo>
                  <a:lnTo>
                    <a:pt x="435" y="40"/>
                  </a:lnTo>
                  <a:lnTo>
                    <a:pt x="435" y="31"/>
                  </a:lnTo>
                  <a:lnTo>
                    <a:pt x="420" y="25"/>
                  </a:lnTo>
                  <a:lnTo>
                    <a:pt x="414" y="43"/>
                  </a:lnTo>
                  <a:lnTo>
                    <a:pt x="401" y="46"/>
                  </a:lnTo>
                  <a:lnTo>
                    <a:pt x="395" y="46"/>
                  </a:lnTo>
                  <a:lnTo>
                    <a:pt x="398" y="40"/>
                  </a:lnTo>
                  <a:lnTo>
                    <a:pt x="386" y="40"/>
                  </a:lnTo>
                  <a:lnTo>
                    <a:pt x="380" y="34"/>
                  </a:lnTo>
                  <a:lnTo>
                    <a:pt x="374" y="46"/>
                  </a:lnTo>
                  <a:lnTo>
                    <a:pt x="349" y="28"/>
                  </a:lnTo>
                  <a:lnTo>
                    <a:pt x="343" y="46"/>
                  </a:lnTo>
                  <a:lnTo>
                    <a:pt x="340" y="34"/>
                  </a:lnTo>
                  <a:lnTo>
                    <a:pt x="285" y="34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28" name="Freeform 44"/>
            <p:cNvSpPr>
              <a:spLocks/>
            </p:cNvSpPr>
            <p:nvPr/>
          </p:nvSpPr>
          <p:spPr bwMode="gray">
            <a:xfrm>
              <a:off x="1808" y="2067"/>
              <a:ext cx="674" cy="876"/>
            </a:xfrm>
            <a:custGeom>
              <a:avLst/>
              <a:gdLst>
                <a:gd name="T0" fmla="*/ 0 w 674"/>
                <a:gd name="T1" fmla="*/ 307 h 876"/>
                <a:gd name="T2" fmla="*/ 49 w 674"/>
                <a:gd name="T3" fmla="*/ 353 h 876"/>
                <a:gd name="T4" fmla="*/ 19 w 674"/>
                <a:gd name="T5" fmla="*/ 398 h 876"/>
                <a:gd name="T6" fmla="*/ 68 w 674"/>
                <a:gd name="T7" fmla="*/ 454 h 876"/>
                <a:gd name="T8" fmla="*/ 77 w 674"/>
                <a:gd name="T9" fmla="*/ 512 h 876"/>
                <a:gd name="T10" fmla="*/ 102 w 674"/>
                <a:gd name="T11" fmla="*/ 555 h 876"/>
                <a:gd name="T12" fmla="*/ 86 w 674"/>
                <a:gd name="T13" fmla="*/ 598 h 876"/>
                <a:gd name="T14" fmla="*/ 53 w 674"/>
                <a:gd name="T15" fmla="*/ 640 h 876"/>
                <a:gd name="T16" fmla="*/ 68 w 674"/>
                <a:gd name="T17" fmla="*/ 714 h 876"/>
                <a:gd name="T18" fmla="*/ 98 w 674"/>
                <a:gd name="T19" fmla="*/ 751 h 876"/>
                <a:gd name="T20" fmla="*/ 135 w 674"/>
                <a:gd name="T21" fmla="*/ 800 h 876"/>
                <a:gd name="T22" fmla="*/ 98 w 674"/>
                <a:gd name="T23" fmla="*/ 861 h 876"/>
                <a:gd name="T24" fmla="*/ 166 w 674"/>
                <a:gd name="T25" fmla="*/ 864 h 876"/>
                <a:gd name="T26" fmla="*/ 233 w 674"/>
                <a:gd name="T27" fmla="*/ 833 h 876"/>
                <a:gd name="T28" fmla="*/ 255 w 674"/>
                <a:gd name="T29" fmla="*/ 833 h 876"/>
                <a:gd name="T30" fmla="*/ 313 w 674"/>
                <a:gd name="T31" fmla="*/ 855 h 876"/>
                <a:gd name="T32" fmla="*/ 356 w 674"/>
                <a:gd name="T33" fmla="*/ 852 h 876"/>
                <a:gd name="T34" fmla="*/ 374 w 674"/>
                <a:gd name="T35" fmla="*/ 821 h 876"/>
                <a:gd name="T36" fmla="*/ 408 w 674"/>
                <a:gd name="T37" fmla="*/ 815 h 876"/>
                <a:gd name="T38" fmla="*/ 432 w 674"/>
                <a:gd name="T39" fmla="*/ 800 h 876"/>
                <a:gd name="T40" fmla="*/ 442 w 674"/>
                <a:gd name="T41" fmla="*/ 794 h 876"/>
                <a:gd name="T42" fmla="*/ 481 w 674"/>
                <a:gd name="T43" fmla="*/ 815 h 876"/>
                <a:gd name="T44" fmla="*/ 524 w 674"/>
                <a:gd name="T45" fmla="*/ 830 h 876"/>
                <a:gd name="T46" fmla="*/ 540 w 674"/>
                <a:gd name="T47" fmla="*/ 800 h 876"/>
                <a:gd name="T48" fmla="*/ 583 w 674"/>
                <a:gd name="T49" fmla="*/ 772 h 876"/>
                <a:gd name="T50" fmla="*/ 579 w 674"/>
                <a:gd name="T51" fmla="*/ 757 h 876"/>
                <a:gd name="T52" fmla="*/ 570 w 674"/>
                <a:gd name="T53" fmla="*/ 705 h 876"/>
                <a:gd name="T54" fmla="*/ 463 w 674"/>
                <a:gd name="T55" fmla="*/ 714 h 876"/>
                <a:gd name="T56" fmla="*/ 475 w 674"/>
                <a:gd name="T57" fmla="*/ 668 h 876"/>
                <a:gd name="T58" fmla="*/ 497 w 674"/>
                <a:gd name="T59" fmla="*/ 625 h 876"/>
                <a:gd name="T60" fmla="*/ 481 w 674"/>
                <a:gd name="T61" fmla="*/ 585 h 876"/>
                <a:gd name="T62" fmla="*/ 466 w 674"/>
                <a:gd name="T63" fmla="*/ 564 h 876"/>
                <a:gd name="T64" fmla="*/ 484 w 674"/>
                <a:gd name="T65" fmla="*/ 555 h 876"/>
                <a:gd name="T66" fmla="*/ 521 w 674"/>
                <a:gd name="T67" fmla="*/ 506 h 876"/>
                <a:gd name="T68" fmla="*/ 524 w 674"/>
                <a:gd name="T69" fmla="*/ 454 h 876"/>
                <a:gd name="T70" fmla="*/ 579 w 674"/>
                <a:gd name="T71" fmla="*/ 389 h 876"/>
                <a:gd name="T72" fmla="*/ 616 w 674"/>
                <a:gd name="T73" fmla="*/ 313 h 876"/>
                <a:gd name="T74" fmla="*/ 662 w 674"/>
                <a:gd name="T75" fmla="*/ 297 h 876"/>
                <a:gd name="T76" fmla="*/ 665 w 674"/>
                <a:gd name="T77" fmla="*/ 239 h 876"/>
                <a:gd name="T78" fmla="*/ 671 w 674"/>
                <a:gd name="T79" fmla="*/ 172 h 876"/>
                <a:gd name="T80" fmla="*/ 607 w 674"/>
                <a:gd name="T81" fmla="*/ 132 h 876"/>
                <a:gd name="T82" fmla="*/ 610 w 674"/>
                <a:gd name="T83" fmla="*/ 89 h 876"/>
                <a:gd name="T84" fmla="*/ 506 w 674"/>
                <a:gd name="T85" fmla="*/ 0 h 876"/>
                <a:gd name="T86" fmla="*/ 454 w 674"/>
                <a:gd name="T87" fmla="*/ 37 h 876"/>
                <a:gd name="T88" fmla="*/ 423 w 674"/>
                <a:gd name="T89" fmla="*/ 37 h 876"/>
                <a:gd name="T90" fmla="*/ 371 w 674"/>
                <a:gd name="T91" fmla="*/ 31 h 876"/>
                <a:gd name="T92" fmla="*/ 344 w 674"/>
                <a:gd name="T93" fmla="*/ 65 h 876"/>
                <a:gd name="T94" fmla="*/ 393 w 674"/>
                <a:gd name="T95" fmla="*/ 98 h 876"/>
                <a:gd name="T96" fmla="*/ 405 w 674"/>
                <a:gd name="T97" fmla="*/ 150 h 876"/>
                <a:gd name="T98" fmla="*/ 386 w 674"/>
                <a:gd name="T99" fmla="*/ 184 h 876"/>
                <a:gd name="T100" fmla="*/ 334 w 674"/>
                <a:gd name="T101" fmla="*/ 169 h 876"/>
                <a:gd name="T102" fmla="*/ 325 w 674"/>
                <a:gd name="T103" fmla="*/ 224 h 876"/>
                <a:gd name="T104" fmla="*/ 359 w 674"/>
                <a:gd name="T105" fmla="*/ 254 h 876"/>
                <a:gd name="T106" fmla="*/ 353 w 674"/>
                <a:gd name="T107" fmla="*/ 273 h 876"/>
                <a:gd name="T108" fmla="*/ 344 w 674"/>
                <a:gd name="T109" fmla="*/ 297 h 876"/>
                <a:gd name="T110" fmla="*/ 301 w 674"/>
                <a:gd name="T111" fmla="*/ 288 h 876"/>
                <a:gd name="T112" fmla="*/ 246 w 674"/>
                <a:gd name="T113" fmla="*/ 300 h 876"/>
                <a:gd name="T114" fmla="*/ 230 w 674"/>
                <a:gd name="T115" fmla="*/ 300 h 876"/>
                <a:gd name="T116" fmla="*/ 209 w 674"/>
                <a:gd name="T117" fmla="*/ 316 h 876"/>
                <a:gd name="T118" fmla="*/ 141 w 674"/>
                <a:gd name="T119" fmla="*/ 316 h 876"/>
                <a:gd name="T120" fmla="*/ 98 w 674"/>
                <a:gd name="T121" fmla="*/ 316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4" h="876">
                  <a:moveTo>
                    <a:pt x="49" y="279"/>
                  </a:moveTo>
                  <a:lnTo>
                    <a:pt x="22" y="310"/>
                  </a:lnTo>
                  <a:lnTo>
                    <a:pt x="10" y="297"/>
                  </a:lnTo>
                  <a:lnTo>
                    <a:pt x="0" y="307"/>
                  </a:lnTo>
                  <a:lnTo>
                    <a:pt x="7" y="331"/>
                  </a:lnTo>
                  <a:lnTo>
                    <a:pt x="37" y="331"/>
                  </a:lnTo>
                  <a:lnTo>
                    <a:pt x="34" y="346"/>
                  </a:lnTo>
                  <a:lnTo>
                    <a:pt x="49" y="353"/>
                  </a:lnTo>
                  <a:lnTo>
                    <a:pt x="46" y="380"/>
                  </a:lnTo>
                  <a:lnTo>
                    <a:pt x="31" y="380"/>
                  </a:lnTo>
                  <a:lnTo>
                    <a:pt x="34" y="392"/>
                  </a:lnTo>
                  <a:lnTo>
                    <a:pt x="19" y="398"/>
                  </a:lnTo>
                  <a:lnTo>
                    <a:pt x="34" y="408"/>
                  </a:lnTo>
                  <a:lnTo>
                    <a:pt x="34" y="429"/>
                  </a:lnTo>
                  <a:lnTo>
                    <a:pt x="56" y="429"/>
                  </a:lnTo>
                  <a:lnTo>
                    <a:pt x="68" y="454"/>
                  </a:lnTo>
                  <a:lnTo>
                    <a:pt x="65" y="463"/>
                  </a:lnTo>
                  <a:lnTo>
                    <a:pt x="89" y="463"/>
                  </a:lnTo>
                  <a:lnTo>
                    <a:pt x="65" y="493"/>
                  </a:lnTo>
                  <a:lnTo>
                    <a:pt x="77" y="512"/>
                  </a:lnTo>
                  <a:lnTo>
                    <a:pt x="98" y="512"/>
                  </a:lnTo>
                  <a:lnTo>
                    <a:pt x="98" y="512"/>
                  </a:lnTo>
                  <a:lnTo>
                    <a:pt x="111" y="527"/>
                  </a:lnTo>
                  <a:lnTo>
                    <a:pt x="102" y="555"/>
                  </a:lnTo>
                  <a:lnTo>
                    <a:pt x="117" y="576"/>
                  </a:lnTo>
                  <a:lnTo>
                    <a:pt x="117" y="576"/>
                  </a:lnTo>
                  <a:lnTo>
                    <a:pt x="92" y="576"/>
                  </a:lnTo>
                  <a:lnTo>
                    <a:pt x="86" y="598"/>
                  </a:lnTo>
                  <a:lnTo>
                    <a:pt x="62" y="607"/>
                  </a:lnTo>
                  <a:lnTo>
                    <a:pt x="65" y="628"/>
                  </a:lnTo>
                  <a:lnTo>
                    <a:pt x="49" y="631"/>
                  </a:lnTo>
                  <a:lnTo>
                    <a:pt x="53" y="640"/>
                  </a:lnTo>
                  <a:lnTo>
                    <a:pt x="43" y="671"/>
                  </a:lnTo>
                  <a:lnTo>
                    <a:pt x="56" y="711"/>
                  </a:lnTo>
                  <a:lnTo>
                    <a:pt x="59" y="705"/>
                  </a:lnTo>
                  <a:lnTo>
                    <a:pt x="68" y="714"/>
                  </a:lnTo>
                  <a:lnTo>
                    <a:pt x="71" y="732"/>
                  </a:lnTo>
                  <a:lnTo>
                    <a:pt x="89" y="745"/>
                  </a:lnTo>
                  <a:lnTo>
                    <a:pt x="89" y="754"/>
                  </a:lnTo>
                  <a:lnTo>
                    <a:pt x="98" y="751"/>
                  </a:lnTo>
                  <a:lnTo>
                    <a:pt x="114" y="766"/>
                  </a:lnTo>
                  <a:lnTo>
                    <a:pt x="138" y="766"/>
                  </a:lnTo>
                  <a:lnTo>
                    <a:pt x="132" y="775"/>
                  </a:lnTo>
                  <a:lnTo>
                    <a:pt x="135" y="800"/>
                  </a:lnTo>
                  <a:lnTo>
                    <a:pt x="114" y="821"/>
                  </a:lnTo>
                  <a:lnTo>
                    <a:pt x="111" y="836"/>
                  </a:lnTo>
                  <a:lnTo>
                    <a:pt x="95" y="855"/>
                  </a:lnTo>
                  <a:lnTo>
                    <a:pt x="98" y="861"/>
                  </a:lnTo>
                  <a:lnTo>
                    <a:pt x="132" y="870"/>
                  </a:lnTo>
                  <a:lnTo>
                    <a:pt x="144" y="867"/>
                  </a:lnTo>
                  <a:lnTo>
                    <a:pt x="154" y="876"/>
                  </a:lnTo>
                  <a:lnTo>
                    <a:pt x="166" y="864"/>
                  </a:lnTo>
                  <a:lnTo>
                    <a:pt x="175" y="870"/>
                  </a:lnTo>
                  <a:lnTo>
                    <a:pt x="203" y="849"/>
                  </a:lnTo>
                  <a:lnTo>
                    <a:pt x="233" y="843"/>
                  </a:lnTo>
                  <a:lnTo>
                    <a:pt x="233" y="833"/>
                  </a:lnTo>
                  <a:lnTo>
                    <a:pt x="249" y="833"/>
                  </a:lnTo>
                  <a:lnTo>
                    <a:pt x="246" y="839"/>
                  </a:lnTo>
                  <a:lnTo>
                    <a:pt x="255" y="833"/>
                  </a:lnTo>
                  <a:lnTo>
                    <a:pt x="255" y="833"/>
                  </a:lnTo>
                  <a:lnTo>
                    <a:pt x="270" y="849"/>
                  </a:lnTo>
                  <a:lnTo>
                    <a:pt x="291" y="849"/>
                  </a:lnTo>
                  <a:lnTo>
                    <a:pt x="301" y="861"/>
                  </a:lnTo>
                  <a:lnTo>
                    <a:pt x="313" y="855"/>
                  </a:lnTo>
                  <a:lnTo>
                    <a:pt x="316" y="867"/>
                  </a:lnTo>
                  <a:lnTo>
                    <a:pt x="325" y="867"/>
                  </a:lnTo>
                  <a:lnTo>
                    <a:pt x="334" y="852"/>
                  </a:lnTo>
                  <a:lnTo>
                    <a:pt x="356" y="852"/>
                  </a:lnTo>
                  <a:lnTo>
                    <a:pt x="353" y="833"/>
                  </a:lnTo>
                  <a:lnTo>
                    <a:pt x="353" y="833"/>
                  </a:lnTo>
                  <a:lnTo>
                    <a:pt x="356" y="824"/>
                  </a:lnTo>
                  <a:lnTo>
                    <a:pt x="374" y="821"/>
                  </a:lnTo>
                  <a:lnTo>
                    <a:pt x="380" y="806"/>
                  </a:lnTo>
                  <a:lnTo>
                    <a:pt x="390" y="809"/>
                  </a:lnTo>
                  <a:lnTo>
                    <a:pt x="396" y="821"/>
                  </a:lnTo>
                  <a:lnTo>
                    <a:pt x="408" y="815"/>
                  </a:lnTo>
                  <a:lnTo>
                    <a:pt x="411" y="818"/>
                  </a:lnTo>
                  <a:lnTo>
                    <a:pt x="423" y="806"/>
                  </a:lnTo>
                  <a:lnTo>
                    <a:pt x="423" y="797"/>
                  </a:lnTo>
                  <a:lnTo>
                    <a:pt x="432" y="800"/>
                  </a:lnTo>
                  <a:lnTo>
                    <a:pt x="432" y="784"/>
                  </a:lnTo>
                  <a:lnTo>
                    <a:pt x="442" y="781"/>
                  </a:lnTo>
                  <a:lnTo>
                    <a:pt x="448" y="787"/>
                  </a:lnTo>
                  <a:lnTo>
                    <a:pt x="442" y="794"/>
                  </a:lnTo>
                  <a:lnTo>
                    <a:pt x="466" y="794"/>
                  </a:lnTo>
                  <a:lnTo>
                    <a:pt x="472" y="800"/>
                  </a:lnTo>
                  <a:lnTo>
                    <a:pt x="478" y="794"/>
                  </a:lnTo>
                  <a:lnTo>
                    <a:pt x="481" y="815"/>
                  </a:lnTo>
                  <a:lnTo>
                    <a:pt x="503" y="806"/>
                  </a:lnTo>
                  <a:lnTo>
                    <a:pt x="503" y="815"/>
                  </a:lnTo>
                  <a:lnTo>
                    <a:pt x="515" y="818"/>
                  </a:lnTo>
                  <a:lnTo>
                    <a:pt x="524" y="830"/>
                  </a:lnTo>
                  <a:lnTo>
                    <a:pt x="534" y="827"/>
                  </a:lnTo>
                  <a:lnTo>
                    <a:pt x="530" y="818"/>
                  </a:lnTo>
                  <a:lnTo>
                    <a:pt x="549" y="809"/>
                  </a:lnTo>
                  <a:lnTo>
                    <a:pt x="540" y="800"/>
                  </a:lnTo>
                  <a:lnTo>
                    <a:pt x="546" y="784"/>
                  </a:lnTo>
                  <a:lnTo>
                    <a:pt x="564" y="784"/>
                  </a:lnTo>
                  <a:lnTo>
                    <a:pt x="564" y="772"/>
                  </a:lnTo>
                  <a:lnTo>
                    <a:pt x="583" y="772"/>
                  </a:lnTo>
                  <a:lnTo>
                    <a:pt x="583" y="772"/>
                  </a:lnTo>
                  <a:lnTo>
                    <a:pt x="583" y="760"/>
                  </a:lnTo>
                  <a:lnTo>
                    <a:pt x="579" y="757"/>
                  </a:lnTo>
                  <a:lnTo>
                    <a:pt x="579" y="757"/>
                  </a:lnTo>
                  <a:lnTo>
                    <a:pt x="573" y="751"/>
                  </a:lnTo>
                  <a:lnTo>
                    <a:pt x="570" y="720"/>
                  </a:lnTo>
                  <a:lnTo>
                    <a:pt x="561" y="708"/>
                  </a:lnTo>
                  <a:lnTo>
                    <a:pt x="570" y="705"/>
                  </a:lnTo>
                  <a:lnTo>
                    <a:pt x="564" y="692"/>
                  </a:lnTo>
                  <a:lnTo>
                    <a:pt x="552" y="699"/>
                  </a:lnTo>
                  <a:lnTo>
                    <a:pt x="534" y="692"/>
                  </a:lnTo>
                  <a:lnTo>
                    <a:pt x="463" y="714"/>
                  </a:lnTo>
                  <a:lnTo>
                    <a:pt x="439" y="680"/>
                  </a:lnTo>
                  <a:lnTo>
                    <a:pt x="439" y="680"/>
                  </a:lnTo>
                  <a:lnTo>
                    <a:pt x="457" y="659"/>
                  </a:lnTo>
                  <a:lnTo>
                    <a:pt x="475" y="668"/>
                  </a:lnTo>
                  <a:lnTo>
                    <a:pt x="475" y="650"/>
                  </a:lnTo>
                  <a:lnTo>
                    <a:pt x="463" y="637"/>
                  </a:lnTo>
                  <a:lnTo>
                    <a:pt x="488" y="616"/>
                  </a:lnTo>
                  <a:lnTo>
                    <a:pt x="497" y="625"/>
                  </a:lnTo>
                  <a:lnTo>
                    <a:pt x="506" y="619"/>
                  </a:lnTo>
                  <a:lnTo>
                    <a:pt x="497" y="607"/>
                  </a:lnTo>
                  <a:lnTo>
                    <a:pt x="491" y="579"/>
                  </a:lnTo>
                  <a:lnTo>
                    <a:pt x="481" y="585"/>
                  </a:lnTo>
                  <a:lnTo>
                    <a:pt x="472" y="579"/>
                  </a:lnTo>
                  <a:lnTo>
                    <a:pt x="478" y="573"/>
                  </a:lnTo>
                  <a:lnTo>
                    <a:pt x="457" y="561"/>
                  </a:lnTo>
                  <a:lnTo>
                    <a:pt x="466" y="564"/>
                  </a:lnTo>
                  <a:lnTo>
                    <a:pt x="463" y="558"/>
                  </a:lnTo>
                  <a:lnTo>
                    <a:pt x="478" y="552"/>
                  </a:lnTo>
                  <a:lnTo>
                    <a:pt x="481" y="558"/>
                  </a:lnTo>
                  <a:lnTo>
                    <a:pt x="484" y="555"/>
                  </a:lnTo>
                  <a:lnTo>
                    <a:pt x="497" y="539"/>
                  </a:lnTo>
                  <a:lnTo>
                    <a:pt x="488" y="515"/>
                  </a:lnTo>
                  <a:lnTo>
                    <a:pt x="503" y="500"/>
                  </a:lnTo>
                  <a:lnTo>
                    <a:pt x="521" y="506"/>
                  </a:lnTo>
                  <a:lnTo>
                    <a:pt x="530" y="484"/>
                  </a:lnTo>
                  <a:lnTo>
                    <a:pt x="521" y="463"/>
                  </a:lnTo>
                  <a:lnTo>
                    <a:pt x="524" y="454"/>
                  </a:lnTo>
                  <a:lnTo>
                    <a:pt x="524" y="454"/>
                  </a:lnTo>
                  <a:lnTo>
                    <a:pt x="534" y="435"/>
                  </a:lnTo>
                  <a:lnTo>
                    <a:pt x="524" y="414"/>
                  </a:lnTo>
                  <a:lnTo>
                    <a:pt x="558" y="380"/>
                  </a:lnTo>
                  <a:lnTo>
                    <a:pt x="579" y="389"/>
                  </a:lnTo>
                  <a:lnTo>
                    <a:pt x="604" y="368"/>
                  </a:lnTo>
                  <a:lnTo>
                    <a:pt x="604" y="349"/>
                  </a:lnTo>
                  <a:lnTo>
                    <a:pt x="622" y="331"/>
                  </a:lnTo>
                  <a:lnTo>
                    <a:pt x="616" y="313"/>
                  </a:lnTo>
                  <a:lnTo>
                    <a:pt x="616" y="313"/>
                  </a:lnTo>
                  <a:lnTo>
                    <a:pt x="653" y="310"/>
                  </a:lnTo>
                  <a:lnTo>
                    <a:pt x="653" y="300"/>
                  </a:lnTo>
                  <a:lnTo>
                    <a:pt x="662" y="297"/>
                  </a:lnTo>
                  <a:lnTo>
                    <a:pt x="656" y="288"/>
                  </a:lnTo>
                  <a:lnTo>
                    <a:pt x="674" y="264"/>
                  </a:lnTo>
                  <a:lnTo>
                    <a:pt x="674" y="264"/>
                  </a:lnTo>
                  <a:lnTo>
                    <a:pt x="665" y="239"/>
                  </a:lnTo>
                  <a:lnTo>
                    <a:pt x="638" y="248"/>
                  </a:lnTo>
                  <a:lnTo>
                    <a:pt x="625" y="239"/>
                  </a:lnTo>
                  <a:lnTo>
                    <a:pt x="656" y="209"/>
                  </a:lnTo>
                  <a:lnTo>
                    <a:pt x="671" y="172"/>
                  </a:lnTo>
                  <a:lnTo>
                    <a:pt x="671" y="172"/>
                  </a:lnTo>
                  <a:lnTo>
                    <a:pt x="650" y="163"/>
                  </a:lnTo>
                  <a:lnTo>
                    <a:pt x="625" y="169"/>
                  </a:lnTo>
                  <a:lnTo>
                    <a:pt x="607" y="132"/>
                  </a:lnTo>
                  <a:lnTo>
                    <a:pt x="610" y="123"/>
                  </a:lnTo>
                  <a:lnTo>
                    <a:pt x="635" y="114"/>
                  </a:lnTo>
                  <a:lnTo>
                    <a:pt x="632" y="98"/>
                  </a:lnTo>
                  <a:lnTo>
                    <a:pt x="610" y="89"/>
                  </a:lnTo>
                  <a:lnTo>
                    <a:pt x="604" y="74"/>
                  </a:lnTo>
                  <a:lnTo>
                    <a:pt x="573" y="71"/>
                  </a:lnTo>
                  <a:lnTo>
                    <a:pt x="534" y="9"/>
                  </a:lnTo>
                  <a:lnTo>
                    <a:pt x="506" y="0"/>
                  </a:lnTo>
                  <a:lnTo>
                    <a:pt x="491" y="22"/>
                  </a:lnTo>
                  <a:lnTo>
                    <a:pt x="472" y="22"/>
                  </a:lnTo>
                  <a:lnTo>
                    <a:pt x="472" y="43"/>
                  </a:lnTo>
                  <a:lnTo>
                    <a:pt x="454" y="37"/>
                  </a:lnTo>
                  <a:lnTo>
                    <a:pt x="457" y="62"/>
                  </a:lnTo>
                  <a:lnTo>
                    <a:pt x="448" y="71"/>
                  </a:lnTo>
                  <a:lnTo>
                    <a:pt x="432" y="62"/>
                  </a:lnTo>
                  <a:lnTo>
                    <a:pt x="423" y="37"/>
                  </a:lnTo>
                  <a:lnTo>
                    <a:pt x="408" y="28"/>
                  </a:lnTo>
                  <a:lnTo>
                    <a:pt x="399" y="52"/>
                  </a:lnTo>
                  <a:lnTo>
                    <a:pt x="390" y="34"/>
                  </a:lnTo>
                  <a:lnTo>
                    <a:pt x="371" y="31"/>
                  </a:lnTo>
                  <a:lnTo>
                    <a:pt x="334" y="49"/>
                  </a:lnTo>
                  <a:lnTo>
                    <a:pt x="334" y="49"/>
                  </a:lnTo>
                  <a:lnTo>
                    <a:pt x="334" y="58"/>
                  </a:lnTo>
                  <a:lnTo>
                    <a:pt x="344" y="65"/>
                  </a:lnTo>
                  <a:lnTo>
                    <a:pt x="337" y="77"/>
                  </a:lnTo>
                  <a:lnTo>
                    <a:pt x="374" y="101"/>
                  </a:lnTo>
                  <a:lnTo>
                    <a:pt x="374" y="101"/>
                  </a:lnTo>
                  <a:lnTo>
                    <a:pt x="393" y="98"/>
                  </a:lnTo>
                  <a:lnTo>
                    <a:pt x="402" y="107"/>
                  </a:lnTo>
                  <a:lnTo>
                    <a:pt x="399" y="114"/>
                  </a:lnTo>
                  <a:lnTo>
                    <a:pt x="414" y="144"/>
                  </a:lnTo>
                  <a:lnTo>
                    <a:pt x="405" y="150"/>
                  </a:lnTo>
                  <a:lnTo>
                    <a:pt x="408" y="163"/>
                  </a:lnTo>
                  <a:lnTo>
                    <a:pt x="408" y="163"/>
                  </a:lnTo>
                  <a:lnTo>
                    <a:pt x="393" y="166"/>
                  </a:lnTo>
                  <a:lnTo>
                    <a:pt x="386" y="184"/>
                  </a:lnTo>
                  <a:lnTo>
                    <a:pt x="374" y="184"/>
                  </a:lnTo>
                  <a:lnTo>
                    <a:pt x="350" y="156"/>
                  </a:lnTo>
                  <a:lnTo>
                    <a:pt x="347" y="169"/>
                  </a:lnTo>
                  <a:lnTo>
                    <a:pt x="334" y="169"/>
                  </a:lnTo>
                  <a:lnTo>
                    <a:pt x="325" y="184"/>
                  </a:lnTo>
                  <a:lnTo>
                    <a:pt x="325" y="184"/>
                  </a:lnTo>
                  <a:lnTo>
                    <a:pt x="341" y="215"/>
                  </a:lnTo>
                  <a:lnTo>
                    <a:pt x="325" y="224"/>
                  </a:lnTo>
                  <a:lnTo>
                    <a:pt x="325" y="224"/>
                  </a:lnTo>
                  <a:lnTo>
                    <a:pt x="337" y="248"/>
                  </a:lnTo>
                  <a:lnTo>
                    <a:pt x="356" y="245"/>
                  </a:lnTo>
                  <a:lnTo>
                    <a:pt x="359" y="254"/>
                  </a:lnTo>
                  <a:lnTo>
                    <a:pt x="365" y="254"/>
                  </a:lnTo>
                  <a:lnTo>
                    <a:pt x="362" y="267"/>
                  </a:lnTo>
                  <a:lnTo>
                    <a:pt x="362" y="267"/>
                  </a:lnTo>
                  <a:lnTo>
                    <a:pt x="353" y="273"/>
                  </a:lnTo>
                  <a:lnTo>
                    <a:pt x="356" y="279"/>
                  </a:lnTo>
                  <a:lnTo>
                    <a:pt x="350" y="288"/>
                  </a:lnTo>
                  <a:lnTo>
                    <a:pt x="337" y="288"/>
                  </a:lnTo>
                  <a:lnTo>
                    <a:pt x="344" y="297"/>
                  </a:lnTo>
                  <a:lnTo>
                    <a:pt x="334" y="294"/>
                  </a:lnTo>
                  <a:lnTo>
                    <a:pt x="319" y="307"/>
                  </a:lnTo>
                  <a:lnTo>
                    <a:pt x="298" y="310"/>
                  </a:lnTo>
                  <a:lnTo>
                    <a:pt x="301" y="288"/>
                  </a:lnTo>
                  <a:lnTo>
                    <a:pt x="261" y="297"/>
                  </a:lnTo>
                  <a:lnTo>
                    <a:pt x="261" y="297"/>
                  </a:lnTo>
                  <a:lnTo>
                    <a:pt x="258" y="307"/>
                  </a:lnTo>
                  <a:lnTo>
                    <a:pt x="246" y="300"/>
                  </a:lnTo>
                  <a:lnTo>
                    <a:pt x="239" y="307"/>
                  </a:lnTo>
                  <a:lnTo>
                    <a:pt x="239" y="307"/>
                  </a:lnTo>
                  <a:lnTo>
                    <a:pt x="230" y="304"/>
                  </a:lnTo>
                  <a:lnTo>
                    <a:pt x="230" y="300"/>
                  </a:lnTo>
                  <a:lnTo>
                    <a:pt x="230" y="300"/>
                  </a:lnTo>
                  <a:lnTo>
                    <a:pt x="221" y="313"/>
                  </a:lnTo>
                  <a:lnTo>
                    <a:pt x="206" y="307"/>
                  </a:lnTo>
                  <a:lnTo>
                    <a:pt x="209" y="316"/>
                  </a:lnTo>
                  <a:lnTo>
                    <a:pt x="197" y="325"/>
                  </a:lnTo>
                  <a:lnTo>
                    <a:pt x="163" y="322"/>
                  </a:lnTo>
                  <a:lnTo>
                    <a:pt x="157" y="307"/>
                  </a:lnTo>
                  <a:lnTo>
                    <a:pt x="141" y="316"/>
                  </a:lnTo>
                  <a:lnTo>
                    <a:pt x="141" y="316"/>
                  </a:lnTo>
                  <a:lnTo>
                    <a:pt x="117" y="316"/>
                  </a:lnTo>
                  <a:lnTo>
                    <a:pt x="105" y="322"/>
                  </a:lnTo>
                  <a:lnTo>
                    <a:pt x="98" y="316"/>
                  </a:lnTo>
                  <a:lnTo>
                    <a:pt x="86" y="331"/>
                  </a:lnTo>
                  <a:lnTo>
                    <a:pt x="49" y="279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29" name="Freeform 45"/>
            <p:cNvSpPr>
              <a:spLocks/>
            </p:cNvSpPr>
            <p:nvPr/>
          </p:nvSpPr>
          <p:spPr bwMode="gray">
            <a:xfrm>
              <a:off x="1903" y="2567"/>
              <a:ext cx="757" cy="557"/>
            </a:xfrm>
            <a:custGeom>
              <a:avLst/>
              <a:gdLst>
                <a:gd name="T0" fmla="*/ 59 w 757"/>
                <a:gd name="T1" fmla="*/ 376 h 557"/>
                <a:gd name="T2" fmla="*/ 138 w 757"/>
                <a:gd name="T3" fmla="*/ 343 h 557"/>
                <a:gd name="T4" fmla="*/ 160 w 757"/>
                <a:gd name="T5" fmla="*/ 333 h 557"/>
                <a:gd name="T6" fmla="*/ 206 w 757"/>
                <a:gd name="T7" fmla="*/ 361 h 557"/>
                <a:gd name="T8" fmla="*/ 239 w 757"/>
                <a:gd name="T9" fmla="*/ 352 h 557"/>
                <a:gd name="T10" fmla="*/ 261 w 757"/>
                <a:gd name="T11" fmla="*/ 324 h 557"/>
                <a:gd name="T12" fmla="*/ 301 w 757"/>
                <a:gd name="T13" fmla="*/ 321 h 557"/>
                <a:gd name="T14" fmla="*/ 328 w 757"/>
                <a:gd name="T15" fmla="*/ 297 h 557"/>
                <a:gd name="T16" fmla="*/ 353 w 757"/>
                <a:gd name="T17" fmla="*/ 287 h 557"/>
                <a:gd name="T18" fmla="*/ 383 w 757"/>
                <a:gd name="T19" fmla="*/ 294 h 557"/>
                <a:gd name="T20" fmla="*/ 420 w 757"/>
                <a:gd name="T21" fmla="*/ 318 h 557"/>
                <a:gd name="T22" fmla="*/ 454 w 757"/>
                <a:gd name="T23" fmla="*/ 309 h 557"/>
                <a:gd name="T24" fmla="*/ 469 w 757"/>
                <a:gd name="T25" fmla="*/ 272 h 557"/>
                <a:gd name="T26" fmla="*/ 484 w 757"/>
                <a:gd name="T27" fmla="*/ 257 h 557"/>
                <a:gd name="T28" fmla="*/ 466 w 757"/>
                <a:gd name="T29" fmla="*/ 208 h 557"/>
                <a:gd name="T30" fmla="*/ 439 w 757"/>
                <a:gd name="T31" fmla="*/ 192 h 557"/>
                <a:gd name="T32" fmla="*/ 362 w 757"/>
                <a:gd name="T33" fmla="*/ 159 h 557"/>
                <a:gd name="T34" fmla="*/ 393 w 757"/>
                <a:gd name="T35" fmla="*/ 116 h 557"/>
                <a:gd name="T36" fmla="*/ 396 w 757"/>
                <a:gd name="T37" fmla="*/ 79 h 557"/>
                <a:gd name="T38" fmla="*/ 362 w 757"/>
                <a:gd name="T39" fmla="*/ 61 h 557"/>
                <a:gd name="T40" fmla="*/ 386 w 757"/>
                <a:gd name="T41" fmla="*/ 58 h 557"/>
                <a:gd name="T42" fmla="*/ 408 w 757"/>
                <a:gd name="T43" fmla="*/ 0 h 557"/>
                <a:gd name="T44" fmla="*/ 454 w 757"/>
                <a:gd name="T45" fmla="*/ 36 h 557"/>
                <a:gd name="T46" fmla="*/ 509 w 757"/>
                <a:gd name="T47" fmla="*/ 52 h 557"/>
                <a:gd name="T48" fmla="*/ 586 w 757"/>
                <a:gd name="T49" fmla="*/ 52 h 557"/>
                <a:gd name="T50" fmla="*/ 610 w 757"/>
                <a:gd name="T51" fmla="*/ 49 h 557"/>
                <a:gd name="T52" fmla="*/ 665 w 757"/>
                <a:gd name="T53" fmla="*/ 6 h 557"/>
                <a:gd name="T54" fmla="*/ 693 w 757"/>
                <a:gd name="T55" fmla="*/ 33 h 557"/>
                <a:gd name="T56" fmla="*/ 714 w 757"/>
                <a:gd name="T57" fmla="*/ 39 h 557"/>
                <a:gd name="T58" fmla="*/ 751 w 757"/>
                <a:gd name="T59" fmla="*/ 116 h 557"/>
                <a:gd name="T60" fmla="*/ 730 w 757"/>
                <a:gd name="T61" fmla="*/ 183 h 557"/>
                <a:gd name="T62" fmla="*/ 730 w 757"/>
                <a:gd name="T63" fmla="*/ 205 h 557"/>
                <a:gd name="T64" fmla="*/ 736 w 757"/>
                <a:gd name="T65" fmla="*/ 235 h 557"/>
                <a:gd name="T66" fmla="*/ 702 w 757"/>
                <a:gd name="T67" fmla="*/ 303 h 557"/>
                <a:gd name="T68" fmla="*/ 730 w 757"/>
                <a:gd name="T69" fmla="*/ 306 h 557"/>
                <a:gd name="T70" fmla="*/ 693 w 757"/>
                <a:gd name="T71" fmla="*/ 361 h 557"/>
                <a:gd name="T72" fmla="*/ 659 w 757"/>
                <a:gd name="T73" fmla="*/ 395 h 557"/>
                <a:gd name="T74" fmla="*/ 650 w 757"/>
                <a:gd name="T75" fmla="*/ 428 h 557"/>
                <a:gd name="T76" fmla="*/ 607 w 757"/>
                <a:gd name="T77" fmla="*/ 425 h 557"/>
                <a:gd name="T78" fmla="*/ 570 w 757"/>
                <a:gd name="T79" fmla="*/ 490 h 557"/>
                <a:gd name="T80" fmla="*/ 549 w 757"/>
                <a:gd name="T81" fmla="*/ 486 h 557"/>
                <a:gd name="T82" fmla="*/ 515 w 757"/>
                <a:gd name="T83" fmla="*/ 505 h 557"/>
                <a:gd name="T84" fmla="*/ 478 w 757"/>
                <a:gd name="T85" fmla="*/ 480 h 557"/>
                <a:gd name="T86" fmla="*/ 417 w 757"/>
                <a:gd name="T87" fmla="*/ 480 h 557"/>
                <a:gd name="T88" fmla="*/ 377 w 757"/>
                <a:gd name="T89" fmla="*/ 459 h 557"/>
                <a:gd name="T90" fmla="*/ 353 w 757"/>
                <a:gd name="T91" fmla="*/ 456 h 557"/>
                <a:gd name="T92" fmla="*/ 344 w 757"/>
                <a:gd name="T93" fmla="*/ 508 h 557"/>
                <a:gd name="T94" fmla="*/ 328 w 757"/>
                <a:gd name="T95" fmla="*/ 539 h 557"/>
                <a:gd name="T96" fmla="*/ 313 w 757"/>
                <a:gd name="T97" fmla="*/ 557 h 557"/>
                <a:gd name="T98" fmla="*/ 270 w 757"/>
                <a:gd name="T99" fmla="*/ 508 h 557"/>
                <a:gd name="T100" fmla="*/ 236 w 757"/>
                <a:gd name="T101" fmla="*/ 520 h 557"/>
                <a:gd name="T102" fmla="*/ 187 w 757"/>
                <a:gd name="T103" fmla="*/ 526 h 557"/>
                <a:gd name="T104" fmla="*/ 135 w 757"/>
                <a:gd name="T105" fmla="*/ 486 h 557"/>
                <a:gd name="T106" fmla="*/ 86 w 757"/>
                <a:gd name="T107" fmla="*/ 508 h 557"/>
                <a:gd name="T108" fmla="*/ 40 w 757"/>
                <a:gd name="T109" fmla="*/ 419 h 557"/>
                <a:gd name="T110" fmla="*/ 0 w 757"/>
                <a:gd name="T111" fmla="*/ 370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57" h="557">
                  <a:moveTo>
                    <a:pt x="3" y="361"/>
                  </a:moveTo>
                  <a:lnTo>
                    <a:pt x="37" y="370"/>
                  </a:lnTo>
                  <a:lnTo>
                    <a:pt x="49" y="367"/>
                  </a:lnTo>
                  <a:lnTo>
                    <a:pt x="59" y="376"/>
                  </a:lnTo>
                  <a:lnTo>
                    <a:pt x="71" y="364"/>
                  </a:lnTo>
                  <a:lnTo>
                    <a:pt x="80" y="370"/>
                  </a:lnTo>
                  <a:lnTo>
                    <a:pt x="108" y="349"/>
                  </a:lnTo>
                  <a:lnTo>
                    <a:pt x="138" y="343"/>
                  </a:lnTo>
                  <a:lnTo>
                    <a:pt x="138" y="333"/>
                  </a:lnTo>
                  <a:lnTo>
                    <a:pt x="154" y="333"/>
                  </a:lnTo>
                  <a:lnTo>
                    <a:pt x="151" y="339"/>
                  </a:lnTo>
                  <a:lnTo>
                    <a:pt x="160" y="333"/>
                  </a:lnTo>
                  <a:lnTo>
                    <a:pt x="160" y="333"/>
                  </a:lnTo>
                  <a:lnTo>
                    <a:pt x="175" y="349"/>
                  </a:lnTo>
                  <a:lnTo>
                    <a:pt x="196" y="349"/>
                  </a:lnTo>
                  <a:lnTo>
                    <a:pt x="206" y="361"/>
                  </a:lnTo>
                  <a:lnTo>
                    <a:pt x="218" y="355"/>
                  </a:lnTo>
                  <a:lnTo>
                    <a:pt x="221" y="367"/>
                  </a:lnTo>
                  <a:lnTo>
                    <a:pt x="230" y="367"/>
                  </a:lnTo>
                  <a:lnTo>
                    <a:pt x="239" y="352"/>
                  </a:lnTo>
                  <a:lnTo>
                    <a:pt x="261" y="352"/>
                  </a:lnTo>
                  <a:lnTo>
                    <a:pt x="258" y="333"/>
                  </a:lnTo>
                  <a:lnTo>
                    <a:pt x="258" y="333"/>
                  </a:lnTo>
                  <a:lnTo>
                    <a:pt x="261" y="324"/>
                  </a:lnTo>
                  <a:lnTo>
                    <a:pt x="279" y="321"/>
                  </a:lnTo>
                  <a:lnTo>
                    <a:pt x="285" y="306"/>
                  </a:lnTo>
                  <a:lnTo>
                    <a:pt x="295" y="309"/>
                  </a:lnTo>
                  <a:lnTo>
                    <a:pt x="301" y="321"/>
                  </a:lnTo>
                  <a:lnTo>
                    <a:pt x="313" y="315"/>
                  </a:lnTo>
                  <a:lnTo>
                    <a:pt x="316" y="318"/>
                  </a:lnTo>
                  <a:lnTo>
                    <a:pt x="328" y="306"/>
                  </a:lnTo>
                  <a:lnTo>
                    <a:pt x="328" y="297"/>
                  </a:lnTo>
                  <a:lnTo>
                    <a:pt x="337" y="300"/>
                  </a:lnTo>
                  <a:lnTo>
                    <a:pt x="337" y="284"/>
                  </a:lnTo>
                  <a:lnTo>
                    <a:pt x="347" y="281"/>
                  </a:lnTo>
                  <a:lnTo>
                    <a:pt x="353" y="287"/>
                  </a:lnTo>
                  <a:lnTo>
                    <a:pt x="347" y="294"/>
                  </a:lnTo>
                  <a:lnTo>
                    <a:pt x="371" y="294"/>
                  </a:lnTo>
                  <a:lnTo>
                    <a:pt x="377" y="300"/>
                  </a:lnTo>
                  <a:lnTo>
                    <a:pt x="383" y="294"/>
                  </a:lnTo>
                  <a:lnTo>
                    <a:pt x="386" y="315"/>
                  </a:lnTo>
                  <a:lnTo>
                    <a:pt x="408" y="306"/>
                  </a:lnTo>
                  <a:lnTo>
                    <a:pt x="408" y="315"/>
                  </a:lnTo>
                  <a:lnTo>
                    <a:pt x="420" y="318"/>
                  </a:lnTo>
                  <a:lnTo>
                    <a:pt x="429" y="330"/>
                  </a:lnTo>
                  <a:lnTo>
                    <a:pt x="439" y="327"/>
                  </a:lnTo>
                  <a:lnTo>
                    <a:pt x="435" y="318"/>
                  </a:lnTo>
                  <a:lnTo>
                    <a:pt x="454" y="309"/>
                  </a:lnTo>
                  <a:lnTo>
                    <a:pt x="445" y="300"/>
                  </a:lnTo>
                  <a:lnTo>
                    <a:pt x="451" y="284"/>
                  </a:lnTo>
                  <a:lnTo>
                    <a:pt x="469" y="284"/>
                  </a:lnTo>
                  <a:lnTo>
                    <a:pt x="469" y="272"/>
                  </a:lnTo>
                  <a:lnTo>
                    <a:pt x="488" y="272"/>
                  </a:lnTo>
                  <a:lnTo>
                    <a:pt x="488" y="272"/>
                  </a:lnTo>
                  <a:lnTo>
                    <a:pt x="488" y="260"/>
                  </a:lnTo>
                  <a:lnTo>
                    <a:pt x="484" y="257"/>
                  </a:lnTo>
                  <a:lnTo>
                    <a:pt x="484" y="257"/>
                  </a:lnTo>
                  <a:lnTo>
                    <a:pt x="478" y="251"/>
                  </a:lnTo>
                  <a:lnTo>
                    <a:pt x="475" y="220"/>
                  </a:lnTo>
                  <a:lnTo>
                    <a:pt x="466" y="208"/>
                  </a:lnTo>
                  <a:lnTo>
                    <a:pt x="475" y="205"/>
                  </a:lnTo>
                  <a:lnTo>
                    <a:pt x="469" y="192"/>
                  </a:lnTo>
                  <a:lnTo>
                    <a:pt x="457" y="199"/>
                  </a:lnTo>
                  <a:lnTo>
                    <a:pt x="439" y="192"/>
                  </a:lnTo>
                  <a:lnTo>
                    <a:pt x="368" y="214"/>
                  </a:lnTo>
                  <a:lnTo>
                    <a:pt x="344" y="180"/>
                  </a:lnTo>
                  <a:lnTo>
                    <a:pt x="344" y="180"/>
                  </a:lnTo>
                  <a:lnTo>
                    <a:pt x="362" y="159"/>
                  </a:lnTo>
                  <a:lnTo>
                    <a:pt x="380" y="168"/>
                  </a:lnTo>
                  <a:lnTo>
                    <a:pt x="380" y="150"/>
                  </a:lnTo>
                  <a:lnTo>
                    <a:pt x="368" y="137"/>
                  </a:lnTo>
                  <a:lnTo>
                    <a:pt x="393" y="116"/>
                  </a:lnTo>
                  <a:lnTo>
                    <a:pt x="402" y="125"/>
                  </a:lnTo>
                  <a:lnTo>
                    <a:pt x="411" y="119"/>
                  </a:lnTo>
                  <a:lnTo>
                    <a:pt x="402" y="107"/>
                  </a:lnTo>
                  <a:lnTo>
                    <a:pt x="396" y="79"/>
                  </a:lnTo>
                  <a:lnTo>
                    <a:pt x="386" y="85"/>
                  </a:lnTo>
                  <a:lnTo>
                    <a:pt x="377" y="79"/>
                  </a:lnTo>
                  <a:lnTo>
                    <a:pt x="383" y="73"/>
                  </a:lnTo>
                  <a:lnTo>
                    <a:pt x="362" y="61"/>
                  </a:lnTo>
                  <a:lnTo>
                    <a:pt x="371" y="64"/>
                  </a:lnTo>
                  <a:lnTo>
                    <a:pt x="368" y="58"/>
                  </a:lnTo>
                  <a:lnTo>
                    <a:pt x="383" y="52"/>
                  </a:lnTo>
                  <a:lnTo>
                    <a:pt x="386" y="58"/>
                  </a:lnTo>
                  <a:lnTo>
                    <a:pt x="389" y="55"/>
                  </a:lnTo>
                  <a:lnTo>
                    <a:pt x="402" y="39"/>
                  </a:lnTo>
                  <a:lnTo>
                    <a:pt x="393" y="15"/>
                  </a:lnTo>
                  <a:lnTo>
                    <a:pt x="408" y="0"/>
                  </a:lnTo>
                  <a:lnTo>
                    <a:pt x="426" y="6"/>
                  </a:lnTo>
                  <a:lnTo>
                    <a:pt x="439" y="12"/>
                  </a:lnTo>
                  <a:lnTo>
                    <a:pt x="442" y="36"/>
                  </a:lnTo>
                  <a:lnTo>
                    <a:pt x="454" y="36"/>
                  </a:lnTo>
                  <a:lnTo>
                    <a:pt x="466" y="70"/>
                  </a:lnTo>
                  <a:lnTo>
                    <a:pt x="484" y="67"/>
                  </a:lnTo>
                  <a:lnTo>
                    <a:pt x="484" y="67"/>
                  </a:lnTo>
                  <a:lnTo>
                    <a:pt x="509" y="52"/>
                  </a:lnTo>
                  <a:lnTo>
                    <a:pt x="524" y="70"/>
                  </a:lnTo>
                  <a:lnTo>
                    <a:pt x="555" y="70"/>
                  </a:lnTo>
                  <a:lnTo>
                    <a:pt x="567" y="55"/>
                  </a:lnTo>
                  <a:lnTo>
                    <a:pt x="586" y="52"/>
                  </a:lnTo>
                  <a:lnTo>
                    <a:pt x="586" y="42"/>
                  </a:lnTo>
                  <a:lnTo>
                    <a:pt x="604" y="42"/>
                  </a:lnTo>
                  <a:lnTo>
                    <a:pt x="610" y="49"/>
                  </a:lnTo>
                  <a:lnTo>
                    <a:pt x="610" y="49"/>
                  </a:lnTo>
                  <a:lnTo>
                    <a:pt x="632" y="39"/>
                  </a:lnTo>
                  <a:lnTo>
                    <a:pt x="628" y="27"/>
                  </a:lnTo>
                  <a:lnTo>
                    <a:pt x="656" y="15"/>
                  </a:lnTo>
                  <a:lnTo>
                    <a:pt x="665" y="6"/>
                  </a:lnTo>
                  <a:lnTo>
                    <a:pt x="690" y="9"/>
                  </a:lnTo>
                  <a:lnTo>
                    <a:pt x="690" y="9"/>
                  </a:lnTo>
                  <a:lnTo>
                    <a:pt x="696" y="15"/>
                  </a:lnTo>
                  <a:lnTo>
                    <a:pt x="693" y="33"/>
                  </a:lnTo>
                  <a:lnTo>
                    <a:pt x="696" y="42"/>
                  </a:lnTo>
                  <a:lnTo>
                    <a:pt x="702" y="45"/>
                  </a:lnTo>
                  <a:lnTo>
                    <a:pt x="702" y="36"/>
                  </a:lnTo>
                  <a:lnTo>
                    <a:pt x="714" y="39"/>
                  </a:lnTo>
                  <a:lnTo>
                    <a:pt x="714" y="58"/>
                  </a:lnTo>
                  <a:lnTo>
                    <a:pt x="730" y="79"/>
                  </a:lnTo>
                  <a:lnTo>
                    <a:pt x="726" y="94"/>
                  </a:lnTo>
                  <a:lnTo>
                    <a:pt x="751" y="116"/>
                  </a:lnTo>
                  <a:lnTo>
                    <a:pt x="757" y="168"/>
                  </a:lnTo>
                  <a:lnTo>
                    <a:pt x="720" y="177"/>
                  </a:lnTo>
                  <a:lnTo>
                    <a:pt x="723" y="183"/>
                  </a:lnTo>
                  <a:lnTo>
                    <a:pt x="730" y="183"/>
                  </a:lnTo>
                  <a:lnTo>
                    <a:pt x="726" y="186"/>
                  </a:lnTo>
                  <a:lnTo>
                    <a:pt x="736" y="199"/>
                  </a:lnTo>
                  <a:lnTo>
                    <a:pt x="726" y="208"/>
                  </a:lnTo>
                  <a:lnTo>
                    <a:pt x="730" y="205"/>
                  </a:lnTo>
                  <a:lnTo>
                    <a:pt x="742" y="223"/>
                  </a:lnTo>
                  <a:lnTo>
                    <a:pt x="751" y="226"/>
                  </a:lnTo>
                  <a:lnTo>
                    <a:pt x="745" y="235"/>
                  </a:lnTo>
                  <a:lnTo>
                    <a:pt x="736" y="235"/>
                  </a:lnTo>
                  <a:lnTo>
                    <a:pt x="736" y="248"/>
                  </a:lnTo>
                  <a:lnTo>
                    <a:pt x="720" y="260"/>
                  </a:lnTo>
                  <a:lnTo>
                    <a:pt x="696" y="309"/>
                  </a:lnTo>
                  <a:lnTo>
                    <a:pt x="702" y="303"/>
                  </a:lnTo>
                  <a:lnTo>
                    <a:pt x="720" y="306"/>
                  </a:lnTo>
                  <a:lnTo>
                    <a:pt x="714" y="312"/>
                  </a:lnTo>
                  <a:lnTo>
                    <a:pt x="720" y="315"/>
                  </a:lnTo>
                  <a:lnTo>
                    <a:pt x="730" y="306"/>
                  </a:lnTo>
                  <a:lnTo>
                    <a:pt x="733" y="330"/>
                  </a:lnTo>
                  <a:lnTo>
                    <a:pt x="726" y="339"/>
                  </a:lnTo>
                  <a:lnTo>
                    <a:pt x="705" y="333"/>
                  </a:lnTo>
                  <a:lnTo>
                    <a:pt x="693" y="361"/>
                  </a:lnTo>
                  <a:lnTo>
                    <a:pt x="693" y="361"/>
                  </a:lnTo>
                  <a:lnTo>
                    <a:pt x="699" y="376"/>
                  </a:lnTo>
                  <a:lnTo>
                    <a:pt x="690" y="392"/>
                  </a:lnTo>
                  <a:lnTo>
                    <a:pt x="659" y="395"/>
                  </a:lnTo>
                  <a:lnTo>
                    <a:pt x="665" y="407"/>
                  </a:lnTo>
                  <a:lnTo>
                    <a:pt x="659" y="434"/>
                  </a:lnTo>
                  <a:lnTo>
                    <a:pt x="644" y="437"/>
                  </a:lnTo>
                  <a:lnTo>
                    <a:pt x="650" y="428"/>
                  </a:lnTo>
                  <a:lnTo>
                    <a:pt x="635" y="419"/>
                  </a:lnTo>
                  <a:lnTo>
                    <a:pt x="628" y="431"/>
                  </a:lnTo>
                  <a:lnTo>
                    <a:pt x="613" y="434"/>
                  </a:lnTo>
                  <a:lnTo>
                    <a:pt x="607" y="425"/>
                  </a:lnTo>
                  <a:lnTo>
                    <a:pt x="598" y="447"/>
                  </a:lnTo>
                  <a:lnTo>
                    <a:pt x="579" y="456"/>
                  </a:lnTo>
                  <a:lnTo>
                    <a:pt x="586" y="477"/>
                  </a:lnTo>
                  <a:lnTo>
                    <a:pt x="570" y="490"/>
                  </a:lnTo>
                  <a:lnTo>
                    <a:pt x="570" y="490"/>
                  </a:lnTo>
                  <a:lnTo>
                    <a:pt x="558" y="493"/>
                  </a:lnTo>
                  <a:lnTo>
                    <a:pt x="549" y="486"/>
                  </a:lnTo>
                  <a:lnTo>
                    <a:pt x="549" y="486"/>
                  </a:lnTo>
                  <a:lnTo>
                    <a:pt x="537" y="483"/>
                  </a:lnTo>
                  <a:lnTo>
                    <a:pt x="530" y="499"/>
                  </a:lnTo>
                  <a:lnTo>
                    <a:pt x="524" y="496"/>
                  </a:lnTo>
                  <a:lnTo>
                    <a:pt x="515" y="505"/>
                  </a:lnTo>
                  <a:lnTo>
                    <a:pt x="500" y="477"/>
                  </a:lnTo>
                  <a:lnTo>
                    <a:pt x="500" y="477"/>
                  </a:lnTo>
                  <a:lnTo>
                    <a:pt x="488" y="486"/>
                  </a:lnTo>
                  <a:lnTo>
                    <a:pt x="478" y="480"/>
                  </a:lnTo>
                  <a:lnTo>
                    <a:pt x="475" y="502"/>
                  </a:lnTo>
                  <a:lnTo>
                    <a:pt x="448" y="496"/>
                  </a:lnTo>
                  <a:lnTo>
                    <a:pt x="448" y="477"/>
                  </a:lnTo>
                  <a:lnTo>
                    <a:pt x="417" y="480"/>
                  </a:lnTo>
                  <a:lnTo>
                    <a:pt x="420" y="471"/>
                  </a:lnTo>
                  <a:lnTo>
                    <a:pt x="402" y="468"/>
                  </a:lnTo>
                  <a:lnTo>
                    <a:pt x="389" y="450"/>
                  </a:lnTo>
                  <a:lnTo>
                    <a:pt x="377" y="459"/>
                  </a:lnTo>
                  <a:lnTo>
                    <a:pt x="362" y="459"/>
                  </a:lnTo>
                  <a:lnTo>
                    <a:pt x="356" y="450"/>
                  </a:lnTo>
                  <a:lnTo>
                    <a:pt x="353" y="456"/>
                  </a:lnTo>
                  <a:lnTo>
                    <a:pt x="353" y="456"/>
                  </a:lnTo>
                  <a:lnTo>
                    <a:pt x="350" y="483"/>
                  </a:lnTo>
                  <a:lnTo>
                    <a:pt x="331" y="499"/>
                  </a:lnTo>
                  <a:lnTo>
                    <a:pt x="344" y="496"/>
                  </a:lnTo>
                  <a:lnTo>
                    <a:pt x="344" y="508"/>
                  </a:lnTo>
                  <a:lnTo>
                    <a:pt x="359" y="511"/>
                  </a:lnTo>
                  <a:lnTo>
                    <a:pt x="350" y="526"/>
                  </a:lnTo>
                  <a:lnTo>
                    <a:pt x="334" y="526"/>
                  </a:lnTo>
                  <a:lnTo>
                    <a:pt x="328" y="539"/>
                  </a:lnTo>
                  <a:lnTo>
                    <a:pt x="328" y="545"/>
                  </a:lnTo>
                  <a:lnTo>
                    <a:pt x="340" y="545"/>
                  </a:lnTo>
                  <a:lnTo>
                    <a:pt x="337" y="551"/>
                  </a:lnTo>
                  <a:lnTo>
                    <a:pt x="313" y="557"/>
                  </a:lnTo>
                  <a:lnTo>
                    <a:pt x="295" y="542"/>
                  </a:lnTo>
                  <a:lnTo>
                    <a:pt x="285" y="542"/>
                  </a:lnTo>
                  <a:lnTo>
                    <a:pt x="267" y="520"/>
                  </a:lnTo>
                  <a:lnTo>
                    <a:pt x="270" y="508"/>
                  </a:lnTo>
                  <a:lnTo>
                    <a:pt x="255" y="511"/>
                  </a:lnTo>
                  <a:lnTo>
                    <a:pt x="258" y="505"/>
                  </a:lnTo>
                  <a:lnTo>
                    <a:pt x="239" y="508"/>
                  </a:lnTo>
                  <a:lnTo>
                    <a:pt x="236" y="520"/>
                  </a:lnTo>
                  <a:lnTo>
                    <a:pt x="230" y="517"/>
                  </a:lnTo>
                  <a:lnTo>
                    <a:pt x="221" y="529"/>
                  </a:lnTo>
                  <a:lnTo>
                    <a:pt x="209" y="523"/>
                  </a:lnTo>
                  <a:lnTo>
                    <a:pt x="187" y="526"/>
                  </a:lnTo>
                  <a:lnTo>
                    <a:pt x="175" y="511"/>
                  </a:lnTo>
                  <a:lnTo>
                    <a:pt x="163" y="529"/>
                  </a:lnTo>
                  <a:lnTo>
                    <a:pt x="157" y="499"/>
                  </a:lnTo>
                  <a:lnTo>
                    <a:pt x="135" y="486"/>
                  </a:lnTo>
                  <a:lnTo>
                    <a:pt x="114" y="490"/>
                  </a:lnTo>
                  <a:lnTo>
                    <a:pt x="117" y="502"/>
                  </a:lnTo>
                  <a:lnTo>
                    <a:pt x="111" y="511"/>
                  </a:lnTo>
                  <a:lnTo>
                    <a:pt x="86" y="508"/>
                  </a:lnTo>
                  <a:lnTo>
                    <a:pt x="71" y="465"/>
                  </a:lnTo>
                  <a:lnTo>
                    <a:pt x="46" y="437"/>
                  </a:lnTo>
                  <a:lnTo>
                    <a:pt x="56" y="431"/>
                  </a:lnTo>
                  <a:lnTo>
                    <a:pt x="40" y="419"/>
                  </a:lnTo>
                  <a:lnTo>
                    <a:pt x="43" y="410"/>
                  </a:lnTo>
                  <a:lnTo>
                    <a:pt x="16" y="388"/>
                  </a:lnTo>
                  <a:lnTo>
                    <a:pt x="0" y="392"/>
                  </a:lnTo>
                  <a:lnTo>
                    <a:pt x="0" y="370"/>
                  </a:lnTo>
                  <a:lnTo>
                    <a:pt x="3" y="361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30" name="Freeform 46"/>
            <p:cNvSpPr>
              <a:spLocks/>
            </p:cNvSpPr>
            <p:nvPr/>
          </p:nvSpPr>
          <p:spPr bwMode="gray">
            <a:xfrm>
              <a:off x="2167" y="2897"/>
              <a:ext cx="720" cy="781"/>
            </a:xfrm>
            <a:custGeom>
              <a:avLst/>
              <a:gdLst>
                <a:gd name="T0" fmla="*/ 147 w 720"/>
                <a:gd name="T1" fmla="*/ 248 h 781"/>
                <a:gd name="T2" fmla="*/ 119 w 720"/>
                <a:gd name="T3" fmla="*/ 331 h 781"/>
                <a:gd name="T4" fmla="*/ 61 w 720"/>
                <a:gd name="T5" fmla="*/ 490 h 781"/>
                <a:gd name="T6" fmla="*/ 18 w 720"/>
                <a:gd name="T7" fmla="*/ 567 h 781"/>
                <a:gd name="T8" fmla="*/ 3 w 720"/>
                <a:gd name="T9" fmla="*/ 692 h 781"/>
                <a:gd name="T10" fmla="*/ 43 w 720"/>
                <a:gd name="T11" fmla="*/ 760 h 781"/>
                <a:gd name="T12" fmla="*/ 67 w 720"/>
                <a:gd name="T13" fmla="*/ 775 h 781"/>
                <a:gd name="T14" fmla="*/ 110 w 720"/>
                <a:gd name="T15" fmla="*/ 775 h 781"/>
                <a:gd name="T16" fmla="*/ 193 w 720"/>
                <a:gd name="T17" fmla="*/ 757 h 781"/>
                <a:gd name="T18" fmla="*/ 233 w 720"/>
                <a:gd name="T19" fmla="*/ 760 h 781"/>
                <a:gd name="T20" fmla="*/ 279 w 720"/>
                <a:gd name="T21" fmla="*/ 741 h 781"/>
                <a:gd name="T22" fmla="*/ 220 w 720"/>
                <a:gd name="T23" fmla="*/ 726 h 781"/>
                <a:gd name="T24" fmla="*/ 263 w 720"/>
                <a:gd name="T25" fmla="*/ 686 h 781"/>
                <a:gd name="T26" fmla="*/ 294 w 720"/>
                <a:gd name="T27" fmla="*/ 705 h 781"/>
                <a:gd name="T28" fmla="*/ 318 w 720"/>
                <a:gd name="T29" fmla="*/ 735 h 781"/>
                <a:gd name="T30" fmla="*/ 325 w 720"/>
                <a:gd name="T31" fmla="*/ 720 h 781"/>
                <a:gd name="T32" fmla="*/ 355 w 720"/>
                <a:gd name="T33" fmla="*/ 741 h 781"/>
                <a:gd name="T34" fmla="*/ 371 w 720"/>
                <a:gd name="T35" fmla="*/ 717 h 781"/>
                <a:gd name="T36" fmla="*/ 380 w 720"/>
                <a:gd name="T37" fmla="*/ 723 h 781"/>
                <a:gd name="T38" fmla="*/ 423 w 720"/>
                <a:gd name="T39" fmla="*/ 738 h 781"/>
                <a:gd name="T40" fmla="*/ 398 w 720"/>
                <a:gd name="T41" fmla="*/ 692 h 781"/>
                <a:gd name="T42" fmla="*/ 386 w 720"/>
                <a:gd name="T43" fmla="*/ 647 h 781"/>
                <a:gd name="T44" fmla="*/ 352 w 720"/>
                <a:gd name="T45" fmla="*/ 616 h 781"/>
                <a:gd name="T46" fmla="*/ 368 w 720"/>
                <a:gd name="T47" fmla="*/ 591 h 781"/>
                <a:gd name="T48" fmla="*/ 386 w 720"/>
                <a:gd name="T49" fmla="*/ 579 h 781"/>
                <a:gd name="T50" fmla="*/ 395 w 720"/>
                <a:gd name="T51" fmla="*/ 601 h 781"/>
                <a:gd name="T52" fmla="*/ 438 w 720"/>
                <a:gd name="T53" fmla="*/ 625 h 781"/>
                <a:gd name="T54" fmla="*/ 459 w 720"/>
                <a:gd name="T55" fmla="*/ 582 h 781"/>
                <a:gd name="T56" fmla="*/ 475 w 720"/>
                <a:gd name="T57" fmla="*/ 527 h 781"/>
                <a:gd name="T58" fmla="*/ 499 w 720"/>
                <a:gd name="T59" fmla="*/ 518 h 781"/>
                <a:gd name="T60" fmla="*/ 511 w 720"/>
                <a:gd name="T61" fmla="*/ 493 h 781"/>
                <a:gd name="T62" fmla="*/ 542 w 720"/>
                <a:gd name="T63" fmla="*/ 460 h 781"/>
                <a:gd name="T64" fmla="*/ 515 w 720"/>
                <a:gd name="T65" fmla="*/ 438 h 781"/>
                <a:gd name="T66" fmla="*/ 548 w 720"/>
                <a:gd name="T67" fmla="*/ 405 h 781"/>
                <a:gd name="T68" fmla="*/ 600 w 720"/>
                <a:gd name="T69" fmla="*/ 380 h 781"/>
                <a:gd name="T70" fmla="*/ 594 w 720"/>
                <a:gd name="T71" fmla="*/ 353 h 781"/>
                <a:gd name="T72" fmla="*/ 631 w 720"/>
                <a:gd name="T73" fmla="*/ 337 h 781"/>
                <a:gd name="T74" fmla="*/ 668 w 720"/>
                <a:gd name="T75" fmla="*/ 322 h 781"/>
                <a:gd name="T76" fmla="*/ 714 w 720"/>
                <a:gd name="T77" fmla="*/ 316 h 781"/>
                <a:gd name="T78" fmla="*/ 714 w 720"/>
                <a:gd name="T79" fmla="*/ 276 h 781"/>
                <a:gd name="T80" fmla="*/ 674 w 720"/>
                <a:gd name="T81" fmla="*/ 227 h 781"/>
                <a:gd name="T82" fmla="*/ 662 w 720"/>
                <a:gd name="T83" fmla="*/ 209 h 781"/>
                <a:gd name="T84" fmla="*/ 643 w 720"/>
                <a:gd name="T85" fmla="*/ 150 h 781"/>
                <a:gd name="T86" fmla="*/ 637 w 720"/>
                <a:gd name="T87" fmla="*/ 101 h 781"/>
                <a:gd name="T88" fmla="*/ 594 w 720"/>
                <a:gd name="T89" fmla="*/ 104 h 781"/>
                <a:gd name="T90" fmla="*/ 515 w 720"/>
                <a:gd name="T91" fmla="*/ 89 h 781"/>
                <a:gd name="T92" fmla="*/ 502 w 720"/>
                <a:gd name="T93" fmla="*/ 13 h 781"/>
                <a:gd name="T94" fmla="*/ 429 w 720"/>
                <a:gd name="T95" fmla="*/ 31 h 781"/>
                <a:gd name="T96" fmla="*/ 395 w 720"/>
                <a:gd name="T97" fmla="*/ 65 h 781"/>
                <a:gd name="T98" fmla="*/ 386 w 720"/>
                <a:gd name="T99" fmla="*/ 98 h 781"/>
                <a:gd name="T100" fmla="*/ 343 w 720"/>
                <a:gd name="T101" fmla="*/ 95 h 781"/>
                <a:gd name="T102" fmla="*/ 306 w 720"/>
                <a:gd name="T103" fmla="*/ 160 h 781"/>
                <a:gd name="T104" fmla="*/ 285 w 720"/>
                <a:gd name="T105" fmla="*/ 156 h 781"/>
                <a:gd name="T106" fmla="*/ 251 w 720"/>
                <a:gd name="T107" fmla="*/ 175 h 781"/>
                <a:gd name="T108" fmla="*/ 214 w 720"/>
                <a:gd name="T109" fmla="*/ 150 h 781"/>
                <a:gd name="T110" fmla="*/ 153 w 720"/>
                <a:gd name="T111" fmla="*/ 150 h 781"/>
                <a:gd name="T112" fmla="*/ 113 w 720"/>
                <a:gd name="T113" fmla="*/ 129 h 781"/>
                <a:gd name="T114" fmla="*/ 89 w 720"/>
                <a:gd name="T115" fmla="*/ 126 h 781"/>
                <a:gd name="T116" fmla="*/ 80 w 720"/>
                <a:gd name="T117" fmla="*/ 178 h 781"/>
                <a:gd name="T118" fmla="*/ 64 w 720"/>
                <a:gd name="T119" fmla="*/ 209 h 781"/>
                <a:gd name="T120" fmla="*/ 73 w 720"/>
                <a:gd name="T121" fmla="*/ 221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20" h="781">
                  <a:moveTo>
                    <a:pt x="73" y="221"/>
                  </a:moveTo>
                  <a:lnTo>
                    <a:pt x="95" y="230"/>
                  </a:lnTo>
                  <a:lnTo>
                    <a:pt x="110" y="221"/>
                  </a:lnTo>
                  <a:lnTo>
                    <a:pt x="147" y="248"/>
                  </a:lnTo>
                  <a:lnTo>
                    <a:pt x="181" y="255"/>
                  </a:lnTo>
                  <a:lnTo>
                    <a:pt x="147" y="319"/>
                  </a:lnTo>
                  <a:lnTo>
                    <a:pt x="147" y="319"/>
                  </a:lnTo>
                  <a:lnTo>
                    <a:pt x="119" y="331"/>
                  </a:lnTo>
                  <a:lnTo>
                    <a:pt x="116" y="346"/>
                  </a:lnTo>
                  <a:lnTo>
                    <a:pt x="86" y="377"/>
                  </a:lnTo>
                  <a:lnTo>
                    <a:pt x="58" y="466"/>
                  </a:lnTo>
                  <a:lnTo>
                    <a:pt x="61" y="490"/>
                  </a:lnTo>
                  <a:lnTo>
                    <a:pt x="49" y="500"/>
                  </a:lnTo>
                  <a:lnTo>
                    <a:pt x="46" y="515"/>
                  </a:lnTo>
                  <a:lnTo>
                    <a:pt x="46" y="515"/>
                  </a:lnTo>
                  <a:lnTo>
                    <a:pt x="18" y="567"/>
                  </a:lnTo>
                  <a:lnTo>
                    <a:pt x="15" y="598"/>
                  </a:lnTo>
                  <a:lnTo>
                    <a:pt x="27" y="622"/>
                  </a:lnTo>
                  <a:lnTo>
                    <a:pt x="12" y="656"/>
                  </a:lnTo>
                  <a:lnTo>
                    <a:pt x="3" y="692"/>
                  </a:lnTo>
                  <a:lnTo>
                    <a:pt x="9" y="711"/>
                  </a:lnTo>
                  <a:lnTo>
                    <a:pt x="0" y="723"/>
                  </a:lnTo>
                  <a:lnTo>
                    <a:pt x="21" y="766"/>
                  </a:lnTo>
                  <a:lnTo>
                    <a:pt x="43" y="760"/>
                  </a:lnTo>
                  <a:lnTo>
                    <a:pt x="43" y="772"/>
                  </a:lnTo>
                  <a:lnTo>
                    <a:pt x="27" y="772"/>
                  </a:lnTo>
                  <a:lnTo>
                    <a:pt x="37" y="781"/>
                  </a:lnTo>
                  <a:lnTo>
                    <a:pt x="67" y="775"/>
                  </a:lnTo>
                  <a:lnTo>
                    <a:pt x="76" y="763"/>
                  </a:lnTo>
                  <a:lnTo>
                    <a:pt x="92" y="766"/>
                  </a:lnTo>
                  <a:lnTo>
                    <a:pt x="107" y="781"/>
                  </a:lnTo>
                  <a:lnTo>
                    <a:pt x="110" y="775"/>
                  </a:lnTo>
                  <a:lnTo>
                    <a:pt x="144" y="775"/>
                  </a:lnTo>
                  <a:lnTo>
                    <a:pt x="171" y="754"/>
                  </a:lnTo>
                  <a:lnTo>
                    <a:pt x="178" y="760"/>
                  </a:lnTo>
                  <a:lnTo>
                    <a:pt x="193" y="757"/>
                  </a:lnTo>
                  <a:lnTo>
                    <a:pt x="202" y="772"/>
                  </a:lnTo>
                  <a:lnTo>
                    <a:pt x="217" y="775"/>
                  </a:lnTo>
                  <a:lnTo>
                    <a:pt x="242" y="769"/>
                  </a:lnTo>
                  <a:lnTo>
                    <a:pt x="233" y="760"/>
                  </a:lnTo>
                  <a:lnTo>
                    <a:pt x="248" y="748"/>
                  </a:lnTo>
                  <a:lnTo>
                    <a:pt x="266" y="763"/>
                  </a:lnTo>
                  <a:lnTo>
                    <a:pt x="269" y="745"/>
                  </a:lnTo>
                  <a:lnTo>
                    <a:pt x="279" y="741"/>
                  </a:lnTo>
                  <a:lnTo>
                    <a:pt x="273" y="735"/>
                  </a:lnTo>
                  <a:lnTo>
                    <a:pt x="239" y="748"/>
                  </a:lnTo>
                  <a:lnTo>
                    <a:pt x="220" y="735"/>
                  </a:lnTo>
                  <a:lnTo>
                    <a:pt x="220" y="726"/>
                  </a:lnTo>
                  <a:lnTo>
                    <a:pt x="248" y="696"/>
                  </a:lnTo>
                  <a:lnTo>
                    <a:pt x="248" y="696"/>
                  </a:lnTo>
                  <a:lnTo>
                    <a:pt x="263" y="696"/>
                  </a:lnTo>
                  <a:lnTo>
                    <a:pt x="263" y="686"/>
                  </a:lnTo>
                  <a:lnTo>
                    <a:pt x="273" y="686"/>
                  </a:lnTo>
                  <a:lnTo>
                    <a:pt x="279" y="705"/>
                  </a:lnTo>
                  <a:lnTo>
                    <a:pt x="285" y="686"/>
                  </a:lnTo>
                  <a:lnTo>
                    <a:pt x="294" y="705"/>
                  </a:lnTo>
                  <a:lnTo>
                    <a:pt x="306" y="705"/>
                  </a:lnTo>
                  <a:lnTo>
                    <a:pt x="297" y="714"/>
                  </a:lnTo>
                  <a:lnTo>
                    <a:pt x="303" y="726"/>
                  </a:lnTo>
                  <a:lnTo>
                    <a:pt x="318" y="735"/>
                  </a:lnTo>
                  <a:lnTo>
                    <a:pt x="322" y="726"/>
                  </a:lnTo>
                  <a:lnTo>
                    <a:pt x="312" y="717"/>
                  </a:lnTo>
                  <a:lnTo>
                    <a:pt x="322" y="711"/>
                  </a:lnTo>
                  <a:lnTo>
                    <a:pt x="325" y="720"/>
                  </a:lnTo>
                  <a:lnTo>
                    <a:pt x="337" y="723"/>
                  </a:lnTo>
                  <a:lnTo>
                    <a:pt x="334" y="732"/>
                  </a:lnTo>
                  <a:lnTo>
                    <a:pt x="340" y="741"/>
                  </a:lnTo>
                  <a:lnTo>
                    <a:pt x="355" y="741"/>
                  </a:lnTo>
                  <a:lnTo>
                    <a:pt x="371" y="732"/>
                  </a:lnTo>
                  <a:lnTo>
                    <a:pt x="371" y="726"/>
                  </a:lnTo>
                  <a:lnTo>
                    <a:pt x="355" y="714"/>
                  </a:lnTo>
                  <a:lnTo>
                    <a:pt x="371" y="717"/>
                  </a:lnTo>
                  <a:lnTo>
                    <a:pt x="368" y="708"/>
                  </a:lnTo>
                  <a:lnTo>
                    <a:pt x="395" y="726"/>
                  </a:lnTo>
                  <a:lnTo>
                    <a:pt x="392" y="729"/>
                  </a:lnTo>
                  <a:lnTo>
                    <a:pt x="380" y="723"/>
                  </a:lnTo>
                  <a:lnTo>
                    <a:pt x="380" y="729"/>
                  </a:lnTo>
                  <a:lnTo>
                    <a:pt x="413" y="741"/>
                  </a:lnTo>
                  <a:lnTo>
                    <a:pt x="413" y="741"/>
                  </a:lnTo>
                  <a:lnTo>
                    <a:pt x="423" y="738"/>
                  </a:lnTo>
                  <a:lnTo>
                    <a:pt x="420" y="723"/>
                  </a:lnTo>
                  <a:lnTo>
                    <a:pt x="377" y="686"/>
                  </a:lnTo>
                  <a:lnTo>
                    <a:pt x="386" y="683"/>
                  </a:lnTo>
                  <a:lnTo>
                    <a:pt x="398" y="692"/>
                  </a:lnTo>
                  <a:lnTo>
                    <a:pt x="386" y="668"/>
                  </a:lnTo>
                  <a:lnTo>
                    <a:pt x="398" y="671"/>
                  </a:lnTo>
                  <a:lnTo>
                    <a:pt x="407" y="653"/>
                  </a:lnTo>
                  <a:lnTo>
                    <a:pt x="386" y="647"/>
                  </a:lnTo>
                  <a:lnTo>
                    <a:pt x="389" y="637"/>
                  </a:lnTo>
                  <a:lnTo>
                    <a:pt x="374" y="637"/>
                  </a:lnTo>
                  <a:lnTo>
                    <a:pt x="371" y="616"/>
                  </a:lnTo>
                  <a:lnTo>
                    <a:pt x="352" y="616"/>
                  </a:lnTo>
                  <a:lnTo>
                    <a:pt x="364" y="604"/>
                  </a:lnTo>
                  <a:lnTo>
                    <a:pt x="358" y="604"/>
                  </a:lnTo>
                  <a:lnTo>
                    <a:pt x="355" y="594"/>
                  </a:lnTo>
                  <a:lnTo>
                    <a:pt x="368" y="591"/>
                  </a:lnTo>
                  <a:lnTo>
                    <a:pt x="364" y="582"/>
                  </a:lnTo>
                  <a:lnTo>
                    <a:pt x="364" y="582"/>
                  </a:lnTo>
                  <a:lnTo>
                    <a:pt x="377" y="573"/>
                  </a:lnTo>
                  <a:lnTo>
                    <a:pt x="386" y="579"/>
                  </a:lnTo>
                  <a:lnTo>
                    <a:pt x="395" y="576"/>
                  </a:lnTo>
                  <a:lnTo>
                    <a:pt x="392" y="588"/>
                  </a:lnTo>
                  <a:lnTo>
                    <a:pt x="398" y="591"/>
                  </a:lnTo>
                  <a:lnTo>
                    <a:pt x="395" y="601"/>
                  </a:lnTo>
                  <a:lnTo>
                    <a:pt x="401" y="607"/>
                  </a:lnTo>
                  <a:lnTo>
                    <a:pt x="413" y="604"/>
                  </a:lnTo>
                  <a:lnTo>
                    <a:pt x="417" y="622"/>
                  </a:lnTo>
                  <a:lnTo>
                    <a:pt x="438" y="625"/>
                  </a:lnTo>
                  <a:lnTo>
                    <a:pt x="444" y="619"/>
                  </a:lnTo>
                  <a:lnTo>
                    <a:pt x="435" y="601"/>
                  </a:lnTo>
                  <a:lnTo>
                    <a:pt x="450" y="582"/>
                  </a:lnTo>
                  <a:lnTo>
                    <a:pt x="459" y="582"/>
                  </a:lnTo>
                  <a:lnTo>
                    <a:pt x="435" y="558"/>
                  </a:lnTo>
                  <a:lnTo>
                    <a:pt x="447" y="545"/>
                  </a:lnTo>
                  <a:lnTo>
                    <a:pt x="447" y="530"/>
                  </a:lnTo>
                  <a:lnTo>
                    <a:pt x="475" y="527"/>
                  </a:lnTo>
                  <a:lnTo>
                    <a:pt x="475" y="515"/>
                  </a:lnTo>
                  <a:lnTo>
                    <a:pt x="493" y="524"/>
                  </a:lnTo>
                  <a:lnTo>
                    <a:pt x="499" y="518"/>
                  </a:lnTo>
                  <a:lnTo>
                    <a:pt x="499" y="518"/>
                  </a:lnTo>
                  <a:lnTo>
                    <a:pt x="496" y="509"/>
                  </a:lnTo>
                  <a:lnTo>
                    <a:pt x="508" y="506"/>
                  </a:lnTo>
                  <a:lnTo>
                    <a:pt x="502" y="496"/>
                  </a:lnTo>
                  <a:lnTo>
                    <a:pt x="511" y="493"/>
                  </a:lnTo>
                  <a:lnTo>
                    <a:pt x="518" y="475"/>
                  </a:lnTo>
                  <a:lnTo>
                    <a:pt x="511" y="469"/>
                  </a:lnTo>
                  <a:lnTo>
                    <a:pt x="533" y="457"/>
                  </a:lnTo>
                  <a:lnTo>
                    <a:pt x="542" y="460"/>
                  </a:lnTo>
                  <a:lnTo>
                    <a:pt x="536" y="457"/>
                  </a:lnTo>
                  <a:lnTo>
                    <a:pt x="536" y="441"/>
                  </a:lnTo>
                  <a:lnTo>
                    <a:pt x="524" y="444"/>
                  </a:lnTo>
                  <a:lnTo>
                    <a:pt x="515" y="438"/>
                  </a:lnTo>
                  <a:lnTo>
                    <a:pt x="530" y="423"/>
                  </a:lnTo>
                  <a:lnTo>
                    <a:pt x="530" y="423"/>
                  </a:lnTo>
                  <a:lnTo>
                    <a:pt x="539" y="423"/>
                  </a:lnTo>
                  <a:lnTo>
                    <a:pt x="548" y="405"/>
                  </a:lnTo>
                  <a:lnTo>
                    <a:pt x="585" y="414"/>
                  </a:lnTo>
                  <a:lnTo>
                    <a:pt x="582" y="405"/>
                  </a:lnTo>
                  <a:lnTo>
                    <a:pt x="606" y="392"/>
                  </a:lnTo>
                  <a:lnTo>
                    <a:pt x="600" y="380"/>
                  </a:lnTo>
                  <a:lnTo>
                    <a:pt x="579" y="362"/>
                  </a:lnTo>
                  <a:lnTo>
                    <a:pt x="582" y="353"/>
                  </a:lnTo>
                  <a:lnTo>
                    <a:pt x="600" y="353"/>
                  </a:lnTo>
                  <a:lnTo>
                    <a:pt x="594" y="353"/>
                  </a:lnTo>
                  <a:lnTo>
                    <a:pt x="600" y="343"/>
                  </a:lnTo>
                  <a:lnTo>
                    <a:pt x="619" y="343"/>
                  </a:lnTo>
                  <a:lnTo>
                    <a:pt x="622" y="331"/>
                  </a:lnTo>
                  <a:lnTo>
                    <a:pt x="631" y="337"/>
                  </a:lnTo>
                  <a:lnTo>
                    <a:pt x="649" y="322"/>
                  </a:lnTo>
                  <a:lnTo>
                    <a:pt x="655" y="337"/>
                  </a:lnTo>
                  <a:lnTo>
                    <a:pt x="659" y="325"/>
                  </a:lnTo>
                  <a:lnTo>
                    <a:pt x="668" y="322"/>
                  </a:lnTo>
                  <a:lnTo>
                    <a:pt x="692" y="340"/>
                  </a:lnTo>
                  <a:lnTo>
                    <a:pt x="714" y="337"/>
                  </a:lnTo>
                  <a:lnTo>
                    <a:pt x="714" y="337"/>
                  </a:lnTo>
                  <a:lnTo>
                    <a:pt x="714" y="316"/>
                  </a:lnTo>
                  <a:lnTo>
                    <a:pt x="720" y="313"/>
                  </a:lnTo>
                  <a:lnTo>
                    <a:pt x="714" y="300"/>
                  </a:lnTo>
                  <a:lnTo>
                    <a:pt x="720" y="294"/>
                  </a:lnTo>
                  <a:lnTo>
                    <a:pt x="714" y="276"/>
                  </a:lnTo>
                  <a:lnTo>
                    <a:pt x="720" y="273"/>
                  </a:lnTo>
                  <a:lnTo>
                    <a:pt x="711" y="251"/>
                  </a:lnTo>
                  <a:lnTo>
                    <a:pt x="695" y="233"/>
                  </a:lnTo>
                  <a:lnTo>
                    <a:pt x="674" y="227"/>
                  </a:lnTo>
                  <a:lnTo>
                    <a:pt x="674" y="221"/>
                  </a:lnTo>
                  <a:lnTo>
                    <a:pt x="674" y="221"/>
                  </a:lnTo>
                  <a:lnTo>
                    <a:pt x="671" y="209"/>
                  </a:lnTo>
                  <a:lnTo>
                    <a:pt x="662" y="209"/>
                  </a:lnTo>
                  <a:lnTo>
                    <a:pt x="674" y="196"/>
                  </a:lnTo>
                  <a:lnTo>
                    <a:pt x="671" y="190"/>
                  </a:lnTo>
                  <a:lnTo>
                    <a:pt x="643" y="172"/>
                  </a:lnTo>
                  <a:lnTo>
                    <a:pt x="643" y="150"/>
                  </a:lnTo>
                  <a:lnTo>
                    <a:pt x="637" y="147"/>
                  </a:lnTo>
                  <a:lnTo>
                    <a:pt x="649" y="141"/>
                  </a:lnTo>
                  <a:lnTo>
                    <a:pt x="634" y="117"/>
                  </a:lnTo>
                  <a:lnTo>
                    <a:pt x="637" y="101"/>
                  </a:lnTo>
                  <a:lnTo>
                    <a:pt x="637" y="101"/>
                  </a:lnTo>
                  <a:lnTo>
                    <a:pt x="603" y="104"/>
                  </a:lnTo>
                  <a:lnTo>
                    <a:pt x="594" y="114"/>
                  </a:lnTo>
                  <a:lnTo>
                    <a:pt x="594" y="104"/>
                  </a:lnTo>
                  <a:lnTo>
                    <a:pt x="573" y="107"/>
                  </a:lnTo>
                  <a:lnTo>
                    <a:pt x="564" y="95"/>
                  </a:lnTo>
                  <a:lnTo>
                    <a:pt x="548" y="98"/>
                  </a:lnTo>
                  <a:lnTo>
                    <a:pt x="515" y="89"/>
                  </a:lnTo>
                  <a:lnTo>
                    <a:pt x="505" y="58"/>
                  </a:lnTo>
                  <a:lnTo>
                    <a:pt x="511" y="49"/>
                  </a:lnTo>
                  <a:lnTo>
                    <a:pt x="490" y="34"/>
                  </a:lnTo>
                  <a:lnTo>
                    <a:pt x="502" y="13"/>
                  </a:lnTo>
                  <a:lnTo>
                    <a:pt x="469" y="0"/>
                  </a:lnTo>
                  <a:lnTo>
                    <a:pt x="462" y="9"/>
                  </a:lnTo>
                  <a:lnTo>
                    <a:pt x="441" y="3"/>
                  </a:lnTo>
                  <a:lnTo>
                    <a:pt x="429" y="31"/>
                  </a:lnTo>
                  <a:lnTo>
                    <a:pt x="429" y="31"/>
                  </a:lnTo>
                  <a:lnTo>
                    <a:pt x="435" y="46"/>
                  </a:lnTo>
                  <a:lnTo>
                    <a:pt x="426" y="62"/>
                  </a:lnTo>
                  <a:lnTo>
                    <a:pt x="395" y="65"/>
                  </a:lnTo>
                  <a:lnTo>
                    <a:pt x="401" y="77"/>
                  </a:lnTo>
                  <a:lnTo>
                    <a:pt x="395" y="104"/>
                  </a:lnTo>
                  <a:lnTo>
                    <a:pt x="380" y="107"/>
                  </a:lnTo>
                  <a:lnTo>
                    <a:pt x="386" y="98"/>
                  </a:lnTo>
                  <a:lnTo>
                    <a:pt x="371" y="89"/>
                  </a:lnTo>
                  <a:lnTo>
                    <a:pt x="364" y="101"/>
                  </a:lnTo>
                  <a:lnTo>
                    <a:pt x="349" y="104"/>
                  </a:lnTo>
                  <a:lnTo>
                    <a:pt x="343" y="95"/>
                  </a:lnTo>
                  <a:lnTo>
                    <a:pt x="334" y="117"/>
                  </a:lnTo>
                  <a:lnTo>
                    <a:pt x="315" y="126"/>
                  </a:lnTo>
                  <a:lnTo>
                    <a:pt x="322" y="147"/>
                  </a:lnTo>
                  <a:lnTo>
                    <a:pt x="306" y="160"/>
                  </a:lnTo>
                  <a:lnTo>
                    <a:pt x="306" y="160"/>
                  </a:lnTo>
                  <a:lnTo>
                    <a:pt x="294" y="163"/>
                  </a:lnTo>
                  <a:lnTo>
                    <a:pt x="285" y="156"/>
                  </a:lnTo>
                  <a:lnTo>
                    <a:pt x="285" y="156"/>
                  </a:lnTo>
                  <a:lnTo>
                    <a:pt x="273" y="153"/>
                  </a:lnTo>
                  <a:lnTo>
                    <a:pt x="266" y="169"/>
                  </a:lnTo>
                  <a:lnTo>
                    <a:pt x="260" y="166"/>
                  </a:lnTo>
                  <a:lnTo>
                    <a:pt x="251" y="175"/>
                  </a:lnTo>
                  <a:lnTo>
                    <a:pt x="236" y="147"/>
                  </a:lnTo>
                  <a:lnTo>
                    <a:pt x="236" y="147"/>
                  </a:lnTo>
                  <a:lnTo>
                    <a:pt x="224" y="156"/>
                  </a:lnTo>
                  <a:lnTo>
                    <a:pt x="214" y="150"/>
                  </a:lnTo>
                  <a:lnTo>
                    <a:pt x="211" y="172"/>
                  </a:lnTo>
                  <a:lnTo>
                    <a:pt x="184" y="166"/>
                  </a:lnTo>
                  <a:lnTo>
                    <a:pt x="184" y="147"/>
                  </a:lnTo>
                  <a:lnTo>
                    <a:pt x="153" y="150"/>
                  </a:lnTo>
                  <a:lnTo>
                    <a:pt x="156" y="141"/>
                  </a:lnTo>
                  <a:lnTo>
                    <a:pt x="138" y="138"/>
                  </a:lnTo>
                  <a:lnTo>
                    <a:pt x="125" y="120"/>
                  </a:lnTo>
                  <a:lnTo>
                    <a:pt x="113" y="129"/>
                  </a:lnTo>
                  <a:lnTo>
                    <a:pt x="98" y="129"/>
                  </a:lnTo>
                  <a:lnTo>
                    <a:pt x="92" y="120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86" y="153"/>
                  </a:lnTo>
                  <a:lnTo>
                    <a:pt x="67" y="169"/>
                  </a:lnTo>
                  <a:lnTo>
                    <a:pt x="80" y="166"/>
                  </a:lnTo>
                  <a:lnTo>
                    <a:pt x="80" y="178"/>
                  </a:lnTo>
                  <a:lnTo>
                    <a:pt x="95" y="181"/>
                  </a:lnTo>
                  <a:lnTo>
                    <a:pt x="86" y="196"/>
                  </a:lnTo>
                  <a:lnTo>
                    <a:pt x="70" y="196"/>
                  </a:lnTo>
                  <a:lnTo>
                    <a:pt x="64" y="209"/>
                  </a:lnTo>
                  <a:lnTo>
                    <a:pt x="64" y="215"/>
                  </a:lnTo>
                  <a:lnTo>
                    <a:pt x="76" y="215"/>
                  </a:lnTo>
                  <a:lnTo>
                    <a:pt x="73" y="221"/>
                  </a:lnTo>
                  <a:lnTo>
                    <a:pt x="73" y="221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31" name="Freeform 47"/>
            <p:cNvSpPr>
              <a:spLocks/>
            </p:cNvSpPr>
            <p:nvPr/>
          </p:nvSpPr>
          <p:spPr bwMode="gray">
            <a:xfrm>
              <a:off x="2452" y="3617"/>
              <a:ext cx="15" cy="9"/>
            </a:xfrm>
            <a:custGeom>
              <a:avLst/>
              <a:gdLst>
                <a:gd name="T0" fmla="*/ 0 w 15"/>
                <a:gd name="T1" fmla="*/ 9 h 9"/>
                <a:gd name="T2" fmla="*/ 15 w 15"/>
                <a:gd name="T3" fmla="*/ 9 h 9"/>
                <a:gd name="T4" fmla="*/ 12 w 15"/>
                <a:gd name="T5" fmla="*/ 0 h 9"/>
                <a:gd name="T6" fmla="*/ 3 w 15"/>
                <a:gd name="T7" fmla="*/ 0 h 9"/>
                <a:gd name="T8" fmla="*/ 0 w 15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9">
                  <a:moveTo>
                    <a:pt x="0" y="9"/>
                  </a:moveTo>
                  <a:lnTo>
                    <a:pt x="15" y="9"/>
                  </a:lnTo>
                  <a:lnTo>
                    <a:pt x="12" y="0"/>
                  </a:lnTo>
                  <a:lnTo>
                    <a:pt x="3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32" name="Freeform 48"/>
            <p:cNvSpPr>
              <a:spLocks/>
            </p:cNvSpPr>
            <p:nvPr/>
          </p:nvSpPr>
          <p:spPr bwMode="gray">
            <a:xfrm>
              <a:off x="2599" y="2162"/>
              <a:ext cx="1115" cy="1219"/>
            </a:xfrm>
            <a:custGeom>
              <a:avLst/>
              <a:gdLst>
                <a:gd name="T0" fmla="*/ 83 w 1115"/>
                <a:gd name="T1" fmla="*/ 824 h 1219"/>
                <a:gd name="T2" fmla="*/ 171 w 1115"/>
                <a:gd name="T3" fmla="*/ 839 h 1219"/>
                <a:gd name="T4" fmla="*/ 211 w 1115"/>
                <a:gd name="T5" fmla="*/ 885 h 1219"/>
                <a:gd name="T6" fmla="*/ 242 w 1115"/>
                <a:gd name="T7" fmla="*/ 956 h 1219"/>
                <a:gd name="T8" fmla="*/ 309 w 1115"/>
                <a:gd name="T9" fmla="*/ 974 h 1219"/>
                <a:gd name="T10" fmla="*/ 349 w 1115"/>
                <a:gd name="T11" fmla="*/ 999 h 1219"/>
                <a:gd name="T12" fmla="*/ 380 w 1115"/>
                <a:gd name="T13" fmla="*/ 1014 h 1219"/>
                <a:gd name="T14" fmla="*/ 459 w 1115"/>
                <a:gd name="T15" fmla="*/ 1048 h 1219"/>
                <a:gd name="T16" fmla="*/ 429 w 1115"/>
                <a:gd name="T17" fmla="*/ 1008 h 1219"/>
                <a:gd name="T18" fmla="*/ 481 w 1115"/>
                <a:gd name="T19" fmla="*/ 953 h 1219"/>
                <a:gd name="T20" fmla="*/ 530 w 1115"/>
                <a:gd name="T21" fmla="*/ 986 h 1219"/>
                <a:gd name="T22" fmla="*/ 567 w 1115"/>
                <a:gd name="T23" fmla="*/ 1020 h 1219"/>
                <a:gd name="T24" fmla="*/ 603 w 1115"/>
                <a:gd name="T25" fmla="*/ 1035 h 1219"/>
                <a:gd name="T26" fmla="*/ 585 w 1115"/>
                <a:gd name="T27" fmla="*/ 1072 h 1219"/>
                <a:gd name="T28" fmla="*/ 671 w 1115"/>
                <a:gd name="T29" fmla="*/ 1029 h 1219"/>
                <a:gd name="T30" fmla="*/ 735 w 1115"/>
                <a:gd name="T31" fmla="*/ 1023 h 1219"/>
                <a:gd name="T32" fmla="*/ 802 w 1115"/>
                <a:gd name="T33" fmla="*/ 1081 h 1219"/>
                <a:gd name="T34" fmla="*/ 842 w 1115"/>
                <a:gd name="T35" fmla="*/ 1137 h 1219"/>
                <a:gd name="T36" fmla="*/ 916 w 1115"/>
                <a:gd name="T37" fmla="*/ 1127 h 1219"/>
                <a:gd name="T38" fmla="*/ 937 w 1115"/>
                <a:gd name="T39" fmla="*/ 1192 h 1219"/>
                <a:gd name="T40" fmla="*/ 1020 w 1115"/>
                <a:gd name="T41" fmla="*/ 1112 h 1219"/>
                <a:gd name="T42" fmla="*/ 1109 w 1115"/>
                <a:gd name="T43" fmla="*/ 1100 h 1219"/>
                <a:gd name="T44" fmla="*/ 1106 w 1115"/>
                <a:gd name="T45" fmla="*/ 1023 h 1219"/>
                <a:gd name="T46" fmla="*/ 1048 w 1115"/>
                <a:gd name="T47" fmla="*/ 959 h 1219"/>
                <a:gd name="T48" fmla="*/ 953 w 1115"/>
                <a:gd name="T49" fmla="*/ 907 h 1219"/>
                <a:gd name="T50" fmla="*/ 839 w 1115"/>
                <a:gd name="T51" fmla="*/ 812 h 1219"/>
                <a:gd name="T52" fmla="*/ 787 w 1115"/>
                <a:gd name="T53" fmla="*/ 732 h 1219"/>
                <a:gd name="T54" fmla="*/ 766 w 1115"/>
                <a:gd name="T55" fmla="*/ 671 h 1219"/>
                <a:gd name="T56" fmla="*/ 723 w 1115"/>
                <a:gd name="T57" fmla="*/ 576 h 1219"/>
                <a:gd name="T58" fmla="*/ 665 w 1115"/>
                <a:gd name="T59" fmla="*/ 503 h 1219"/>
                <a:gd name="T60" fmla="*/ 622 w 1115"/>
                <a:gd name="T61" fmla="*/ 441 h 1219"/>
                <a:gd name="T62" fmla="*/ 530 w 1115"/>
                <a:gd name="T63" fmla="*/ 463 h 1219"/>
                <a:gd name="T64" fmla="*/ 505 w 1115"/>
                <a:gd name="T65" fmla="*/ 414 h 1219"/>
                <a:gd name="T66" fmla="*/ 447 w 1115"/>
                <a:gd name="T67" fmla="*/ 383 h 1219"/>
                <a:gd name="T68" fmla="*/ 410 w 1115"/>
                <a:gd name="T69" fmla="*/ 359 h 1219"/>
                <a:gd name="T70" fmla="*/ 423 w 1115"/>
                <a:gd name="T71" fmla="*/ 349 h 1219"/>
                <a:gd name="T72" fmla="*/ 459 w 1115"/>
                <a:gd name="T73" fmla="*/ 297 h 1219"/>
                <a:gd name="T74" fmla="*/ 505 w 1115"/>
                <a:gd name="T75" fmla="*/ 282 h 1219"/>
                <a:gd name="T76" fmla="*/ 554 w 1115"/>
                <a:gd name="T77" fmla="*/ 221 h 1219"/>
                <a:gd name="T78" fmla="*/ 527 w 1115"/>
                <a:gd name="T79" fmla="*/ 196 h 1219"/>
                <a:gd name="T80" fmla="*/ 472 w 1115"/>
                <a:gd name="T81" fmla="*/ 129 h 1219"/>
                <a:gd name="T82" fmla="*/ 392 w 1115"/>
                <a:gd name="T83" fmla="*/ 117 h 1219"/>
                <a:gd name="T84" fmla="*/ 383 w 1115"/>
                <a:gd name="T85" fmla="*/ 40 h 1219"/>
                <a:gd name="T86" fmla="*/ 318 w 1115"/>
                <a:gd name="T87" fmla="*/ 6 h 1219"/>
                <a:gd name="T88" fmla="*/ 279 w 1115"/>
                <a:gd name="T89" fmla="*/ 31 h 1219"/>
                <a:gd name="T90" fmla="*/ 285 w 1115"/>
                <a:gd name="T91" fmla="*/ 107 h 1219"/>
                <a:gd name="T92" fmla="*/ 211 w 1115"/>
                <a:gd name="T93" fmla="*/ 163 h 1219"/>
                <a:gd name="T94" fmla="*/ 202 w 1115"/>
                <a:gd name="T95" fmla="*/ 218 h 1219"/>
                <a:gd name="T96" fmla="*/ 178 w 1115"/>
                <a:gd name="T97" fmla="*/ 236 h 1219"/>
                <a:gd name="T98" fmla="*/ 162 w 1115"/>
                <a:gd name="T99" fmla="*/ 273 h 1219"/>
                <a:gd name="T100" fmla="*/ 211 w 1115"/>
                <a:gd name="T101" fmla="*/ 288 h 1219"/>
                <a:gd name="T102" fmla="*/ 260 w 1115"/>
                <a:gd name="T103" fmla="*/ 322 h 1219"/>
                <a:gd name="T104" fmla="*/ 214 w 1115"/>
                <a:gd name="T105" fmla="*/ 362 h 1219"/>
                <a:gd name="T106" fmla="*/ 184 w 1115"/>
                <a:gd name="T107" fmla="*/ 420 h 1219"/>
                <a:gd name="T108" fmla="*/ 113 w 1115"/>
                <a:gd name="T109" fmla="*/ 496 h 1219"/>
                <a:gd name="T110" fmla="*/ 24 w 1115"/>
                <a:gd name="T111" fmla="*/ 582 h 1219"/>
                <a:gd name="T112" fmla="*/ 34 w 1115"/>
                <a:gd name="T113" fmla="*/ 610 h 1219"/>
                <a:gd name="T114" fmla="*/ 24 w 1115"/>
                <a:gd name="T115" fmla="*/ 665 h 1219"/>
                <a:gd name="T116" fmla="*/ 34 w 1115"/>
                <a:gd name="T117" fmla="*/ 711 h 1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15" h="1219">
                  <a:moveTo>
                    <a:pt x="37" y="735"/>
                  </a:moveTo>
                  <a:lnTo>
                    <a:pt x="70" y="748"/>
                  </a:lnTo>
                  <a:lnTo>
                    <a:pt x="58" y="769"/>
                  </a:lnTo>
                  <a:lnTo>
                    <a:pt x="79" y="784"/>
                  </a:lnTo>
                  <a:lnTo>
                    <a:pt x="73" y="793"/>
                  </a:lnTo>
                  <a:lnTo>
                    <a:pt x="83" y="824"/>
                  </a:lnTo>
                  <a:lnTo>
                    <a:pt x="116" y="833"/>
                  </a:lnTo>
                  <a:lnTo>
                    <a:pt x="132" y="830"/>
                  </a:lnTo>
                  <a:lnTo>
                    <a:pt x="141" y="842"/>
                  </a:lnTo>
                  <a:lnTo>
                    <a:pt x="162" y="839"/>
                  </a:lnTo>
                  <a:lnTo>
                    <a:pt x="162" y="849"/>
                  </a:lnTo>
                  <a:lnTo>
                    <a:pt x="171" y="839"/>
                  </a:lnTo>
                  <a:lnTo>
                    <a:pt x="205" y="836"/>
                  </a:lnTo>
                  <a:lnTo>
                    <a:pt x="205" y="836"/>
                  </a:lnTo>
                  <a:lnTo>
                    <a:pt x="202" y="852"/>
                  </a:lnTo>
                  <a:lnTo>
                    <a:pt x="217" y="876"/>
                  </a:lnTo>
                  <a:lnTo>
                    <a:pt x="205" y="882"/>
                  </a:lnTo>
                  <a:lnTo>
                    <a:pt x="211" y="885"/>
                  </a:lnTo>
                  <a:lnTo>
                    <a:pt x="211" y="907"/>
                  </a:lnTo>
                  <a:lnTo>
                    <a:pt x="239" y="925"/>
                  </a:lnTo>
                  <a:lnTo>
                    <a:pt x="242" y="931"/>
                  </a:lnTo>
                  <a:lnTo>
                    <a:pt x="230" y="944"/>
                  </a:lnTo>
                  <a:lnTo>
                    <a:pt x="239" y="944"/>
                  </a:lnTo>
                  <a:lnTo>
                    <a:pt x="242" y="956"/>
                  </a:lnTo>
                  <a:lnTo>
                    <a:pt x="242" y="956"/>
                  </a:lnTo>
                  <a:lnTo>
                    <a:pt x="242" y="962"/>
                  </a:lnTo>
                  <a:lnTo>
                    <a:pt x="263" y="968"/>
                  </a:lnTo>
                  <a:lnTo>
                    <a:pt x="279" y="986"/>
                  </a:lnTo>
                  <a:lnTo>
                    <a:pt x="288" y="971"/>
                  </a:lnTo>
                  <a:lnTo>
                    <a:pt x="309" y="974"/>
                  </a:lnTo>
                  <a:lnTo>
                    <a:pt x="312" y="965"/>
                  </a:lnTo>
                  <a:lnTo>
                    <a:pt x="322" y="965"/>
                  </a:lnTo>
                  <a:lnTo>
                    <a:pt x="334" y="971"/>
                  </a:lnTo>
                  <a:lnTo>
                    <a:pt x="334" y="983"/>
                  </a:lnTo>
                  <a:lnTo>
                    <a:pt x="343" y="983"/>
                  </a:lnTo>
                  <a:lnTo>
                    <a:pt x="349" y="999"/>
                  </a:lnTo>
                  <a:lnTo>
                    <a:pt x="343" y="1008"/>
                  </a:lnTo>
                  <a:lnTo>
                    <a:pt x="352" y="1014"/>
                  </a:lnTo>
                  <a:lnTo>
                    <a:pt x="355" y="1002"/>
                  </a:lnTo>
                  <a:lnTo>
                    <a:pt x="367" y="1005"/>
                  </a:lnTo>
                  <a:lnTo>
                    <a:pt x="377" y="993"/>
                  </a:lnTo>
                  <a:lnTo>
                    <a:pt x="380" y="1014"/>
                  </a:lnTo>
                  <a:lnTo>
                    <a:pt x="416" y="1026"/>
                  </a:lnTo>
                  <a:lnTo>
                    <a:pt x="413" y="1032"/>
                  </a:lnTo>
                  <a:lnTo>
                    <a:pt x="435" y="1051"/>
                  </a:lnTo>
                  <a:lnTo>
                    <a:pt x="450" y="1042"/>
                  </a:lnTo>
                  <a:lnTo>
                    <a:pt x="459" y="1048"/>
                  </a:lnTo>
                  <a:lnTo>
                    <a:pt x="459" y="1048"/>
                  </a:lnTo>
                  <a:lnTo>
                    <a:pt x="462" y="1039"/>
                  </a:lnTo>
                  <a:lnTo>
                    <a:pt x="444" y="1032"/>
                  </a:lnTo>
                  <a:lnTo>
                    <a:pt x="456" y="1014"/>
                  </a:lnTo>
                  <a:lnTo>
                    <a:pt x="444" y="1008"/>
                  </a:lnTo>
                  <a:lnTo>
                    <a:pt x="429" y="1014"/>
                  </a:lnTo>
                  <a:lnTo>
                    <a:pt x="429" y="1008"/>
                  </a:lnTo>
                  <a:lnTo>
                    <a:pt x="438" y="1008"/>
                  </a:lnTo>
                  <a:lnTo>
                    <a:pt x="432" y="999"/>
                  </a:lnTo>
                  <a:lnTo>
                    <a:pt x="438" y="990"/>
                  </a:lnTo>
                  <a:lnTo>
                    <a:pt x="456" y="986"/>
                  </a:lnTo>
                  <a:lnTo>
                    <a:pt x="469" y="956"/>
                  </a:lnTo>
                  <a:lnTo>
                    <a:pt x="481" y="953"/>
                  </a:lnTo>
                  <a:lnTo>
                    <a:pt x="484" y="968"/>
                  </a:lnTo>
                  <a:lnTo>
                    <a:pt x="499" y="974"/>
                  </a:lnTo>
                  <a:lnTo>
                    <a:pt x="518" y="959"/>
                  </a:lnTo>
                  <a:lnTo>
                    <a:pt x="518" y="959"/>
                  </a:lnTo>
                  <a:lnTo>
                    <a:pt x="536" y="965"/>
                  </a:lnTo>
                  <a:lnTo>
                    <a:pt x="530" y="986"/>
                  </a:lnTo>
                  <a:lnTo>
                    <a:pt x="548" y="986"/>
                  </a:lnTo>
                  <a:lnTo>
                    <a:pt x="548" y="986"/>
                  </a:lnTo>
                  <a:lnTo>
                    <a:pt x="545" y="1005"/>
                  </a:lnTo>
                  <a:lnTo>
                    <a:pt x="560" y="1008"/>
                  </a:lnTo>
                  <a:lnTo>
                    <a:pt x="560" y="1023"/>
                  </a:lnTo>
                  <a:lnTo>
                    <a:pt x="567" y="1020"/>
                  </a:lnTo>
                  <a:lnTo>
                    <a:pt x="573" y="1032"/>
                  </a:lnTo>
                  <a:lnTo>
                    <a:pt x="585" y="1032"/>
                  </a:lnTo>
                  <a:lnTo>
                    <a:pt x="588" y="1014"/>
                  </a:lnTo>
                  <a:lnTo>
                    <a:pt x="597" y="1017"/>
                  </a:lnTo>
                  <a:lnTo>
                    <a:pt x="594" y="1035"/>
                  </a:lnTo>
                  <a:lnTo>
                    <a:pt x="603" y="1035"/>
                  </a:lnTo>
                  <a:lnTo>
                    <a:pt x="600" y="1045"/>
                  </a:lnTo>
                  <a:lnTo>
                    <a:pt x="591" y="1048"/>
                  </a:lnTo>
                  <a:lnTo>
                    <a:pt x="597" y="1060"/>
                  </a:lnTo>
                  <a:lnTo>
                    <a:pt x="582" y="1063"/>
                  </a:lnTo>
                  <a:lnTo>
                    <a:pt x="585" y="1072"/>
                  </a:lnTo>
                  <a:lnTo>
                    <a:pt x="585" y="1072"/>
                  </a:lnTo>
                  <a:lnTo>
                    <a:pt x="619" y="1069"/>
                  </a:lnTo>
                  <a:lnTo>
                    <a:pt x="640" y="1078"/>
                  </a:lnTo>
                  <a:lnTo>
                    <a:pt x="677" y="1057"/>
                  </a:lnTo>
                  <a:lnTo>
                    <a:pt x="659" y="1039"/>
                  </a:lnTo>
                  <a:lnTo>
                    <a:pt x="659" y="1032"/>
                  </a:lnTo>
                  <a:lnTo>
                    <a:pt x="671" y="1029"/>
                  </a:lnTo>
                  <a:lnTo>
                    <a:pt x="671" y="1011"/>
                  </a:lnTo>
                  <a:lnTo>
                    <a:pt x="692" y="1017"/>
                  </a:lnTo>
                  <a:lnTo>
                    <a:pt x="704" y="1011"/>
                  </a:lnTo>
                  <a:lnTo>
                    <a:pt x="714" y="1023"/>
                  </a:lnTo>
                  <a:lnTo>
                    <a:pt x="729" y="1014"/>
                  </a:lnTo>
                  <a:lnTo>
                    <a:pt x="735" y="1023"/>
                  </a:lnTo>
                  <a:lnTo>
                    <a:pt x="735" y="1023"/>
                  </a:lnTo>
                  <a:lnTo>
                    <a:pt x="760" y="1051"/>
                  </a:lnTo>
                  <a:lnTo>
                    <a:pt x="796" y="1054"/>
                  </a:lnTo>
                  <a:lnTo>
                    <a:pt x="796" y="1066"/>
                  </a:lnTo>
                  <a:lnTo>
                    <a:pt x="809" y="1078"/>
                  </a:lnTo>
                  <a:lnTo>
                    <a:pt x="802" y="1081"/>
                  </a:lnTo>
                  <a:lnTo>
                    <a:pt x="809" y="1100"/>
                  </a:lnTo>
                  <a:lnTo>
                    <a:pt x="799" y="1115"/>
                  </a:lnTo>
                  <a:lnTo>
                    <a:pt x="815" y="1109"/>
                  </a:lnTo>
                  <a:lnTo>
                    <a:pt x="815" y="1133"/>
                  </a:lnTo>
                  <a:lnTo>
                    <a:pt x="824" y="1152"/>
                  </a:lnTo>
                  <a:lnTo>
                    <a:pt x="842" y="1137"/>
                  </a:lnTo>
                  <a:lnTo>
                    <a:pt x="845" y="1124"/>
                  </a:lnTo>
                  <a:lnTo>
                    <a:pt x="858" y="1133"/>
                  </a:lnTo>
                  <a:lnTo>
                    <a:pt x="855" y="1140"/>
                  </a:lnTo>
                  <a:lnTo>
                    <a:pt x="867" y="1140"/>
                  </a:lnTo>
                  <a:lnTo>
                    <a:pt x="919" y="1109"/>
                  </a:lnTo>
                  <a:lnTo>
                    <a:pt x="916" y="1127"/>
                  </a:lnTo>
                  <a:lnTo>
                    <a:pt x="937" y="1121"/>
                  </a:lnTo>
                  <a:lnTo>
                    <a:pt x="937" y="1143"/>
                  </a:lnTo>
                  <a:lnTo>
                    <a:pt x="943" y="1143"/>
                  </a:lnTo>
                  <a:lnTo>
                    <a:pt x="953" y="1161"/>
                  </a:lnTo>
                  <a:lnTo>
                    <a:pt x="940" y="1164"/>
                  </a:lnTo>
                  <a:lnTo>
                    <a:pt x="937" y="1192"/>
                  </a:lnTo>
                  <a:lnTo>
                    <a:pt x="928" y="1204"/>
                  </a:lnTo>
                  <a:lnTo>
                    <a:pt x="940" y="1219"/>
                  </a:lnTo>
                  <a:lnTo>
                    <a:pt x="980" y="1213"/>
                  </a:lnTo>
                  <a:lnTo>
                    <a:pt x="1017" y="1179"/>
                  </a:lnTo>
                  <a:lnTo>
                    <a:pt x="1026" y="1127"/>
                  </a:lnTo>
                  <a:lnTo>
                    <a:pt x="1020" y="1112"/>
                  </a:lnTo>
                  <a:lnTo>
                    <a:pt x="1029" y="1112"/>
                  </a:lnTo>
                  <a:lnTo>
                    <a:pt x="1038" y="1100"/>
                  </a:lnTo>
                  <a:lnTo>
                    <a:pt x="1094" y="1124"/>
                  </a:lnTo>
                  <a:lnTo>
                    <a:pt x="1100" y="1106"/>
                  </a:lnTo>
                  <a:lnTo>
                    <a:pt x="1103" y="1109"/>
                  </a:lnTo>
                  <a:lnTo>
                    <a:pt x="1109" y="1100"/>
                  </a:lnTo>
                  <a:lnTo>
                    <a:pt x="1115" y="1081"/>
                  </a:lnTo>
                  <a:lnTo>
                    <a:pt x="1109" y="1057"/>
                  </a:lnTo>
                  <a:lnTo>
                    <a:pt x="1115" y="1054"/>
                  </a:lnTo>
                  <a:lnTo>
                    <a:pt x="1106" y="1051"/>
                  </a:lnTo>
                  <a:lnTo>
                    <a:pt x="1115" y="1026"/>
                  </a:lnTo>
                  <a:lnTo>
                    <a:pt x="1106" y="1023"/>
                  </a:lnTo>
                  <a:lnTo>
                    <a:pt x="1109" y="1017"/>
                  </a:lnTo>
                  <a:lnTo>
                    <a:pt x="1084" y="986"/>
                  </a:lnTo>
                  <a:lnTo>
                    <a:pt x="1072" y="990"/>
                  </a:lnTo>
                  <a:lnTo>
                    <a:pt x="1060" y="965"/>
                  </a:lnTo>
                  <a:lnTo>
                    <a:pt x="1054" y="968"/>
                  </a:lnTo>
                  <a:lnTo>
                    <a:pt x="1048" y="959"/>
                  </a:lnTo>
                  <a:lnTo>
                    <a:pt x="1029" y="959"/>
                  </a:lnTo>
                  <a:lnTo>
                    <a:pt x="1026" y="971"/>
                  </a:lnTo>
                  <a:lnTo>
                    <a:pt x="1008" y="956"/>
                  </a:lnTo>
                  <a:lnTo>
                    <a:pt x="999" y="931"/>
                  </a:lnTo>
                  <a:lnTo>
                    <a:pt x="974" y="907"/>
                  </a:lnTo>
                  <a:lnTo>
                    <a:pt x="953" y="907"/>
                  </a:lnTo>
                  <a:lnTo>
                    <a:pt x="943" y="888"/>
                  </a:lnTo>
                  <a:lnTo>
                    <a:pt x="943" y="888"/>
                  </a:lnTo>
                  <a:lnTo>
                    <a:pt x="928" y="879"/>
                  </a:lnTo>
                  <a:lnTo>
                    <a:pt x="891" y="833"/>
                  </a:lnTo>
                  <a:lnTo>
                    <a:pt x="845" y="830"/>
                  </a:lnTo>
                  <a:lnTo>
                    <a:pt x="839" y="812"/>
                  </a:lnTo>
                  <a:lnTo>
                    <a:pt x="815" y="800"/>
                  </a:lnTo>
                  <a:lnTo>
                    <a:pt x="809" y="784"/>
                  </a:lnTo>
                  <a:lnTo>
                    <a:pt x="809" y="784"/>
                  </a:lnTo>
                  <a:lnTo>
                    <a:pt x="809" y="766"/>
                  </a:lnTo>
                  <a:lnTo>
                    <a:pt x="796" y="763"/>
                  </a:lnTo>
                  <a:lnTo>
                    <a:pt x="787" y="732"/>
                  </a:lnTo>
                  <a:lnTo>
                    <a:pt x="781" y="732"/>
                  </a:lnTo>
                  <a:lnTo>
                    <a:pt x="778" y="708"/>
                  </a:lnTo>
                  <a:lnTo>
                    <a:pt x="757" y="702"/>
                  </a:lnTo>
                  <a:lnTo>
                    <a:pt x="747" y="683"/>
                  </a:lnTo>
                  <a:lnTo>
                    <a:pt x="747" y="683"/>
                  </a:lnTo>
                  <a:lnTo>
                    <a:pt x="766" y="671"/>
                  </a:lnTo>
                  <a:lnTo>
                    <a:pt x="763" y="653"/>
                  </a:lnTo>
                  <a:lnTo>
                    <a:pt x="781" y="622"/>
                  </a:lnTo>
                  <a:lnTo>
                    <a:pt x="763" y="616"/>
                  </a:lnTo>
                  <a:lnTo>
                    <a:pt x="766" y="601"/>
                  </a:lnTo>
                  <a:lnTo>
                    <a:pt x="750" y="597"/>
                  </a:lnTo>
                  <a:lnTo>
                    <a:pt x="723" y="576"/>
                  </a:lnTo>
                  <a:lnTo>
                    <a:pt x="708" y="573"/>
                  </a:lnTo>
                  <a:lnTo>
                    <a:pt x="711" y="567"/>
                  </a:lnTo>
                  <a:lnTo>
                    <a:pt x="695" y="555"/>
                  </a:lnTo>
                  <a:lnTo>
                    <a:pt x="692" y="524"/>
                  </a:lnTo>
                  <a:lnTo>
                    <a:pt x="680" y="509"/>
                  </a:lnTo>
                  <a:lnTo>
                    <a:pt x="665" y="503"/>
                  </a:lnTo>
                  <a:lnTo>
                    <a:pt x="677" y="493"/>
                  </a:lnTo>
                  <a:lnTo>
                    <a:pt x="668" y="478"/>
                  </a:lnTo>
                  <a:lnTo>
                    <a:pt x="637" y="469"/>
                  </a:lnTo>
                  <a:lnTo>
                    <a:pt x="637" y="454"/>
                  </a:lnTo>
                  <a:lnTo>
                    <a:pt x="622" y="441"/>
                  </a:lnTo>
                  <a:lnTo>
                    <a:pt x="622" y="441"/>
                  </a:lnTo>
                  <a:lnTo>
                    <a:pt x="600" y="457"/>
                  </a:lnTo>
                  <a:lnTo>
                    <a:pt x="594" y="444"/>
                  </a:lnTo>
                  <a:lnTo>
                    <a:pt x="567" y="457"/>
                  </a:lnTo>
                  <a:lnTo>
                    <a:pt x="548" y="454"/>
                  </a:lnTo>
                  <a:lnTo>
                    <a:pt x="548" y="454"/>
                  </a:lnTo>
                  <a:lnTo>
                    <a:pt x="530" y="463"/>
                  </a:lnTo>
                  <a:lnTo>
                    <a:pt x="530" y="457"/>
                  </a:lnTo>
                  <a:lnTo>
                    <a:pt x="518" y="454"/>
                  </a:lnTo>
                  <a:lnTo>
                    <a:pt x="521" y="444"/>
                  </a:lnTo>
                  <a:lnTo>
                    <a:pt x="511" y="447"/>
                  </a:lnTo>
                  <a:lnTo>
                    <a:pt x="505" y="438"/>
                  </a:lnTo>
                  <a:lnTo>
                    <a:pt x="505" y="414"/>
                  </a:lnTo>
                  <a:lnTo>
                    <a:pt x="487" y="414"/>
                  </a:lnTo>
                  <a:lnTo>
                    <a:pt x="487" y="414"/>
                  </a:lnTo>
                  <a:lnTo>
                    <a:pt x="469" y="395"/>
                  </a:lnTo>
                  <a:lnTo>
                    <a:pt x="475" y="386"/>
                  </a:lnTo>
                  <a:lnTo>
                    <a:pt x="462" y="392"/>
                  </a:lnTo>
                  <a:lnTo>
                    <a:pt x="447" y="383"/>
                  </a:lnTo>
                  <a:lnTo>
                    <a:pt x="444" y="374"/>
                  </a:lnTo>
                  <a:lnTo>
                    <a:pt x="438" y="371"/>
                  </a:lnTo>
                  <a:lnTo>
                    <a:pt x="438" y="383"/>
                  </a:lnTo>
                  <a:lnTo>
                    <a:pt x="420" y="377"/>
                  </a:lnTo>
                  <a:lnTo>
                    <a:pt x="420" y="356"/>
                  </a:lnTo>
                  <a:lnTo>
                    <a:pt x="410" y="359"/>
                  </a:lnTo>
                  <a:lnTo>
                    <a:pt x="407" y="352"/>
                  </a:lnTo>
                  <a:lnTo>
                    <a:pt x="416" y="352"/>
                  </a:lnTo>
                  <a:lnTo>
                    <a:pt x="416" y="343"/>
                  </a:lnTo>
                  <a:lnTo>
                    <a:pt x="416" y="343"/>
                  </a:lnTo>
                  <a:lnTo>
                    <a:pt x="420" y="340"/>
                  </a:lnTo>
                  <a:lnTo>
                    <a:pt x="423" y="349"/>
                  </a:lnTo>
                  <a:lnTo>
                    <a:pt x="429" y="334"/>
                  </a:lnTo>
                  <a:lnTo>
                    <a:pt x="435" y="340"/>
                  </a:lnTo>
                  <a:lnTo>
                    <a:pt x="447" y="331"/>
                  </a:lnTo>
                  <a:lnTo>
                    <a:pt x="447" y="310"/>
                  </a:lnTo>
                  <a:lnTo>
                    <a:pt x="462" y="303"/>
                  </a:lnTo>
                  <a:lnTo>
                    <a:pt x="459" y="297"/>
                  </a:lnTo>
                  <a:lnTo>
                    <a:pt x="478" y="310"/>
                  </a:lnTo>
                  <a:lnTo>
                    <a:pt x="493" y="300"/>
                  </a:lnTo>
                  <a:lnTo>
                    <a:pt x="493" y="307"/>
                  </a:lnTo>
                  <a:lnTo>
                    <a:pt x="502" y="303"/>
                  </a:lnTo>
                  <a:lnTo>
                    <a:pt x="508" y="294"/>
                  </a:lnTo>
                  <a:lnTo>
                    <a:pt x="505" y="282"/>
                  </a:lnTo>
                  <a:lnTo>
                    <a:pt x="518" y="276"/>
                  </a:lnTo>
                  <a:lnTo>
                    <a:pt x="521" y="258"/>
                  </a:lnTo>
                  <a:lnTo>
                    <a:pt x="530" y="254"/>
                  </a:lnTo>
                  <a:lnTo>
                    <a:pt x="518" y="254"/>
                  </a:lnTo>
                  <a:lnTo>
                    <a:pt x="518" y="245"/>
                  </a:lnTo>
                  <a:lnTo>
                    <a:pt x="554" y="221"/>
                  </a:lnTo>
                  <a:lnTo>
                    <a:pt x="560" y="199"/>
                  </a:lnTo>
                  <a:lnTo>
                    <a:pt x="560" y="199"/>
                  </a:lnTo>
                  <a:lnTo>
                    <a:pt x="554" y="190"/>
                  </a:lnTo>
                  <a:lnTo>
                    <a:pt x="542" y="196"/>
                  </a:lnTo>
                  <a:lnTo>
                    <a:pt x="533" y="187"/>
                  </a:lnTo>
                  <a:lnTo>
                    <a:pt x="527" y="196"/>
                  </a:lnTo>
                  <a:lnTo>
                    <a:pt x="505" y="193"/>
                  </a:lnTo>
                  <a:lnTo>
                    <a:pt x="508" y="166"/>
                  </a:lnTo>
                  <a:lnTo>
                    <a:pt x="481" y="156"/>
                  </a:lnTo>
                  <a:lnTo>
                    <a:pt x="487" y="144"/>
                  </a:lnTo>
                  <a:lnTo>
                    <a:pt x="481" y="144"/>
                  </a:lnTo>
                  <a:lnTo>
                    <a:pt x="472" y="129"/>
                  </a:lnTo>
                  <a:lnTo>
                    <a:pt x="469" y="147"/>
                  </a:lnTo>
                  <a:lnTo>
                    <a:pt x="456" y="141"/>
                  </a:lnTo>
                  <a:lnTo>
                    <a:pt x="450" y="150"/>
                  </a:lnTo>
                  <a:lnTo>
                    <a:pt x="420" y="135"/>
                  </a:lnTo>
                  <a:lnTo>
                    <a:pt x="404" y="138"/>
                  </a:lnTo>
                  <a:lnTo>
                    <a:pt x="392" y="117"/>
                  </a:lnTo>
                  <a:lnTo>
                    <a:pt x="404" y="98"/>
                  </a:lnTo>
                  <a:lnTo>
                    <a:pt x="398" y="80"/>
                  </a:lnTo>
                  <a:lnTo>
                    <a:pt x="389" y="80"/>
                  </a:lnTo>
                  <a:lnTo>
                    <a:pt x="389" y="61"/>
                  </a:lnTo>
                  <a:lnTo>
                    <a:pt x="380" y="49"/>
                  </a:lnTo>
                  <a:lnTo>
                    <a:pt x="383" y="40"/>
                  </a:lnTo>
                  <a:lnTo>
                    <a:pt x="367" y="28"/>
                  </a:lnTo>
                  <a:lnTo>
                    <a:pt x="371" y="19"/>
                  </a:lnTo>
                  <a:lnTo>
                    <a:pt x="380" y="19"/>
                  </a:lnTo>
                  <a:lnTo>
                    <a:pt x="371" y="16"/>
                  </a:lnTo>
                  <a:lnTo>
                    <a:pt x="340" y="0"/>
                  </a:lnTo>
                  <a:lnTo>
                    <a:pt x="318" y="6"/>
                  </a:lnTo>
                  <a:lnTo>
                    <a:pt x="318" y="6"/>
                  </a:lnTo>
                  <a:lnTo>
                    <a:pt x="309" y="19"/>
                  </a:lnTo>
                  <a:lnTo>
                    <a:pt x="315" y="37"/>
                  </a:lnTo>
                  <a:lnTo>
                    <a:pt x="303" y="28"/>
                  </a:lnTo>
                  <a:lnTo>
                    <a:pt x="285" y="37"/>
                  </a:lnTo>
                  <a:lnTo>
                    <a:pt x="279" y="31"/>
                  </a:lnTo>
                  <a:lnTo>
                    <a:pt x="273" y="40"/>
                  </a:lnTo>
                  <a:lnTo>
                    <a:pt x="288" y="49"/>
                  </a:lnTo>
                  <a:lnTo>
                    <a:pt x="282" y="68"/>
                  </a:lnTo>
                  <a:lnTo>
                    <a:pt x="285" y="80"/>
                  </a:lnTo>
                  <a:lnTo>
                    <a:pt x="276" y="89"/>
                  </a:lnTo>
                  <a:lnTo>
                    <a:pt x="285" y="107"/>
                  </a:lnTo>
                  <a:lnTo>
                    <a:pt x="279" y="117"/>
                  </a:lnTo>
                  <a:lnTo>
                    <a:pt x="260" y="117"/>
                  </a:lnTo>
                  <a:lnTo>
                    <a:pt x="251" y="138"/>
                  </a:lnTo>
                  <a:lnTo>
                    <a:pt x="239" y="141"/>
                  </a:lnTo>
                  <a:lnTo>
                    <a:pt x="239" y="153"/>
                  </a:lnTo>
                  <a:lnTo>
                    <a:pt x="211" y="163"/>
                  </a:lnTo>
                  <a:lnTo>
                    <a:pt x="223" y="178"/>
                  </a:lnTo>
                  <a:lnTo>
                    <a:pt x="217" y="196"/>
                  </a:lnTo>
                  <a:lnTo>
                    <a:pt x="208" y="184"/>
                  </a:lnTo>
                  <a:lnTo>
                    <a:pt x="199" y="190"/>
                  </a:lnTo>
                  <a:lnTo>
                    <a:pt x="211" y="199"/>
                  </a:lnTo>
                  <a:lnTo>
                    <a:pt x="202" y="218"/>
                  </a:lnTo>
                  <a:lnTo>
                    <a:pt x="217" y="227"/>
                  </a:lnTo>
                  <a:lnTo>
                    <a:pt x="217" y="239"/>
                  </a:lnTo>
                  <a:lnTo>
                    <a:pt x="205" y="242"/>
                  </a:lnTo>
                  <a:lnTo>
                    <a:pt x="199" y="236"/>
                  </a:lnTo>
                  <a:lnTo>
                    <a:pt x="178" y="236"/>
                  </a:lnTo>
                  <a:lnTo>
                    <a:pt x="178" y="236"/>
                  </a:lnTo>
                  <a:lnTo>
                    <a:pt x="174" y="245"/>
                  </a:lnTo>
                  <a:lnTo>
                    <a:pt x="187" y="261"/>
                  </a:lnTo>
                  <a:lnTo>
                    <a:pt x="159" y="264"/>
                  </a:lnTo>
                  <a:lnTo>
                    <a:pt x="162" y="270"/>
                  </a:lnTo>
                  <a:lnTo>
                    <a:pt x="168" y="267"/>
                  </a:lnTo>
                  <a:lnTo>
                    <a:pt x="162" y="273"/>
                  </a:lnTo>
                  <a:lnTo>
                    <a:pt x="174" y="273"/>
                  </a:lnTo>
                  <a:lnTo>
                    <a:pt x="187" y="288"/>
                  </a:lnTo>
                  <a:lnTo>
                    <a:pt x="190" y="276"/>
                  </a:lnTo>
                  <a:lnTo>
                    <a:pt x="199" y="285"/>
                  </a:lnTo>
                  <a:lnTo>
                    <a:pt x="217" y="285"/>
                  </a:lnTo>
                  <a:lnTo>
                    <a:pt x="211" y="288"/>
                  </a:lnTo>
                  <a:lnTo>
                    <a:pt x="217" y="291"/>
                  </a:lnTo>
                  <a:lnTo>
                    <a:pt x="245" y="273"/>
                  </a:lnTo>
                  <a:lnTo>
                    <a:pt x="248" y="288"/>
                  </a:lnTo>
                  <a:lnTo>
                    <a:pt x="266" y="294"/>
                  </a:lnTo>
                  <a:lnTo>
                    <a:pt x="266" y="294"/>
                  </a:lnTo>
                  <a:lnTo>
                    <a:pt x="260" y="322"/>
                  </a:lnTo>
                  <a:lnTo>
                    <a:pt x="248" y="319"/>
                  </a:lnTo>
                  <a:lnTo>
                    <a:pt x="233" y="328"/>
                  </a:lnTo>
                  <a:lnTo>
                    <a:pt x="217" y="322"/>
                  </a:lnTo>
                  <a:lnTo>
                    <a:pt x="223" y="337"/>
                  </a:lnTo>
                  <a:lnTo>
                    <a:pt x="214" y="343"/>
                  </a:lnTo>
                  <a:lnTo>
                    <a:pt x="214" y="362"/>
                  </a:lnTo>
                  <a:lnTo>
                    <a:pt x="223" y="374"/>
                  </a:lnTo>
                  <a:lnTo>
                    <a:pt x="217" y="383"/>
                  </a:lnTo>
                  <a:lnTo>
                    <a:pt x="193" y="374"/>
                  </a:lnTo>
                  <a:lnTo>
                    <a:pt x="193" y="380"/>
                  </a:lnTo>
                  <a:lnTo>
                    <a:pt x="184" y="380"/>
                  </a:lnTo>
                  <a:lnTo>
                    <a:pt x="184" y="420"/>
                  </a:lnTo>
                  <a:lnTo>
                    <a:pt x="184" y="420"/>
                  </a:lnTo>
                  <a:lnTo>
                    <a:pt x="162" y="454"/>
                  </a:lnTo>
                  <a:lnTo>
                    <a:pt x="141" y="463"/>
                  </a:lnTo>
                  <a:lnTo>
                    <a:pt x="129" y="454"/>
                  </a:lnTo>
                  <a:lnTo>
                    <a:pt x="116" y="457"/>
                  </a:lnTo>
                  <a:lnTo>
                    <a:pt x="113" y="496"/>
                  </a:lnTo>
                  <a:lnTo>
                    <a:pt x="92" y="512"/>
                  </a:lnTo>
                  <a:lnTo>
                    <a:pt x="92" y="524"/>
                  </a:lnTo>
                  <a:lnTo>
                    <a:pt x="67" y="527"/>
                  </a:lnTo>
                  <a:lnTo>
                    <a:pt x="55" y="521"/>
                  </a:lnTo>
                  <a:lnTo>
                    <a:pt x="61" y="573"/>
                  </a:lnTo>
                  <a:lnTo>
                    <a:pt x="24" y="582"/>
                  </a:lnTo>
                  <a:lnTo>
                    <a:pt x="27" y="588"/>
                  </a:lnTo>
                  <a:lnTo>
                    <a:pt x="34" y="588"/>
                  </a:lnTo>
                  <a:lnTo>
                    <a:pt x="30" y="591"/>
                  </a:lnTo>
                  <a:lnTo>
                    <a:pt x="40" y="604"/>
                  </a:lnTo>
                  <a:lnTo>
                    <a:pt x="30" y="613"/>
                  </a:lnTo>
                  <a:lnTo>
                    <a:pt x="34" y="610"/>
                  </a:lnTo>
                  <a:lnTo>
                    <a:pt x="46" y="628"/>
                  </a:lnTo>
                  <a:lnTo>
                    <a:pt x="55" y="631"/>
                  </a:lnTo>
                  <a:lnTo>
                    <a:pt x="49" y="640"/>
                  </a:lnTo>
                  <a:lnTo>
                    <a:pt x="40" y="640"/>
                  </a:lnTo>
                  <a:lnTo>
                    <a:pt x="40" y="653"/>
                  </a:lnTo>
                  <a:lnTo>
                    <a:pt x="24" y="665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24" y="711"/>
                  </a:lnTo>
                  <a:lnTo>
                    <a:pt x="18" y="717"/>
                  </a:lnTo>
                  <a:lnTo>
                    <a:pt x="24" y="720"/>
                  </a:lnTo>
                  <a:lnTo>
                    <a:pt x="34" y="711"/>
                  </a:lnTo>
                  <a:lnTo>
                    <a:pt x="37" y="735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33" name="Freeform 49"/>
            <p:cNvSpPr>
              <a:spLocks/>
            </p:cNvSpPr>
            <p:nvPr/>
          </p:nvSpPr>
          <p:spPr bwMode="gray">
            <a:xfrm>
              <a:off x="2476" y="1130"/>
              <a:ext cx="3" cy="3"/>
            </a:xfrm>
            <a:custGeom>
              <a:avLst/>
              <a:gdLst>
                <a:gd name="T0" fmla="*/ 0 w 3"/>
                <a:gd name="T1" fmla="*/ 0 h 3"/>
                <a:gd name="T2" fmla="*/ 3 w 3"/>
                <a:gd name="T3" fmla="*/ 3 h 3"/>
                <a:gd name="T4" fmla="*/ 3 w 3"/>
                <a:gd name="T5" fmla="*/ 0 h 3"/>
                <a:gd name="T6" fmla="*/ 0 w 3"/>
                <a:gd name="T7" fmla="*/ 0 h 3"/>
                <a:gd name="T8" fmla="*/ 0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34" name="Freeform 50"/>
            <p:cNvSpPr>
              <a:spLocks/>
            </p:cNvSpPr>
            <p:nvPr/>
          </p:nvSpPr>
          <p:spPr bwMode="gray">
            <a:xfrm>
              <a:off x="3579" y="1317"/>
              <a:ext cx="3" cy="3"/>
            </a:xfrm>
            <a:custGeom>
              <a:avLst/>
              <a:gdLst>
                <a:gd name="T0" fmla="*/ 0 w 3"/>
                <a:gd name="T1" fmla="*/ 3 h 3"/>
                <a:gd name="T2" fmla="*/ 3 w 3"/>
                <a:gd name="T3" fmla="*/ 3 h 3"/>
                <a:gd name="T4" fmla="*/ 3 w 3"/>
                <a:gd name="T5" fmla="*/ 0 h 3"/>
                <a:gd name="T6" fmla="*/ 3 w 3"/>
                <a:gd name="T7" fmla="*/ 0 h 3"/>
                <a:gd name="T8" fmla="*/ 0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6835" name="Freeform 51"/>
            <p:cNvSpPr>
              <a:spLocks/>
            </p:cNvSpPr>
            <p:nvPr/>
          </p:nvSpPr>
          <p:spPr bwMode="gray">
            <a:xfrm>
              <a:off x="3683" y="1369"/>
              <a:ext cx="3" cy="1"/>
            </a:xfrm>
            <a:custGeom>
              <a:avLst/>
              <a:gdLst>
                <a:gd name="T0" fmla="*/ 0 w 3"/>
                <a:gd name="T1" fmla="*/ 0 w 3"/>
                <a:gd name="T2" fmla="*/ 3 w 3"/>
                <a:gd name="T3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3175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806836" name="Group 52"/>
          <p:cNvGrpSpPr>
            <a:grpSpLocks/>
          </p:cNvGrpSpPr>
          <p:nvPr/>
        </p:nvGrpSpPr>
        <p:grpSpPr bwMode="auto">
          <a:xfrm>
            <a:off x="4837113" y="2349500"/>
            <a:ext cx="2197100" cy="3278188"/>
            <a:chOff x="2087" y="1480"/>
            <a:chExt cx="1384" cy="2065"/>
          </a:xfrm>
        </p:grpSpPr>
        <p:sp>
          <p:nvSpPr>
            <p:cNvPr id="2806837" name="Rectangle 53"/>
            <p:cNvSpPr>
              <a:spLocks noChangeArrowheads="1"/>
            </p:cNvSpPr>
            <p:nvPr/>
          </p:nvSpPr>
          <p:spPr bwMode="gray">
            <a:xfrm>
              <a:off x="3391" y="2220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r>
                <a:rPr lang="de-DE" b="1">
                  <a:latin typeface=""/>
                </a:rPr>
                <a:t>0</a:t>
              </a:r>
              <a:endParaRPr lang="de-DE" b="1"/>
            </a:p>
          </p:txBody>
        </p:sp>
        <p:sp>
          <p:nvSpPr>
            <p:cNvPr id="2806838" name="Rectangle 54"/>
            <p:cNvSpPr>
              <a:spLocks noChangeArrowheads="1"/>
            </p:cNvSpPr>
            <p:nvPr/>
          </p:nvSpPr>
          <p:spPr bwMode="gray">
            <a:xfrm>
              <a:off x="3376" y="1480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r>
                <a:rPr lang="de-DE" b="1">
                  <a:latin typeface=""/>
                </a:rPr>
                <a:t>1</a:t>
              </a:r>
              <a:endParaRPr lang="de-DE" b="1"/>
            </a:p>
          </p:txBody>
        </p:sp>
        <p:sp>
          <p:nvSpPr>
            <p:cNvPr id="2806839" name="Rectangle 55"/>
            <p:cNvSpPr>
              <a:spLocks noChangeArrowheads="1"/>
            </p:cNvSpPr>
            <p:nvPr/>
          </p:nvSpPr>
          <p:spPr bwMode="gray">
            <a:xfrm>
              <a:off x="2713" y="1547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r>
                <a:rPr lang="de-DE" b="1">
                  <a:latin typeface=""/>
                </a:rPr>
                <a:t>2</a:t>
              </a:r>
              <a:endParaRPr lang="de-DE" b="1"/>
            </a:p>
          </p:txBody>
        </p:sp>
        <p:sp>
          <p:nvSpPr>
            <p:cNvPr id="2806840" name="Rectangle 56"/>
            <p:cNvSpPr>
              <a:spLocks noChangeArrowheads="1"/>
            </p:cNvSpPr>
            <p:nvPr/>
          </p:nvSpPr>
          <p:spPr bwMode="gray">
            <a:xfrm>
              <a:off x="2707" y="1979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r>
                <a:rPr lang="de-DE" b="1">
                  <a:latin typeface=""/>
                </a:rPr>
                <a:t>3</a:t>
              </a:r>
              <a:endParaRPr lang="de-DE" b="1"/>
            </a:p>
          </p:txBody>
        </p:sp>
        <p:sp>
          <p:nvSpPr>
            <p:cNvPr id="2806841" name="Rectangle 57"/>
            <p:cNvSpPr>
              <a:spLocks noChangeArrowheads="1"/>
            </p:cNvSpPr>
            <p:nvPr/>
          </p:nvSpPr>
          <p:spPr bwMode="gray">
            <a:xfrm>
              <a:off x="2188" y="1816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r>
                <a:rPr lang="de-DE" b="1">
                  <a:latin typeface=""/>
                </a:rPr>
                <a:t>4</a:t>
              </a:r>
              <a:endParaRPr lang="de-DE" b="1"/>
            </a:p>
          </p:txBody>
        </p:sp>
        <p:sp>
          <p:nvSpPr>
            <p:cNvPr id="2806842" name="Rectangle 58"/>
            <p:cNvSpPr>
              <a:spLocks noChangeArrowheads="1"/>
            </p:cNvSpPr>
            <p:nvPr/>
          </p:nvSpPr>
          <p:spPr bwMode="gray">
            <a:xfrm>
              <a:off x="2087" y="2491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r>
                <a:rPr lang="de-DE" b="1">
                  <a:latin typeface=""/>
                </a:rPr>
                <a:t>5</a:t>
              </a:r>
              <a:endParaRPr lang="de-DE" b="1"/>
            </a:p>
          </p:txBody>
        </p:sp>
        <p:sp>
          <p:nvSpPr>
            <p:cNvPr id="2806843" name="Rectangle 59"/>
            <p:cNvSpPr>
              <a:spLocks noChangeArrowheads="1"/>
            </p:cNvSpPr>
            <p:nvPr/>
          </p:nvSpPr>
          <p:spPr bwMode="gray">
            <a:xfrm>
              <a:off x="2453" y="2707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r>
                <a:rPr lang="de-DE" b="1">
                  <a:latin typeface=""/>
                </a:rPr>
                <a:t>6</a:t>
              </a:r>
              <a:endParaRPr lang="de-DE" b="1"/>
            </a:p>
          </p:txBody>
        </p:sp>
        <p:sp>
          <p:nvSpPr>
            <p:cNvPr id="2806844" name="Rectangle 60"/>
            <p:cNvSpPr>
              <a:spLocks noChangeArrowheads="1"/>
            </p:cNvSpPr>
            <p:nvPr/>
          </p:nvSpPr>
          <p:spPr bwMode="gray">
            <a:xfrm>
              <a:off x="2493" y="3219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r>
                <a:rPr lang="de-DE" b="1">
                  <a:latin typeface=""/>
                </a:rPr>
                <a:t>7</a:t>
              </a:r>
              <a:endParaRPr lang="de-DE" b="1"/>
            </a:p>
          </p:txBody>
        </p:sp>
        <p:sp>
          <p:nvSpPr>
            <p:cNvPr id="2806845" name="Rectangle 61"/>
            <p:cNvSpPr>
              <a:spLocks noChangeArrowheads="1"/>
            </p:cNvSpPr>
            <p:nvPr/>
          </p:nvSpPr>
          <p:spPr bwMode="gray">
            <a:xfrm>
              <a:off x="3072" y="3372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r>
                <a:rPr lang="de-DE" b="1">
                  <a:latin typeface=""/>
                </a:rPr>
                <a:t>8</a:t>
              </a:r>
              <a:endParaRPr lang="de-DE" b="1"/>
            </a:p>
          </p:txBody>
        </p:sp>
        <p:sp>
          <p:nvSpPr>
            <p:cNvPr id="2806846" name="Rectangle 62"/>
            <p:cNvSpPr>
              <a:spLocks noChangeArrowheads="1"/>
            </p:cNvSpPr>
            <p:nvPr/>
          </p:nvSpPr>
          <p:spPr bwMode="gray">
            <a:xfrm>
              <a:off x="2988" y="2718"/>
              <a:ext cx="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/>
            <a:p>
              <a:r>
                <a:rPr lang="de-DE" b="1">
                  <a:latin typeface=""/>
                </a:rPr>
                <a:t>9</a:t>
              </a:r>
              <a:endParaRPr lang="de-DE" b="1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0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2483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3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</a:t>
            </a:r>
          </a:p>
        </p:txBody>
      </p:sp>
      <p:grpSp>
        <p:nvGrpSpPr>
          <p:cNvPr id="2863128" name="Group 24"/>
          <p:cNvGrpSpPr>
            <a:grpSpLocks/>
          </p:cNvGrpSpPr>
          <p:nvPr/>
        </p:nvGrpSpPr>
        <p:grpSpPr bwMode="auto">
          <a:xfrm>
            <a:off x="3155950" y="1495426"/>
            <a:ext cx="5881688" cy="3603625"/>
            <a:chOff x="1028" y="942"/>
            <a:chExt cx="3705" cy="2270"/>
          </a:xfrm>
        </p:grpSpPr>
        <p:sp>
          <p:nvSpPr>
            <p:cNvPr id="2863108" name="Freeform 4"/>
            <p:cNvSpPr>
              <a:spLocks/>
            </p:cNvSpPr>
            <p:nvPr/>
          </p:nvSpPr>
          <p:spPr bwMode="gray">
            <a:xfrm>
              <a:off x="1030" y="942"/>
              <a:ext cx="3698" cy="1237"/>
            </a:xfrm>
            <a:custGeom>
              <a:avLst/>
              <a:gdLst>
                <a:gd name="T0" fmla="*/ 0 w 3698"/>
                <a:gd name="T1" fmla="*/ 1237 h 1237"/>
                <a:gd name="T2" fmla="*/ 535 w 3698"/>
                <a:gd name="T3" fmla="*/ 1237 h 1237"/>
                <a:gd name="T4" fmla="*/ 562 w 3698"/>
                <a:gd name="T5" fmla="*/ 1232 h 1237"/>
                <a:gd name="T6" fmla="*/ 588 w 3698"/>
                <a:gd name="T7" fmla="*/ 1225 h 1237"/>
                <a:gd name="T8" fmla="*/ 612 w 3698"/>
                <a:gd name="T9" fmla="*/ 1213 h 1237"/>
                <a:gd name="T10" fmla="*/ 632 w 3698"/>
                <a:gd name="T11" fmla="*/ 1200 h 1237"/>
                <a:gd name="T12" fmla="*/ 653 w 3698"/>
                <a:gd name="T13" fmla="*/ 1182 h 1237"/>
                <a:gd name="T14" fmla="*/ 669 w 3698"/>
                <a:gd name="T15" fmla="*/ 1163 h 1237"/>
                <a:gd name="T16" fmla="*/ 682 w 3698"/>
                <a:gd name="T17" fmla="*/ 1144 h 1237"/>
                <a:gd name="T18" fmla="*/ 693 w 3698"/>
                <a:gd name="T19" fmla="*/ 1121 h 1237"/>
                <a:gd name="T20" fmla="*/ 700 w 3698"/>
                <a:gd name="T21" fmla="*/ 1098 h 1237"/>
                <a:gd name="T22" fmla="*/ 703 w 3698"/>
                <a:gd name="T23" fmla="*/ 1074 h 1237"/>
                <a:gd name="T24" fmla="*/ 701 w 3698"/>
                <a:gd name="T25" fmla="*/ 426 h 1237"/>
                <a:gd name="T26" fmla="*/ 488 w 3698"/>
                <a:gd name="T27" fmla="*/ 426 h 1237"/>
                <a:gd name="T28" fmla="*/ 1844 w 3698"/>
                <a:gd name="T29" fmla="*/ 0 h 1237"/>
                <a:gd name="T30" fmla="*/ 3263 w 3698"/>
                <a:gd name="T31" fmla="*/ 431 h 1237"/>
                <a:gd name="T32" fmla="*/ 3044 w 3698"/>
                <a:gd name="T33" fmla="*/ 429 h 1237"/>
                <a:gd name="T34" fmla="*/ 3044 w 3698"/>
                <a:gd name="T35" fmla="*/ 1004 h 1237"/>
                <a:gd name="T36" fmla="*/ 3044 w 3698"/>
                <a:gd name="T37" fmla="*/ 1029 h 1237"/>
                <a:gd name="T38" fmla="*/ 3046 w 3698"/>
                <a:gd name="T39" fmla="*/ 1055 h 1237"/>
                <a:gd name="T40" fmla="*/ 3055 w 3698"/>
                <a:gd name="T41" fmla="*/ 1082 h 1237"/>
                <a:gd name="T42" fmla="*/ 3067 w 3698"/>
                <a:gd name="T43" fmla="*/ 1105 h 1237"/>
                <a:gd name="T44" fmla="*/ 3082 w 3698"/>
                <a:gd name="T45" fmla="*/ 1128 h 1237"/>
                <a:gd name="T46" fmla="*/ 3101 w 3698"/>
                <a:gd name="T47" fmla="*/ 1149 h 1237"/>
                <a:gd name="T48" fmla="*/ 3122 w 3698"/>
                <a:gd name="T49" fmla="*/ 1169 h 1237"/>
                <a:gd name="T50" fmla="*/ 3148 w 3698"/>
                <a:gd name="T51" fmla="*/ 1184 h 1237"/>
                <a:gd name="T52" fmla="*/ 3173 w 3698"/>
                <a:gd name="T53" fmla="*/ 1199 h 1237"/>
                <a:gd name="T54" fmla="*/ 3202 w 3698"/>
                <a:gd name="T55" fmla="*/ 1210 h 1237"/>
                <a:gd name="T56" fmla="*/ 3232 w 3698"/>
                <a:gd name="T57" fmla="*/ 1216 h 1237"/>
                <a:gd name="T58" fmla="*/ 3263 w 3698"/>
                <a:gd name="T59" fmla="*/ 1222 h 1237"/>
                <a:gd name="T60" fmla="*/ 3698 w 3698"/>
                <a:gd name="T61" fmla="*/ 1222 h 1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98" h="1237">
                  <a:moveTo>
                    <a:pt x="0" y="1237"/>
                  </a:moveTo>
                  <a:lnTo>
                    <a:pt x="535" y="1237"/>
                  </a:lnTo>
                  <a:lnTo>
                    <a:pt x="562" y="1232"/>
                  </a:lnTo>
                  <a:lnTo>
                    <a:pt x="588" y="1225"/>
                  </a:lnTo>
                  <a:lnTo>
                    <a:pt x="612" y="1213"/>
                  </a:lnTo>
                  <a:lnTo>
                    <a:pt x="632" y="1200"/>
                  </a:lnTo>
                  <a:lnTo>
                    <a:pt x="653" y="1182"/>
                  </a:lnTo>
                  <a:lnTo>
                    <a:pt x="669" y="1163"/>
                  </a:lnTo>
                  <a:lnTo>
                    <a:pt x="682" y="1144"/>
                  </a:lnTo>
                  <a:lnTo>
                    <a:pt x="693" y="1121"/>
                  </a:lnTo>
                  <a:lnTo>
                    <a:pt x="700" y="1098"/>
                  </a:lnTo>
                  <a:lnTo>
                    <a:pt x="703" y="1074"/>
                  </a:lnTo>
                  <a:lnTo>
                    <a:pt x="701" y="426"/>
                  </a:lnTo>
                  <a:lnTo>
                    <a:pt x="488" y="426"/>
                  </a:lnTo>
                  <a:lnTo>
                    <a:pt x="1844" y="0"/>
                  </a:lnTo>
                  <a:lnTo>
                    <a:pt x="3263" y="431"/>
                  </a:lnTo>
                  <a:lnTo>
                    <a:pt x="3044" y="429"/>
                  </a:lnTo>
                  <a:lnTo>
                    <a:pt x="3044" y="1004"/>
                  </a:lnTo>
                  <a:lnTo>
                    <a:pt x="3044" y="1029"/>
                  </a:lnTo>
                  <a:lnTo>
                    <a:pt x="3046" y="1055"/>
                  </a:lnTo>
                  <a:lnTo>
                    <a:pt x="3055" y="1082"/>
                  </a:lnTo>
                  <a:lnTo>
                    <a:pt x="3067" y="1105"/>
                  </a:lnTo>
                  <a:lnTo>
                    <a:pt x="3082" y="1128"/>
                  </a:lnTo>
                  <a:lnTo>
                    <a:pt x="3101" y="1149"/>
                  </a:lnTo>
                  <a:lnTo>
                    <a:pt x="3122" y="1169"/>
                  </a:lnTo>
                  <a:lnTo>
                    <a:pt x="3148" y="1184"/>
                  </a:lnTo>
                  <a:lnTo>
                    <a:pt x="3173" y="1199"/>
                  </a:lnTo>
                  <a:lnTo>
                    <a:pt x="3202" y="1210"/>
                  </a:lnTo>
                  <a:lnTo>
                    <a:pt x="3232" y="1216"/>
                  </a:lnTo>
                  <a:lnTo>
                    <a:pt x="3263" y="1222"/>
                  </a:lnTo>
                  <a:lnTo>
                    <a:pt x="3698" y="1222"/>
                  </a:lnTo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63109" name="Rectangle 5"/>
            <p:cNvSpPr>
              <a:spLocks noChangeArrowheads="1"/>
            </p:cNvSpPr>
            <p:nvPr/>
          </p:nvSpPr>
          <p:spPr bwMode="gray">
            <a:xfrm>
              <a:off x="2764" y="1152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63110" name="Freeform 6"/>
            <p:cNvSpPr>
              <a:spLocks/>
            </p:cNvSpPr>
            <p:nvPr/>
          </p:nvSpPr>
          <p:spPr bwMode="gray">
            <a:xfrm>
              <a:off x="1029" y="1881"/>
              <a:ext cx="993" cy="524"/>
            </a:xfrm>
            <a:custGeom>
              <a:avLst/>
              <a:gdLst>
                <a:gd name="T0" fmla="*/ 0 w 735"/>
                <a:gd name="T1" fmla="*/ 357 h 358"/>
                <a:gd name="T2" fmla="*/ 610 w 735"/>
                <a:gd name="T3" fmla="*/ 357 h 358"/>
                <a:gd name="T4" fmla="*/ 629 w 735"/>
                <a:gd name="T5" fmla="*/ 353 h 358"/>
                <a:gd name="T6" fmla="*/ 648 w 735"/>
                <a:gd name="T7" fmla="*/ 349 h 358"/>
                <a:gd name="T8" fmla="*/ 665 w 735"/>
                <a:gd name="T9" fmla="*/ 341 h 358"/>
                <a:gd name="T10" fmla="*/ 681 w 735"/>
                <a:gd name="T11" fmla="*/ 331 h 358"/>
                <a:gd name="T12" fmla="*/ 695 w 735"/>
                <a:gd name="T13" fmla="*/ 320 h 358"/>
                <a:gd name="T14" fmla="*/ 708 w 735"/>
                <a:gd name="T15" fmla="*/ 307 h 358"/>
                <a:gd name="T16" fmla="*/ 718 w 735"/>
                <a:gd name="T17" fmla="*/ 293 h 358"/>
                <a:gd name="T18" fmla="*/ 725 w 735"/>
                <a:gd name="T19" fmla="*/ 278 h 358"/>
                <a:gd name="T20" fmla="*/ 730 w 735"/>
                <a:gd name="T21" fmla="*/ 262 h 358"/>
                <a:gd name="T22" fmla="*/ 733 w 735"/>
                <a:gd name="T23" fmla="*/ 245 h 358"/>
                <a:gd name="T24" fmla="*/ 734 w 735"/>
                <a:gd name="T25" fmla="*/ 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5" h="358">
                  <a:moveTo>
                    <a:pt x="0" y="357"/>
                  </a:moveTo>
                  <a:lnTo>
                    <a:pt x="610" y="357"/>
                  </a:lnTo>
                  <a:lnTo>
                    <a:pt x="629" y="353"/>
                  </a:lnTo>
                  <a:lnTo>
                    <a:pt x="648" y="349"/>
                  </a:lnTo>
                  <a:lnTo>
                    <a:pt x="665" y="341"/>
                  </a:lnTo>
                  <a:lnTo>
                    <a:pt x="681" y="331"/>
                  </a:lnTo>
                  <a:lnTo>
                    <a:pt x="695" y="320"/>
                  </a:lnTo>
                  <a:lnTo>
                    <a:pt x="708" y="307"/>
                  </a:lnTo>
                  <a:lnTo>
                    <a:pt x="718" y="293"/>
                  </a:lnTo>
                  <a:lnTo>
                    <a:pt x="725" y="278"/>
                  </a:lnTo>
                  <a:lnTo>
                    <a:pt x="730" y="262"/>
                  </a:lnTo>
                  <a:lnTo>
                    <a:pt x="733" y="245"/>
                  </a:lnTo>
                  <a:lnTo>
                    <a:pt x="734" y="0"/>
                  </a:lnTo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63111" name="Freeform 7"/>
            <p:cNvSpPr>
              <a:spLocks/>
            </p:cNvSpPr>
            <p:nvPr/>
          </p:nvSpPr>
          <p:spPr bwMode="gray">
            <a:xfrm>
              <a:off x="1028" y="1884"/>
              <a:ext cx="1255" cy="788"/>
            </a:xfrm>
            <a:custGeom>
              <a:avLst/>
              <a:gdLst>
                <a:gd name="T0" fmla="*/ 0 w 929"/>
                <a:gd name="T1" fmla="*/ 538 h 539"/>
                <a:gd name="T2" fmla="*/ 805 w 929"/>
                <a:gd name="T3" fmla="*/ 538 h 539"/>
                <a:gd name="T4" fmla="*/ 824 w 929"/>
                <a:gd name="T5" fmla="*/ 535 h 539"/>
                <a:gd name="T6" fmla="*/ 843 w 929"/>
                <a:gd name="T7" fmla="*/ 530 h 539"/>
                <a:gd name="T8" fmla="*/ 861 w 929"/>
                <a:gd name="T9" fmla="*/ 522 h 539"/>
                <a:gd name="T10" fmla="*/ 876 w 929"/>
                <a:gd name="T11" fmla="*/ 513 h 539"/>
                <a:gd name="T12" fmla="*/ 891 w 929"/>
                <a:gd name="T13" fmla="*/ 501 h 539"/>
                <a:gd name="T14" fmla="*/ 903 w 929"/>
                <a:gd name="T15" fmla="*/ 489 h 539"/>
                <a:gd name="T16" fmla="*/ 913 w 929"/>
                <a:gd name="T17" fmla="*/ 474 h 539"/>
                <a:gd name="T18" fmla="*/ 921 w 929"/>
                <a:gd name="T19" fmla="*/ 460 h 539"/>
                <a:gd name="T20" fmla="*/ 926 w 929"/>
                <a:gd name="T21" fmla="*/ 443 h 539"/>
                <a:gd name="T22" fmla="*/ 928 w 929"/>
                <a:gd name="T23" fmla="*/ 427 h 539"/>
                <a:gd name="T24" fmla="*/ 928 w 929"/>
                <a:gd name="T25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29" h="539">
                  <a:moveTo>
                    <a:pt x="0" y="538"/>
                  </a:moveTo>
                  <a:lnTo>
                    <a:pt x="805" y="538"/>
                  </a:lnTo>
                  <a:lnTo>
                    <a:pt x="824" y="535"/>
                  </a:lnTo>
                  <a:lnTo>
                    <a:pt x="843" y="530"/>
                  </a:lnTo>
                  <a:lnTo>
                    <a:pt x="861" y="522"/>
                  </a:lnTo>
                  <a:lnTo>
                    <a:pt x="876" y="513"/>
                  </a:lnTo>
                  <a:lnTo>
                    <a:pt x="891" y="501"/>
                  </a:lnTo>
                  <a:lnTo>
                    <a:pt x="903" y="489"/>
                  </a:lnTo>
                  <a:lnTo>
                    <a:pt x="913" y="474"/>
                  </a:lnTo>
                  <a:lnTo>
                    <a:pt x="921" y="460"/>
                  </a:lnTo>
                  <a:lnTo>
                    <a:pt x="926" y="443"/>
                  </a:lnTo>
                  <a:lnTo>
                    <a:pt x="928" y="427"/>
                  </a:lnTo>
                  <a:lnTo>
                    <a:pt x="928" y="0"/>
                  </a:lnTo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63112" name="Freeform 8"/>
            <p:cNvSpPr>
              <a:spLocks/>
            </p:cNvSpPr>
            <p:nvPr/>
          </p:nvSpPr>
          <p:spPr bwMode="gray">
            <a:xfrm>
              <a:off x="1029" y="1884"/>
              <a:ext cx="1549" cy="1043"/>
            </a:xfrm>
            <a:custGeom>
              <a:avLst/>
              <a:gdLst>
                <a:gd name="T0" fmla="*/ 0 w 1146"/>
                <a:gd name="T1" fmla="*/ 712 h 713"/>
                <a:gd name="T2" fmla="*/ 1022 w 1146"/>
                <a:gd name="T3" fmla="*/ 712 h 713"/>
                <a:gd name="T4" fmla="*/ 1041 w 1146"/>
                <a:gd name="T5" fmla="*/ 709 h 713"/>
                <a:gd name="T6" fmla="*/ 1061 w 1146"/>
                <a:gd name="T7" fmla="*/ 704 h 713"/>
                <a:gd name="T8" fmla="*/ 1078 w 1146"/>
                <a:gd name="T9" fmla="*/ 697 h 713"/>
                <a:gd name="T10" fmla="*/ 1094 w 1146"/>
                <a:gd name="T11" fmla="*/ 687 h 713"/>
                <a:gd name="T12" fmla="*/ 1108 w 1146"/>
                <a:gd name="T13" fmla="*/ 676 h 713"/>
                <a:gd name="T14" fmla="*/ 1121 w 1146"/>
                <a:gd name="T15" fmla="*/ 662 h 713"/>
                <a:gd name="T16" fmla="*/ 1131 w 1146"/>
                <a:gd name="T17" fmla="*/ 649 h 713"/>
                <a:gd name="T18" fmla="*/ 1138 w 1146"/>
                <a:gd name="T19" fmla="*/ 634 h 713"/>
                <a:gd name="T20" fmla="*/ 1143 w 1146"/>
                <a:gd name="T21" fmla="*/ 617 h 713"/>
                <a:gd name="T22" fmla="*/ 1145 w 1146"/>
                <a:gd name="T23" fmla="*/ 601 h 713"/>
                <a:gd name="T24" fmla="*/ 1145 w 1146"/>
                <a:gd name="T25" fmla="*/ 0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46" h="713">
                  <a:moveTo>
                    <a:pt x="0" y="712"/>
                  </a:moveTo>
                  <a:lnTo>
                    <a:pt x="1022" y="712"/>
                  </a:lnTo>
                  <a:lnTo>
                    <a:pt x="1041" y="709"/>
                  </a:lnTo>
                  <a:lnTo>
                    <a:pt x="1061" y="704"/>
                  </a:lnTo>
                  <a:lnTo>
                    <a:pt x="1078" y="697"/>
                  </a:lnTo>
                  <a:lnTo>
                    <a:pt x="1094" y="687"/>
                  </a:lnTo>
                  <a:lnTo>
                    <a:pt x="1108" y="676"/>
                  </a:lnTo>
                  <a:lnTo>
                    <a:pt x="1121" y="662"/>
                  </a:lnTo>
                  <a:lnTo>
                    <a:pt x="1131" y="649"/>
                  </a:lnTo>
                  <a:lnTo>
                    <a:pt x="1138" y="634"/>
                  </a:lnTo>
                  <a:lnTo>
                    <a:pt x="1143" y="617"/>
                  </a:lnTo>
                  <a:lnTo>
                    <a:pt x="1145" y="601"/>
                  </a:lnTo>
                  <a:lnTo>
                    <a:pt x="1145" y="0"/>
                  </a:lnTo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63113" name="Freeform 9"/>
            <p:cNvSpPr>
              <a:spLocks/>
            </p:cNvSpPr>
            <p:nvPr/>
          </p:nvSpPr>
          <p:spPr bwMode="gray">
            <a:xfrm>
              <a:off x="1037" y="1881"/>
              <a:ext cx="1841" cy="1331"/>
            </a:xfrm>
            <a:custGeom>
              <a:avLst/>
              <a:gdLst>
                <a:gd name="T0" fmla="*/ 0 w 1362"/>
                <a:gd name="T1" fmla="*/ 909 h 910"/>
                <a:gd name="T2" fmla="*/ 1237 w 1362"/>
                <a:gd name="T3" fmla="*/ 908 h 910"/>
                <a:gd name="T4" fmla="*/ 1258 w 1362"/>
                <a:gd name="T5" fmla="*/ 905 h 910"/>
                <a:gd name="T6" fmla="*/ 1276 w 1362"/>
                <a:gd name="T7" fmla="*/ 900 h 910"/>
                <a:gd name="T8" fmla="*/ 1294 w 1362"/>
                <a:gd name="T9" fmla="*/ 892 h 910"/>
                <a:gd name="T10" fmla="*/ 1309 w 1362"/>
                <a:gd name="T11" fmla="*/ 883 h 910"/>
                <a:gd name="T12" fmla="*/ 1324 w 1362"/>
                <a:gd name="T13" fmla="*/ 871 h 910"/>
                <a:gd name="T14" fmla="*/ 1337 w 1362"/>
                <a:gd name="T15" fmla="*/ 858 h 910"/>
                <a:gd name="T16" fmla="*/ 1347 w 1362"/>
                <a:gd name="T17" fmla="*/ 845 h 910"/>
                <a:gd name="T18" fmla="*/ 1354 w 1362"/>
                <a:gd name="T19" fmla="*/ 829 h 910"/>
                <a:gd name="T20" fmla="*/ 1359 w 1362"/>
                <a:gd name="T21" fmla="*/ 814 h 910"/>
                <a:gd name="T22" fmla="*/ 1361 w 1362"/>
                <a:gd name="T23" fmla="*/ 797 h 910"/>
                <a:gd name="T24" fmla="*/ 1361 w 1362"/>
                <a:gd name="T25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2" h="910">
                  <a:moveTo>
                    <a:pt x="0" y="909"/>
                  </a:moveTo>
                  <a:lnTo>
                    <a:pt x="1237" y="908"/>
                  </a:lnTo>
                  <a:lnTo>
                    <a:pt x="1258" y="905"/>
                  </a:lnTo>
                  <a:lnTo>
                    <a:pt x="1276" y="900"/>
                  </a:lnTo>
                  <a:lnTo>
                    <a:pt x="1294" y="892"/>
                  </a:lnTo>
                  <a:lnTo>
                    <a:pt x="1309" y="883"/>
                  </a:lnTo>
                  <a:lnTo>
                    <a:pt x="1324" y="871"/>
                  </a:lnTo>
                  <a:lnTo>
                    <a:pt x="1337" y="858"/>
                  </a:lnTo>
                  <a:lnTo>
                    <a:pt x="1347" y="845"/>
                  </a:lnTo>
                  <a:lnTo>
                    <a:pt x="1354" y="829"/>
                  </a:lnTo>
                  <a:lnTo>
                    <a:pt x="1359" y="814"/>
                  </a:lnTo>
                  <a:lnTo>
                    <a:pt x="1361" y="797"/>
                  </a:lnTo>
                  <a:lnTo>
                    <a:pt x="1361" y="0"/>
                  </a:lnTo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63114" name="Freeform 10"/>
            <p:cNvSpPr>
              <a:spLocks/>
            </p:cNvSpPr>
            <p:nvPr/>
          </p:nvSpPr>
          <p:spPr bwMode="gray">
            <a:xfrm>
              <a:off x="3738" y="1884"/>
              <a:ext cx="992" cy="522"/>
            </a:xfrm>
            <a:custGeom>
              <a:avLst/>
              <a:gdLst>
                <a:gd name="T0" fmla="*/ 734 w 735"/>
                <a:gd name="T1" fmla="*/ 356 h 357"/>
                <a:gd name="T2" fmla="*/ 123 w 735"/>
                <a:gd name="T3" fmla="*/ 356 h 357"/>
                <a:gd name="T4" fmla="*/ 104 w 735"/>
                <a:gd name="T5" fmla="*/ 352 h 357"/>
                <a:gd name="T6" fmla="*/ 84 w 735"/>
                <a:gd name="T7" fmla="*/ 347 h 357"/>
                <a:gd name="T8" fmla="*/ 67 w 735"/>
                <a:gd name="T9" fmla="*/ 340 h 357"/>
                <a:gd name="T10" fmla="*/ 51 w 735"/>
                <a:gd name="T11" fmla="*/ 330 h 357"/>
                <a:gd name="T12" fmla="*/ 37 w 735"/>
                <a:gd name="T13" fmla="*/ 318 h 357"/>
                <a:gd name="T14" fmla="*/ 24 w 735"/>
                <a:gd name="T15" fmla="*/ 306 h 357"/>
                <a:gd name="T16" fmla="*/ 14 w 735"/>
                <a:gd name="T17" fmla="*/ 292 h 357"/>
                <a:gd name="T18" fmla="*/ 6 w 735"/>
                <a:gd name="T19" fmla="*/ 276 h 357"/>
                <a:gd name="T20" fmla="*/ 2 w 735"/>
                <a:gd name="T21" fmla="*/ 261 h 357"/>
                <a:gd name="T22" fmla="*/ 0 w 735"/>
                <a:gd name="T23" fmla="*/ 244 h 357"/>
                <a:gd name="T24" fmla="*/ 0 w 735"/>
                <a:gd name="T25" fmla="*/ 122 h 357"/>
                <a:gd name="T26" fmla="*/ 0 w 735"/>
                <a:gd name="T27" fmla="*/ 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35" h="357">
                  <a:moveTo>
                    <a:pt x="734" y="356"/>
                  </a:moveTo>
                  <a:lnTo>
                    <a:pt x="123" y="356"/>
                  </a:lnTo>
                  <a:lnTo>
                    <a:pt x="104" y="352"/>
                  </a:lnTo>
                  <a:lnTo>
                    <a:pt x="84" y="347"/>
                  </a:lnTo>
                  <a:lnTo>
                    <a:pt x="67" y="340"/>
                  </a:lnTo>
                  <a:lnTo>
                    <a:pt x="51" y="330"/>
                  </a:lnTo>
                  <a:lnTo>
                    <a:pt x="37" y="318"/>
                  </a:lnTo>
                  <a:lnTo>
                    <a:pt x="24" y="306"/>
                  </a:lnTo>
                  <a:lnTo>
                    <a:pt x="14" y="292"/>
                  </a:lnTo>
                  <a:lnTo>
                    <a:pt x="6" y="276"/>
                  </a:lnTo>
                  <a:lnTo>
                    <a:pt x="2" y="261"/>
                  </a:lnTo>
                  <a:lnTo>
                    <a:pt x="0" y="244"/>
                  </a:lnTo>
                  <a:lnTo>
                    <a:pt x="0" y="122"/>
                  </a:lnTo>
                  <a:lnTo>
                    <a:pt x="0" y="0"/>
                  </a:lnTo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63115" name="Freeform 11"/>
            <p:cNvSpPr>
              <a:spLocks/>
            </p:cNvSpPr>
            <p:nvPr/>
          </p:nvSpPr>
          <p:spPr bwMode="gray">
            <a:xfrm>
              <a:off x="3476" y="1888"/>
              <a:ext cx="1257" cy="786"/>
            </a:xfrm>
            <a:custGeom>
              <a:avLst/>
              <a:gdLst>
                <a:gd name="T0" fmla="*/ 930 w 931"/>
                <a:gd name="T1" fmla="*/ 536 h 537"/>
                <a:gd name="T2" fmla="*/ 122 w 931"/>
                <a:gd name="T3" fmla="*/ 536 h 537"/>
                <a:gd name="T4" fmla="*/ 103 w 931"/>
                <a:gd name="T5" fmla="*/ 533 h 537"/>
                <a:gd name="T6" fmla="*/ 84 w 931"/>
                <a:gd name="T7" fmla="*/ 528 h 537"/>
                <a:gd name="T8" fmla="*/ 66 w 931"/>
                <a:gd name="T9" fmla="*/ 520 h 537"/>
                <a:gd name="T10" fmla="*/ 51 w 931"/>
                <a:gd name="T11" fmla="*/ 511 h 537"/>
                <a:gd name="T12" fmla="*/ 37 w 931"/>
                <a:gd name="T13" fmla="*/ 499 h 537"/>
                <a:gd name="T14" fmla="*/ 24 w 931"/>
                <a:gd name="T15" fmla="*/ 486 h 537"/>
                <a:gd name="T16" fmla="*/ 14 w 931"/>
                <a:gd name="T17" fmla="*/ 472 h 537"/>
                <a:gd name="T18" fmla="*/ 6 w 931"/>
                <a:gd name="T19" fmla="*/ 457 h 537"/>
                <a:gd name="T20" fmla="*/ 1 w 931"/>
                <a:gd name="T21" fmla="*/ 441 h 537"/>
                <a:gd name="T22" fmla="*/ 0 w 931"/>
                <a:gd name="T23" fmla="*/ 425 h 537"/>
                <a:gd name="T24" fmla="*/ 0 w 931"/>
                <a:gd name="T25" fmla="*/ 0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31" h="537">
                  <a:moveTo>
                    <a:pt x="930" y="536"/>
                  </a:moveTo>
                  <a:lnTo>
                    <a:pt x="122" y="536"/>
                  </a:lnTo>
                  <a:lnTo>
                    <a:pt x="103" y="533"/>
                  </a:lnTo>
                  <a:lnTo>
                    <a:pt x="84" y="528"/>
                  </a:lnTo>
                  <a:lnTo>
                    <a:pt x="66" y="520"/>
                  </a:lnTo>
                  <a:lnTo>
                    <a:pt x="51" y="511"/>
                  </a:lnTo>
                  <a:lnTo>
                    <a:pt x="37" y="499"/>
                  </a:lnTo>
                  <a:lnTo>
                    <a:pt x="24" y="486"/>
                  </a:lnTo>
                  <a:lnTo>
                    <a:pt x="14" y="472"/>
                  </a:lnTo>
                  <a:lnTo>
                    <a:pt x="6" y="457"/>
                  </a:lnTo>
                  <a:lnTo>
                    <a:pt x="1" y="441"/>
                  </a:lnTo>
                  <a:lnTo>
                    <a:pt x="0" y="425"/>
                  </a:lnTo>
                  <a:lnTo>
                    <a:pt x="0" y="0"/>
                  </a:lnTo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63116" name="Freeform 12"/>
            <p:cNvSpPr>
              <a:spLocks/>
            </p:cNvSpPr>
            <p:nvPr/>
          </p:nvSpPr>
          <p:spPr bwMode="gray">
            <a:xfrm>
              <a:off x="3179" y="1888"/>
              <a:ext cx="1551" cy="1040"/>
            </a:xfrm>
            <a:custGeom>
              <a:avLst/>
              <a:gdLst>
                <a:gd name="T0" fmla="*/ 1147 w 1148"/>
                <a:gd name="T1" fmla="*/ 710 h 711"/>
                <a:gd name="T2" fmla="*/ 123 w 1148"/>
                <a:gd name="T3" fmla="*/ 710 h 711"/>
                <a:gd name="T4" fmla="*/ 104 w 1148"/>
                <a:gd name="T5" fmla="*/ 707 h 711"/>
                <a:gd name="T6" fmla="*/ 84 w 1148"/>
                <a:gd name="T7" fmla="*/ 702 h 711"/>
                <a:gd name="T8" fmla="*/ 67 w 1148"/>
                <a:gd name="T9" fmla="*/ 695 h 711"/>
                <a:gd name="T10" fmla="*/ 51 w 1148"/>
                <a:gd name="T11" fmla="*/ 685 h 711"/>
                <a:gd name="T12" fmla="*/ 37 w 1148"/>
                <a:gd name="T13" fmla="*/ 673 h 711"/>
                <a:gd name="T14" fmla="*/ 24 w 1148"/>
                <a:gd name="T15" fmla="*/ 660 h 711"/>
                <a:gd name="T16" fmla="*/ 14 w 1148"/>
                <a:gd name="T17" fmla="*/ 646 h 711"/>
                <a:gd name="T18" fmla="*/ 7 w 1148"/>
                <a:gd name="T19" fmla="*/ 632 h 711"/>
                <a:gd name="T20" fmla="*/ 2 w 1148"/>
                <a:gd name="T21" fmla="*/ 615 h 711"/>
                <a:gd name="T22" fmla="*/ 0 w 1148"/>
                <a:gd name="T23" fmla="*/ 599 h 711"/>
                <a:gd name="T24" fmla="*/ 0 w 1148"/>
                <a:gd name="T25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48" h="711">
                  <a:moveTo>
                    <a:pt x="1147" y="710"/>
                  </a:moveTo>
                  <a:lnTo>
                    <a:pt x="123" y="710"/>
                  </a:lnTo>
                  <a:lnTo>
                    <a:pt x="104" y="707"/>
                  </a:lnTo>
                  <a:lnTo>
                    <a:pt x="84" y="702"/>
                  </a:lnTo>
                  <a:lnTo>
                    <a:pt x="67" y="695"/>
                  </a:lnTo>
                  <a:lnTo>
                    <a:pt x="51" y="685"/>
                  </a:lnTo>
                  <a:lnTo>
                    <a:pt x="37" y="673"/>
                  </a:lnTo>
                  <a:lnTo>
                    <a:pt x="24" y="660"/>
                  </a:lnTo>
                  <a:lnTo>
                    <a:pt x="14" y="646"/>
                  </a:lnTo>
                  <a:lnTo>
                    <a:pt x="7" y="632"/>
                  </a:lnTo>
                  <a:lnTo>
                    <a:pt x="2" y="615"/>
                  </a:lnTo>
                  <a:lnTo>
                    <a:pt x="0" y="599"/>
                  </a:lnTo>
                  <a:lnTo>
                    <a:pt x="0" y="0"/>
                  </a:lnTo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63117" name="Freeform 13"/>
            <p:cNvSpPr>
              <a:spLocks/>
            </p:cNvSpPr>
            <p:nvPr/>
          </p:nvSpPr>
          <p:spPr bwMode="gray">
            <a:xfrm>
              <a:off x="2876" y="1881"/>
              <a:ext cx="1843" cy="1331"/>
            </a:xfrm>
            <a:custGeom>
              <a:avLst/>
              <a:gdLst>
                <a:gd name="T0" fmla="*/ 1364 w 1365"/>
                <a:gd name="T1" fmla="*/ 909 h 910"/>
                <a:gd name="T2" fmla="*/ 122 w 1365"/>
                <a:gd name="T3" fmla="*/ 909 h 910"/>
                <a:gd name="T4" fmla="*/ 104 w 1365"/>
                <a:gd name="T5" fmla="*/ 905 h 910"/>
                <a:gd name="T6" fmla="*/ 85 w 1365"/>
                <a:gd name="T7" fmla="*/ 900 h 910"/>
                <a:gd name="T8" fmla="*/ 68 w 1365"/>
                <a:gd name="T9" fmla="*/ 893 h 910"/>
                <a:gd name="T10" fmla="*/ 52 w 1365"/>
                <a:gd name="T11" fmla="*/ 883 h 910"/>
                <a:gd name="T12" fmla="*/ 38 w 1365"/>
                <a:gd name="T13" fmla="*/ 872 h 910"/>
                <a:gd name="T14" fmla="*/ 25 w 1365"/>
                <a:gd name="T15" fmla="*/ 859 h 910"/>
                <a:gd name="T16" fmla="*/ 15 w 1365"/>
                <a:gd name="T17" fmla="*/ 845 h 910"/>
                <a:gd name="T18" fmla="*/ 8 w 1365"/>
                <a:gd name="T19" fmla="*/ 830 h 910"/>
                <a:gd name="T20" fmla="*/ 3 w 1365"/>
                <a:gd name="T21" fmla="*/ 814 h 910"/>
                <a:gd name="T22" fmla="*/ 1 w 1365"/>
                <a:gd name="T23" fmla="*/ 799 h 910"/>
                <a:gd name="T24" fmla="*/ 1 w 1365"/>
                <a:gd name="T25" fmla="*/ 0 h 910"/>
                <a:gd name="T26" fmla="*/ 0 w 1365"/>
                <a:gd name="T27" fmla="*/ 4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5" h="910">
                  <a:moveTo>
                    <a:pt x="1364" y="909"/>
                  </a:moveTo>
                  <a:lnTo>
                    <a:pt x="122" y="909"/>
                  </a:lnTo>
                  <a:lnTo>
                    <a:pt x="104" y="905"/>
                  </a:lnTo>
                  <a:lnTo>
                    <a:pt x="85" y="900"/>
                  </a:lnTo>
                  <a:lnTo>
                    <a:pt x="68" y="893"/>
                  </a:lnTo>
                  <a:lnTo>
                    <a:pt x="52" y="883"/>
                  </a:lnTo>
                  <a:lnTo>
                    <a:pt x="38" y="872"/>
                  </a:lnTo>
                  <a:lnTo>
                    <a:pt x="25" y="859"/>
                  </a:lnTo>
                  <a:lnTo>
                    <a:pt x="15" y="845"/>
                  </a:lnTo>
                  <a:lnTo>
                    <a:pt x="8" y="830"/>
                  </a:lnTo>
                  <a:lnTo>
                    <a:pt x="3" y="814"/>
                  </a:lnTo>
                  <a:lnTo>
                    <a:pt x="1" y="799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noFill/>
            <a:ln w="95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63118" name="Rectangle 14"/>
            <p:cNvSpPr>
              <a:spLocks noChangeArrowheads="1"/>
            </p:cNvSpPr>
            <p:nvPr/>
          </p:nvSpPr>
          <p:spPr bwMode="gray">
            <a:xfrm>
              <a:off x="1029" y="2226"/>
              <a:ext cx="19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63119" name="Rectangle 15"/>
            <p:cNvSpPr>
              <a:spLocks noChangeArrowheads="1"/>
            </p:cNvSpPr>
            <p:nvPr/>
          </p:nvSpPr>
          <p:spPr bwMode="gray">
            <a:xfrm>
              <a:off x="1029" y="2489"/>
              <a:ext cx="19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63120" name="Rectangle 16"/>
            <p:cNvSpPr>
              <a:spLocks noChangeArrowheads="1"/>
            </p:cNvSpPr>
            <p:nvPr/>
          </p:nvSpPr>
          <p:spPr bwMode="gray">
            <a:xfrm>
              <a:off x="1029" y="2752"/>
              <a:ext cx="19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63121" name="Rectangle 17"/>
            <p:cNvSpPr>
              <a:spLocks noChangeArrowheads="1"/>
            </p:cNvSpPr>
            <p:nvPr/>
          </p:nvSpPr>
          <p:spPr bwMode="gray">
            <a:xfrm>
              <a:off x="1029" y="3016"/>
              <a:ext cx="19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63122" name="Rectangle 18"/>
            <p:cNvSpPr>
              <a:spLocks noChangeArrowheads="1"/>
            </p:cNvSpPr>
            <p:nvPr/>
          </p:nvSpPr>
          <p:spPr bwMode="gray">
            <a:xfrm>
              <a:off x="4535" y="2226"/>
              <a:ext cx="19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63123" name="Rectangle 19"/>
            <p:cNvSpPr>
              <a:spLocks noChangeArrowheads="1"/>
            </p:cNvSpPr>
            <p:nvPr/>
          </p:nvSpPr>
          <p:spPr bwMode="gray">
            <a:xfrm>
              <a:off x="4535" y="2489"/>
              <a:ext cx="19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63124" name="Rectangle 20"/>
            <p:cNvSpPr>
              <a:spLocks noChangeArrowheads="1"/>
            </p:cNvSpPr>
            <p:nvPr/>
          </p:nvSpPr>
          <p:spPr bwMode="gray">
            <a:xfrm>
              <a:off x="4535" y="2752"/>
              <a:ext cx="19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63125" name="Rectangle 21"/>
            <p:cNvSpPr>
              <a:spLocks noChangeArrowheads="1"/>
            </p:cNvSpPr>
            <p:nvPr/>
          </p:nvSpPr>
          <p:spPr bwMode="gray">
            <a:xfrm>
              <a:off x="4535" y="3016"/>
              <a:ext cx="19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algn="r"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307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2180" name="Oval 4"/>
          <p:cNvSpPr>
            <a:spLocks noChangeArrowheads="1"/>
          </p:cNvSpPr>
          <p:nvPr/>
        </p:nvSpPr>
        <p:spPr bwMode="gray">
          <a:xfrm>
            <a:off x="513346" y="644893"/>
            <a:ext cx="4884692" cy="86558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4000" b="1" dirty="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  <a:t>Miscellaneou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4560139"/>
      </p:ext>
    </p:extLst>
  </p:cSld>
  <p:clrMapOvr>
    <a:masterClrMapping/>
  </p:clrMapOvr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0882" name="Rectangle 2"/>
          <p:cNvSpPr>
            <a:spLocks noGrp="1" noChangeArrowheads="1"/>
          </p:cNvSpPr>
          <p:nvPr>
            <p:ph type="title"/>
          </p:nvPr>
        </p:nvSpPr>
        <p:spPr>
          <a:xfrm>
            <a:off x="1088410" y="707232"/>
            <a:ext cx="5562600" cy="304800"/>
          </a:xfrm>
        </p:spPr>
        <p:txBody>
          <a:bodyPr>
            <a:normAutofit fontScale="90000"/>
          </a:bodyPr>
          <a:lstStyle/>
          <a:p>
            <a:r>
              <a:rPr lang="en-US"/>
              <a:t>Flags</a:t>
            </a:r>
          </a:p>
        </p:txBody>
      </p:sp>
      <p:grpSp>
        <p:nvGrpSpPr>
          <p:cNvPr id="2810883" name="Group 3"/>
          <p:cNvGrpSpPr>
            <a:grpSpLocks/>
          </p:cNvGrpSpPr>
          <p:nvPr/>
        </p:nvGrpSpPr>
        <p:grpSpPr bwMode="auto">
          <a:xfrm>
            <a:off x="9074150" y="5238750"/>
            <a:ext cx="1136650" cy="971550"/>
            <a:chOff x="4762" y="3300"/>
            <a:chExt cx="716" cy="612"/>
          </a:xfrm>
        </p:grpSpPr>
        <p:pic>
          <p:nvPicPr>
            <p:cNvPr id="2810884" name="Picture 4" descr="us000_155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62" y="3300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885" name="Rectangle 5"/>
            <p:cNvSpPr>
              <a:spLocks noChangeArrowheads="1"/>
            </p:cNvSpPr>
            <p:nvPr/>
          </p:nvSpPr>
          <p:spPr bwMode="gray">
            <a:xfrm>
              <a:off x="4993" y="3778"/>
              <a:ext cx="231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USA</a:t>
              </a:r>
            </a:p>
          </p:txBody>
        </p:sp>
      </p:grpSp>
      <p:grpSp>
        <p:nvGrpSpPr>
          <p:cNvPr id="2810958" name="Group 78"/>
          <p:cNvGrpSpPr>
            <a:grpSpLocks/>
          </p:cNvGrpSpPr>
          <p:nvPr/>
        </p:nvGrpSpPr>
        <p:grpSpPr bwMode="auto">
          <a:xfrm>
            <a:off x="1860551" y="5238750"/>
            <a:ext cx="1243013" cy="971550"/>
            <a:chOff x="212" y="3300"/>
            <a:chExt cx="783" cy="612"/>
          </a:xfrm>
        </p:grpSpPr>
        <p:pic>
          <p:nvPicPr>
            <p:cNvPr id="2810887" name="Picture 7" descr="eu390_15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45" y="3300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888" name="Rectangle 8"/>
            <p:cNvSpPr>
              <a:spLocks noChangeArrowheads="1"/>
            </p:cNvSpPr>
            <p:nvPr/>
          </p:nvSpPr>
          <p:spPr bwMode="gray">
            <a:xfrm>
              <a:off x="212" y="3778"/>
              <a:ext cx="783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Czech Republic</a:t>
              </a:r>
            </a:p>
          </p:txBody>
        </p:sp>
      </p:grpSp>
      <p:grpSp>
        <p:nvGrpSpPr>
          <p:cNvPr id="2810889" name="Group 9"/>
          <p:cNvGrpSpPr>
            <a:grpSpLocks/>
          </p:cNvGrpSpPr>
          <p:nvPr/>
        </p:nvGrpSpPr>
        <p:grpSpPr bwMode="auto">
          <a:xfrm>
            <a:off x="3389313" y="5238750"/>
            <a:ext cx="1136650" cy="971550"/>
            <a:chOff x="1175" y="3300"/>
            <a:chExt cx="716" cy="612"/>
          </a:xfrm>
        </p:grpSpPr>
        <p:pic>
          <p:nvPicPr>
            <p:cNvPr id="2810890" name="Picture 10" descr="as350_15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175" y="3300"/>
              <a:ext cx="716" cy="47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891" name="Rectangle 11"/>
            <p:cNvSpPr>
              <a:spLocks noChangeArrowheads="1"/>
            </p:cNvSpPr>
            <p:nvPr/>
          </p:nvSpPr>
          <p:spPr bwMode="gray">
            <a:xfrm>
              <a:off x="1362" y="3778"/>
              <a:ext cx="342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Russia</a:t>
              </a:r>
            </a:p>
          </p:txBody>
        </p:sp>
      </p:grpSp>
      <p:grpSp>
        <p:nvGrpSpPr>
          <p:cNvPr id="2810892" name="Group 12"/>
          <p:cNvGrpSpPr>
            <a:grpSpLocks/>
          </p:cNvGrpSpPr>
          <p:nvPr/>
        </p:nvGrpSpPr>
        <p:grpSpPr bwMode="auto">
          <a:xfrm>
            <a:off x="4813300" y="5238750"/>
            <a:ext cx="1136650" cy="971550"/>
            <a:chOff x="2072" y="3300"/>
            <a:chExt cx="716" cy="612"/>
          </a:xfrm>
        </p:grpSpPr>
        <p:pic>
          <p:nvPicPr>
            <p:cNvPr id="2810893" name="Picture 13" descr="as370_155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072" y="3300"/>
              <a:ext cx="716" cy="47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894" name="Rectangle 14"/>
            <p:cNvSpPr>
              <a:spLocks noChangeArrowheads="1"/>
            </p:cNvSpPr>
            <p:nvPr/>
          </p:nvSpPr>
          <p:spPr bwMode="gray">
            <a:xfrm>
              <a:off x="2176" y="3778"/>
              <a:ext cx="50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Singapore</a:t>
              </a:r>
            </a:p>
          </p:txBody>
        </p:sp>
      </p:grpSp>
      <p:grpSp>
        <p:nvGrpSpPr>
          <p:cNvPr id="2810895" name="Group 15"/>
          <p:cNvGrpSpPr>
            <a:grpSpLocks/>
          </p:cNvGrpSpPr>
          <p:nvPr/>
        </p:nvGrpSpPr>
        <p:grpSpPr bwMode="auto">
          <a:xfrm>
            <a:off x="6235700" y="5238750"/>
            <a:ext cx="1136650" cy="971550"/>
            <a:chOff x="2968" y="3300"/>
            <a:chExt cx="716" cy="612"/>
          </a:xfrm>
        </p:grpSpPr>
        <p:pic>
          <p:nvPicPr>
            <p:cNvPr id="2810896" name="Picture 16" descr="as150_155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968" y="3300"/>
              <a:ext cx="716" cy="47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897" name="Rectangle 17"/>
            <p:cNvSpPr>
              <a:spLocks noChangeArrowheads="1"/>
            </p:cNvSpPr>
            <p:nvPr/>
          </p:nvSpPr>
          <p:spPr bwMode="gray">
            <a:xfrm>
              <a:off x="3174" y="3778"/>
              <a:ext cx="304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Japan</a:t>
              </a:r>
            </a:p>
          </p:txBody>
        </p:sp>
      </p:grpSp>
      <p:grpSp>
        <p:nvGrpSpPr>
          <p:cNvPr id="2810898" name="Group 18"/>
          <p:cNvGrpSpPr>
            <a:grpSpLocks/>
          </p:cNvGrpSpPr>
          <p:nvPr/>
        </p:nvGrpSpPr>
        <p:grpSpPr bwMode="auto">
          <a:xfrm>
            <a:off x="7659688" y="5238751"/>
            <a:ext cx="1136650" cy="969963"/>
            <a:chOff x="3865" y="3300"/>
            <a:chExt cx="716" cy="611"/>
          </a:xfrm>
        </p:grpSpPr>
        <p:pic>
          <p:nvPicPr>
            <p:cNvPr id="2810899" name="Picture 19" descr="as080_155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865" y="3300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00" name="Rectangle 20"/>
            <p:cNvSpPr>
              <a:spLocks noChangeArrowheads="1"/>
            </p:cNvSpPr>
            <p:nvPr/>
          </p:nvSpPr>
          <p:spPr bwMode="gray">
            <a:xfrm>
              <a:off x="4079" y="3777"/>
              <a:ext cx="292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China</a:t>
              </a:r>
            </a:p>
          </p:txBody>
        </p:sp>
      </p:grpSp>
      <p:grpSp>
        <p:nvGrpSpPr>
          <p:cNvPr id="2810901" name="Group 21"/>
          <p:cNvGrpSpPr>
            <a:grpSpLocks/>
          </p:cNvGrpSpPr>
          <p:nvPr/>
        </p:nvGrpSpPr>
        <p:grpSpPr bwMode="auto">
          <a:xfrm>
            <a:off x="7648575" y="2735263"/>
            <a:ext cx="1136650" cy="971550"/>
            <a:chOff x="3858" y="1723"/>
            <a:chExt cx="716" cy="612"/>
          </a:xfrm>
        </p:grpSpPr>
        <p:pic>
          <p:nvPicPr>
            <p:cNvPr id="2810902" name="Picture 22" descr="eu260_155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858" y="1723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03" name="Rectangle 23"/>
            <p:cNvSpPr>
              <a:spLocks noChangeArrowheads="1"/>
            </p:cNvSpPr>
            <p:nvPr/>
          </p:nvSpPr>
          <p:spPr bwMode="gray">
            <a:xfrm>
              <a:off x="4028" y="2201"/>
              <a:ext cx="37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Norway</a:t>
              </a:r>
            </a:p>
          </p:txBody>
        </p:sp>
      </p:grpSp>
      <p:grpSp>
        <p:nvGrpSpPr>
          <p:cNvPr id="2810904" name="Group 24"/>
          <p:cNvGrpSpPr>
            <a:grpSpLocks/>
          </p:cNvGrpSpPr>
          <p:nvPr/>
        </p:nvGrpSpPr>
        <p:grpSpPr bwMode="auto">
          <a:xfrm>
            <a:off x="9074150" y="2735263"/>
            <a:ext cx="1136650" cy="971550"/>
            <a:chOff x="4762" y="1723"/>
            <a:chExt cx="716" cy="612"/>
          </a:xfrm>
        </p:grpSpPr>
        <p:pic>
          <p:nvPicPr>
            <p:cNvPr id="2810905" name="Picture 25" descr="eu330_155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62" y="1723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06" name="Rectangle 26"/>
            <p:cNvSpPr>
              <a:spLocks noChangeArrowheads="1"/>
            </p:cNvSpPr>
            <p:nvPr/>
          </p:nvSpPr>
          <p:spPr bwMode="gray">
            <a:xfrm>
              <a:off x="4918" y="2201"/>
              <a:ext cx="404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Sweden</a:t>
              </a:r>
            </a:p>
          </p:txBody>
        </p:sp>
      </p:grpSp>
      <p:grpSp>
        <p:nvGrpSpPr>
          <p:cNvPr id="2810907" name="Group 27"/>
          <p:cNvGrpSpPr>
            <a:grpSpLocks/>
          </p:cNvGrpSpPr>
          <p:nvPr/>
        </p:nvGrpSpPr>
        <p:grpSpPr bwMode="auto">
          <a:xfrm>
            <a:off x="6213475" y="2735263"/>
            <a:ext cx="1136650" cy="969962"/>
            <a:chOff x="2954" y="1723"/>
            <a:chExt cx="716" cy="611"/>
          </a:xfrm>
        </p:grpSpPr>
        <p:pic>
          <p:nvPicPr>
            <p:cNvPr id="2810908" name="Picture 28" descr="eu070_155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954" y="1723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09" name="Rectangle 29"/>
            <p:cNvSpPr>
              <a:spLocks noChangeArrowheads="1"/>
            </p:cNvSpPr>
            <p:nvPr/>
          </p:nvSpPr>
          <p:spPr bwMode="gray">
            <a:xfrm>
              <a:off x="3075" y="2200"/>
              <a:ext cx="453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Denmark</a:t>
              </a:r>
            </a:p>
          </p:txBody>
        </p:sp>
      </p:grpSp>
      <p:grpSp>
        <p:nvGrpSpPr>
          <p:cNvPr id="2810910" name="Group 30"/>
          <p:cNvGrpSpPr>
            <a:grpSpLocks/>
          </p:cNvGrpSpPr>
          <p:nvPr/>
        </p:nvGrpSpPr>
        <p:grpSpPr bwMode="auto">
          <a:xfrm>
            <a:off x="3343275" y="2735263"/>
            <a:ext cx="1136650" cy="977900"/>
            <a:chOff x="1146" y="1723"/>
            <a:chExt cx="716" cy="616"/>
          </a:xfrm>
        </p:grpSpPr>
        <p:pic>
          <p:nvPicPr>
            <p:cNvPr id="2810911" name="Picture 31" descr="eu340_155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146" y="1723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12" name="Rectangle 32"/>
            <p:cNvSpPr>
              <a:spLocks noChangeArrowheads="1"/>
            </p:cNvSpPr>
            <p:nvPr/>
          </p:nvSpPr>
          <p:spPr bwMode="gray">
            <a:xfrm>
              <a:off x="1218" y="2205"/>
              <a:ext cx="578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Switzerland</a:t>
              </a:r>
            </a:p>
          </p:txBody>
        </p:sp>
      </p:grpSp>
      <p:grpSp>
        <p:nvGrpSpPr>
          <p:cNvPr id="2810957" name="Group 77"/>
          <p:cNvGrpSpPr>
            <a:grpSpLocks/>
          </p:cNvGrpSpPr>
          <p:nvPr/>
        </p:nvGrpSpPr>
        <p:grpSpPr bwMode="auto">
          <a:xfrm>
            <a:off x="1912938" y="2735263"/>
            <a:ext cx="1136650" cy="969962"/>
            <a:chOff x="245" y="1723"/>
            <a:chExt cx="716" cy="611"/>
          </a:xfrm>
        </p:grpSpPr>
        <p:pic>
          <p:nvPicPr>
            <p:cNvPr id="2810914" name="Picture 34" descr="eu270_155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45" y="1723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15" name="Rectangle 35"/>
            <p:cNvSpPr>
              <a:spLocks noChangeArrowheads="1"/>
            </p:cNvSpPr>
            <p:nvPr/>
          </p:nvSpPr>
          <p:spPr bwMode="gray">
            <a:xfrm>
              <a:off x="397" y="2200"/>
              <a:ext cx="348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Austria</a:t>
              </a:r>
            </a:p>
          </p:txBody>
        </p:sp>
      </p:grpSp>
      <p:grpSp>
        <p:nvGrpSpPr>
          <p:cNvPr id="2810916" name="Group 36"/>
          <p:cNvGrpSpPr>
            <a:grpSpLocks/>
          </p:cNvGrpSpPr>
          <p:nvPr/>
        </p:nvGrpSpPr>
        <p:grpSpPr bwMode="auto">
          <a:xfrm>
            <a:off x="4778375" y="2735263"/>
            <a:ext cx="1136650" cy="963612"/>
            <a:chOff x="2050" y="1723"/>
            <a:chExt cx="716" cy="607"/>
          </a:xfrm>
        </p:grpSpPr>
        <p:pic>
          <p:nvPicPr>
            <p:cNvPr id="2810917" name="Picture 37" descr="eu100_155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050" y="1723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18" name="Rectangle 38"/>
            <p:cNvSpPr>
              <a:spLocks noChangeArrowheads="1"/>
            </p:cNvSpPr>
            <p:nvPr/>
          </p:nvSpPr>
          <p:spPr bwMode="gray">
            <a:xfrm>
              <a:off x="2226" y="2196"/>
              <a:ext cx="366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Finland</a:t>
              </a:r>
            </a:p>
          </p:txBody>
        </p:sp>
      </p:grpSp>
      <p:grpSp>
        <p:nvGrpSpPr>
          <p:cNvPr id="2810956" name="Group 76"/>
          <p:cNvGrpSpPr>
            <a:grpSpLocks/>
          </p:cNvGrpSpPr>
          <p:nvPr/>
        </p:nvGrpSpPr>
        <p:grpSpPr bwMode="auto">
          <a:xfrm>
            <a:off x="1912938" y="1489075"/>
            <a:ext cx="1136650" cy="971550"/>
            <a:chOff x="245" y="938"/>
            <a:chExt cx="716" cy="612"/>
          </a:xfrm>
        </p:grpSpPr>
        <p:pic>
          <p:nvPicPr>
            <p:cNvPr id="2810920" name="Picture 40" descr="dl000_155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45" y="938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21" name="Rectangle 41"/>
            <p:cNvSpPr>
              <a:spLocks noChangeArrowheads="1"/>
            </p:cNvSpPr>
            <p:nvPr/>
          </p:nvSpPr>
          <p:spPr bwMode="gray">
            <a:xfrm>
              <a:off x="340" y="1416"/>
              <a:ext cx="45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Germany</a:t>
              </a:r>
            </a:p>
          </p:txBody>
        </p:sp>
      </p:grpSp>
      <p:grpSp>
        <p:nvGrpSpPr>
          <p:cNvPr id="2810922" name="Group 42"/>
          <p:cNvGrpSpPr>
            <a:grpSpLocks/>
          </p:cNvGrpSpPr>
          <p:nvPr/>
        </p:nvGrpSpPr>
        <p:grpSpPr bwMode="auto">
          <a:xfrm>
            <a:off x="3343275" y="1489075"/>
            <a:ext cx="1136650" cy="971550"/>
            <a:chOff x="1146" y="938"/>
            <a:chExt cx="716" cy="612"/>
          </a:xfrm>
        </p:grpSpPr>
        <p:pic>
          <p:nvPicPr>
            <p:cNvPr id="2810923" name="Picture 43" descr="eu110_155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146" y="938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24" name="Rectangle 44"/>
            <p:cNvSpPr>
              <a:spLocks noChangeArrowheads="1"/>
            </p:cNvSpPr>
            <p:nvPr/>
          </p:nvSpPr>
          <p:spPr bwMode="gray">
            <a:xfrm>
              <a:off x="1330" y="1416"/>
              <a:ext cx="34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France</a:t>
              </a:r>
            </a:p>
          </p:txBody>
        </p:sp>
      </p:grpSp>
      <p:grpSp>
        <p:nvGrpSpPr>
          <p:cNvPr id="2810925" name="Group 45"/>
          <p:cNvGrpSpPr>
            <a:grpSpLocks/>
          </p:cNvGrpSpPr>
          <p:nvPr/>
        </p:nvGrpSpPr>
        <p:grpSpPr bwMode="auto">
          <a:xfrm>
            <a:off x="4778375" y="1489075"/>
            <a:ext cx="1136650" cy="971550"/>
            <a:chOff x="2050" y="938"/>
            <a:chExt cx="716" cy="612"/>
          </a:xfrm>
        </p:grpSpPr>
        <p:pic>
          <p:nvPicPr>
            <p:cNvPr id="2810926" name="Picture 46" descr="eu130_155"/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050" y="938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27" name="Rectangle 47"/>
            <p:cNvSpPr>
              <a:spLocks noChangeArrowheads="1"/>
            </p:cNvSpPr>
            <p:nvPr/>
          </p:nvSpPr>
          <p:spPr bwMode="gray">
            <a:xfrm>
              <a:off x="2330" y="1416"/>
              <a:ext cx="156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UK</a:t>
              </a:r>
            </a:p>
          </p:txBody>
        </p:sp>
      </p:grpSp>
      <p:grpSp>
        <p:nvGrpSpPr>
          <p:cNvPr id="2810928" name="Group 48"/>
          <p:cNvGrpSpPr>
            <a:grpSpLocks/>
          </p:cNvGrpSpPr>
          <p:nvPr/>
        </p:nvGrpSpPr>
        <p:grpSpPr bwMode="auto">
          <a:xfrm>
            <a:off x="6213475" y="1489075"/>
            <a:ext cx="1136650" cy="971550"/>
            <a:chOff x="2954" y="938"/>
            <a:chExt cx="716" cy="612"/>
          </a:xfrm>
        </p:grpSpPr>
        <p:pic>
          <p:nvPicPr>
            <p:cNvPr id="2810929" name="Picture 49" descr="eu381_155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954" y="938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30" name="Rectangle 50"/>
            <p:cNvSpPr>
              <a:spLocks noChangeArrowheads="1"/>
            </p:cNvSpPr>
            <p:nvPr/>
          </p:nvSpPr>
          <p:spPr bwMode="gray">
            <a:xfrm>
              <a:off x="3169" y="1416"/>
              <a:ext cx="286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Spain</a:t>
              </a:r>
            </a:p>
          </p:txBody>
        </p:sp>
      </p:grpSp>
      <p:grpSp>
        <p:nvGrpSpPr>
          <p:cNvPr id="2810931" name="Group 51"/>
          <p:cNvGrpSpPr>
            <a:grpSpLocks/>
          </p:cNvGrpSpPr>
          <p:nvPr/>
        </p:nvGrpSpPr>
        <p:grpSpPr bwMode="auto">
          <a:xfrm>
            <a:off x="9074150" y="1487489"/>
            <a:ext cx="1136650" cy="973137"/>
            <a:chOff x="4762" y="937"/>
            <a:chExt cx="716" cy="613"/>
          </a:xfrm>
        </p:grpSpPr>
        <p:pic>
          <p:nvPicPr>
            <p:cNvPr id="2810932" name="Picture 52" descr="eu150_155"/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62" y="937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33" name="Rectangle 53"/>
            <p:cNvSpPr>
              <a:spLocks noChangeArrowheads="1"/>
            </p:cNvSpPr>
            <p:nvPr/>
          </p:nvSpPr>
          <p:spPr bwMode="gray">
            <a:xfrm>
              <a:off x="5018" y="1416"/>
              <a:ext cx="205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Italy</a:t>
              </a:r>
            </a:p>
          </p:txBody>
        </p:sp>
      </p:grpSp>
      <p:grpSp>
        <p:nvGrpSpPr>
          <p:cNvPr id="2810934" name="Group 54"/>
          <p:cNvGrpSpPr>
            <a:grpSpLocks/>
          </p:cNvGrpSpPr>
          <p:nvPr/>
        </p:nvGrpSpPr>
        <p:grpSpPr bwMode="auto">
          <a:xfrm>
            <a:off x="7648575" y="1487489"/>
            <a:ext cx="1136650" cy="962025"/>
            <a:chOff x="3858" y="937"/>
            <a:chExt cx="716" cy="606"/>
          </a:xfrm>
        </p:grpSpPr>
        <p:pic>
          <p:nvPicPr>
            <p:cNvPr id="2810935" name="Picture 55" descr="eu290_155"/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858" y="937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36" name="Rectangle 56"/>
            <p:cNvSpPr>
              <a:spLocks noChangeArrowheads="1"/>
            </p:cNvSpPr>
            <p:nvPr/>
          </p:nvSpPr>
          <p:spPr bwMode="gray">
            <a:xfrm>
              <a:off x="4009" y="1409"/>
              <a:ext cx="416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Portugal</a:t>
              </a:r>
            </a:p>
          </p:txBody>
        </p:sp>
      </p:grpSp>
      <p:grpSp>
        <p:nvGrpSpPr>
          <p:cNvPr id="2810937" name="Group 57"/>
          <p:cNvGrpSpPr>
            <a:grpSpLocks/>
          </p:cNvGrpSpPr>
          <p:nvPr/>
        </p:nvGrpSpPr>
        <p:grpSpPr bwMode="auto">
          <a:xfrm>
            <a:off x="9074150" y="3987800"/>
            <a:ext cx="1136650" cy="973138"/>
            <a:chOff x="4762" y="2512"/>
            <a:chExt cx="716" cy="613"/>
          </a:xfrm>
        </p:grpSpPr>
        <p:pic>
          <p:nvPicPr>
            <p:cNvPr id="2810938" name="Picture 58" descr="eu280_155"/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62" y="2512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39" name="Rectangle 59"/>
            <p:cNvSpPr>
              <a:spLocks noChangeArrowheads="1"/>
            </p:cNvSpPr>
            <p:nvPr/>
          </p:nvSpPr>
          <p:spPr bwMode="gray">
            <a:xfrm>
              <a:off x="4946" y="2991"/>
              <a:ext cx="348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Poland</a:t>
              </a:r>
            </a:p>
          </p:txBody>
        </p:sp>
      </p:grpSp>
      <p:grpSp>
        <p:nvGrpSpPr>
          <p:cNvPr id="2810955" name="Group 75"/>
          <p:cNvGrpSpPr>
            <a:grpSpLocks/>
          </p:cNvGrpSpPr>
          <p:nvPr/>
        </p:nvGrpSpPr>
        <p:grpSpPr bwMode="auto">
          <a:xfrm>
            <a:off x="1912938" y="3987800"/>
            <a:ext cx="1136650" cy="973138"/>
            <a:chOff x="245" y="2512"/>
            <a:chExt cx="716" cy="613"/>
          </a:xfrm>
        </p:grpSpPr>
        <p:pic>
          <p:nvPicPr>
            <p:cNvPr id="2810941" name="Picture 61" descr="eu250_155"/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45" y="2512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42" name="Rectangle 62"/>
            <p:cNvSpPr>
              <a:spLocks noChangeArrowheads="1"/>
            </p:cNvSpPr>
            <p:nvPr/>
          </p:nvSpPr>
          <p:spPr bwMode="gray">
            <a:xfrm>
              <a:off x="271" y="2991"/>
              <a:ext cx="602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Netherlands</a:t>
              </a:r>
            </a:p>
          </p:txBody>
        </p:sp>
      </p:grpSp>
      <p:grpSp>
        <p:nvGrpSpPr>
          <p:cNvPr id="2810943" name="Group 63"/>
          <p:cNvGrpSpPr>
            <a:grpSpLocks/>
          </p:cNvGrpSpPr>
          <p:nvPr/>
        </p:nvGrpSpPr>
        <p:grpSpPr bwMode="auto">
          <a:xfrm>
            <a:off x="3343275" y="3987800"/>
            <a:ext cx="1136650" cy="973138"/>
            <a:chOff x="1146" y="2512"/>
            <a:chExt cx="716" cy="613"/>
          </a:xfrm>
        </p:grpSpPr>
        <p:pic>
          <p:nvPicPr>
            <p:cNvPr id="2810944" name="Picture 64" descr="eu040_155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146" y="2512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45" name="Rectangle 65"/>
            <p:cNvSpPr>
              <a:spLocks noChangeArrowheads="1"/>
            </p:cNvSpPr>
            <p:nvPr/>
          </p:nvSpPr>
          <p:spPr bwMode="gray">
            <a:xfrm>
              <a:off x="1303" y="2991"/>
              <a:ext cx="404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Belgium</a:t>
              </a:r>
            </a:p>
          </p:txBody>
        </p:sp>
      </p:grpSp>
      <p:grpSp>
        <p:nvGrpSpPr>
          <p:cNvPr id="2810946" name="Group 66"/>
          <p:cNvGrpSpPr>
            <a:grpSpLocks/>
          </p:cNvGrpSpPr>
          <p:nvPr/>
        </p:nvGrpSpPr>
        <p:grpSpPr bwMode="auto">
          <a:xfrm>
            <a:off x="7648575" y="3987801"/>
            <a:ext cx="1136650" cy="962025"/>
            <a:chOff x="3858" y="2512"/>
            <a:chExt cx="716" cy="606"/>
          </a:xfrm>
        </p:grpSpPr>
        <p:pic>
          <p:nvPicPr>
            <p:cNvPr id="2810947" name="Picture 67" descr="eu420_155"/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858" y="2512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48" name="Rectangle 68"/>
            <p:cNvSpPr>
              <a:spLocks noChangeArrowheads="1"/>
            </p:cNvSpPr>
            <p:nvPr/>
          </p:nvSpPr>
          <p:spPr bwMode="gray">
            <a:xfrm>
              <a:off x="4007" y="2984"/>
              <a:ext cx="422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Hungary</a:t>
              </a:r>
            </a:p>
          </p:txBody>
        </p:sp>
      </p:grpSp>
      <p:grpSp>
        <p:nvGrpSpPr>
          <p:cNvPr id="2810949" name="Group 69"/>
          <p:cNvGrpSpPr>
            <a:grpSpLocks/>
          </p:cNvGrpSpPr>
          <p:nvPr/>
        </p:nvGrpSpPr>
        <p:grpSpPr bwMode="auto">
          <a:xfrm>
            <a:off x="4778375" y="3987800"/>
            <a:ext cx="1136650" cy="973138"/>
            <a:chOff x="2050" y="2512"/>
            <a:chExt cx="716" cy="613"/>
          </a:xfrm>
        </p:grpSpPr>
        <p:pic>
          <p:nvPicPr>
            <p:cNvPr id="2810950" name="Picture 70" descr="eu300_155"/>
            <p:cNvPicPr>
              <a:picLocks noChangeAspect="1" noChangeArrowheads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050" y="2512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51" name="Rectangle 71"/>
            <p:cNvSpPr>
              <a:spLocks noChangeArrowheads="1"/>
            </p:cNvSpPr>
            <p:nvPr/>
          </p:nvSpPr>
          <p:spPr bwMode="gray">
            <a:xfrm>
              <a:off x="2185" y="2991"/>
              <a:ext cx="44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Romania</a:t>
              </a:r>
            </a:p>
          </p:txBody>
        </p:sp>
      </p:grpSp>
      <p:grpSp>
        <p:nvGrpSpPr>
          <p:cNvPr id="2810952" name="Group 72"/>
          <p:cNvGrpSpPr>
            <a:grpSpLocks/>
          </p:cNvGrpSpPr>
          <p:nvPr/>
        </p:nvGrpSpPr>
        <p:grpSpPr bwMode="auto">
          <a:xfrm>
            <a:off x="6213475" y="3987801"/>
            <a:ext cx="1136650" cy="976313"/>
            <a:chOff x="2954" y="2512"/>
            <a:chExt cx="716" cy="615"/>
          </a:xfrm>
        </p:grpSpPr>
        <p:pic>
          <p:nvPicPr>
            <p:cNvPr id="2810953" name="Picture 73" descr="eu360_155"/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954" y="2512"/>
              <a:ext cx="716" cy="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10954" name="Rectangle 74"/>
            <p:cNvSpPr>
              <a:spLocks noChangeArrowheads="1"/>
            </p:cNvSpPr>
            <p:nvPr/>
          </p:nvSpPr>
          <p:spPr bwMode="gray">
            <a:xfrm>
              <a:off x="3101" y="2993"/>
              <a:ext cx="423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defTabSz="912813"/>
              <a:r>
                <a:rPr lang="en-US"/>
                <a:t>Slovakia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60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6301" name="Rectangle 7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ymbols/Arrows</a:t>
            </a:r>
          </a:p>
        </p:txBody>
      </p:sp>
      <p:graphicFrame>
        <p:nvGraphicFramePr>
          <p:cNvPr id="2996318" name="Rectangle 94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74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96226" name="Group 2"/>
          <p:cNvGrpSpPr>
            <a:grpSpLocks/>
          </p:cNvGrpSpPr>
          <p:nvPr/>
        </p:nvGrpSpPr>
        <p:grpSpPr bwMode="auto">
          <a:xfrm>
            <a:off x="3533776" y="4297363"/>
            <a:ext cx="455613" cy="455612"/>
            <a:chOff x="1266" y="2707"/>
            <a:chExt cx="287" cy="287"/>
          </a:xfrm>
        </p:grpSpPr>
        <p:sp>
          <p:nvSpPr>
            <p:cNvPr id="2996227" name="Oval 3"/>
            <p:cNvSpPr>
              <a:spLocks noChangeArrowheads="1"/>
            </p:cNvSpPr>
            <p:nvPr/>
          </p:nvSpPr>
          <p:spPr bwMode="gray">
            <a:xfrm flipH="1">
              <a:off x="1266" y="2707"/>
              <a:ext cx="287" cy="287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2996228" name="Group 4"/>
            <p:cNvGrpSpPr>
              <a:grpSpLocks/>
            </p:cNvGrpSpPr>
            <p:nvPr/>
          </p:nvGrpSpPr>
          <p:grpSpPr bwMode="auto">
            <a:xfrm>
              <a:off x="1313" y="2779"/>
              <a:ext cx="193" cy="143"/>
              <a:chOff x="3276" y="1493"/>
              <a:chExt cx="291" cy="214"/>
            </a:xfrm>
          </p:grpSpPr>
          <p:sp>
            <p:nvSpPr>
              <p:cNvPr id="2996229" name="Freeform 5"/>
              <p:cNvSpPr>
                <a:spLocks/>
              </p:cNvSpPr>
              <p:nvPr/>
            </p:nvSpPr>
            <p:spPr bwMode="gray">
              <a:xfrm>
                <a:off x="3276" y="1493"/>
                <a:ext cx="290" cy="214"/>
              </a:xfrm>
              <a:custGeom>
                <a:avLst/>
                <a:gdLst>
                  <a:gd name="T0" fmla="*/ 0 w 290"/>
                  <a:gd name="T1" fmla="*/ 0 h 214"/>
                  <a:gd name="T2" fmla="*/ 77 w 290"/>
                  <a:gd name="T3" fmla="*/ 1 h 214"/>
                  <a:gd name="T4" fmla="*/ 290 w 290"/>
                  <a:gd name="T5" fmla="*/ 214 h 214"/>
                  <a:gd name="T6" fmla="*/ 213 w 290"/>
                  <a:gd name="T7" fmla="*/ 214 h 214"/>
                  <a:gd name="T8" fmla="*/ 0 w 290"/>
                  <a:gd name="T9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0" h="214">
                    <a:moveTo>
                      <a:pt x="0" y="0"/>
                    </a:moveTo>
                    <a:lnTo>
                      <a:pt x="77" y="1"/>
                    </a:lnTo>
                    <a:lnTo>
                      <a:pt x="290" y="214"/>
                    </a:lnTo>
                    <a:lnTo>
                      <a:pt x="213" y="2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sp>
            <p:nvSpPr>
              <p:cNvPr id="2996230" name="Freeform 6"/>
              <p:cNvSpPr>
                <a:spLocks/>
              </p:cNvSpPr>
              <p:nvPr/>
            </p:nvSpPr>
            <p:spPr bwMode="gray">
              <a:xfrm flipH="1">
                <a:off x="3277" y="1493"/>
                <a:ext cx="290" cy="214"/>
              </a:xfrm>
              <a:custGeom>
                <a:avLst/>
                <a:gdLst>
                  <a:gd name="T0" fmla="*/ 0 w 290"/>
                  <a:gd name="T1" fmla="*/ 0 h 214"/>
                  <a:gd name="T2" fmla="*/ 77 w 290"/>
                  <a:gd name="T3" fmla="*/ 1 h 214"/>
                  <a:gd name="T4" fmla="*/ 290 w 290"/>
                  <a:gd name="T5" fmla="*/ 214 h 214"/>
                  <a:gd name="T6" fmla="*/ 213 w 290"/>
                  <a:gd name="T7" fmla="*/ 214 h 214"/>
                  <a:gd name="T8" fmla="*/ 0 w 290"/>
                  <a:gd name="T9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0" h="214">
                    <a:moveTo>
                      <a:pt x="0" y="0"/>
                    </a:moveTo>
                    <a:lnTo>
                      <a:pt x="77" y="1"/>
                    </a:lnTo>
                    <a:lnTo>
                      <a:pt x="290" y="214"/>
                    </a:lnTo>
                    <a:lnTo>
                      <a:pt x="213" y="2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</p:grpSp>
      </p:grpSp>
      <p:sp>
        <p:nvSpPr>
          <p:cNvPr id="2996231" name="Rectangle 7"/>
          <p:cNvSpPr>
            <a:spLocks noChangeArrowheads="1"/>
          </p:cNvSpPr>
          <p:nvPr/>
        </p:nvSpPr>
        <p:spPr bwMode="gray">
          <a:xfrm>
            <a:off x="7581901" y="2274889"/>
            <a:ext cx="314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</a:rPr>
              <a:t>!</a:t>
            </a:r>
          </a:p>
        </p:txBody>
      </p:sp>
      <p:sp>
        <p:nvSpPr>
          <p:cNvPr id="2996232" name="Rectangle 8"/>
          <p:cNvSpPr>
            <a:spLocks noChangeArrowheads="1"/>
          </p:cNvSpPr>
          <p:nvPr/>
        </p:nvSpPr>
        <p:spPr bwMode="gray">
          <a:xfrm>
            <a:off x="3578225" y="2262189"/>
            <a:ext cx="34448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</a:rPr>
              <a:t>*</a:t>
            </a:r>
          </a:p>
        </p:txBody>
      </p:sp>
      <p:sp>
        <p:nvSpPr>
          <p:cNvPr id="2996233" name="Rectangle 9"/>
          <p:cNvSpPr>
            <a:spLocks noChangeArrowheads="1"/>
          </p:cNvSpPr>
          <p:nvPr/>
        </p:nvSpPr>
        <p:spPr bwMode="gray">
          <a:xfrm>
            <a:off x="4237039" y="2274889"/>
            <a:ext cx="344487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</a:rPr>
              <a:t>+</a:t>
            </a:r>
          </a:p>
        </p:txBody>
      </p:sp>
      <p:sp>
        <p:nvSpPr>
          <p:cNvPr id="2996234" name="Rectangle 10"/>
          <p:cNvSpPr>
            <a:spLocks noChangeArrowheads="1"/>
          </p:cNvSpPr>
          <p:nvPr/>
        </p:nvSpPr>
        <p:spPr bwMode="gray">
          <a:xfrm>
            <a:off x="5540376" y="1587501"/>
            <a:ext cx="3333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</a:rPr>
              <a:t>0</a:t>
            </a:r>
          </a:p>
        </p:txBody>
      </p:sp>
      <p:sp>
        <p:nvSpPr>
          <p:cNvPr id="2996235" name="Rectangle 11"/>
          <p:cNvSpPr>
            <a:spLocks noChangeArrowheads="1"/>
          </p:cNvSpPr>
          <p:nvPr/>
        </p:nvSpPr>
        <p:spPr bwMode="gray">
          <a:xfrm>
            <a:off x="6210301" y="1587501"/>
            <a:ext cx="4095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</a:rPr>
              <a:t>1</a:t>
            </a:r>
          </a:p>
        </p:txBody>
      </p:sp>
      <p:sp>
        <p:nvSpPr>
          <p:cNvPr id="2996236" name="Rectangle 12"/>
          <p:cNvSpPr>
            <a:spLocks noChangeArrowheads="1"/>
          </p:cNvSpPr>
          <p:nvPr/>
        </p:nvSpPr>
        <p:spPr bwMode="gray">
          <a:xfrm>
            <a:off x="1939926" y="2274889"/>
            <a:ext cx="2127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</a:rPr>
              <a:t>2</a:t>
            </a:r>
          </a:p>
        </p:txBody>
      </p:sp>
      <p:sp>
        <p:nvSpPr>
          <p:cNvPr id="2996237" name="Rectangle 13"/>
          <p:cNvSpPr>
            <a:spLocks noChangeArrowheads="1"/>
          </p:cNvSpPr>
          <p:nvPr/>
        </p:nvSpPr>
        <p:spPr bwMode="gray">
          <a:xfrm>
            <a:off x="2465389" y="2300289"/>
            <a:ext cx="2127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</a:rPr>
              <a:t>3</a:t>
            </a:r>
          </a:p>
        </p:txBody>
      </p:sp>
      <p:sp>
        <p:nvSpPr>
          <p:cNvPr id="2996238" name="Rectangle 14"/>
          <p:cNvSpPr>
            <a:spLocks noChangeArrowheads="1"/>
          </p:cNvSpPr>
          <p:nvPr/>
        </p:nvSpPr>
        <p:spPr bwMode="gray">
          <a:xfrm>
            <a:off x="2992438" y="2274889"/>
            <a:ext cx="271462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</a:rPr>
              <a:t>4</a:t>
            </a:r>
          </a:p>
        </p:txBody>
      </p:sp>
      <p:sp>
        <p:nvSpPr>
          <p:cNvPr id="2996239" name="Rectangle 15"/>
          <p:cNvSpPr>
            <a:spLocks noChangeArrowheads="1"/>
          </p:cNvSpPr>
          <p:nvPr/>
        </p:nvSpPr>
        <p:spPr bwMode="gray">
          <a:xfrm>
            <a:off x="3697288" y="1587501"/>
            <a:ext cx="271462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</a:rPr>
              <a:t>&lt;</a:t>
            </a:r>
          </a:p>
        </p:txBody>
      </p:sp>
      <p:sp>
        <p:nvSpPr>
          <p:cNvPr id="2996240" name="Rectangle 16"/>
          <p:cNvSpPr>
            <a:spLocks noChangeArrowheads="1"/>
          </p:cNvSpPr>
          <p:nvPr/>
        </p:nvSpPr>
        <p:spPr bwMode="gray">
          <a:xfrm>
            <a:off x="4945063" y="1587501"/>
            <a:ext cx="258762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</a:rPr>
              <a:t>O</a:t>
            </a:r>
          </a:p>
        </p:txBody>
      </p:sp>
      <p:sp>
        <p:nvSpPr>
          <p:cNvPr id="2996241" name="Rectangle 17"/>
          <p:cNvSpPr>
            <a:spLocks noChangeArrowheads="1"/>
          </p:cNvSpPr>
          <p:nvPr/>
        </p:nvSpPr>
        <p:spPr bwMode="gray">
          <a:xfrm>
            <a:off x="1917701" y="1587501"/>
            <a:ext cx="2571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</a:rPr>
              <a:t>J</a:t>
            </a:r>
          </a:p>
        </p:txBody>
      </p:sp>
      <p:sp>
        <p:nvSpPr>
          <p:cNvPr id="2996242" name="Rectangle 18"/>
          <p:cNvSpPr>
            <a:spLocks noChangeArrowheads="1"/>
          </p:cNvSpPr>
          <p:nvPr/>
        </p:nvSpPr>
        <p:spPr bwMode="gray">
          <a:xfrm>
            <a:off x="2509839" y="1587501"/>
            <a:ext cx="2571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</a:rPr>
              <a:t>K</a:t>
            </a:r>
          </a:p>
        </p:txBody>
      </p:sp>
      <p:sp>
        <p:nvSpPr>
          <p:cNvPr id="2996243" name="Rectangle 19"/>
          <p:cNvSpPr>
            <a:spLocks noChangeArrowheads="1"/>
          </p:cNvSpPr>
          <p:nvPr/>
        </p:nvSpPr>
        <p:spPr bwMode="gray">
          <a:xfrm>
            <a:off x="3103564" y="1587501"/>
            <a:ext cx="2571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</a:rPr>
              <a:t>L</a:t>
            </a:r>
          </a:p>
        </p:txBody>
      </p:sp>
      <p:sp>
        <p:nvSpPr>
          <p:cNvPr id="2996244" name="Rectangle 20"/>
          <p:cNvSpPr>
            <a:spLocks noChangeArrowheads="1"/>
          </p:cNvSpPr>
          <p:nvPr/>
        </p:nvSpPr>
        <p:spPr bwMode="gray">
          <a:xfrm>
            <a:off x="5437188" y="2274889"/>
            <a:ext cx="227012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</a:rPr>
              <a:t>l</a:t>
            </a:r>
          </a:p>
        </p:txBody>
      </p:sp>
      <p:sp>
        <p:nvSpPr>
          <p:cNvPr id="2996245" name="Rectangle 21"/>
          <p:cNvSpPr>
            <a:spLocks noChangeArrowheads="1"/>
          </p:cNvSpPr>
          <p:nvPr/>
        </p:nvSpPr>
        <p:spPr bwMode="gray">
          <a:xfrm>
            <a:off x="5978526" y="2274889"/>
            <a:ext cx="2270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</a:rPr>
              <a:t>n</a:t>
            </a:r>
          </a:p>
        </p:txBody>
      </p:sp>
      <p:sp>
        <p:nvSpPr>
          <p:cNvPr id="2996246" name="Rectangle 22"/>
          <p:cNvSpPr>
            <a:spLocks noChangeArrowheads="1"/>
          </p:cNvSpPr>
          <p:nvPr/>
        </p:nvSpPr>
        <p:spPr bwMode="gray">
          <a:xfrm>
            <a:off x="6519864" y="2274889"/>
            <a:ext cx="1936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</a:rPr>
              <a:t>û</a:t>
            </a:r>
          </a:p>
        </p:txBody>
      </p:sp>
      <p:sp>
        <p:nvSpPr>
          <p:cNvPr id="2996247" name="Rectangle 23"/>
          <p:cNvSpPr>
            <a:spLocks noChangeArrowheads="1"/>
          </p:cNvSpPr>
          <p:nvPr/>
        </p:nvSpPr>
        <p:spPr bwMode="gray">
          <a:xfrm>
            <a:off x="7027863" y="2274889"/>
            <a:ext cx="239712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</a:rPr>
              <a:t>ü</a:t>
            </a:r>
          </a:p>
        </p:txBody>
      </p:sp>
      <p:sp>
        <p:nvSpPr>
          <p:cNvPr id="2996248" name="AutoShape 24"/>
          <p:cNvSpPr>
            <a:spLocks noChangeArrowheads="1"/>
          </p:cNvSpPr>
          <p:nvPr/>
        </p:nvSpPr>
        <p:spPr bwMode="gray">
          <a:xfrm rot="20214369" flipH="1">
            <a:off x="1835151" y="3027363"/>
            <a:ext cx="423863" cy="779462"/>
          </a:xfrm>
          <a:prstGeom prst="lightningBol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2996249" name="Freeform 25"/>
          <p:cNvSpPr>
            <a:spLocks/>
          </p:cNvSpPr>
          <p:nvPr/>
        </p:nvSpPr>
        <p:spPr bwMode="gray">
          <a:xfrm>
            <a:off x="3398839" y="2962275"/>
            <a:ext cx="257175" cy="965200"/>
          </a:xfrm>
          <a:custGeom>
            <a:avLst/>
            <a:gdLst>
              <a:gd name="T0" fmla="*/ 72 w 176"/>
              <a:gd name="T1" fmla="*/ 0 h 608"/>
              <a:gd name="T2" fmla="*/ 0 w 176"/>
              <a:gd name="T3" fmla="*/ 232 h 608"/>
              <a:gd name="T4" fmla="*/ 48 w 176"/>
              <a:gd name="T5" fmla="*/ 232 h 608"/>
              <a:gd name="T6" fmla="*/ 0 w 176"/>
              <a:gd name="T7" fmla="*/ 376 h 608"/>
              <a:gd name="T8" fmla="*/ 72 w 176"/>
              <a:gd name="T9" fmla="*/ 376 h 608"/>
              <a:gd name="T10" fmla="*/ 32 w 176"/>
              <a:gd name="T11" fmla="*/ 504 h 608"/>
              <a:gd name="T12" fmla="*/ 0 w 176"/>
              <a:gd name="T13" fmla="*/ 504 h 608"/>
              <a:gd name="T14" fmla="*/ 0 w 176"/>
              <a:gd name="T15" fmla="*/ 608 h 608"/>
              <a:gd name="T16" fmla="*/ 96 w 176"/>
              <a:gd name="T17" fmla="*/ 496 h 608"/>
              <a:gd name="T18" fmla="*/ 48 w 176"/>
              <a:gd name="T19" fmla="*/ 504 h 608"/>
              <a:gd name="T20" fmla="*/ 144 w 176"/>
              <a:gd name="T21" fmla="*/ 336 h 608"/>
              <a:gd name="T22" fmla="*/ 72 w 176"/>
              <a:gd name="T23" fmla="*/ 336 h 608"/>
              <a:gd name="T24" fmla="*/ 144 w 176"/>
              <a:gd name="T25" fmla="*/ 192 h 608"/>
              <a:gd name="T26" fmla="*/ 88 w 176"/>
              <a:gd name="T27" fmla="*/ 192 h 608"/>
              <a:gd name="T28" fmla="*/ 176 w 176"/>
              <a:gd name="T29" fmla="*/ 0 h 608"/>
              <a:gd name="T30" fmla="*/ 72 w 176"/>
              <a:gd name="T31" fmla="*/ 0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6" h="608">
                <a:moveTo>
                  <a:pt x="72" y="0"/>
                </a:moveTo>
                <a:lnTo>
                  <a:pt x="0" y="232"/>
                </a:lnTo>
                <a:lnTo>
                  <a:pt x="48" y="232"/>
                </a:lnTo>
                <a:lnTo>
                  <a:pt x="0" y="376"/>
                </a:lnTo>
                <a:lnTo>
                  <a:pt x="72" y="376"/>
                </a:lnTo>
                <a:lnTo>
                  <a:pt x="32" y="504"/>
                </a:lnTo>
                <a:lnTo>
                  <a:pt x="0" y="504"/>
                </a:lnTo>
                <a:lnTo>
                  <a:pt x="0" y="608"/>
                </a:lnTo>
                <a:lnTo>
                  <a:pt x="96" y="496"/>
                </a:lnTo>
                <a:lnTo>
                  <a:pt x="48" y="504"/>
                </a:lnTo>
                <a:lnTo>
                  <a:pt x="144" y="336"/>
                </a:lnTo>
                <a:lnTo>
                  <a:pt x="72" y="336"/>
                </a:lnTo>
                <a:lnTo>
                  <a:pt x="144" y="192"/>
                </a:lnTo>
                <a:lnTo>
                  <a:pt x="88" y="192"/>
                </a:lnTo>
                <a:lnTo>
                  <a:pt x="176" y="0"/>
                </a:lnTo>
                <a:lnTo>
                  <a:pt x="72" y="0"/>
                </a:lnTo>
                <a:close/>
              </a:path>
            </a:pathLst>
          </a:custGeom>
          <a:solidFill>
            <a:schemeClr val="bg2"/>
          </a:solidFill>
          <a:ln w="6350" cap="rnd" cmpd="sng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996250" name="Freeform 26"/>
          <p:cNvSpPr>
            <a:spLocks/>
          </p:cNvSpPr>
          <p:nvPr/>
        </p:nvSpPr>
        <p:spPr bwMode="gray">
          <a:xfrm>
            <a:off x="2876551" y="3293676"/>
            <a:ext cx="65" cy="276999"/>
          </a:xfrm>
          <a:custGeom>
            <a:avLst/>
            <a:gdLst>
              <a:gd name="T0" fmla="*/ 128 w 152"/>
              <a:gd name="T1" fmla="*/ 0 h 328"/>
              <a:gd name="T2" fmla="*/ 32 w 152"/>
              <a:gd name="T3" fmla="*/ 128 h 328"/>
              <a:gd name="T4" fmla="*/ 152 w 152"/>
              <a:gd name="T5" fmla="*/ 112 h 328"/>
              <a:gd name="T6" fmla="*/ 0 w 152"/>
              <a:gd name="T7" fmla="*/ 328 h 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52" h="328">
                <a:moveTo>
                  <a:pt x="128" y="0"/>
                </a:moveTo>
                <a:lnTo>
                  <a:pt x="32" y="128"/>
                </a:lnTo>
                <a:lnTo>
                  <a:pt x="152" y="112"/>
                </a:lnTo>
                <a:lnTo>
                  <a:pt x="0" y="328"/>
                </a:lnTo>
              </a:path>
            </a:pathLst>
          </a:custGeom>
          <a:noFill/>
          <a:ln w="38100" cap="flat" cmpd="sng">
            <a:solidFill>
              <a:schemeClr val="bg2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en-US"/>
          </a:p>
        </p:txBody>
      </p:sp>
      <p:grpSp>
        <p:nvGrpSpPr>
          <p:cNvPr id="2996251" name="Group 27"/>
          <p:cNvGrpSpPr>
            <a:grpSpLocks/>
          </p:cNvGrpSpPr>
          <p:nvPr/>
        </p:nvGrpSpPr>
        <p:grpSpPr bwMode="auto">
          <a:xfrm>
            <a:off x="2452689" y="3271842"/>
            <a:ext cx="179387" cy="417513"/>
            <a:chOff x="1193" y="1895"/>
            <a:chExt cx="122" cy="263"/>
          </a:xfrm>
        </p:grpSpPr>
        <p:sp>
          <p:nvSpPr>
            <p:cNvPr id="2996252" name="AutoShape 28"/>
            <p:cNvSpPr>
              <a:spLocks noChangeArrowheads="1"/>
            </p:cNvSpPr>
            <p:nvPr/>
          </p:nvSpPr>
          <p:spPr bwMode="gray">
            <a:xfrm rot="1272578" flipV="1">
              <a:off x="1193" y="2090"/>
              <a:ext cx="102" cy="68"/>
            </a:xfrm>
            <a:prstGeom prst="triangle">
              <a:avLst>
                <a:gd name="adj" fmla="val 50000"/>
              </a:avLst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2996253" name="Freeform 29"/>
            <p:cNvSpPr>
              <a:spLocks/>
            </p:cNvSpPr>
            <p:nvPr/>
          </p:nvSpPr>
          <p:spPr bwMode="gray">
            <a:xfrm>
              <a:off x="1225" y="1895"/>
              <a:ext cx="90" cy="174"/>
            </a:xfrm>
            <a:custGeom>
              <a:avLst/>
              <a:gdLst>
                <a:gd name="T0" fmla="*/ 30 w 126"/>
                <a:gd name="T1" fmla="*/ 373 h 373"/>
                <a:gd name="T2" fmla="*/ 97 w 126"/>
                <a:gd name="T3" fmla="*/ 234 h 373"/>
                <a:gd name="T4" fmla="*/ 0 w 126"/>
                <a:gd name="T5" fmla="*/ 213 h 373"/>
                <a:gd name="T6" fmla="*/ 126 w 126"/>
                <a:gd name="T7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6" h="373">
                  <a:moveTo>
                    <a:pt x="30" y="373"/>
                  </a:moveTo>
                  <a:lnTo>
                    <a:pt x="97" y="234"/>
                  </a:lnTo>
                  <a:lnTo>
                    <a:pt x="0" y="213"/>
                  </a:lnTo>
                  <a:lnTo>
                    <a:pt x="126" y="0"/>
                  </a:lnTo>
                </a:path>
              </a:pathLst>
            </a:custGeom>
            <a:noFill/>
            <a:ln w="28575" cap="flat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</p:grpSp>
      <p:sp>
        <p:nvSpPr>
          <p:cNvPr id="2996254" name="AutoShape 30"/>
          <p:cNvSpPr>
            <a:spLocks noChangeArrowheads="1"/>
          </p:cNvSpPr>
          <p:nvPr/>
        </p:nvSpPr>
        <p:spPr bwMode="gray">
          <a:xfrm rot="-16200000">
            <a:off x="8235951" y="3706814"/>
            <a:ext cx="1535113" cy="211137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B2B2B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wrap="none" lIns="0" tIns="0" rIns="0" bIns="0" anchor="ctr"/>
          <a:lstStyle/>
          <a:p>
            <a:endParaRPr lang="de-DE"/>
          </a:p>
        </p:txBody>
      </p:sp>
      <p:sp>
        <p:nvSpPr>
          <p:cNvPr id="2996255" name="AutoShape 31"/>
          <p:cNvSpPr>
            <a:spLocks noChangeArrowheads="1"/>
          </p:cNvSpPr>
          <p:nvPr/>
        </p:nvSpPr>
        <p:spPr bwMode="gray">
          <a:xfrm rot="-32400000">
            <a:off x="7165975" y="4208463"/>
            <a:ext cx="1417638" cy="2286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rgbClr val="B2B2B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0" tIns="0" rIns="0" bIns="0" anchor="ctr"/>
          <a:lstStyle/>
          <a:p>
            <a:endParaRPr lang="de-DE"/>
          </a:p>
        </p:txBody>
      </p:sp>
      <p:sp>
        <p:nvSpPr>
          <p:cNvPr id="2996256" name="AutoShape 32"/>
          <p:cNvSpPr>
            <a:spLocks noChangeArrowheads="1"/>
          </p:cNvSpPr>
          <p:nvPr/>
        </p:nvSpPr>
        <p:spPr bwMode="gray">
          <a:xfrm>
            <a:off x="4459289" y="3967163"/>
            <a:ext cx="1038225" cy="304800"/>
          </a:xfrm>
          <a:prstGeom prst="leftRightArrow">
            <a:avLst>
              <a:gd name="adj1" fmla="val 46870"/>
              <a:gd name="adj2" fmla="val 65428"/>
            </a:avLst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de-DE"/>
          </a:p>
        </p:txBody>
      </p:sp>
      <p:sp>
        <p:nvSpPr>
          <p:cNvPr id="2996257" name="AutoShape 33"/>
          <p:cNvSpPr>
            <a:spLocks noChangeArrowheads="1"/>
          </p:cNvSpPr>
          <p:nvPr/>
        </p:nvSpPr>
        <p:spPr bwMode="gray">
          <a:xfrm>
            <a:off x="4441825" y="2997200"/>
            <a:ext cx="852488" cy="552450"/>
          </a:xfrm>
          <a:custGeom>
            <a:avLst/>
            <a:gdLst>
              <a:gd name="G0" fmla="+- 0 0 0"/>
              <a:gd name="G1" fmla="+- -11796480 0 0"/>
              <a:gd name="G2" fmla="+- 0 0 -11796480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11796480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11796480"/>
              <a:gd name="G36" fmla="sin G34 -11796480"/>
              <a:gd name="G37" fmla="+/ -11796480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0799 w 21600"/>
              <a:gd name="T5" fmla="*/ 0 h 21600"/>
              <a:gd name="T6" fmla="*/ 2700 w 21600"/>
              <a:gd name="T7" fmla="*/ 10800 h 21600"/>
              <a:gd name="T8" fmla="*/ 10799 w 21600"/>
              <a:gd name="T9" fmla="*/ 5400 h 21600"/>
              <a:gd name="T10" fmla="*/ 24300 w 21600"/>
              <a:gd name="T11" fmla="*/ 10800 h 21600"/>
              <a:gd name="T12" fmla="*/ 18900 w 21600"/>
              <a:gd name="T13" fmla="*/ 16200 h 21600"/>
              <a:gd name="T14" fmla="*/ 13500 w 21600"/>
              <a:gd name="T15" fmla="*/ 10800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6200" y="10800"/>
                </a:moveTo>
                <a:cubicBezTo>
                  <a:pt x="16200" y="7817"/>
                  <a:pt x="13782" y="5400"/>
                  <a:pt x="10800" y="5400"/>
                </a:cubicBezTo>
                <a:cubicBezTo>
                  <a:pt x="7817" y="5400"/>
                  <a:pt x="5400" y="7817"/>
                  <a:pt x="5400" y="10800"/>
                </a:cubicBezTo>
                <a:lnTo>
                  <a:pt x="0" y="10800"/>
                </a:lnTo>
                <a:cubicBezTo>
                  <a:pt x="0" y="4835"/>
                  <a:pt x="4835" y="0"/>
                  <a:pt x="10800" y="0"/>
                </a:cubicBezTo>
                <a:cubicBezTo>
                  <a:pt x="16764" y="0"/>
                  <a:pt x="21599" y="4835"/>
                  <a:pt x="21600" y="10799"/>
                </a:cubicBezTo>
                <a:lnTo>
                  <a:pt x="21600" y="10800"/>
                </a:lnTo>
                <a:lnTo>
                  <a:pt x="24300" y="10800"/>
                </a:lnTo>
                <a:lnTo>
                  <a:pt x="18900" y="16200"/>
                </a:lnTo>
                <a:lnTo>
                  <a:pt x="13500" y="10800"/>
                </a:lnTo>
                <a:lnTo>
                  <a:pt x="16200" y="108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endParaRPr lang="de-DE"/>
          </a:p>
        </p:txBody>
      </p:sp>
      <p:sp>
        <p:nvSpPr>
          <p:cNvPr id="2996258" name="Freeform 34"/>
          <p:cNvSpPr>
            <a:spLocks/>
          </p:cNvSpPr>
          <p:nvPr/>
        </p:nvSpPr>
        <p:spPr bwMode="gray">
          <a:xfrm>
            <a:off x="5978526" y="3902075"/>
            <a:ext cx="1014413" cy="730250"/>
          </a:xfrm>
          <a:custGeom>
            <a:avLst/>
            <a:gdLst>
              <a:gd name="T0" fmla="*/ 56 w 2208"/>
              <a:gd name="T1" fmla="*/ 2561 h 2561"/>
              <a:gd name="T2" fmla="*/ 917 w 2208"/>
              <a:gd name="T3" fmla="*/ 1730 h 2561"/>
              <a:gd name="T4" fmla="*/ 1337 w 2208"/>
              <a:gd name="T5" fmla="*/ 802 h 2561"/>
              <a:gd name="T6" fmla="*/ 1409 w 2208"/>
              <a:gd name="T7" fmla="*/ 325 h 2561"/>
              <a:gd name="T8" fmla="*/ 1159 w 2208"/>
              <a:gd name="T9" fmla="*/ 237 h 2561"/>
              <a:gd name="T10" fmla="*/ 1859 w 2208"/>
              <a:gd name="T11" fmla="*/ 0 h 2561"/>
              <a:gd name="T12" fmla="*/ 2208 w 2208"/>
              <a:gd name="T13" fmla="*/ 556 h 2561"/>
              <a:gd name="T14" fmla="*/ 2017 w 2208"/>
              <a:gd name="T15" fmla="*/ 507 h 2561"/>
              <a:gd name="T16" fmla="*/ 1251 w 2208"/>
              <a:gd name="T17" fmla="*/ 1876 h 2561"/>
              <a:gd name="T18" fmla="*/ 56 w 2208"/>
              <a:gd name="T19" fmla="*/ 2561 h 25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208" h="2561">
                <a:moveTo>
                  <a:pt x="56" y="2561"/>
                </a:moveTo>
                <a:cubicBezTo>
                  <a:pt x="0" y="2537"/>
                  <a:pt x="703" y="2023"/>
                  <a:pt x="917" y="1730"/>
                </a:cubicBezTo>
                <a:cubicBezTo>
                  <a:pt x="1124" y="1412"/>
                  <a:pt x="1279" y="1043"/>
                  <a:pt x="1337" y="802"/>
                </a:cubicBezTo>
                <a:cubicBezTo>
                  <a:pt x="1412" y="548"/>
                  <a:pt x="1447" y="415"/>
                  <a:pt x="1409" y="325"/>
                </a:cubicBezTo>
                <a:lnTo>
                  <a:pt x="1159" y="237"/>
                </a:lnTo>
                <a:lnTo>
                  <a:pt x="1859" y="0"/>
                </a:lnTo>
                <a:lnTo>
                  <a:pt x="2208" y="556"/>
                </a:lnTo>
                <a:lnTo>
                  <a:pt x="2017" y="507"/>
                </a:lnTo>
                <a:cubicBezTo>
                  <a:pt x="1857" y="727"/>
                  <a:pt x="1578" y="1534"/>
                  <a:pt x="1251" y="1876"/>
                </a:cubicBezTo>
                <a:cubicBezTo>
                  <a:pt x="925" y="2219"/>
                  <a:pt x="305" y="2418"/>
                  <a:pt x="56" y="2561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663300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996259" name="Freeform 35"/>
          <p:cNvSpPr>
            <a:spLocks/>
          </p:cNvSpPr>
          <p:nvPr/>
        </p:nvSpPr>
        <p:spPr bwMode="gray">
          <a:xfrm>
            <a:off x="7154863" y="3089683"/>
            <a:ext cx="1147762" cy="276999"/>
          </a:xfrm>
          <a:custGeom>
            <a:avLst/>
            <a:gdLst>
              <a:gd name="T0" fmla="*/ 0 w 984"/>
              <a:gd name="T1" fmla="*/ 219 h 420"/>
              <a:gd name="T2" fmla="*/ 810 w 984"/>
              <a:gd name="T3" fmla="*/ 102 h 420"/>
              <a:gd name="T4" fmla="*/ 810 w 984"/>
              <a:gd name="T5" fmla="*/ 0 h 420"/>
              <a:gd name="T6" fmla="*/ 984 w 984"/>
              <a:gd name="T7" fmla="*/ 222 h 420"/>
              <a:gd name="T8" fmla="*/ 810 w 984"/>
              <a:gd name="T9" fmla="*/ 420 h 420"/>
              <a:gd name="T10" fmla="*/ 810 w 984"/>
              <a:gd name="T11" fmla="*/ 321 h 420"/>
              <a:gd name="T12" fmla="*/ 0 w 984"/>
              <a:gd name="T13" fmla="*/ 219 h 4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84" h="420">
                <a:moveTo>
                  <a:pt x="0" y="219"/>
                </a:moveTo>
                <a:lnTo>
                  <a:pt x="810" y="102"/>
                </a:lnTo>
                <a:lnTo>
                  <a:pt x="810" y="0"/>
                </a:lnTo>
                <a:lnTo>
                  <a:pt x="984" y="222"/>
                </a:lnTo>
                <a:lnTo>
                  <a:pt x="810" y="420"/>
                </a:lnTo>
                <a:lnTo>
                  <a:pt x="810" y="321"/>
                </a:lnTo>
                <a:lnTo>
                  <a:pt x="0" y="21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cap="flat" cmpd="sng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2996260" name="Freeform 36"/>
          <p:cNvSpPr>
            <a:spLocks/>
          </p:cNvSpPr>
          <p:nvPr/>
        </p:nvSpPr>
        <p:spPr bwMode="gray">
          <a:xfrm>
            <a:off x="5983289" y="2832101"/>
            <a:ext cx="788987" cy="727075"/>
          </a:xfrm>
          <a:custGeom>
            <a:avLst/>
            <a:gdLst>
              <a:gd name="T0" fmla="*/ 0 w 538"/>
              <a:gd name="T1" fmla="*/ 0 h 458"/>
              <a:gd name="T2" fmla="*/ 408 w 538"/>
              <a:gd name="T3" fmla="*/ 149 h 458"/>
              <a:gd name="T4" fmla="*/ 408 w 538"/>
              <a:gd name="T5" fmla="*/ 42 h 458"/>
              <a:gd name="T6" fmla="*/ 538 w 538"/>
              <a:gd name="T7" fmla="*/ 228 h 458"/>
              <a:gd name="T8" fmla="*/ 406 w 538"/>
              <a:gd name="T9" fmla="*/ 417 h 458"/>
              <a:gd name="T10" fmla="*/ 406 w 538"/>
              <a:gd name="T11" fmla="*/ 305 h 458"/>
              <a:gd name="T12" fmla="*/ 0 w 538"/>
              <a:gd name="T13" fmla="*/ 458 h 458"/>
              <a:gd name="T14" fmla="*/ 0 w 538"/>
              <a:gd name="T15" fmla="*/ 0 h 4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38" h="458">
                <a:moveTo>
                  <a:pt x="0" y="0"/>
                </a:moveTo>
                <a:lnTo>
                  <a:pt x="408" y="149"/>
                </a:lnTo>
                <a:lnTo>
                  <a:pt x="408" y="42"/>
                </a:lnTo>
                <a:lnTo>
                  <a:pt x="538" y="228"/>
                </a:lnTo>
                <a:lnTo>
                  <a:pt x="406" y="417"/>
                </a:lnTo>
                <a:lnTo>
                  <a:pt x="406" y="305"/>
                </a:lnTo>
                <a:lnTo>
                  <a:pt x="0" y="458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cap="flat" cmpd="sng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grpSp>
        <p:nvGrpSpPr>
          <p:cNvPr id="2996261" name="Group 37"/>
          <p:cNvGrpSpPr>
            <a:grpSpLocks/>
          </p:cNvGrpSpPr>
          <p:nvPr/>
        </p:nvGrpSpPr>
        <p:grpSpPr bwMode="auto">
          <a:xfrm>
            <a:off x="1901825" y="5132389"/>
            <a:ext cx="515938" cy="873125"/>
            <a:chOff x="3541" y="162"/>
            <a:chExt cx="535" cy="834"/>
          </a:xfrm>
        </p:grpSpPr>
        <p:grpSp>
          <p:nvGrpSpPr>
            <p:cNvPr id="2996262" name="Group 38"/>
            <p:cNvGrpSpPr>
              <a:grpSpLocks/>
            </p:cNvGrpSpPr>
            <p:nvPr/>
          </p:nvGrpSpPr>
          <p:grpSpPr bwMode="auto">
            <a:xfrm>
              <a:off x="3541" y="162"/>
              <a:ext cx="535" cy="536"/>
              <a:chOff x="3999" y="1568"/>
              <a:chExt cx="535" cy="536"/>
            </a:xfrm>
          </p:grpSpPr>
          <p:sp>
            <p:nvSpPr>
              <p:cNvPr id="2996263" name="Rectangle 39"/>
              <p:cNvSpPr>
                <a:spLocks noChangeArrowheads="1"/>
              </p:cNvSpPr>
              <p:nvPr/>
            </p:nvSpPr>
            <p:spPr bwMode="gray">
              <a:xfrm>
                <a:off x="4201" y="1568"/>
                <a:ext cx="132" cy="536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/>
              </a:p>
            </p:txBody>
          </p:sp>
          <p:sp>
            <p:nvSpPr>
              <p:cNvPr id="2996264" name="Rectangle 40"/>
              <p:cNvSpPr>
                <a:spLocks noChangeArrowheads="1"/>
              </p:cNvSpPr>
              <p:nvPr/>
            </p:nvSpPr>
            <p:spPr bwMode="gray">
              <a:xfrm rot="-5400000">
                <a:off x="4201" y="1568"/>
                <a:ext cx="132" cy="535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/>
              </a:p>
            </p:txBody>
          </p:sp>
        </p:grpSp>
        <p:sp>
          <p:nvSpPr>
            <p:cNvPr id="2996265" name="Rectangle 41"/>
            <p:cNvSpPr>
              <a:spLocks noChangeArrowheads="1"/>
            </p:cNvSpPr>
            <p:nvPr/>
          </p:nvSpPr>
          <p:spPr bwMode="gray">
            <a:xfrm rot="-5400000">
              <a:off x="3744" y="663"/>
              <a:ext cx="132" cy="53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</p:grpSp>
      <p:grpSp>
        <p:nvGrpSpPr>
          <p:cNvPr id="2996266" name="Group 42"/>
          <p:cNvGrpSpPr>
            <a:grpSpLocks/>
          </p:cNvGrpSpPr>
          <p:nvPr/>
        </p:nvGrpSpPr>
        <p:grpSpPr bwMode="auto">
          <a:xfrm>
            <a:off x="2865438" y="5232400"/>
            <a:ext cx="1028700" cy="889000"/>
            <a:chOff x="4027" y="2568"/>
            <a:chExt cx="1182" cy="944"/>
          </a:xfrm>
        </p:grpSpPr>
        <p:grpSp>
          <p:nvGrpSpPr>
            <p:cNvPr id="2996267" name="Group 43"/>
            <p:cNvGrpSpPr>
              <a:grpSpLocks/>
            </p:cNvGrpSpPr>
            <p:nvPr/>
          </p:nvGrpSpPr>
          <p:grpSpPr bwMode="auto">
            <a:xfrm>
              <a:off x="4027" y="2672"/>
              <a:ext cx="535" cy="536"/>
              <a:chOff x="956" y="2072"/>
              <a:chExt cx="840" cy="840"/>
            </a:xfrm>
          </p:grpSpPr>
          <p:sp>
            <p:nvSpPr>
              <p:cNvPr id="2996268" name="Rectangle 44"/>
              <p:cNvSpPr>
                <a:spLocks noChangeArrowheads="1"/>
              </p:cNvSpPr>
              <p:nvPr/>
            </p:nvSpPr>
            <p:spPr bwMode="gray">
              <a:xfrm>
                <a:off x="1272" y="2072"/>
                <a:ext cx="208" cy="840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/>
              </a:p>
            </p:txBody>
          </p:sp>
          <p:sp>
            <p:nvSpPr>
              <p:cNvPr id="2996269" name="Rectangle 45"/>
              <p:cNvSpPr>
                <a:spLocks noChangeArrowheads="1"/>
              </p:cNvSpPr>
              <p:nvPr/>
            </p:nvSpPr>
            <p:spPr bwMode="gray">
              <a:xfrm rot="-5400000">
                <a:off x="1272" y="2072"/>
                <a:ext cx="208" cy="840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/>
              </a:p>
            </p:txBody>
          </p:sp>
        </p:grpSp>
        <p:sp>
          <p:nvSpPr>
            <p:cNvPr id="2996270" name="Rectangle 46"/>
            <p:cNvSpPr>
              <a:spLocks noChangeArrowheads="1"/>
            </p:cNvSpPr>
            <p:nvPr/>
          </p:nvSpPr>
          <p:spPr bwMode="gray">
            <a:xfrm rot="-5400000">
              <a:off x="4876" y="2921"/>
              <a:ext cx="132" cy="534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2996271" name="Rectangle 47"/>
            <p:cNvSpPr>
              <a:spLocks noChangeArrowheads="1"/>
            </p:cNvSpPr>
            <p:nvPr/>
          </p:nvSpPr>
          <p:spPr bwMode="gray">
            <a:xfrm rot="-3270839">
              <a:off x="4182" y="3008"/>
              <a:ext cx="944" cy="64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</p:grpSp>
      <p:grpSp>
        <p:nvGrpSpPr>
          <p:cNvPr id="2996272" name="Group 48"/>
          <p:cNvGrpSpPr>
            <a:grpSpLocks/>
          </p:cNvGrpSpPr>
          <p:nvPr/>
        </p:nvGrpSpPr>
        <p:grpSpPr bwMode="auto">
          <a:xfrm>
            <a:off x="6224589" y="5170488"/>
            <a:ext cx="547687" cy="633412"/>
            <a:chOff x="4314" y="3605"/>
            <a:chExt cx="374" cy="399"/>
          </a:xfrm>
        </p:grpSpPr>
        <p:sp>
          <p:nvSpPr>
            <p:cNvPr id="2996273" name="Arc 49"/>
            <p:cNvSpPr>
              <a:spLocks/>
            </p:cNvSpPr>
            <p:nvPr/>
          </p:nvSpPr>
          <p:spPr bwMode="gray">
            <a:xfrm>
              <a:off x="4357" y="3614"/>
              <a:ext cx="299" cy="369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35166 w 35166"/>
                <a:gd name="T1" fmla="*/ 38407 h 43200"/>
                <a:gd name="T2" fmla="*/ 35051 w 35166"/>
                <a:gd name="T3" fmla="*/ 4701 h 43200"/>
                <a:gd name="T4" fmla="*/ 21600 w 35166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166" h="43200" fill="none" extrusionOk="0">
                  <a:moveTo>
                    <a:pt x="35166" y="38407"/>
                  </a:moveTo>
                  <a:cubicBezTo>
                    <a:pt x="31325" y="41508"/>
                    <a:pt x="26536" y="43199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26486" y="-1"/>
                    <a:pt x="31228" y="1656"/>
                    <a:pt x="35051" y="4700"/>
                  </a:cubicBezTo>
                </a:path>
                <a:path w="35166" h="43200" stroke="0" extrusionOk="0">
                  <a:moveTo>
                    <a:pt x="35166" y="38407"/>
                  </a:moveTo>
                  <a:cubicBezTo>
                    <a:pt x="31325" y="41508"/>
                    <a:pt x="26536" y="43199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26486" y="-1"/>
                    <a:pt x="31228" y="1656"/>
                    <a:pt x="35051" y="4700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523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96274" name="Freeform 50"/>
            <p:cNvSpPr>
              <a:spLocks/>
            </p:cNvSpPr>
            <p:nvPr/>
          </p:nvSpPr>
          <p:spPr bwMode="gray">
            <a:xfrm>
              <a:off x="4316" y="3745"/>
              <a:ext cx="293" cy="34"/>
            </a:xfrm>
            <a:custGeom>
              <a:avLst/>
              <a:gdLst>
                <a:gd name="T0" fmla="*/ 293 w 293"/>
                <a:gd name="T1" fmla="*/ 0 h 34"/>
                <a:gd name="T2" fmla="*/ 12 w 293"/>
                <a:gd name="T3" fmla="*/ 0 h 34"/>
                <a:gd name="T4" fmla="*/ 0 w 293"/>
                <a:gd name="T5" fmla="*/ 34 h 34"/>
                <a:gd name="T6" fmla="*/ 281 w 293"/>
                <a:gd name="T7" fmla="*/ 34 h 34"/>
                <a:gd name="T8" fmla="*/ 293 w 293"/>
                <a:gd name="T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3" h="34">
                  <a:moveTo>
                    <a:pt x="293" y="0"/>
                  </a:moveTo>
                  <a:lnTo>
                    <a:pt x="12" y="0"/>
                  </a:lnTo>
                  <a:lnTo>
                    <a:pt x="0" y="34"/>
                  </a:lnTo>
                  <a:lnTo>
                    <a:pt x="281" y="34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rgbClr val="000000"/>
            </a:solidFill>
            <a:ln w="317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96275" name="Freeform 51"/>
            <p:cNvSpPr>
              <a:spLocks/>
            </p:cNvSpPr>
            <p:nvPr/>
          </p:nvSpPr>
          <p:spPr bwMode="gray">
            <a:xfrm>
              <a:off x="4314" y="3802"/>
              <a:ext cx="279" cy="34"/>
            </a:xfrm>
            <a:custGeom>
              <a:avLst/>
              <a:gdLst>
                <a:gd name="T0" fmla="*/ 276 w 279"/>
                <a:gd name="T1" fmla="*/ 0 h 34"/>
                <a:gd name="T2" fmla="*/ 12 w 279"/>
                <a:gd name="T3" fmla="*/ 0 h 34"/>
                <a:gd name="T4" fmla="*/ 0 w 279"/>
                <a:gd name="T5" fmla="*/ 34 h 34"/>
                <a:gd name="T6" fmla="*/ 267 w 279"/>
                <a:gd name="T7" fmla="*/ 34 h 34"/>
                <a:gd name="T8" fmla="*/ 279 w 279"/>
                <a:gd name="T9" fmla="*/ 0 h 34"/>
                <a:gd name="T10" fmla="*/ 276 w 279"/>
                <a:gd name="T11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9" h="34">
                  <a:moveTo>
                    <a:pt x="276" y="0"/>
                  </a:moveTo>
                  <a:lnTo>
                    <a:pt x="12" y="0"/>
                  </a:lnTo>
                  <a:lnTo>
                    <a:pt x="0" y="34"/>
                  </a:lnTo>
                  <a:lnTo>
                    <a:pt x="267" y="34"/>
                  </a:lnTo>
                  <a:lnTo>
                    <a:pt x="279" y="0"/>
                  </a:lnTo>
                  <a:lnTo>
                    <a:pt x="276" y="0"/>
                  </a:lnTo>
                  <a:close/>
                </a:path>
              </a:pathLst>
            </a:custGeom>
            <a:solidFill>
              <a:srgbClr val="000000"/>
            </a:solidFill>
            <a:ln w="317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96276" name="Freeform 52"/>
            <p:cNvSpPr>
              <a:spLocks/>
            </p:cNvSpPr>
            <p:nvPr/>
          </p:nvSpPr>
          <p:spPr bwMode="gray">
            <a:xfrm>
              <a:off x="4626" y="3605"/>
              <a:ext cx="62" cy="90"/>
            </a:xfrm>
            <a:custGeom>
              <a:avLst/>
              <a:gdLst>
                <a:gd name="T0" fmla="*/ 17 w 36"/>
                <a:gd name="T1" fmla="*/ 0 h 54"/>
                <a:gd name="T2" fmla="*/ 0 w 36"/>
                <a:gd name="T3" fmla="*/ 54 h 54"/>
                <a:gd name="T4" fmla="*/ 36 w 36"/>
                <a:gd name="T5" fmla="*/ 47 h 54"/>
                <a:gd name="T6" fmla="*/ 31 w 36"/>
                <a:gd name="T7" fmla="*/ 0 h 54"/>
                <a:gd name="T8" fmla="*/ 17 w 36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54">
                  <a:moveTo>
                    <a:pt x="17" y="0"/>
                  </a:moveTo>
                  <a:lnTo>
                    <a:pt x="0" y="54"/>
                  </a:lnTo>
                  <a:lnTo>
                    <a:pt x="36" y="47"/>
                  </a:lnTo>
                  <a:lnTo>
                    <a:pt x="31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96277" name="Rectangle 53"/>
            <p:cNvSpPr>
              <a:spLocks noChangeArrowheads="1"/>
            </p:cNvSpPr>
            <p:nvPr/>
          </p:nvSpPr>
          <p:spPr bwMode="gray">
            <a:xfrm>
              <a:off x="4626" y="3902"/>
              <a:ext cx="45" cy="102"/>
            </a:xfrm>
            <a:prstGeom prst="rect">
              <a:avLst/>
            </a:prstGeom>
            <a:solidFill>
              <a:schemeClr val="accent1"/>
            </a:solidFill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996278" name="Group 54"/>
          <p:cNvGrpSpPr>
            <a:grpSpLocks/>
          </p:cNvGrpSpPr>
          <p:nvPr/>
        </p:nvGrpSpPr>
        <p:grpSpPr bwMode="auto">
          <a:xfrm>
            <a:off x="7439026" y="5127626"/>
            <a:ext cx="777875" cy="727075"/>
            <a:chOff x="5233" y="2490"/>
            <a:chExt cx="468" cy="458"/>
          </a:xfrm>
        </p:grpSpPr>
        <p:sp>
          <p:nvSpPr>
            <p:cNvPr id="2996279" name="Oval 55"/>
            <p:cNvSpPr>
              <a:spLocks noChangeArrowheads="1"/>
            </p:cNvSpPr>
            <p:nvPr/>
          </p:nvSpPr>
          <p:spPr bwMode="gray">
            <a:xfrm>
              <a:off x="5262" y="2516"/>
              <a:ext cx="410" cy="410"/>
            </a:xfrm>
            <a:prstGeom prst="ellipse">
              <a:avLst/>
            </a:prstGeom>
            <a:noFill/>
            <a:ln w="254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2996280" name="Line 56"/>
            <p:cNvSpPr>
              <a:spLocks noChangeShapeType="1"/>
            </p:cNvSpPr>
            <p:nvPr/>
          </p:nvSpPr>
          <p:spPr bwMode="gray">
            <a:xfrm>
              <a:off x="5467" y="2490"/>
              <a:ext cx="0" cy="458"/>
            </a:xfrm>
            <a:prstGeom prst="line">
              <a:avLst/>
            </a:prstGeom>
            <a:noFill/>
            <a:ln w="3810">
              <a:solidFill>
                <a:srgbClr val="FF010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2996281" name="Line 57"/>
            <p:cNvSpPr>
              <a:spLocks noChangeShapeType="1"/>
            </p:cNvSpPr>
            <p:nvPr/>
          </p:nvSpPr>
          <p:spPr bwMode="gray">
            <a:xfrm>
              <a:off x="5233" y="2721"/>
              <a:ext cx="468" cy="0"/>
            </a:xfrm>
            <a:prstGeom prst="line">
              <a:avLst/>
            </a:prstGeom>
            <a:noFill/>
            <a:ln w="3810">
              <a:solidFill>
                <a:srgbClr val="FF010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2996282" name="Arc 58"/>
            <p:cNvSpPr>
              <a:spLocks/>
            </p:cNvSpPr>
            <p:nvPr/>
          </p:nvSpPr>
          <p:spPr bwMode="gray">
            <a:xfrm rot="5400000" flipH="1" flipV="1">
              <a:off x="5262" y="2516"/>
              <a:ext cx="205" cy="206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723"/>
                <a:gd name="T2" fmla="*/ 21600 w 21600"/>
                <a:gd name="T3" fmla="*/ 21723 h 21723"/>
                <a:gd name="T4" fmla="*/ 0 w 21600"/>
                <a:gd name="T5" fmla="*/ 21600 h 2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723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640"/>
                    <a:pt x="21599" y="21681"/>
                    <a:pt x="21599" y="21722"/>
                  </a:cubicBezTo>
                </a:path>
                <a:path w="21600" h="21723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640"/>
                    <a:pt x="21599" y="21681"/>
                    <a:pt x="21599" y="21722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254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</p:grpSp>
      <p:sp>
        <p:nvSpPr>
          <p:cNvPr id="2996283" name="Oval 59"/>
          <p:cNvSpPr>
            <a:spLocks noChangeArrowheads="1"/>
          </p:cNvSpPr>
          <p:nvPr/>
        </p:nvSpPr>
        <p:spPr bwMode="gray">
          <a:xfrm>
            <a:off x="5226050" y="5830888"/>
            <a:ext cx="230188" cy="228600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spcAft>
                <a:spcPct val="0"/>
              </a:spcAft>
              <a:buClrTx/>
              <a:buSzTx/>
              <a:buFontTx/>
              <a:buNone/>
            </a:pPr>
            <a:r>
              <a:rPr kumimoji="1" lang="en-US" b="1">
                <a:solidFill>
                  <a:srgbClr val="000000"/>
                </a:solidFill>
              </a:rPr>
              <a:t>+</a:t>
            </a:r>
          </a:p>
        </p:txBody>
      </p:sp>
      <p:sp>
        <p:nvSpPr>
          <p:cNvPr id="2996284" name="Oval 60"/>
          <p:cNvSpPr>
            <a:spLocks noChangeArrowheads="1"/>
          </p:cNvSpPr>
          <p:nvPr/>
        </p:nvSpPr>
        <p:spPr bwMode="gray">
          <a:xfrm>
            <a:off x="5486400" y="5830888"/>
            <a:ext cx="230188" cy="228600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lnSpc>
                <a:spcPct val="75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kumimoji="1" lang="en-US" b="1">
                <a:solidFill>
                  <a:srgbClr val="000000"/>
                </a:solidFill>
              </a:rPr>
              <a:t>–</a:t>
            </a:r>
          </a:p>
        </p:txBody>
      </p:sp>
      <p:grpSp>
        <p:nvGrpSpPr>
          <p:cNvPr id="2996285" name="Group 61"/>
          <p:cNvGrpSpPr>
            <a:grpSpLocks/>
          </p:cNvGrpSpPr>
          <p:nvPr/>
        </p:nvGrpSpPr>
        <p:grpSpPr bwMode="auto">
          <a:xfrm>
            <a:off x="8543925" y="5041901"/>
            <a:ext cx="134938" cy="354013"/>
            <a:chOff x="3954" y="3290"/>
            <a:chExt cx="92" cy="223"/>
          </a:xfrm>
        </p:grpSpPr>
        <p:sp>
          <p:nvSpPr>
            <p:cNvPr id="2996286" name="Freeform 62"/>
            <p:cNvSpPr>
              <a:spLocks/>
            </p:cNvSpPr>
            <p:nvPr/>
          </p:nvSpPr>
          <p:spPr bwMode="gray">
            <a:xfrm>
              <a:off x="3954" y="3313"/>
              <a:ext cx="0" cy="174"/>
            </a:xfrm>
            <a:custGeom>
              <a:avLst/>
              <a:gdLst>
                <a:gd name="T0" fmla="*/ 58 w 88"/>
                <a:gd name="T1" fmla="*/ 0 h 216"/>
                <a:gd name="T2" fmla="*/ 88 w 88"/>
                <a:gd name="T3" fmla="*/ 0 h 216"/>
                <a:gd name="T4" fmla="*/ 30 w 88"/>
                <a:gd name="T5" fmla="*/ 214 h 216"/>
                <a:gd name="T6" fmla="*/ 0 w 88"/>
                <a:gd name="T7" fmla="*/ 216 h 216"/>
                <a:gd name="T8" fmla="*/ 58 w 88"/>
                <a:gd name="T9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216">
                  <a:moveTo>
                    <a:pt x="58" y="0"/>
                  </a:moveTo>
                  <a:lnTo>
                    <a:pt x="88" y="0"/>
                  </a:lnTo>
                  <a:lnTo>
                    <a:pt x="30" y="214"/>
                  </a:lnTo>
                  <a:lnTo>
                    <a:pt x="0" y="216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2996287" name="Line 63"/>
            <p:cNvSpPr>
              <a:spLocks noChangeShapeType="1"/>
            </p:cNvSpPr>
            <p:nvPr/>
          </p:nvSpPr>
          <p:spPr bwMode="gray">
            <a:xfrm flipH="1">
              <a:off x="3954" y="3290"/>
              <a:ext cx="61" cy="22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2996288" name="Line 64"/>
            <p:cNvSpPr>
              <a:spLocks noChangeShapeType="1"/>
            </p:cNvSpPr>
            <p:nvPr/>
          </p:nvSpPr>
          <p:spPr bwMode="gray">
            <a:xfrm flipH="1">
              <a:off x="3985" y="3290"/>
              <a:ext cx="61" cy="22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/>
            </a:p>
          </p:txBody>
        </p:sp>
      </p:grpSp>
      <p:grpSp>
        <p:nvGrpSpPr>
          <p:cNvPr id="2996289" name="Group 65"/>
          <p:cNvGrpSpPr>
            <a:grpSpLocks/>
          </p:cNvGrpSpPr>
          <p:nvPr/>
        </p:nvGrpSpPr>
        <p:grpSpPr bwMode="auto">
          <a:xfrm>
            <a:off x="8577264" y="5697534"/>
            <a:ext cx="66675" cy="276226"/>
            <a:chOff x="3954" y="3608"/>
            <a:chExt cx="46" cy="174"/>
          </a:xfrm>
        </p:grpSpPr>
        <p:sp>
          <p:nvSpPr>
            <p:cNvPr id="2996290" name="Freeform 66"/>
            <p:cNvSpPr>
              <a:spLocks/>
            </p:cNvSpPr>
            <p:nvPr/>
          </p:nvSpPr>
          <p:spPr bwMode="gray">
            <a:xfrm>
              <a:off x="3954" y="3608"/>
              <a:ext cx="0" cy="174"/>
            </a:xfrm>
            <a:custGeom>
              <a:avLst/>
              <a:gdLst>
                <a:gd name="T0" fmla="*/ 20 w 44"/>
                <a:gd name="T1" fmla="*/ 0 h 74"/>
                <a:gd name="T2" fmla="*/ 0 w 44"/>
                <a:gd name="T3" fmla="*/ 74 h 74"/>
                <a:gd name="T4" fmla="*/ 20 w 44"/>
                <a:gd name="T5" fmla="*/ 70 h 74"/>
                <a:gd name="T6" fmla="*/ 44 w 44"/>
                <a:gd name="T7" fmla="*/ 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74">
                  <a:moveTo>
                    <a:pt x="20" y="0"/>
                  </a:moveTo>
                  <a:lnTo>
                    <a:pt x="0" y="74"/>
                  </a:lnTo>
                  <a:lnTo>
                    <a:pt x="20" y="70"/>
                  </a:lnTo>
                  <a:lnTo>
                    <a:pt x="44" y="2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2996291" name="Line 67"/>
            <p:cNvSpPr>
              <a:spLocks noChangeShapeType="1"/>
            </p:cNvSpPr>
            <p:nvPr/>
          </p:nvSpPr>
          <p:spPr bwMode="gray">
            <a:xfrm flipH="1">
              <a:off x="3954" y="3657"/>
              <a:ext cx="23" cy="7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2996292" name="Line 68"/>
            <p:cNvSpPr>
              <a:spLocks noChangeShapeType="1"/>
            </p:cNvSpPr>
            <p:nvPr/>
          </p:nvSpPr>
          <p:spPr bwMode="gray">
            <a:xfrm flipH="1">
              <a:off x="3977" y="3657"/>
              <a:ext cx="23" cy="7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/>
            </a:p>
          </p:txBody>
        </p:sp>
      </p:grpSp>
      <p:grpSp>
        <p:nvGrpSpPr>
          <p:cNvPr id="2996293" name="Group 69"/>
          <p:cNvGrpSpPr>
            <a:grpSpLocks/>
          </p:cNvGrpSpPr>
          <p:nvPr/>
        </p:nvGrpSpPr>
        <p:grpSpPr bwMode="auto">
          <a:xfrm>
            <a:off x="9237664" y="5703889"/>
            <a:ext cx="90487" cy="276225"/>
            <a:chOff x="3954" y="3769"/>
            <a:chExt cx="61" cy="174"/>
          </a:xfrm>
        </p:grpSpPr>
        <p:sp>
          <p:nvSpPr>
            <p:cNvPr id="2996294" name="Freeform 70"/>
            <p:cNvSpPr>
              <a:spLocks/>
            </p:cNvSpPr>
            <p:nvPr/>
          </p:nvSpPr>
          <p:spPr bwMode="gray">
            <a:xfrm>
              <a:off x="3954" y="3769"/>
              <a:ext cx="0" cy="174"/>
            </a:xfrm>
            <a:custGeom>
              <a:avLst/>
              <a:gdLst>
                <a:gd name="T0" fmla="*/ 0 w 56"/>
                <a:gd name="T1" fmla="*/ 28 h 52"/>
                <a:gd name="T2" fmla="*/ 56 w 56"/>
                <a:gd name="T3" fmla="*/ 0 h 52"/>
                <a:gd name="T4" fmla="*/ 56 w 56"/>
                <a:gd name="T5" fmla="*/ 24 h 52"/>
                <a:gd name="T6" fmla="*/ 0 w 56"/>
                <a:gd name="T7" fmla="*/ 52 h 52"/>
                <a:gd name="T8" fmla="*/ 0 w 56"/>
                <a:gd name="T9" fmla="*/ 2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2">
                  <a:moveTo>
                    <a:pt x="0" y="28"/>
                  </a:moveTo>
                  <a:lnTo>
                    <a:pt x="56" y="0"/>
                  </a:lnTo>
                  <a:lnTo>
                    <a:pt x="56" y="24"/>
                  </a:lnTo>
                  <a:lnTo>
                    <a:pt x="0" y="52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2996295" name="Line 71"/>
            <p:cNvSpPr>
              <a:spLocks noChangeShapeType="1"/>
            </p:cNvSpPr>
            <p:nvPr/>
          </p:nvSpPr>
          <p:spPr bwMode="gray">
            <a:xfrm flipH="1">
              <a:off x="3954" y="3830"/>
              <a:ext cx="61" cy="3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2996296" name="Line 72"/>
            <p:cNvSpPr>
              <a:spLocks noChangeShapeType="1"/>
            </p:cNvSpPr>
            <p:nvPr/>
          </p:nvSpPr>
          <p:spPr bwMode="gray">
            <a:xfrm flipH="1">
              <a:off x="3954" y="3853"/>
              <a:ext cx="61" cy="3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en-US"/>
            </a:p>
          </p:txBody>
        </p:sp>
      </p:grpSp>
      <p:grpSp>
        <p:nvGrpSpPr>
          <p:cNvPr id="2996297" name="Group 73"/>
          <p:cNvGrpSpPr>
            <a:grpSpLocks/>
          </p:cNvGrpSpPr>
          <p:nvPr/>
        </p:nvGrpSpPr>
        <p:grpSpPr bwMode="auto">
          <a:xfrm>
            <a:off x="9102725" y="5164138"/>
            <a:ext cx="361950" cy="150812"/>
            <a:chOff x="5631" y="3302"/>
            <a:chExt cx="247" cy="95"/>
          </a:xfrm>
        </p:grpSpPr>
        <p:sp>
          <p:nvSpPr>
            <p:cNvPr id="2996298" name="Freeform 74"/>
            <p:cNvSpPr>
              <a:spLocks/>
            </p:cNvSpPr>
            <p:nvPr/>
          </p:nvSpPr>
          <p:spPr bwMode="gray">
            <a:xfrm>
              <a:off x="5634" y="3302"/>
              <a:ext cx="243" cy="94"/>
            </a:xfrm>
            <a:custGeom>
              <a:avLst/>
              <a:gdLst>
                <a:gd name="T0" fmla="*/ 0 w 243"/>
                <a:gd name="T1" fmla="*/ 64 h 94"/>
                <a:gd name="T2" fmla="*/ 0 w 243"/>
                <a:gd name="T3" fmla="*/ 94 h 94"/>
                <a:gd name="T4" fmla="*/ 243 w 243"/>
                <a:gd name="T5" fmla="*/ 31 h 94"/>
                <a:gd name="T6" fmla="*/ 243 w 243"/>
                <a:gd name="T7" fmla="*/ 0 h 94"/>
                <a:gd name="T8" fmla="*/ 0 w 243"/>
                <a:gd name="T9" fmla="*/ 6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94">
                  <a:moveTo>
                    <a:pt x="0" y="64"/>
                  </a:moveTo>
                  <a:lnTo>
                    <a:pt x="0" y="94"/>
                  </a:lnTo>
                  <a:lnTo>
                    <a:pt x="243" y="31"/>
                  </a:lnTo>
                  <a:lnTo>
                    <a:pt x="243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2996299" name="Line 75"/>
            <p:cNvSpPr>
              <a:spLocks noChangeShapeType="1"/>
            </p:cNvSpPr>
            <p:nvPr/>
          </p:nvSpPr>
          <p:spPr bwMode="gray">
            <a:xfrm flipV="1">
              <a:off x="5631" y="3332"/>
              <a:ext cx="247" cy="6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  <p:sp>
          <p:nvSpPr>
            <p:cNvPr id="2996300" name="Line 76"/>
            <p:cNvSpPr>
              <a:spLocks noChangeShapeType="1"/>
            </p:cNvSpPr>
            <p:nvPr/>
          </p:nvSpPr>
          <p:spPr bwMode="gray">
            <a:xfrm flipV="1">
              <a:off x="5631" y="3302"/>
              <a:ext cx="247" cy="6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/>
            </a:p>
          </p:txBody>
        </p:sp>
      </p:grpSp>
      <p:grpSp>
        <p:nvGrpSpPr>
          <p:cNvPr id="2996302" name="Group 78"/>
          <p:cNvGrpSpPr>
            <a:grpSpLocks/>
          </p:cNvGrpSpPr>
          <p:nvPr/>
        </p:nvGrpSpPr>
        <p:grpSpPr bwMode="auto">
          <a:xfrm>
            <a:off x="4305301" y="1587501"/>
            <a:ext cx="303213" cy="593725"/>
            <a:chOff x="5458" y="1162"/>
            <a:chExt cx="191" cy="374"/>
          </a:xfrm>
        </p:grpSpPr>
        <p:sp>
          <p:nvSpPr>
            <p:cNvPr id="2996303" name="Rectangle 79"/>
            <p:cNvSpPr>
              <a:spLocks noChangeArrowheads="1"/>
            </p:cNvSpPr>
            <p:nvPr/>
          </p:nvSpPr>
          <p:spPr bwMode="gray">
            <a:xfrm>
              <a:off x="5480" y="1162"/>
              <a:ext cx="144" cy="37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36000" anchor="ctr"/>
            <a:lstStyle/>
            <a:p>
              <a:endParaRPr lang="en-US"/>
            </a:p>
          </p:txBody>
        </p:sp>
        <p:sp>
          <p:nvSpPr>
            <p:cNvPr id="2996304" name="Oval 80"/>
            <p:cNvSpPr>
              <a:spLocks noChangeArrowheads="1"/>
            </p:cNvSpPr>
            <p:nvPr/>
          </p:nvSpPr>
          <p:spPr bwMode="gray">
            <a:xfrm>
              <a:off x="5510" y="1194"/>
              <a:ext cx="84" cy="84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36000" anchor="ctr"/>
            <a:lstStyle/>
            <a:p>
              <a:endParaRPr lang="en-US"/>
            </a:p>
          </p:txBody>
        </p:sp>
        <p:sp>
          <p:nvSpPr>
            <p:cNvPr id="2996305" name="Oval 81"/>
            <p:cNvSpPr>
              <a:spLocks noChangeArrowheads="1"/>
            </p:cNvSpPr>
            <p:nvPr/>
          </p:nvSpPr>
          <p:spPr bwMode="gray">
            <a:xfrm>
              <a:off x="5510" y="1308"/>
              <a:ext cx="84" cy="84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36000" anchor="ctr"/>
            <a:lstStyle/>
            <a:p>
              <a:endParaRPr lang="en-US"/>
            </a:p>
          </p:txBody>
        </p:sp>
        <p:sp>
          <p:nvSpPr>
            <p:cNvPr id="2996306" name="Oval 82"/>
            <p:cNvSpPr>
              <a:spLocks noChangeArrowheads="1"/>
            </p:cNvSpPr>
            <p:nvPr/>
          </p:nvSpPr>
          <p:spPr bwMode="gray">
            <a:xfrm>
              <a:off x="5510" y="1422"/>
              <a:ext cx="84" cy="84"/>
            </a:xfrm>
            <a:prstGeom prst="ellipse">
              <a:avLst/>
            </a:prstGeom>
            <a:solidFill>
              <a:srgbClr val="33CC33"/>
            </a:solidFill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36000" anchor="ctr"/>
            <a:lstStyle/>
            <a:p>
              <a:endParaRPr lang="en-US"/>
            </a:p>
          </p:txBody>
        </p:sp>
        <p:sp>
          <p:nvSpPr>
            <p:cNvPr id="2996307" name="Line 83"/>
            <p:cNvSpPr>
              <a:spLocks noChangeShapeType="1"/>
            </p:cNvSpPr>
            <p:nvPr/>
          </p:nvSpPr>
          <p:spPr bwMode="gray">
            <a:xfrm flipV="1">
              <a:off x="5593" y="1391"/>
              <a:ext cx="50" cy="3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endParaRPr lang="en-US"/>
            </a:p>
          </p:txBody>
        </p:sp>
        <p:sp>
          <p:nvSpPr>
            <p:cNvPr id="2996308" name="Line 84"/>
            <p:cNvSpPr>
              <a:spLocks noChangeShapeType="1"/>
            </p:cNvSpPr>
            <p:nvPr/>
          </p:nvSpPr>
          <p:spPr bwMode="gray">
            <a:xfrm flipH="1" flipV="1">
              <a:off x="5460" y="1391"/>
              <a:ext cx="50" cy="3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endParaRPr lang="en-US"/>
            </a:p>
          </p:txBody>
        </p:sp>
        <p:sp>
          <p:nvSpPr>
            <p:cNvPr id="2996309" name="Line 85"/>
            <p:cNvSpPr>
              <a:spLocks noChangeShapeType="1"/>
            </p:cNvSpPr>
            <p:nvPr/>
          </p:nvSpPr>
          <p:spPr bwMode="gray">
            <a:xfrm>
              <a:off x="5593" y="1505"/>
              <a:ext cx="50" cy="3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endParaRPr lang="en-US"/>
            </a:p>
          </p:txBody>
        </p:sp>
        <p:sp>
          <p:nvSpPr>
            <p:cNvPr id="2996310" name="Line 86"/>
            <p:cNvSpPr>
              <a:spLocks noChangeShapeType="1"/>
            </p:cNvSpPr>
            <p:nvPr/>
          </p:nvSpPr>
          <p:spPr bwMode="gray">
            <a:xfrm flipH="1">
              <a:off x="5460" y="1505"/>
              <a:ext cx="50" cy="3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endParaRPr lang="en-US"/>
            </a:p>
          </p:txBody>
        </p:sp>
        <p:sp>
          <p:nvSpPr>
            <p:cNvPr id="2996311" name="Line 87"/>
            <p:cNvSpPr>
              <a:spLocks noChangeShapeType="1"/>
            </p:cNvSpPr>
            <p:nvPr/>
          </p:nvSpPr>
          <p:spPr bwMode="gray">
            <a:xfrm flipH="1">
              <a:off x="5458" y="1462"/>
              <a:ext cx="39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endParaRPr lang="en-US"/>
            </a:p>
          </p:txBody>
        </p:sp>
        <p:sp>
          <p:nvSpPr>
            <p:cNvPr id="2996312" name="Line 88"/>
            <p:cNvSpPr>
              <a:spLocks noChangeShapeType="1"/>
            </p:cNvSpPr>
            <p:nvPr/>
          </p:nvSpPr>
          <p:spPr bwMode="gray">
            <a:xfrm flipH="1">
              <a:off x="5610" y="1462"/>
              <a:ext cx="39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36000" rIns="0" bIns="36000" anchor="ctr"/>
            <a:lstStyle/>
            <a:p>
              <a:endParaRPr lang="en-US"/>
            </a:p>
          </p:txBody>
        </p:sp>
      </p:grpSp>
      <p:sp>
        <p:nvSpPr>
          <p:cNvPr id="2996313" name="Rectangle 89"/>
          <p:cNvSpPr>
            <a:spLocks noChangeArrowheads="1"/>
          </p:cNvSpPr>
          <p:nvPr/>
        </p:nvSpPr>
        <p:spPr bwMode="gray">
          <a:xfrm>
            <a:off x="4127500" y="2946401"/>
            <a:ext cx="12700" cy="19526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 sz="1200"/>
          </a:p>
        </p:txBody>
      </p:sp>
      <p:sp>
        <p:nvSpPr>
          <p:cNvPr id="2996314" name="Rectangle 90"/>
          <p:cNvSpPr>
            <a:spLocks noChangeArrowheads="1"/>
          </p:cNvSpPr>
          <p:nvPr/>
        </p:nvSpPr>
        <p:spPr bwMode="gray">
          <a:xfrm>
            <a:off x="3886201" y="3011488"/>
            <a:ext cx="307975" cy="25876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graphicFrame>
        <p:nvGraphicFramePr>
          <p:cNvPr id="2996315" name="Object 91"/>
          <p:cNvGraphicFramePr>
            <a:graphicFrameLocks noChangeAspect="1"/>
          </p:cNvGraphicFramePr>
          <p:nvPr/>
        </p:nvGraphicFramePr>
        <p:xfrm>
          <a:off x="8486775" y="1501776"/>
          <a:ext cx="1714500" cy="1285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75" name="Folie" r:id="rId9" imgW="4412158" imgH="3308503" progId="PowerPoint.Slide.8">
                  <p:embed/>
                </p:oleObj>
              </mc:Choice>
              <mc:Fallback>
                <p:oleObj name="Folie" r:id="rId9" imgW="4412158" imgH="3308503" progId="PowerPoint.Slid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8486775" y="1501776"/>
                        <a:ext cx="1714500" cy="1285875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bg1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96316" name="AutoShape 92"/>
          <p:cNvSpPr>
            <a:spLocks noChangeArrowheads="1"/>
          </p:cNvSpPr>
          <p:nvPr/>
        </p:nvSpPr>
        <p:spPr bwMode="gray">
          <a:xfrm>
            <a:off x="9439276" y="3381375"/>
            <a:ext cx="466725" cy="590550"/>
          </a:xfrm>
          <a:prstGeom prst="can">
            <a:avLst>
              <a:gd name="adj" fmla="val 31633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2996317" name="Rectangle 9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942139" y="1679576"/>
            <a:ext cx="212725" cy="2127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lnSpc>
                <a:spcPct val="120000"/>
              </a:lnSpc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  <a:latin typeface="Wingdings" pitchFamily="2" charset="2"/>
              </a:rPr>
              <a:t>ü</a:t>
            </a:r>
          </a:p>
        </p:txBody>
      </p:sp>
      <p:sp>
        <p:nvSpPr>
          <p:cNvPr id="2996319" name="Rectangle 9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312026" y="1679576"/>
            <a:ext cx="212725" cy="2127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  <a:latin typeface="Wingdings" pitchFamily="2" charset="2"/>
              </a:rPr>
              <a:t>û</a:t>
            </a:r>
          </a:p>
        </p:txBody>
      </p:sp>
      <p:sp>
        <p:nvSpPr>
          <p:cNvPr id="2996320" name="Rectangle 9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683501" y="1679576"/>
            <a:ext cx="212725" cy="2127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spcAft>
                <a:spcPct val="0"/>
              </a:spcAft>
            </a:pPr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grpSp>
        <p:nvGrpSpPr>
          <p:cNvPr id="2996321" name="Group 97"/>
          <p:cNvGrpSpPr>
            <a:grpSpLocks/>
          </p:cNvGrpSpPr>
          <p:nvPr/>
        </p:nvGrpSpPr>
        <p:grpSpPr bwMode="auto">
          <a:xfrm>
            <a:off x="4068764" y="5438775"/>
            <a:ext cx="568325" cy="592138"/>
            <a:chOff x="1117" y="1342"/>
            <a:chExt cx="2260" cy="2366"/>
          </a:xfrm>
        </p:grpSpPr>
        <p:sp>
          <p:nvSpPr>
            <p:cNvPr id="2996322" name="Freeform 98"/>
            <p:cNvSpPr>
              <a:spLocks/>
            </p:cNvSpPr>
            <p:nvPr/>
          </p:nvSpPr>
          <p:spPr bwMode="gray">
            <a:xfrm>
              <a:off x="1117" y="1342"/>
              <a:ext cx="2260" cy="2315"/>
            </a:xfrm>
            <a:custGeom>
              <a:avLst/>
              <a:gdLst>
                <a:gd name="T0" fmla="*/ 30 w 2260"/>
                <a:gd name="T1" fmla="*/ 181 h 2315"/>
                <a:gd name="T2" fmla="*/ 743 w 2260"/>
                <a:gd name="T3" fmla="*/ 1186 h 2315"/>
                <a:gd name="T4" fmla="*/ 1838 w 2260"/>
                <a:gd name="T5" fmla="*/ 2154 h 2315"/>
                <a:gd name="T6" fmla="*/ 1935 w 2260"/>
                <a:gd name="T7" fmla="*/ 2064 h 2315"/>
                <a:gd name="T8" fmla="*/ 2025 w 2260"/>
                <a:gd name="T9" fmla="*/ 2079 h 2315"/>
                <a:gd name="T10" fmla="*/ 2100 w 2260"/>
                <a:gd name="T11" fmla="*/ 2004 h 2315"/>
                <a:gd name="T12" fmla="*/ 2228 w 2260"/>
                <a:gd name="T13" fmla="*/ 1989 h 2315"/>
                <a:gd name="T14" fmla="*/ 2220 w 2260"/>
                <a:gd name="T15" fmla="*/ 1936 h 2315"/>
                <a:gd name="T16" fmla="*/ 1125 w 2260"/>
                <a:gd name="T17" fmla="*/ 1044 h 2315"/>
                <a:gd name="T18" fmla="*/ 540 w 2260"/>
                <a:gd name="T19" fmla="*/ 346 h 2315"/>
                <a:gd name="T20" fmla="*/ 360 w 2260"/>
                <a:gd name="T21" fmla="*/ 24 h 2315"/>
                <a:gd name="T22" fmla="*/ 315 w 2260"/>
                <a:gd name="T23" fmla="*/ 16 h 2315"/>
                <a:gd name="T24" fmla="*/ 263 w 2260"/>
                <a:gd name="T25" fmla="*/ 76 h 2315"/>
                <a:gd name="T26" fmla="*/ 270 w 2260"/>
                <a:gd name="T27" fmla="*/ 159 h 2315"/>
                <a:gd name="T28" fmla="*/ 195 w 2260"/>
                <a:gd name="T29" fmla="*/ 144 h 2315"/>
                <a:gd name="T30" fmla="*/ 143 w 2260"/>
                <a:gd name="T31" fmla="*/ 204 h 2315"/>
                <a:gd name="T32" fmla="*/ 30 w 2260"/>
                <a:gd name="T33" fmla="*/ 181 h 2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60" h="2315">
                  <a:moveTo>
                    <a:pt x="30" y="181"/>
                  </a:moveTo>
                  <a:cubicBezTo>
                    <a:pt x="0" y="361"/>
                    <a:pt x="442" y="857"/>
                    <a:pt x="743" y="1186"/>
                  </a:cubicBezTo>
                  <a:cubicBezTo>
                    <a:pt x="1044" y="1515"/>
                    <a:pt x="1639" y="2008"/>
                    <a:pt x="1838" y="2154"/>
                  </a:cubicBezTo>
                  <a:cubicBezTo>
                    <a:pt x="2051" y="2315"/>
                    <a:pt x="1875" y="2084"/>
                    <a:pt x="1935" y="2064"/>
                  </a:cubicBezTo>
                  <a:cubicBezTo>
                    <a:pt x="1966" y="2052"/>
                    <a:pt x="1998" y="2089"/>
                    <a:pt x="2025" y="2079"/>
                  </a:cubicBezTo>
                  <a:cubicBezTo>
                    <a:pt x="2052" y="2069"/>
                    <a:pt x="2066" y="2019"/>
                    <a:pt x="2100" y="2004"/>
                  </a:cubicBezTo>
                  <a:cubicBezTo>
                    <a:pt x="2116" y="1995"/>
                    <a:pt x="2228" y="1989"/>
                    <a:pt x="2228" y="1989"/>
                  </a:cubicBezTo>
                  <a:cubicBezTo>
                    <a:pt x="2239" y="1954"/>
                    <a:pt x="2260" y="1950"/>
                    <a:pt x="2220" y="1936"/>
                  </a:cubicBezTo>
                  <a:cubicBezTo>
                    <a:pt x="2010" y="1745"/>
                    <a:pt x="1404" y="1343"/>
                    <a:pt x="1125" y="1044"/>
                  </a:cubicBezTo>
                  <a:cubicBezTo>
                    <a:pt x="845" y="779"/>
                    <a:pt x="639" y="464"/>
                    <a:pt x="540" y="346"/>
                  </a:cubicBezTo>
                  <a:cubicBezTo>
                    <a:pt x="413" y="176"/>
                    <a:pt x="390" y="50"/>
                    <a:pt x="360" y="24"/>
                  </a:cubicBezTo>
                  <a:cubicBezTo>
                    <a:pt x="355" y="33"/>
                    <a:pt x="325" y="13"/>
                    <a:pt x="315" y="16"/>
                  </a:cubicBezTo>
                  <a:cubicBezTo>
                    <a:pt x="284" y="0"/>
                    <a:pt x="296" y="87"/>
                    <a:pt x="263" y="76"/>
                  </a:cubicBezTo>
                  <a:cubicBezTo>
                    <a:pt x="243" y="106"/>
                    <a:pt x="296" y="133"/>
                    <a:pt x="270" y="159"/>
                  </a:cubicBezTo>
                  <a:cubicBezTo>
                    <a:pt x="209" y="220"/>
                    <a:pt x="248" y="152"/>
                    <a:pt x="195" y="144"/>
                  </a:cubicBezTo>
                  <a:cubicBezTo>
                    <a:pt x="171" y="144"/>
                    <a:pt x="170" y="198"/>
                    <a:pt x="143" y="204"/>
                  </a:cubicBezTo>
                  <a:cubicBezTo>
                    <a:pt x="116" y="210"/>
                    <a:pt x="54" y="186"/>
                    <a:pt x="30" y="181"/>
                  </a:cubicBez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2996323" name="Freeform 99"/>
            <p:cNvSpPr>
              <a:spLocks/>
            </p:cNvSpPr>
            <p:nvPr/>
          </p:nvSpPr>
          <p:spPr bwMode="gray">
            <a:xfrm flipV="1">
              <a:off x="1177" y="1394"/>
              <a:ext cx="1922" cy="2314"/>
            </a:xfrm>
            <a:custGeom>
              <a:avLst/>
              <a:gdLst>
                <a:gd name="T0" fmla="*/ 30 w 2087"/>
                <a:gd name="T1" fmla="*/ 241 h 2502"/>
                <a:gd name="T2" fmla="*/ 570 w 2087"/>
                <a:gd name="T3" fmla="*/ 1373 h 2502"/>
                <a:gd name="T4" fmla="*/ 1665 w 2087"/>
                <a:gd name="T5" fmla="*/ 2341 h 2502"/>
                <a:gd name="T6" fmla="*/ 1762 w 2087"/>
                <a:gd name="T7" fmla="*/ 2251 h 2502"/>
                <a:gd name="T8" fmla="*/ 1852 w 2087"/>
                <a:gd name="T9" fmla="*/ 2266 h 2502"/>
                <a:gd name="T10" fmla="*/ 1927 w 2087"/>
                <a:gd name="T11" fmla="*/ 2191 h 2502"/>
                <a:gd name="T12" fmla="*/ 2055 w 2087"/>
                <a:gd name="T13" fmla="*/ 2176 h 2502"/>
                <a:gd name="T14" fmla="*/ 2047 w 2087"/>
                <a:gd name="T15" fmla="*/ 2123 h 2502"/>
                <a:gd name="T16" fmla="*/ 442 w 2087"/>
                <a:gd name="T17" fmla="*/ 271 h 2502"/>
                <a:gd name="T18" fmla="*/ 382 w 2087"/>
                <a:gd name="T19" fmla="*/ 68 h 2502"/>
                <a:gd name="T20" fmla="*/ 322 w 2087"/>
                <a:gd name="T21" fmla="*/ 113 h 2502"/>
                <a:gd name="T22" fmla="*/ 292 w 2087"/>
                <a:gd name="T23" fmla="*/ 121 h 2502"/>
                <a:gd name="T24" fmla="*/ 195 w 2087"/>
                <a:gd name="T25" fmla="*/ 76 h 2502"/>
                <a:gd name="T26" fmla="*/ 150 w 2087"/>
                <a:gd name="T27" fmla="*/ 173 h 2502"/>
                <a:gd name="T28" fmla="*/ 52 w 2087"/>
                <a:gd name="T29" fmla="*/ 203 h 2502"/>
                <a:gd name="T30" fmla="*/ 30 w 2087"/>
                <a:gd name="T31" fmla="*/ 241 h 2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87" h="2502">
                  <a:moveTo>
                    <a:pt x="30" y="241"/>
                  </a:moveTo>
                  <a:cubicBezTo>
                    <a:pt x="0" y="421"/>
                    <a:pt x="297" y="1023"/>
                    <a:pt x="570" y="1373"/>
                  </a:cubicBezTo>
                  <a:cubicBezTo>
                    <a:pt x="843" y="1723"/>
                    <a:pt x="1466" y="2195"/>
                    <a:pt x="1665" y="2341"/>
                  </a:cubicBezTo>
                  <a:cubicBezTo>
                    <a:pt x="1878" y="2502"/>
                    <a:pt x="1702" y="2271"/>
                    <a:pt x="1762" y="2251"/>
                  </a:cubicBezTo>
                  <a:cubicBezTo>
                    <a:pt x="1793" y="2239"/>
                    <a:pt x="1825" y="2276"/>
                    <a:pt x="1852" y="2266"/>
                  </a:cubicBezTo>
                  <a:cubicBezTo>
                    <a:pt x="1879" y="2256"/>
                    <a:pt x="1893" y="2206"/>
                    <a:pt x="1927" y="2191"/>
                  </a:cubicBezTo>
                  <a:cubicBezTo>
                    <a:pt x="1943" y="2182"/>
                    <a:pt x="2055" y="2176"/>
                    <a:pt x="2055" y="2176"/>
                  </a:cubicBezTo>
                  <a:cubicBezTo>
                    <a:pt x="2066" y="2141"/>
                    <a:pt x="2087" y="2137"/>
                    <a:pt x="2047" y="2123"/>
                  </a:cubicBezTo>
                  <a:cubicBezTo>
                    <a:pt x="1778" y="1806"/>
                    <a:pt x="682" y="1298"/>
                    <a:pt x="442" y="271"/>
                  </a:cubicBezTo>
                  <a:cubicBezTo>
                    <a:pt x="427" y="204"/>
                    <a:pt x="420" y="126"/>
                    <a:pt x="382" y="68"/>
                  </a:cubicBezTo>
                  <a:cubicBezTo>
                    <a:pt x="360" y="0"/>
                    <a:pt x="330" y="97"/>
                    <a:pt x="322" y="113"/>
                  </a:cubicBezTo>
                  <a:cubicBezTo>
                    <a:pt x="317" y="122"/>
                    <a:pt x="302" y="118"/>
                    <a:pt x="292" y="121"/>
                  </a:cubicBezTo>
                  <a:cubicBezTo>
                    <a:pt x="261" y="105"/>
                    <a:pt x="228" y="87"/>
                    <a:pt x="195" y="76"/>
                  </a:cubicBezTo>
                  <a:cubicBezTo>
                    <a:pt x="175" y="106"/>
                    <a:pt x="176" y="147"/>
                    <a:pt x="150" y="173"/>
                  </a:cubicBezTo>
                  <a:cubicBezTo>
                    <a:pt x="89" y="234"/>
                    <a:pt x="156" y="151"/>
                    <a:pt x="52" y="203"/>
                  </a:cubicBezTo>
                  <a:cubicBezTo>
                    <a:pt x="39" y="210"/>
                    <a:pt x="37" y="228"/>
                    <a:pt x="30" y="241"/>
                  </a:cubicBez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</p:grpSp>
      <p:sp>
        <p:nvSpPr>
          <p:cNvPr id="2996324" name="Freeform 100"/>
          <p:cNvSpPr>
            <a:spLocks/>
          </p:cNvSpPr>
          <p:nvPr/>
        </p:nvSpPr>
        <p:spPr bwMode="gray">
          <a:xfrm>
            <a:off x="5202238" y="4587876"/>
            <a:ext cx="461962" cy="625475"/>
          </a:xfrm>
          <a:custGeom>
            <a:avLst/>
            <a:gdLst>
              <a:gd name="T0" fmla="*/ 174 w 361"/>
              <a:gd name="T1" fmla="*/ 0 h 491"/>
              <a:gd name="T2" fmla="*/ 18 w 361"/>
              <a:gd name="T3" fmla="*/ 245 h 491"/>
              <a:gd name="T4" fmla="*/ 229 w 361"/>
              <a:gd name="T5" fmla="*/ 174 h 491"/>
              <a:gd name="T6" fmla="*/ 90 w 361"/>
              <a:gd name="T7" fmla="*/ 391 h 491"/>
              <a:gd name="T8" fmla="*/ 0 w 361"/>
              <a:gd name="T9" fmla="*/ 377 h 491"/>
              <a:gd name="T10" fmla="*/ 69 w 361"/>
              <a:gd name="T11" fmla="*/ 491 h 491"/>
              <a:gd name="T12" fmla="*/ 249 w 361"/>
              <a:gd name="T13" fmla="*/ 419 h 491"/>
              <a:gd name="T14" fmla="*/ 143 w 361"/>
              <a:gd name="T15" fmla="*/ 400 h 491"/>
              <a:gd name="T16" fmla="*/ 361 w 361"/>
              <a:gd name="T17" fmla="*/ 106 h 491"/>
              <a:gd name="T18" fmla="*/ 147 w 361"/>
              <a:gd name="T19" fmla="*/ 152 h 491"/>
              <a:gd name="T20" fmla="*/ 324 w 361"/>
              <a:gd name="T21" fmla="*/ 1 h 491"/>
              <a:gd name="T22" fmla="*/ 174 w 361"/>
              <a:gd name="T23" fmla="*/ 0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61" h="491">
                <a:moveTo>
                  <a:pt x="174" y="0"/>
                </a:moveTo>
                <a:lnTo>
                  <a:pt x="18" y="245"/>
                </a:lnTo>
                <a:lnTo>
                  <a:pt x="229" y="174"/>
                </a:lnTo>
                <a:lnTo>
                  <a:pt x="90" y="391"/>
                </a:lnTo>
                <a:lnTo>
                  <a:pt x="0" y="377"/>
                </a:lnTo>
                <a:lnTo>
                  <a:pt x="69" y="491"/>
                </a:lnTo>
                <a:lnTo>
                  <a:pt x="249" y="419"/>
                </a:lnTo>
                <a:lnTo>
                  <a:pt x="143" y="400"/>
                </a:lnTo>
                <a:lnTo>
                  <a:pt x="361" y="106"/>
                </a:lnTo>
                <a:lnTo>
                  <a:pt x="147" y="152"/>
                </a:lnTo>
                <a:lnTo>
                  <a:pt x="324" y="1"/>
                </a:lnTo>
                <a:lnTo>
                  <a:pt x="174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512" tIns="180000" rIns="36512" bIns="180000" anchor="ctr"/>
          <a:lstStyle/>
          <a:p>
            <a:endParaRPr lang="en-US"/>
          </a:p>
        </p:txBody>
      </p:sp>
      <p:pic>
        <p:nvPicPr>
          <p:cNvPr id="2996325" name="Picture 101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01" b="24376"/>
          <a:stretch>
            <a:fillRect/>
          </a:stretch>
        </p:blipFill>
        <p:spPr bwMode="gray">
          <a:xfrm>
            <a:off x="4592638" y="4452939"/>
            <a:ext cx="571500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996326" name="Group 102"/>
          <p:cNvGrpSpPr>
            <a:grpSpLocks/>
          </p:cNvGrpSpPr>
          <p:nvPr/>
        </p:nvGrpSpPr>
        <p:grpSpPr bwMode="auto">
          <a:xfrm>
            <a:off x="1895476" y="4297363"/>
            <a:ext cx="455613" cy="455612"/>
            <a:chOff x="1194" y="2598"/>
            <a:chExt cx="432" cy="432"/>
          </a:xfrm>
        </p:grpSpPr>
        <p:sp>
          <p:nvSpPr>
            <p:cNvPr id="2996327" name="Oval 103"/>
            <p:cNvSpPr>
              <a:spLocks noChangeArrowheads="1"/>
            </p:cNvSpPr>
            <p:nvPr/>
          </p:nvSpPr>
          <p:spPr bwMode="gray">
            <a:xfrm>
              <a:off x="1194" y="2598"/>
              <a:ext cx="432" cy="432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96328" name="Rectangle 104"/>
            <p:cNvSpPr>
              <a:spLocks noChangeArrowheads="1"/>
            </p:cNvSpPr>
            <p:nvPr/>
          </p:nvSpPr>
          <p:spPr bwMode="gray">
            <a:xfrm rot="-5400000">
              <a:off x="1292" y="2790"/>
              <a:ext cx="236" cy="4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96329" name="Rectangle 105"/>
            <p:cNvSpPr>
              <a:spLocks noChangeArrowheads="1"/>
            </p:cNvSpPr>
            <p:nvPr/>
          </p:nvSpPr>
          <p:spPr bwMode="gray">
            <a:xfrm rot="10800000" flipH="1">
              <a:off x="1292" y="2790"/>
              <a:ext cx="236" cy="4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996330" name="Group 106"/>
          <p:cNvGrpSpPr>
            <a:grpSpLocks/>
          </p:cNvGrpSpPr>
          <p:nvPr/>
        </p:nvGrpSpPr>
        <p:grpSpPr bwMode="auto">
          <a:xfrm>
            <a:off x="2439988" y="4297363"/>
            <a:ext cx="455612" cy="455612"/>
            <a:chOff x="1713" y="2598"/>
            <a:chExt cx="432" cy="432"/>
          </a:xfrm>
        </p:grpSpPr>
        <p:sp>
          <p:nvSpPr>
            <p:cNvPr id="2996331" name="Oval 107"/>
            <p:cNvSpPr>
              <a:spLocks noChangeArrowheads="1"/>
            </p:cNvSpPr>
            <p:nvPr/>
          </p:nvSpPr>
          <p:spPr bwMode="gray">
            <a:xfrm flipH="1">
              <a:off x="1713" y="2598"/>
              <a:ext cx="432" cy="432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96332" name="Rectangle 108"/>
            <p:cNvSpPr>
              <a:spLocks noChangeArrowheads="1"/>
            </p:cNvSpPr>
            <p:nvPr/>
          </p:nvSpPr>
          <p:spPr bwMode="gray">
            <a:xfrm flipH="1">
              <a:off x="1811" y="2791"/>
              <a:ext cx="236" cy="4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996333" name="Group 109"/>
          <p:cNvGrpSpPr>
            <a:grpSpLocks/>
          </p:cNvGrpSpPr>
          <p:nvPr/>
        </p:nvGrpSpPr>
        <p:grpSpPr bwMode="auto">
          <a:xfrm>
            <a:off x="2986088" y="4297363"/>
            <a:ext cx="457200" cy="455612"/>
            <a:chOff x="2232" y="2598"/>
            <a:chExt cx="432" cy="432"/>
          </a:xfrm>
        </p:grpSpPr>
        <p:sp>
          <p:nvSpPr>
            <p:cNvPr id="2996334" name="Oval 110"/>
            <p:cNvSpPr>
              <a:spLocks noChangeArrowheads="1"/>
            </p:cNvSpPr>
            <p:nvPr/>
          </p:nvSpPr>
          <p:spPr bwMode="gray">
            <a:xfrm flipH="1">
              <a:off x="2232" y="2598"/>
              <a:ext cx="432" cy="432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2996335" name="Group 111"/>
            <p:cNvGrpSpPr>
              <a:grpSpLocks/>
            </p:cNvGrpSpPr>
            <p:nvPr/>
          </p:nvGrpSpPr>
          <p:grpSpPr bwMode="auto">
            <a:xfrm>
              <a:off x="2330" y="2702"/>
              <a:ext cx="236" cy="224"/>
              <a:chOff x="2601" y="2117"/>
              <a:chExt cx="236" cy="224"/>
            </a:xfrm>
          </p:grpSpPr>
          <p:sp>
            <p:nvSpPr>
              <p:cNvPr id="2996336" name="Rectangle 112"/>
              <p:cNvSpPr>
                <a:spLocks noChangeArrowheads="1"/>
              </p:cNvSpPr>
              <p:nvPr/>
            </p:nvSpPr>
            <p:spPr bwMode="gray">
              <a:xfrm flipH="1">
                <a:off x="2601" y="2205"/>
                <a:ext cx="236" cy="4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96337" name="Oval 113"/>
              <p:cNvSpPr>
                <a:spLocks noChangeArrowheads="1"/>
              </p:cNvSpPr>
              <p:nvPr/>
            </p:nvSpPr>
            <p:spPr bwMode="gray">
              <a:xfrm>
                <a:off x="2687" y="2117"/>
                <a:ext cx="64" cy="6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  <p:sp>
            <p:nvSpPr>
              <p:cNvPr id="2996338" name="Oval 114"/>
              <p:cNvSpPr>
                <a:spLocks noChangeArrowheads="1"/>
              </p:cNvSpPr>
              <p:nvPr/>
            </p:nvSpPr>
            <p:spPr bwMode="gray">
              <a:xfrm>
                <a:off x="2687" y="2277"/>
                <a:ext cx="64" cy="6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</p:grpSp>
      </p:grpSp>
      <p:grpSp>
        <p:nvGrpSpPr>
          <p:cNvPr id="2996339" name="Group 115"/>
          <p:cNvGrpSpPr>
            <a:grpSpLocks/>
          </p:cNvGrpSpPr>
          <p:nvPr/>
        </p:nvGrpSpPr>
        <p:grpSpPr bwMode="auto">
          <a:xfrm>
            <a:off x="4078288" y="4297363"/>
            <a:ext cx="455612" cy="455612"/>
            <a:chOff x="3271" y="2598"/>
            <a:chExt cx="432" cy="432"/>
          </a:xfrm>
        </p:grpSpPr>
        <p:sp>
          <p:nvSpPr>
            <p:cNvPr id="2996340" name="Oval 116"/>
            <p:cNvSpPr>
              <a:spLocks noChangeArrowheads="1"/>
            </p:cNvSpPr>
            <p:nvPr/>
          </p:nvSpPr>
          <p:spPr bwMode="gray">
            <a:xfrm flipH="1">
              <a:off x="3271" y="2598"/>
              <a:ext cx="432" cy="432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2996341" name="Group 117"/>
            <p:cNvGrpSpPr>
              <a:grpSpLocks/>
            </p:cNvGrpSpPr>
            <p:nvPr/>
          </p:nvGrpSpPr>
          <p:grpSpPr bwMode="auto">
            <a:xfrm flipH="1">
              <a:off x="3369" y="2755"/>
              <a:ext cx="236" cy="119"/>
              <a:chOff x="399" y="3242"/>
              <a:chExt cx="236" cy="119"/>
            </a:xfrm>
          </p:grpSpPr>
          <p:sp>
            <p:nvSpPr>
              <p:cNvPr id="2996342" name="Rectangle 118"/>
              <p:cNvSpPr>
                <a:spLocks noChangeArrowheads="1"/>
              </p:cNvSpPr>
              <p:nvPr/>
            </p:nvSpPr>
            <p:spPr bwMode="gray">
              <a:xfrm>
                <a:off x="399" y="3314"/>
                <a:ext cx="236" cy="4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96343" name="Rectangle 119"/>
              <p:cNvSpPr>
                <a:spLocks noChangeArrowheads="1"/>
              </p:cNvSpPr>
              <p:nvPr/>
            </p:nvSpPr>
            <p:spPr bwMode="gray">
              <a:xfrm rot="10800000" flipH="1">
                <a:off x="399" y="3242"/>
                <a:ext cx="236" cy="4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2996344" name="Rectangle 120"/>
          <p:cNvSpPr>
            <a:spLocks noChangeArrowheads="1"/>
          </p:cNvSpPr>
          <p:nvPr/>
        </p:nvSpPr>
        <p:spPr bwMode="gray">
          <a:xfrm>
            <a:off x="4895851" y="2274889"/>
            <a:ext cx="2270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en-US" sz="2400">
                <a:latin typeface="Wingdings" pitchFamily="2" charset="2"/>
                <a:sym typeface="Wingdings" pitchFamily="2" charset="2"/>
              </a:rPr>
              <a:t></a:t>
            </a:r>
          </a:p>
        </p:txBody>
      </p:sp>
      <p:pic>
        <p:nvPicPr>
          <p:cNvPr id="2996345" name="Picture 121" descr="frage"/>
          <p:cNvPicPr>
            <a:picLocks noChangeAspect="1" noChangeArrowheads="1"/>
          </p:cNvPicPr>
          <p:nvPr/>
        </p:nvPicPr>
        <p:blipFill>
          <a:blip r:embed="rId1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3100" y="4976813"/>
            <a:ext cx="781050" cy="971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996347" name="Group 123"/>
          <p:cNvGrpSpPr>
            <a:grpSpLocks/>
          </p:cNvGrpSpPr>
          <p:nvPr/>
        </p:nvGrpSpPr>
        <p:grpSpPr bwMode="auto">
          <a:xfrm>
            <a:off x="9493250" y="3998914"/>
            <a:ext cx="534988" cy="820737"/>
            <a:chOff x="478" y="2472"/>
            <a:chExt cx="344" cy="456"/>
          </a:xfrm>
        </p:grpSpPr>
        <p:sp>
          <p:nvSpPr>
            <p:cNvPr id="2996348" name="Freeform 124"/>
            <p:cNvSpPr>
              <a:spLocks/>
            </p:cNvSpPr>
            <p:nvPr/>
          </p:nvSpPr>
          <p:spPr bwMode="gray">
            <a:xfrm>
              <a:off x="558" y="2536"/>
              <a:ext cx="224" cy="320"/>
            </a:xfrm>
            <a:custGeom>
              <a:avLst/>
              <a:gdLst>
                <a:gd name="T0" fmla="*/ 168 w 224"/>
                <a:gd name="T1" fmla="*/ 0 h 320"/>
                <a:gd name="T2" fmla="*/ 192 w 224"/>
                <a:gd name="T3" fmla="*/ 24 h 320"/>
                <a:gd name="T4" fmla="*/ 208 w 224"/>
                <a:gd name="T5" fmla="*/ 64 h 320"/>
                <a:gd name="T6" fmla="*/ 224 w 224"/>
                <a:gd name="T7" fmla="*/ 96 h 320"/>
                <a:gd name="T8" fmla="*/ 224 w 224"/>
                <a:gd name="T9" fmla="*/ 136 h 320"/>
                <a:gd name="T10" fmla="*/ 224 w 224"/>
                <a:gd name="T11" fmla="*/ 176 h 320"/>
                <a:gd name="T12" fmla="*/ 216 w 224"/>
                <a:gd name="T13" fmla="*/ 216 h 320"/>
                <a:gd name="T14" fmla="*/ 208 w 224"/>
                <a:gd name="T15" fmla="*/ 256 h 320"/>
                <a:gd name="T16" fmla="*/ 184 w 224"/>
                <a:gd name="T17" fmla="*/ 288 h 320"/>
                <a:gd name="T18" fmla="*/ 160 w 224"/>
                <a:gd name="T19" fmla="*/ 320 h 320"/>
                <a:gd name="T20" fmla="*/ 0 w 224"/>
                <a:gd name="T21" fmla="*/ 152 h 320"/>
                <a:gd name="T22" fmla="*/ 168 w 224"/>
                <a:gd name="T23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4" h="320">
                  <a:moveTo>
                    <a:pt x="168" y="0"/>
                  </a:moveTo>
                  <a:lnTo>
                    <a:pt x="192" y="24"/>
                  </a:lnTo>
                  <a:lnTo>
                    <a:pt x="208" y="64"/>
                  </a:lnTo>
                  <a:lnTo>
                    <a:pt x="224" y="96"/>
                  </a:lnTo>
                  <a:lnTo>
                    <a:pt x="224" y="136"/>
                  </a:lnTo>
                  <a:lnTo>
                    <a:pt x="224" y="176"/>
                  </a:lnTo>
                  <a:lnTo>
                    <a:pt x="216" y="216"/>
                  </a:lnTo>
                  <a:lnTo>
                    <a:pt x="208" y="256"/>
                  </a:lnTo>
                  <a:lnTo>
                    <a:pt x="184" y="288"/>
                  </a:lnTo>
                  <a:lnTo>
                    <a:pt x="160" y="320"/>
                  </a:lnTo>
                  <a:lnTo>
                    <a:pt x="0" y="152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96349" name="Oval 125"/>
            <p:cNvSpPr>
              <a:spLocks noChangeArrowheads="1"/>
            </p:cNvSpPr>
            <p:nvPr/>
          </p:nvSpPr>
          <p:spPr bwMode="gray">
            <a:xfrm>
              <a:off x="758" y="2628"/>
              <a:ext cx="32" cy="136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96350" name="Line 126"/>
            <p:cNvSpPr>
              <a:spLocks noChangeShapeType="1"/>
            </p:cNvSpPr>
            <p:nvPr/>
          </p:nvSpPr>
          <p:spPr bwMode="gray">
            <a:xfrm flipV="1">
              <a:off x="478" y="2472"/>
              <a:ext cx="344" cy="224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96351" name="Line 127"/>
            <p:cNvSpPr>
              <a:spLocks noChangeShapeType="1"/>
            </p:cNvSpPr>
            <p:nvPr/>
          </p:nvSpPr>
          <p:spPr bwMode="gray">
            <a:xfrm>
              <a:off x="481" y="2690"/>
              <a:ext cx="341" cy="238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96352" name="Arc 128"/>
            <p:cNvSpPr>
              <a:spLocks/>
            </p:cNvSpPr>
            <p:nvPr/>
          </p:nvSpPr>
          <p:spPr bwMode="gray">
            <a:xfrm>
              <a:off x="722" y="2526"/>
              <a:ext cx="68" cy="351"/>
            </a:xfrm>
            <a:custGeom>
              <a:avLst/>
              <a:gdLst>
                <a:gd name="G0" fmla="+- 0 0 0"/>
                <a:gd name="G1" fmla="+- 21029 0 0"/>
                <a:gd name="G2" fmla="+- 21600 0 0"/>
                <a:gd name="T0" fmla="*/ 4934 w 21600"/>
                <a:gd name="T1" fmla="*/ 0 h 41253"/>
                <a:gd name="T2" fmla="*/ 7585 w 21600"/>
                <a:gd name="T3" fmla="*/ 41253 h 41253"/>
                <a:gd name="T4" fmla="*/ 0 w 21600"/>
                <a:gd name="T5" fmla="*/ 21029 h 41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1253" fill="none" extrusionOk="0">
                  <a:moveTo>
                    <a:pt x="4933" y="0"/>
                  </a:moveTo>
                  <a:cubicBezTo>
                    <a:pt x="14697" y="2290"/>
                    <a:pt x="21600" y="11000"/>
                    <a:pt x="21600" y="21029"/>
                  </a:cubicBezTo>
                  <a:cubicBezTo>
                    <a:pt x="21600" y="30032"/>
                    <a:pt x="16015" y="38091"/>
                    <a:pt x="7585" y="41253"/>
                  </a:cubicBezTo>
                </a:path>
                <a:path w="21600" h="41253" stroke="0" extrusionOk="0">
                  <a:moveTo>
                    <a:pt x="4933" y="0"/>
                  </a:moveTo>
                  <a:cubicBezTo>
                    <a:pt x="14697" y="2290"/>
                    <a:pt x="21600" y="11000"/>
                    <a:pt x="21600" y="21029"/>
                  </a:cubicBezTo>
                  <a:cubicBezTo>
                    <a:pt x="21600" y="30032"/>
                    <a:pt x="16015" y="38091"/>
                    <a:pt x="7585" y="41253"/>
                  </a:cubicBezTo>
                  <a:lnTo>
                    <a:pt x="0" y="21029"/>
                  </a:lnTo>
                  <a:close/>
                </a:path>
              </a:pathLst>
            </a:custGeom>
            <a:noFill/>
            <a:ln w="63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640936"/>
      </p:ext>
    </p:extLst>
  </p:cSld>
  <p:clrMapOvr>
    <a:masterClrMapping/>
  </p:clrMapOvr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5442" name="Oval 2"/>
          <p:cNvSpPr>
            <a:spLocks noChangeArrowheads="1"/>
          </p:cNvSpPr>
          <p:nvPr/>
        </p:nvSpPr>
        <p:spPr bwMode="gray">
          <a:xfrm>
            <a:off x="4919664" y="5162551"/>
            <a:ext cx="257175" cy="25717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3005443" name="Oval 3"/>
          <p:cNvSpPr>
            <a:spLocks noChangeArrowheads="1"/>
          </p:cNvSpPr>
          <p:nvPr/>
        </p:nvSpPr>
        <p:spPr bwMode="gray">
          <a:xfrm>
            <a:off x="4919664" y="5594351"/>
            <a:ext cx="257175" cy="25717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3005444" name="Oval 4"/>
          <p:cNvSpPr>
            <a:spLocks noChangeArrowheads="1"/>
          </p:cNvSpPr>
          <p:nvPr/>
        </p:nvSpPr>
        <p:spPr bwMode="gray">
          <a:xfrm>
            <a:off x="4919664" y="4298951"/>
            <a:ext cx="257175" cy="25717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005445" name="Oval 5"/>
          <p:cNvSpPr>
            <a:spLocks noChangeArrowheads="1"/>
          </p:cNvSpPr>
          <p:nvPr/>
        </p:nvSpPr>
        <p:spPr bwMode="gray">
          <a:xfrm>
            <a:off x="4919664" y="4730751"/>
            <a:ext cx="257175" cy="25717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3005446" name="Oval 6"/>
          <p:cNvSpPr>
            <a:spLocks noChangeArrowheads="1"/>
          </p:cNvSpPr>
          <p:nvPr/>
        </p:nvSpPr>
        <p:spPr bwMode="gray">
          <a:xfrm>
            <a:off x="4919664" y="3435351"/>
            <a:ext cx="257175" cy="25717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005447" name="Oval 7"/>
          <p:cNvSpPr>
            <a:spLocks noChangeArrowheads="1"/>
          </p:cNvSpPr>
          <p:nvPr/>
        </p:nvSpPr>
        <p:spPr bwMode="gray">
          <a:xfrm>
            <a:off x="4919664" y="3867151"/>
            <a:ext cx="257175" cy="25717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005448" name="Oval 8"/>
          <p:cNvSpPr>
            <a:spLocks noChangeArrowheads="1"/>
          </p:cNvSpPr>
          <p:nvPr/>
        </p:nvSpPr>
        <p:spPr bwMode="gray">
          <a:xfrm>
            <a:off x="4919664" y="2571751"/>
            <a:ext cx="257175" cy="25717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005449" name="Oval 9"/>
          <p:cNvSpPr>
            <a:spLocks noChangeArrowheads="1"/>
          </p:cNvSpPr>
          <p:nvPr/>
        </p:nvSpPr>
        <p:spPr bwMode="gray">
          <a:xfrm>
            <a:off x="4919664" y="3003551"/>
            <a:ext cx="257175" cy="25717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005450" name="Oval 10"/>
          <p:cNvSpPr>
            <a:spLocks noChangeArrowheads="1"/>
          </p:cNvSpPr>
          <p:nvPr/>
        </p:nvSpPr>
        <p:spPr bwMode="gray">
          <a:xfrm>
            <a:off x="4919664" y="1708151"/>
            <a:ext cx="257175" cy="25717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005451" name="Oval 11"/>
          <p:cNvSpPr>
            <a:spLocks noChangeArrowheads="1"/>
          </p:cNvSpPr>
          <p:nvPr/>
        </p:nvSpPr>
        <p:spPr bwMode="gray">
          <a:xfrm>
            <a:off x="4919664" y="2139951"/>
            <a:ext cx="257175" cy="25717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005452" name="Oval 12"/>
          <p:cNvSpPr>
            <a:spLocks noChangeArrowheads="1"/>
          </p:cNvSpPr>
          <p:nvPr/>
        </p:nvSpPr>
        <p:spPr bwMode="gray">
          <a:xfrm>
            <a:off x="4251326" y="5162551"/>
            <a:ext cx="257175" cy="257175"/>
          </a:xfrm>
          <a:prstGeom prst="ellipse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3005453" name="Oval 13"/>
          <p:cNvSpPr>
            <a:spLocks noChangeArrowheads="1"/>
          </p:cNvSpPr>
          <p:nvPr/>
        </p:nvSpPr>
        <p:spPr bwMode="gray">
          <a:xfrm>
            <a:off x="4251326" y="5594351"/>
            <a:ext cx="257175" cy="257175"/>
          </a:xfrm>
          <a:prstGeom prst="ellipse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3005454" name="Oval 14"/>
          <p:cNvSpPr>
            <a:spLocks noChangeArrowheads="1"/>
          </p:cNvSpPr>
          <p:nvPr/>
        </p:nvSpPr>
        <p:spPr bwMode="gray">
          <a:xfrm>
            <a:off x="4251326" y="4298951"/>
            <a:ext cx="257175" cy="257175"/>
          </a:xfrm>
          <a:prstGeom prst="ellipse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005455" name="Oval 15"/>
          <p:cNvSpPr>
            <a:spLocks noChangeArrowheads="1"/>
          </p:cNvSpPr>
          <p:nvPr/>
        </p:nvSpPr>
        <p:spPr bwMode="gray">
          <a:xfrm>
            <a:off x="4251326" y="4730751"/>
            <a:ext cx="257175" cy="257175"/>
          </a:xfrm>
          <a:prstGeom prst="ellipse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3005456" name="Oval 16"/>
          <p:cNvSpPr>
            <a:spLocks noChangeArrowheads="1"/>
          </p:cNvSpPr>
          <p:nvPr/>
        </p:nvSpPr>
        <p:spPr bwMode="gray">
          <a:xfrm>
            <a:off x="4251326" y="3435351"/>
            <a:ext cx="257175" cy="257175"/>
          </a:xfrm>
          <a:prstGeom prst="ellipse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005457" name="Oval 17"/>
          <p:cNvSpPr>
            <a:spLocks noChangeArrowheads="1"/>
          </p:cNvSpPr>
          <p:nvPr/>
        </p:nvSpPr>
        <p:spPr bwMode="gray">
          <a:xfrm>
            <a:off x="4251326" y="3867151"/>
            <a:ext cx="257175" cy="257175"/>
          </a:xfrm>
          <a:prstGeom prst="ellipse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005458" name="Oval 18"/>
          <p:cNvSpPr>
            <a:spLocks noChangeArrowheads="1"/>
          </p:cNvSpPr>
          <p:nvPr/>
        </p:nvSpPr>
        <p:spPr bwMode="gray">
          <a:xfrm>
            <a:off x="4251326" y="2571751"/>
            <a:ext cx="257175" cy="257175"/>
          </a:xfrm>
          <a:prstGeom prst="ellipse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005459" name="Oval 19"/>
          <p:cNvSpPr>
            <a:spLocks noChangeArrowheads="1"/>
          </p:cNvSpPr>
          <p:nvPr/>
        </p:nvSpPr>
        <p:spPr bwMode="gray">
          <a:xfrm>
            <a:off x="4251326" y="3003551"/>
            <a:ext cx="257175" cy="257175"/>
          </a:xfrm>
          <a:prstGeom prst="ellipse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005460" name="Oval 20"/>
          <p:cNvSpPr>
            <a:spLocks noChangeArrowheads="1"/>
          </p:cNvSpPr>
          <p:nvPr/>
        </p:nvSpPr>
        <p:spPr bwMode="gray">
          <a:xfrm>
            <a:off x="4251326" y="1708151"/>
            <a:ext cx="257175" cy="257175"/>
          </a:xfrm>
          <a:prstGeom prst="ellipse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005461" name="Oval 21"/>
          <p:cNvSpPr>
            <a:spLocks noChangeArrowheads="1"/>
          </p:cNvSpPr>
          <p:nvPr/>
        </p:nvSpPr>
        <p:spPr bwMode="gray">
          <a:xfrm>
            <a:off x="4251326" y="2139951"/>
            <a:ext cx="257175" cy="257175"/>
          </a:xfrm>
          <a:prstGeom prst="ellipse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005462" name="Oval 22"/>
          <p:cNvSpPr>
            <a:spLocks noChangeArrowheads="1"/>
          </p:cNvSpPr>
          <p:nvPr/>
        </p:nvSpPr>
        <p:spPr bwMode="gray">
          <a:xfrm>
            <a:off x="3582989" y="5162551"/>
            <a:ext cx="257175" cy="257175"/>
          </a:xfrm>
          <a:prstGeom prst="ellipse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9</a:t>
            </a:r>
          </a:p>
        </p:txBody>
      </p:sp>
      <p:sp>
        <p:nvSpPr>
          <p:cNvPr id="3005463" name="Oval 23"/>
          <p:cNvSpPr>
            <a:spLocks noChangeArrowheads="1"/>
          </p:cNvSpPr>
          <p:nvPr/>
        </p:nvSpPr>
        <p:spPr bwMode="gray">
          <a:xfrm>
            <a:off x="3582989" y="5594351"/>
            <a:ext cx="257175" cy="257175"/>
          </a:xfrm>
          <a:prstGeom prst="ellipse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10</a:t>
            </a:r>
          </a:p>
        </p:txBody>
      </p:sp>
      <p:sp>
        <p:nvSpPr>
          <p:cNvPr id="3005464" name="Oval 24"/>
          <p:cNvSpPr>
            <a:spLocks noChangeArrowheads="1"/>
          </p:cNvSpPr>
          <p:nvPr/>
        </p:nvSpPr>
        <p:spPr bwMode="gray">
          <a:xfrm>
            <a:off x="3582989" y="4298951"/>
            <a:ext cx="257175" cy="257175"/>
          </a:xfrm>
          <a:prstGeom prst="ellipse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7</a:t>
            </a:r>
          </a:p>
        </p:txBody>
      </p:sp>
      <p:sp>
        <p:nvSpPr>
          <p:cNvPr id="3005465" name="Oval 25"/>
          <p:cNvSpPr>
            <a:spLocks noChangeArrowheads="1"/>
          </p:cNvSpPr>
          <p:nvPr/>
        </p:nvSpPr>
        <p:spPr bwMode="gray">
          <a:xfrm>
            <a:off x="3582989" y="4730751"/>
            <a:ext cx="257175" cy="257175"/>
          </a:xfrm>
          <a:prstGeom prst="ellipse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8</a:t>
            </a:r>
          </a:p>
        </p:txBody>
      </p:sp>
      <p:sp>
        <p:nvSpPr>
          <p:cNvPr id="3005466" name="Oval 26"/>
          <p:cNvSpPr>
            <a:spLocks noChangeArrowheads="1"/>
          </p:cNvSpPr>
          <p:nvPr/>
        </p:nvSpPr>
        <p:spPr bwMode="gray">
          <a:xfrm>
            <a:off x="3582989" y="3435351"/>
            <a:ext cx="257175" cy="257175"/>
          </a:xfrm>
          <a:prstGeom prst="ellipse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5</a:t>
            </a:r>
          </a:p>
        </p:txBody>
      </p:sp>
      <p:sp>
        <p:nvSpPr>
          <p:cNvPr id="3005467" name="Oval 27"/>
          <p:cNvSpPr>
            <a:spLocks noChangeArrowheads="1"/>
          </p:cNvSpPr>
          <p:nvPr/>
        </p:nvSpPr>
        <p:spPr bwMode="gray">
          <a:xfrm>
            <a:off x="3582989" y="3867151"/>
            <a:ext cx="257175" cy="257175"/>
          </a:xfrm>
          <a:prstGeom prst="ellipse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6</a:t>
            </a:r>
          </a:p>
        </p:txBody>
      </p:sp>
      <p:sp>
        <p:nvSpPr>
          <p:cNvPr id="3005468" name="Oval 28"/>
          <p:cNvSpPr>
            <a:spLocks noChangeArrowheads="1"/>
          </p:cNvSpPr>
          <p:nvPr/>
        </p:nvSpPr>
        <p:spPr bwMode="gray">
          <a:xfrm>
            <a:off x="3582989" y="2571751"/>
            <a:ext cx="257175" cy="257175"/>
          </a:xfrm>
          <a:prstGeom prst="ellipse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3</a:t>
            </a:r>
          </a:p>
        </p:txBody>
      </p:sp>
      <p:sp>
        <p:nvSpPr>
          <p:cNvPr id="3005469" name="Oval 29"/>
          <p:cNvSpPr>
            <a:spLocks noChangeArrowheads="1"/>
          </p:cNvSpPr>
          <p:nvPr/>
        </p:nvSpPr>
        <p:spPr bwMode="gray">
          <a:xfrm>
            <a:off x="3582989" y="3003551"/>
            <a:ext cx="257175" cy="257175"/>
          </a:xfrm>
          <a:prstGeom prst="ellipse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4</a:t>
            </a:r>
          </a:p>
        </p:txBody>
      </p:sp>
      <p:sp>
        <p:nvSpPr>
          <p:cNvPr id="3005470" name="Oval 30"/>
          <p:cNvSpPr>
            <a:spLocks noChangeArrowheads="1"/>
          </p:cNvSpPr>
          <p:nvPr/>
        </p:nvSpPr>
        <p:spPr bwMode="gray">
          <a:xfrm>
            <a:off x="3582989" y="1708151"/>
            <a:ext cx="257175" cy="257175"/>
          </a:xfrm>
          <a:prstGeom prst="ellipse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1</a:t>
            </a:r>
          </a:p>
        </p:txBody>
      </p:sp>
      <p:sp>
        <p:nvSpPr>
          <p:cNvPr id="3005471" name="Oval 31"/>
          <p:cNvSpPr>
            <a:spLocks noChangeArrowheads="1"/>
          </p:cNvSpPr>
          <p:nvPr/>
        </p:nvSpPr>
        <p:spPr bwMode="gray">
          <a:xfrm>
            <a:off x="3582989" y="2139951"/>
            <a:ext cx="257175" cy="257175"/>
          </a:xfrm>
          <a:prstGeom prst="ellipse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2</a:t>
            </a:r>
          </a:p>
        </p:txBody>
      </p:sp>
      <p:sp>
        <p:nvSpPr>
          <p:cNvPr id="3005472" name="Rectangle 32"/>
          <p:cNvSpPr>
            <a:spLocks noChangeArrowheads="1"/>
          </p:cNvSpPr>
          <p:nvPr/>
        </p:nvSpPr>
        <p:spPr bwMode="gray">
          <a:xfrm>
            <a:off x="9096376" y="5195889"/>
            <a:ext cx="219075" cy="2190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3005473" name="Rectangle 33"/>
          <p:cNvSpPr>
            <a:spLocks noChangeArrowheads="1"/>
          </p:cNvSpPr>
          <p:nvPr/>
        </p:nvSpPr>
        <p:spPr bwMode="gray">
          <a:xfrm>
            <a:off x="9096376" y="5632451"/>
            <a:ext cx="219075" cy="2190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3005474" name="Rectangle 34"/>
          <p:cNvSpPr>
            <a:spLocks noChangeArrowheads="1"/>
          </p:cNvSpPr>
          <p:nvPr/>
        </p:nvSpPr>
        <p:spPr bwMode="gray">
          <a:xfrm>
            <a:off x="9096376" y="4324351"/>
            <a:ext cx="219075" cy="2190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005475" name="Rectangle 35"/>
          <p:cNvSpPr>
            <a:spLocks noChangeArrowheads="1"/>
          </p:cNvSpPr>
          <p:nvPr/>
        </p:nvSpPr>
        <p:spPr bwMode="gray">
          <a:xfrm>
            <a:off x="9096376" y="4759326"/>
            <a:ext cx="219075" cy="2190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3005476" name="Rectangle 36"/>
          <p:cNvSpPr>
            <a:spLocks noChangeArrowheads="1"/>
          </p:cNvSpPr>
          <p:nvPr/>
        </p:nvSpPr>
        <p:spPr bwMode="gray">
          <a:xfrm>
            <a:off x="9096376" y="3451226"/>
            <a:ext cx="219075" cy="2190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005477" name="Rectangle 37"/>
          <p:cNvSpPr>
            <a:spLocks noChangeArrowheads="1"/>
          </p:cNvSpPr>
          <p:nvPr/>
        </p:nvSpPr>
        <p:spPr bwMode="gray">
          <a:xfrm>
            <a:off x="9096376" y="3887789"/>
            <a:ext cx="219075" cy="2190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005478" name="Rectangle 38"/>
          <p:cNvSpPr>
            <a:spLocks noChangeArrowheads="1"/>
          </p:cNvSpPr>
          <p:nvPr/>
        </p:nvSpPr>
        <p:spPr bwMode="gray">
          <a:xfrm>
            <a:off x="9096376" y="2579689"/>
            <a:ext cx="219075" cy="2190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005479" name="Rectangle 39"/>
          <p:cNvSpPr>
            <a:spLocks noChangeArrowheads="1"/>
          </p:cNvSpPr>
          <p:nvPr/>
        </p:nvSpPr>
        <p:spPr bwMode="gray">
          <a:xfrm>
            <a:off x="9096376" y="3016251"/>
            <a:ext cx="219075" cy="2190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005480" name="Rectangle 40"/>
          <p:cNvSpPr>
            <a:spLocks noChangeArrowheads="1"/>
          </p:cNvSpPr>
          <p:nvPr/>
        </p:nvSpPr>
        <p:spPr bwMode="gray">
          <a:xfrm>
            <a:off x="9096376" y="1708151"/>
            <a:ext cx="219075" cy="2190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005481" name="Rectangle 41"/>
          <p:cNvSpPr>
            <a:spLocks noChangeArrowheads="1"/>
          </p:cNvSpPr>
          <p:nvPr/>
        </p:nvSpPr>
        <p:spPr bwMode="gray">
          <a:xfrm>
            <a:off x="9096376" y="2143126"/>
            <a:ext cx="219075" cy="21907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005482" name="Rectangle 42"/>
          <p:cNvSpPr>
            <a:spLocks noChangeArrowheads="1"/>
          </p:cNvSpPr>
          <p:nvPr/>
        </p:nvSpPr>
        <p:spPr bwMode="gray">
          <a:xfrm>
            <a:off x="8428039" y="5195889"/>
            <a:ext cx="219075" cy="219075"/>
          </a:xfrm>
          <a:prstGeom prst="rect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3005483" name="Rectangle 43"/>
          <p:cNvSpPr>
            <a:spLocks noChangeArrowheads="1"/>
          </p:cNvSpPr>
          <p:nvPr/>
        </p:nvSpPr>
        <p:spPr bwMode="gray">
          <a:xfrm>
            <a:off x="8428039" y="5632451"/>
            <a:ext cx="219075" cy="219075"/>
          </a:xfrm>
          <a:prstGeom prst="rect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3005484" name="Rectangle 44"/>
          <p:cNvSpPr>
            <a:spLocks noChangeArrowheads="1"/>
          </p:cNvSpPr>
          <p:nvPr/>
        </p:nvSpPr>
        <p:spPr bwMode="gray">
          <a:xfrm>
            <a:off x="8428039" y="4324351"/>
            <a:ext cx="219075" cy="219075"/>
          </a:xfrm>
          <a:prstGeom prst="rect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005485" name="Rectangle 45"/>
          <p:cNvSpPr>
            <a:spLocks noChangeArrowheads="1"/>
          </p:cNvSpPr>
          <p:nvPr/>
        </p:nvSpPr>
        <p:spPr bwMode="gray">
          <a:xfrm>
            <a:off x="8428039" y="4759326"/>
            <a:ext cx="219075" cy="219075"/>
          </a:xfrm>
          <a:prstGeom prst="rect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3005486" name="Rectangle 46"/>
          <p:cNvSpPr>
            <a:spLocks noChangeArrowheads="1"/>
          </p:cNvSpPr>
          <p:nvPr/>
        </p:nvSpPr>
        <p:spPr bwMode="gray">
          <a:xfrm>
            <a:off x="8428039" y="3451226"/>
            <a:ext cx="219075" cy="219075"/>
          </a:xfrm>
          <a:prstGeom prst="rect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005487" name="Rectangle 47"/>
          <p:cNvSpPr>
            <a:spLocks noChangeArrowheads="1"/>
          </p:cNvSpPr>
          <p:nvPr/>
        </p:nvSpPr>
        <p:spPr bwMode="gray">
          <a:xfrm>
            <a:off x="8428039" y="3887789"/>
            <a:ext cx="219075" cy="219075"/>
          </a:xfrm>
          <a:prstGeom prst="rect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005488" name="Rectangle 48"/>
          <p:cNvSpPr>
            <a:spLocks noChangeArrowheads="1"/>
          </p:cNvSpPr>
          <p:nvPr/>
        </p:nvSpPr>
        <p:spPr bwMode="gray">
          <a:xfrm>
            <a:off x="8428039" y="2579689"/>
            <a:ext cx="219075" cy="219075"/>
          </a:xfrm>
          <a:prstGeom prst="rect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005489" name="Rectangle 49"/>
          <p:cNvSpPr>
            <a:spLocks noChangeArrowheads="1"/>
          </p:cNvSpPr>
          <p:nvPr/>
        </p:nvSpPr>
        <p:spPr bwMode="gray">
          <a:xfrm>
            <a:off x="8428039" y="3016251"/>
            <a:ext cx="219075" cy="219075"/>
          </a:xfrm>
          <a:prstGeom prst="rect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005490" name="Rectangle 50"/>
          <p:cNvSpPr>
            <a:spLocks noChangeArrowheads="1"/>
          </p:cNvSpPr>
          <p:nvPr/>
        </p:nvSpPr>
        <p:spPr bwMode="gray">
          <a:xfrm>
            <a:off x="8428039" y="1708151"/>
            <a:ext cx="219075" cy="219075"/>
          </a:xfrm>
          <a:prstGeom prst="rect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005491" name="Rectangle 51"/>
          <p:cNvSpPr>
            <a:spLocks noChangeArrowheads="1"/>
          </p:cNvSpPr>
          <p:nvPr/>
        </p:nvSpPr>
        <p:spPr bwMode="gray">
          <a:xfrm>
            <a:off x="8428039" y="2143126"/>
            <a:ext cx="219075" cy="219075"/>
          </a:xfrm>
          <a:prstGeom prst="rect">
            <a:avLst/>
          </a:prstGeom>
          <a:solidFill>
            <a:srgbClr val="5F5F5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005492" name="Rectangle 52"/>
          <p:cNvSpPr>
            <a:spLocks noChangeArrowheads="1"/>
          </p:cNvSpPr>
          <p:nvPr/>
        </p:nvSpPr>
        <p:spPr bwMode="gray">
          <a:xfrm>
            <a:off x="7759701" y="5195889"/>
            <a:ext cx="219075" cy="219075"/>
          </a:xfrm>
          <a:prstGeom prst="rect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9</a:t>
            </a:r>
          </a:p>
        </p:txBody>
      </p:sp>
      <p:sp>
        <p:nvSpPr>
          <p:cNvPr id="3005493" name="Rectangle 53"/>
          <p:cNvSpPr>
            <a:spLocks noChangeArrowheads="1"/>
          </p:cNvSpPr>
          <p:nvPr/>
        </p:nvSpPr>
        <p:spPr bwMode="gray">
          <a:xfrm>
            <a:off x="7759701" y="5632451"/>
            <a:ext cx="219075" cy="219075"/>
          </a:xfrm>
          <a:prstGeom prst="rect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10</a:t>
            </a:r>
          </a:p>
        </p:txBody>
      </p:sp>
      <p:sp>
        <p:nvSpPr>
          <p:cNvPr id="3005494" name="Rectangle 54"/>
          <p:cNvSpPr>
            <a:spLocks noChangeArrowheads="1"/>
          </p:cNvSpPr>
          <p:nvPr/>
        </p:nvSpPr>
        <p:spPr bwMode="gray">
          <a:xfrm>
            <a:off x="7759701" y="4324351"/>
            <a:ext cx="219075" cy="219075"/>
          </a:xfrm>
          <a:prstGeom prst="rect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7</a:t>
            </a:r>
          </a:p>
        </p:txBody>
      </p:sp>
      <p:sp>
        <p:nvSpPr>
          <p:cNvPr id="3005495" name="Rectangle 55"/>
          <p:cNvSpPr>
            <a:spLocks noChangeArrowheads="1"/>
          </p:cNvSpPr>
          <p:nvPr/>
        </p:nvSpPr>
        <p:spPr bwMode="gray">
          <a:xfrm>
            <a:off x="7759701" y="4759326"/>
            <a:ext cx="219075" cy="219075"/>
          </a:xfrm>
          <a:prstGeom prst="rect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8</a:t>
            </a:r>
          </a:p>
        </p:txBody>
      </p:sp>
      <p:sp>
        <p:nvSpPr>
          <p:cNvPr id="3005496" name="Rectangle 56"/>
          <p:cNvSpPr>
            <a:spLocks noChangeArrowheads="1"/>
          </p:cNvSpPr>
          <p:nvPr/>
        </p:nvSpPr>
        <p:spPr bwMode="gray">
          <a:xfrm>
            <a:off x="7759701" y="3451226"/>
            <a:ext cx="219075" cy="219075"/>
          </a:xfrm>
          <a:prstGeom prst="rect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5</a:t>
            </a:r>
          </a:p>
        </p:txBody>
      </p:sp>
      <p:sp>
        <p:nvSpPr>
          <p:cNvPr id="3005497" name="Rectangle 57"/>
          <p:cNvSpPr>
            <a:spLocks noChangeArrowheads="1"/>
          </p:cNvSpPr>
          <p:nvPr/>
        </p:nvSpPr>
        <p:spPr bwMode="gray">
          <a:xfrm>
            <a:off x="7759701" y="3887789"/>
            <a:ext cx="219075" cy="219075"/>
          </a:xfrm>
          <a:prstGeom prst="rect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6</a:t>
            </a:r>
          </a:p>
        </p:txBody>
      </p:sp>
      <p:sp>
        <p:nvSpPr>
          <p:cNvPr id="3005498" name="Rectangle 58"/>
          <p:cNvSpPr>
            <a:spLocks noChangeArrowheads="1"/>
          </p:cNvSpPr>
          <p:nvPr/>
        </p:nvSpPr>
        <p:spPr bwMode="gray">
          <a:xfrm>
            <a:off x="7759701" y="2579689"/>
            <a:ext cx="219075" cy="219075"/>
          </a:xfrm>
          <a:prstGeom prst="rect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3</a:t>
            </a:r>
          </a:p>
        </p:txBody>
      </p:sp>
      <p:sp>
        <p:nvSpPr>
          <p:cNvPr id="3005499" name="Rectangle 59"/>
          <p:cNvSpPr>
            <a:spLocks noChangeArrowheads="1"/>
          </p:cNvSpPr>
          <p:nvPr/>
        </p:nvSpPr>
        <p:spPr bwMode="gray">
          <a:xfrm>
            <a:off x="7759701" y="3016251"/>
            <a:ext cx="219075" cy="219075"/>
          </a:xfrm>
          <a:prstGeom prst="rect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4</a:t>
            </a:r>
          </a:p>
        </p:txBody>
      </p:sp>
      <p:sp>
        <p:nvSpPr>
          <p:cNvPr id="3005500" name="Rectangle 60"/>
          <p:cNvSpPr>
            <a:spLocks noChangeArrowheads="1"/>
          </p:cNvSpPr>
          <p:nvPr/>
        </p:nvSpPr>
        <p:spPr bwMode="gray">
          <a:xfrm>
            <a:off x="7759701" y="1708151"/>
            <a:ext cx="219075" cy="219075"/>
          </a:xfrm>
          <a:prstGeom prst="rect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1</a:t>
            </a:r>
          </a:p>
        </p:txBody>
      </p:sp>
      <p:sp>
        <p:nvSpPr>
          <p:cNvPr id="3005501" name="Rectangle 61"/>
          <p:cNvSpPr>
            <a:spLocks noChangeArrowheads="1"/>
          </p:cNvSpPr>
          <p:nvPr/>
        </p:nvSpPr>
        <p:spPr bwMode="gray">
          <a:xfrm>
            <a:off x="7759701" y="2143126"/>
            <a:ext cx="219075" cy="219075"/>
          </a:xfrm>
          <a:prstGeom prst="rect">
            <a:avLst/>
          </a:prstGeom>
          <a:solidFill>
            <a:srgbClr val="FF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3600" bIns="3600" anchor="ctr" anchorCtr="1"/>
          <a:lstStyle/>
          <a:p>
            <a:pPr>
              <a:spcAft>
                <a:spcPct val="0"/>
              </a:spcAft>
            </a:pPr>
            <a:r>
              <a:rPr lang="en-US" sz="1200" b="1"/>
              <a:t>2</a:t>
            </a:r>
          </a:p>
        </p:txBody>
      </p:sp>
      <p:sp>
        <p:nvSpPr>
          <p:cNvPr id="3005502" name="Rectangle 6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ings and Numbering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77747"/>
      </p:ext>
    </p:extLst>
  </p:cSld>
  <p:clrMapOvr>
    <a:masterClrMapping/>
  </p:clrMapOvr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3394" name="Text Box 2"/>
          <p:cNvSpPr txBox="1">
            <a:spLocks noChangeArrowheads="1"/>
          </p:cNvSpPr>
          <p:nvPr/>
        </p:nvSpPr>
        <p:spPr bwMode="gray">
          <a:xfrm>
            <a:off x="5251450" y="1417638"/>
            <a:ext cx="4811712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algn="l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571500" algn="l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algn="l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714500" algn="l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286000" algn="l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743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3200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657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4114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buSzTx/>
            </a:pPr>
            <a:r>
              <a:rPr lang="en-US" sz="1800" b="1">
                <a:latin typeface="Baskerville" charset="0"/>
                <a:ea typeface="Baskerville" charset="0"/>
                <a:cs typeface="Baskerville" charset="0"/>
              </a:rPr>
              <a:t>STATUS-BUBBLES</a:t>
            </a:r>
            <a:endParaRPr lang="en-US" sz="1800">
              <a:latin typeface="Baskerville" charset="0"/>
              <a:ea typeface="Baskerville" charset="0"/>
              <a:cs typeface="Baskerville" charset="0"/>
            </a:endParaRPr>
          </a:p>
        </p:txBody>
      </p:sp>
      <p:grpSp>
        <p:nvGrpSpPr>
          <p:cNvPr id="3003454" name="Group 62"/>
          <p:cNvGrpSpPr>
            <a:grpSpLocks/>
          </p:cNvGrpSpPr>
          <p:nvPr/>
        </p:nvGrpSpPr>
        <p:grpSpPr bwMode="auto">
          <a:xfrm>
            <a:off x="4625975" y="1816100"/>
            <a:ext cx="2921000" cy="4160838"/>
            <a:chOff x="1954" y="1144"/>
            <a:chExt cx="1840" cy="2621"/>
          </a:xfrm>
        </p:grpSpPr>
        <p:sp>
          <p:nvSpPr>
            <p:cNvPr id="3003396" name="Text Box 4"/>
            <p:cNvSpPr txBox="1">
              <a:spLocks noChangeArrowheads="1"/>
            </p:cNvSpPr>
            <p:nvPr/>
          </p:nvSpPr>
          <p:spPr bwMode="gray">
            <a:xfrm>
              <a:off x="2414" y="1195"/>
              <a:ext cx="91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71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714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286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buSzTx/>
              </a:pPr>
              <a:r>
                <a:rPr lang="en-US" sz="1800">
                  <a:latin typeface="Baskerville" charset="0"/>
                  <a:ea typeface="Baskerville" charset="0"/>
                  <a:cs typeface="Baskerville" charset="0"/>
                </a:rPr>
                <a:t>Status of evidence</a:t>
              </a:r>
            </a:p>
          </p:txBody>
        </p:sp>
        <p:sp>
          <p:nvSpPr>
            <p:cNvPr id="3003397" name="Rectangle 5"/>
            <p:cNvSpPr>
              <a:spLocks noChangeArrowheads="1"/>
            </p:cNvSpPr>
            <p:nvPr/>
          </p:nvSpPr>
          <p:spPr bwMode="gray">
            <a:xfrm>
              <a:off x="1954" y="1369"/>
              <a:ext cx="1840" cy="2396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de-DE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3398" name="Rectangle 6"/>
            <p:cNvSpPr>
              <a:spLocks noChangeArrowheads="1"/>
            </p:cNvSpPr>
            <p:nvPr/>
          </p:nvSpPr>
          <p:spPr bwMode="gray">
            <a:xfrm>
              <a:off x="1954" y="1144"/>
              <a:ext cx="1839" cy="22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de-DE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3406" name="Rectangle 14"/>
            <p:cNvSpPr>
              <a:spLocks noChangeAspect="1" noChangeArrowheads="1"/>
            </p:cNvSpPr>
            <p:nvPr/>
          </p:nvSpPr>
          <p:spPr bwMode="gray">
            <a:xfrm>
              <a:off x="2084" y="1420"/>
              <a:ext cx="264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spcAft>
                  <a:spcPct val="0"/>
                </a:spcAft>
              </a:pPr>
              <a:r>
                <a:rPr lang="en-US" sz="1050" b="1">
                  <a:latin typeface="Baskerville" charset="0"/>
                  <a:ea typeface="Baskerville" charset="0"/>
                  <a:cs typeface="Baskerville" charset="0"/>
                </a:rPr>
                <a:t>0,45 cm</a:t>
              </a:r>
            </a:p>
          </p:txBody>
        </p:sp>
        <p:sp>
          <p:nvSpPr>
            <p:cNvPr id="3003414" name="Rectangle 22"/>
            <p:cNvSpPr>
              <a:spLocks noChangeAspect="1" noChangeArrowheads="1"/>
            </p:cNvSpPr>
            <p:nvPr/>
          </p:nvSpPr>
          <p:spPr bwMode="gray">
            <a:xfrm>
              <a:off x="2514" y="1420"/>
              <a:ext cx="224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spcAft>
                  <a:spcPct val="0"/>
                </a:spcAft>
              </a:pPr>
              <a:r>
                <a:rPr lang="en-US" sz="1050" b="1">
                  <a:latin typeface="Baskerville" charset="0"/>
                  <a:ea typeface="Baskerville" charset="0"/>
                  <a:cs typeface="Baskerville" charset="0"/>
                </a:rPr>
                <a:t>0,5 cm</a:t>
              </a:r>
            </a:p>
          </p:txBody>
        </p:sp>
        <p:sp>
          <p:nvSpPr>
            <p:cNvPr id="3003422" name="Rectangle 30"/>
            <p:cNvSpPr>
              <a:spLocks noChangeAspect="1" noChangeArrowheads="1"/>
            </p:cNvSpPr>
            <p:nvPr/>
          </p:nvSpPr>
          <p:spPr bwMode="gray">
            <a:xfrm>
              <a:off x="2935" y="1420"/>
              <a:ext cx="224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spcAft>
                  <a:spcPct val="0"/>
                </a:spcAft>
              </a:pPr>
              <a:r>
                <a:rPr lang="en-US" sz="1050" b="1">
                  <a:latin typeface="Baskerville" charset="0"/>
                  <a:ea typeface="Baskerville" charset="0"/>
                  <a:cs typeface="Baskerville" charset="0"/>
                </a:rPr>
                <a:t>0,6 cm</a:t>
              </a:r>
            </a:p>
          </p:txBody>
        </p:sp>
        <p:sp>
          <p:nvSpPr>
            <p:cNvPr id="3003430" name="Rectangle 38"/>
            <p:cNvSpPr>
              <a:spLocks noChangeAspect="1" noChangeArrowheads="1"/>
            </p:cNvSpPr>
            <p:nvPr/>
          </p:nvSpPr>
          <p:spPr bwMode="gray">
            <a:xfrm>
              <a:off x="3374" y="1420"/>
              <a:ext cx="224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spcAft>
                  <a:spcPct val="0"/>
                </a:spcAft>
              </a:pPr>
              <a:r>
                <a:rPr lang="en-US" sz="1050" b="1">
                  <a:latin typeface="Baskerville" charset="0"/>
                  <a:ea typeface="Baskerville" charset="0"/>
                  <a:cs typeface="Baskerville" charset="0"/>
                </a:rPr>
                <a:t>0,7 cm</a:t>
              </a:r>
            </a:p>
          </p:txBody>
        </p:sp>
      </p:grpSp>
      <p:sp>
        <p:nvSpPr>
          <p:cNvPr id="3003443" name="Rectangle 5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ols </a:t>
            </a:r>
          </a:p>
        </p:txBody>
      </p:sp>
      <p:grpSp>
        <p:nvGrpSpPr>
          <p:cNvPr id="3003450" name="Group 58"/>
          <p:cNvGrpSpPr>
            <a:grpSpLocks/>
          </p:cNvGrpSpPr>
          <p:nvPr/>
        </p:nvGrpSpPr>
        <p:grpSpPr bwMode="auto">
          <a:xfrm>
            <a:off x="4960939" y="2671763"/>
            <a:ext cx="161925" cy="2857500"/>
            <a:chOff x="2165" y="1683"/>
            <a:chExt cx="102" cy="1800"/>
          </a:xfrm>
        </p:grpSpPr>
        <p:sp>
          <p:nvSpPr>
            <p:cNvPr id="3003399" name="Oval 7"/>
            <p:cNvSpPr>
              <a:spLocks noChangeAspect="1" noChangeArrowheads="1"/>
            </p:cNvSpPr>
            <p:nvPr/>
          </p:nvSpPr>
          <p:spPr bwMode="gray">
            <a:xfrm>
              <a:off x="2165" y="3381"/>
              <a:ext cx="102" cy="10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de-DE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3003400" name="Group 8"/>
            <p:cNvGrpSpPr>
              <a:grpSpLocks noChangeAspect="1"/>
            </p:cNvGrpSpPr>
            <p:nvPr/>
          </p:nvGrpSpPr>
          <p:grpSpPr bwMode="auto">
            <a:xfrm>
              <a:off x="2165" y="1683"/>
              <a:ext cx="102" cy="102"/>
              <a:chOff x="96" y="912"/>
              <a:chExt cx="2688" cy="2688"/>
            </a:xfrm>
          </p:grpSpPr>
          <p:sp>
            <p:nvSpPr>
              <p:cNvPr id="3003401" name="Oval 9"/>
              <p:cNvSpPr>
                <a:spLocks noChangeAspect="1" noChangeArrowheads="1"/>
              </p:cNvSpPr>
              <p:nvPr/>
            </p:nvSpPr>
            <p:spPr bwMode="gray">
              <a:xfrm>
                <a:off x="96" y="912"/>
                <a:ext cx="2688" cy="268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03402" name="Arc 10"/>
              <p:cNvSpPr>
                <a:spLocks noChangeAspect="1"/>
              </p:cNvSpPr>
              <p:nvPr/>
            </p:nvSpPr>
            <p:spPr bwMode="gray">
              <a:xfrm>
                <a:off x="1440" y="912"/>
                <a:ext cx="1344" cy="1344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pSp>
          <p:nvGrpSpPr>
            <p:cNvPr id="3003403" name="Group 11"/>
            <p:cNvGrpSpPr>
              <a:grpSpLocks noChangeAspect="1"/>
            </p:cNvGrpSpPr>
            <p:nvPr/>
          </p:nvGrpSpPr>
          <p:grpSpPr bwMode="auto">
            <a:xfrm>
              <a:off x="2165" y="2234"/>
              <a:ext cx="102" cy="102"/>
              <a:chOff x="1677" y="2027"/>
              <a:chExt cx="102" cy="102"/>
            </a:xfrm>
          </p:grpSpPr>
          <p:sp>
            <p:nvSpPr>
              <p:cNvPr id="3003404" name="Oval 12"/>
              <p:cNvSpPr>
                <a:spLocks noChangeAspect="1" noChangeArrowheads="1"/>
              </p:cNvSpPr>
              <p:nvPr/>
            </p:nvSpPr>
            <p:spPr bwMode="gray">
              <a:xfrm>
                <a:off x="1677" y="2027"/>
                <a:ext cx="102" cy="10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03405" name="Arc 13"/>
              <p:cNvSpPr>
                <a:spLocks noChangeAspect="1"/>
              </p:cNvSpPr>
              <p:nvPr/>
            </p:nvSpPr>
            <p:spPr bwMode="gray">
              <a:xfrm>
                <a:off x="1728" y="2027"/>
                <a:ext cx="51" cy="102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200"/>
                  <a:gd name="T2" fmla="*/ 32 w 21600"/>
                  <a:gd name="T3" fmla="*/ 43200 h 43200"/>
                  <a:gd name="T4" fmla="*/ 0 w 216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16"/>
                      <a:pt x="11948" y="43182"/>
                      <a:pt x="31" y="43199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16"/>
                      <a:pt x="11948" y="43182"/>
                      <a:pt x="31" y="43199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pSp>
          <p:nvGrpSpPr>
            <p:cNvPr id="3003431" name="Group 39"/>
            <p:cNvGrpSpPr>
              <a:grpSpLocks noChangeAspect="1"/>
            </p:cNvGrpSpPr>
            <p:nvPr/>
          </p:nvGrpSpPr>
          <p:grpSpPr bwMode="auto">
            <a:xfrm>
              <a:off x="2165" y="2814"/>
              <a:ext cx="102" cy="102"/>
              <a:chOff x="1677" y="2646"/>
              <a:chExt cx="102" cy="102"/>
            </a:xfrm>
          </p:grpSpPr>
          <p:sp>
            <p:nvSpPr>
              <p:cNvPr id="3003432" name="Oval 40"/>
              <p:cNvSpPr>
                <a:spLocks noChangeAspect="1" noChangeArrowheads="1"/>
              </p:cNvSpPr>
              <p:nvPr/>
            </p:nvSpPr>
            <p:spPr bwMode="gray">
              <a:xfrm>
                <a:off x="1677" y="2646"/>
                <a:ext cx="102" cy="10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03433" name="Arc 41"/>
              <p:cNvSpPr>
                <a:spLocks noChangeAspect="1"/>
              </p:cNvSpPr>
              <p:nvPr/>
            </p:nvSpPr>
            <p:spPr bwMode="gray">
              <a:xfrm>
                <a:off x="1677" y="2646"/>
                <a:ext cx="102" cy="102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0 w 43200"/>
                  <a:gd name="T3" fmla="*/ 21584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cubicBezTo>
                      <a:pt x="-1" y="21594"/>
                      <a:pt x="0" y="21589"/>
                      <a:pt x="0" y="21584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cubicBezTo>
                      <a:pt x="-1" y="21594"/>
                      <a:pt x="0" y="21589"/>
                      <a:pt x="0" y="21584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</p:grpSp>
      <p:grpSp>
        <p:nvGrpSpPr>
          <p:cNvPr id="3003451" name="Group 59"/>
          <p:cNvGrpSpPr>
            <a:grpSpLocks/>
          </p:cNvGrpSpPr>
          <p:nvPr/>
        </p:nvGrpSpPr>
        <p:grpSpPr bwMode="auto">
          <a:xfrm>
            <a:off x="5603875" y="2662238"/>
            <a:ext cx="179388" cy="2874962"/>
            <a:chOff x="2570" y="1677"/>
            <a:chExt cx="113" cy="1811"/>
          </a:xfrm>
        </p:grpSpPr>
        <p:sp>
          <p:nvSpPr>
            <p:cNvPr id="3003407" name="Oval 15"/>
            <p:cNvSpPr>
              <a:spLocks noChangeAspect="1" noChangeArrowheads="1"/>
            </p:cNvSpPr>
            <p:nvPr/>
          </p:nvSpPr>
          <p:spPr bwMode="gray">
            <a:xfrm>
              <a:off x="2570" y="3375"/>
              <a:ext cx="113" cy="11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de-DE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3003408" name="Group 16"/>
            <p:cNvGrpSpPr>
              <a:grpSpLocks noChangeAspect="1"/>
            </p:cNvGrpSpPr>
            <p:nvPr/>
          </p:nvGrpSpPr>
          <p:grpSpPr bwMode="auto">
            <a:xfrm>
              <a:off x="2570" y="1677"/>
              <a:ext cx="113" cy="113"/>
              <a:chOff x="96" y="912"/>
              <a:chExt cx="2688" cy="2688"/>
            </a:xfrm>
          </p:grpSpPr>
          <p:sp>
            <p:nvSpPr>
              <p:cNvPr id="3003409" name="Oval 17"/>
              <p:cNvSpPr>
                <a:spLocks noChangeAspect="1" noChangeArrowheads="1"/>
              </p:cNvSpPr>
              <p:nvPr/>
            </p:nvSpPr>
            <p:spPr bwMode="gray">
              <a:xfrm>
                <a:off x="96" y="912"/>
                <a:ext cx="2688" cy="2688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03410" name="Arc 18"/>
              <p:cNvSpPr>
                <a:spLocks noChangeAspect="1"/>
              </p:cNvSpPr>
              <p:nvPr/>
            </p:nvSpPr>
            <p:spPr bwMode="gray">
              <a:xfrm>
                <a:off x="1440" y="912"/>
                <a:ext cx="1344" cy="1344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pSp>
          <p:nvGrpSpPr>
            <p:cNvPr id="3003411" name="Group 19"/>
            <p:cNvGrpSpPr>
              <a:grpSpLocks noChangeAspect="1"/>
            </p:cNvGrpSpPr>
            <p:nvPr/>
          </p:nvGrpSpPr>
          <p:grpSpPr bwMode="auto">
            <a:xfrm>
              <a:off x="2570" y="2228"/>
              <a:ext cx="113" cy="113"/>
              <a:chOff x="2241" y="2021"/>
              <a:chExt cx="113" cy="113"/>
            </a:xfrm>
          </p:grpSpPr>
          <p:sp>
            <p:nvSpPr>
              <p:cNvPr id="3003412" name="Oval 20"/>
              <p:cNvSpPr>
                <a:spLocks noChangeAspect="1" noChangeArrowheads="1"/>
              </p:cNvSpPr>
              <p:nvPr/>
            </p:nvSpPr>
            <p:spPr bwMode="gray">
              <a:xfrm>
                <a:off x="2241" y="2021"/>
                <a:ext cx="113" cy="113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03413" name="Arc 21"/>
              <p:cNvSpPr>
                <a:spLocks noChangeAspect="1"/>
              </p:cNvSpPr>
              <p:nvPr/>
            </p:nvSpPr>
            <p:spPr bwMode="gray">
              <a:xfrm>
                <a:off x="2298" y="2021"/>
                <a:ext cx="56" cy="113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200"/>
                  <a:gd name="T2" fmla="*/ 32 w 21600"/>
                  <a:gd name="T3" fmla="*/ 43200 h 43200"/>
                  <a:gd name="T4" fmla="*/ 0 w 216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16"/>
                      <a:pt x="11948" y="43182"/>
                      <a:pt x="31" y="43199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16"/>
                      <a:pt x="11948" y="43182"/>
                      <a:pt x="31" y="43199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pSp>
          <p:nvGrpSpPr>
            <p:cNvPr id="3003434" name="Group 42"/>
            <p:cNvGrpSpPr>
              <a:grpSpLocks noChangeAspect="1"/>
            </p:cNvGrpSpPr>
            <p:nvPr/>
          </p:nvGrpSpPr>
          <p:grpSpPr bwMode="auto">
            <a:xfrm>
              <a:off x="2570" y="2808"/>
              <a:ext cx="113" cy="113"/>
              <a:chOff x="2241" y="2640"/>
              <a:chExt cx="113" cy="113"/>
            </a:xfrm>
          </p:grpSpPr>
          <p:sp>
            <p:nvSpPr>
              <p:cNvPr id="3003435" name="Oval 43"/>
              <p:cNvSpPr>
                <a:spLocks noChangeAspect="1" noChangeArrowheads="1"/>
              </p:cNvSpPr>
              <p:nvPr/>
            </p:nvSpPr>
            <p:spPr bwMode="gray">
              <a:xfrm>
                <a:off x="2241" y="2640"/>
                <a:ext cx="113" cy="113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03436" name="Arc 44"/>
              <p:cNvSpPr>
                <a:spLocks noChangeAspect="1"/>
              </p:cNvSpPr>
              <p:nvPr/>
            </p:nvSpPr>
            <p:spPr bwMode="gray">
              <a:xfrm>
                <a:off x="2241" y="2640"/>
                <a:ext cx="113" cy="113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0 w 43200"/>
                  <a:gd name="T3" fmla="*/ 21584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cubicBezTo>
                      <a:pt x="-1" y="21594"/>
                      <a:pt x="0" y="21589"/>
                      <a:pt x="0" y="21584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cubicBezTo>
                      <a:pt x="-1" y="21594"/>
                      <a:pt x="0" y="21589"/>
                      <a:pt x="0" y="21584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</p:grpSp>
      <p:grpSp>
        <p:nvGrpSpPr>
          <p:cNvPr id="3003452" name="Group 60"/>
          <p:cNvGrpSpPr>
            <a:grpSpLocks/>
          </p:cNvGrpSpPr>
          <p:nvPr/>
        </p:nvGrpSpPr>
        <p:grpSpPr bwMode="auto">
          <a:xfrm>
            <a:off x="6253163" y="2644775"/>
            <a:ext cx="215900" cy="2909888"/>
            <a:chOff x="2979" y="1666"/>
            <a:chExt cx="136" cy="1833"/>
          </a:xfrm>
        </p:grpSpPr>
        <p:sp>
          <p:nvSpPr>
            <p:cNvPr id="3003415" name="Oval 23"/>
            <p:cNvSpPr>
              <a:spLocks noChangeAspect="1" noChangeArrowheads="1"/>
            </p:cNvSpPr>
            <p:nvPr/>
          </p:nvSpPr>
          <p:spPr bwMode="gray">
            <a:xfrm>
              <a:off x="2979" y="3364"/>
              <a:ext cx="136" cy="13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de-DE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3003416" name="Group 24"/>
            <p:cNvGrpSpPr>
              <a:grpSpLocks noChangeAspect="1"/>
            </p:cNvGrpSpPr>
            <p:nvPr/>
          </p:nvGrpSpPr>
          <p:grpSpPr bwMode="auto">
            <a:xfrm>
              <a:off x="2979" y="1666"/>
              <a:ext cx="136" cy="135"/>
              <a:chOff x="96" y="912"/>
              <a:chExt cx="2688" cy="2688"/>
            </a:xfrm>
          </p:grpSpPr>
          <p:sp>
            <p:nvSpPr>
              <p:cNvPr id="3003417" name="Oval 25"/>
              <p:cNvSpPr>
                <a:spLocks noChangeAspect="1" noChangeArrowheads="1"/>
              </p:cNvSpPr>
              <p:nvPr/>
            </p:nvSpPr>
            <p:spPr bwMode="gray">
              <a:xfrm>
                <a:off x="96" y="912"/>
                <a:ext cx="2688" cy="2688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03418" name="Arc 26"/>
              <p:cNvSpPr>
                <a:spLocks noChangeAspect="1"/>
              </p:cNvSpPr>
              <p:nvPr/>
            </p:nvSpPr>
            <p:spPr bwMode="gray">
              <a:xfrm>
                <a:off x="1440" y="912"/>
                <a:ext cx="1344" cy="1344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pSp>
          <p:nvGrpSpPr>
            <p:cNvPr id="3003419" name="Group 27"/>
            <p:cNvGrpSpPr>
              <a:grpSpLocks noChangeAspect="1"/>
            </p:cNvGrpSpPr>
            <p:nvPr/>
          </p:nvGrpSpPr>
          <p:grpSpPr bwMode="auto">
            <a:xfrm>
              <a:off x="2979" y="2217"/>
              <a:ext cx="136" cy="135"/>
              <a:chOff x="2709" y="2009"/>
              <a:chExt cx="136" cy="136"/>
            </a:xfrm>
          </p:grpSpPr>
          <p:sp>
            <p:nvSpPr>
              <p:cNvPr id="3003420" name="Oval 28"/>
              <p:cNvSpPr>
                <a:spLocks noChangeAspect="1" noChangeArrowheads="1"/>
              </p:cNvSpPr>
              <p:nvPr/>
            </p:nvSpPr>
            <p:spPr bwMode="gray">
              <a:xfrm>
                <a:off x="2709" y="2009"/>
                <a:ext cx="136" cy="1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03421" name="Arc 29"/>
              <p:cNvSpPr>
                <a:spLocks noChangeAspect="1"/>
              </p:cNvSpPr>
              <p:nvPr/>
            </p:nvSpPr>
            <p:spPr bwMode="gray">
              <a:xfrm>
                <a:off x="2777" y="2009"/>
                <a:ext cx="68" cy="136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200"/>
                  <a:gd name="T2" fmla="*/ 32 w 21600"/>
                  <a:gd name="T3" fmla="*/ 43200 h 43200"/>
                  <a:gd name="T4" fmla="*/ 0 w 216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16"/>
                      <a:pt x="11948" y="43182"/>
                      <a:pt x="31" y="43199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16"/>
                      <a:pt x="11948" y="43182"/>
                      <a:pt x="31" y="43199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pSp>
          <p:nvGrpSpPr>
            <p:cNvPr id="3003437" name="Group 45"/>
            <p:cNvGrpSpPr>
              <a:grpSpLocks noChangeAspect="1"/>
            </p:cNvGrpSpPr>
            <p:nvPr/>
          </p:nvGrpSpPr>
          <p:grpSpPr bwMode="auto">
            <a:xfrm>
              <a:off x="2979" y="2798"/>
              <a:ext cx="136" cy="135"/>
              <a:chOff x="2709" y="2629"/>
              <a:chExt cx="136" cy="136"/>
            </a:xfrm>
          </p:grpSpPr>
          <p:sp>
            <p:nvSpPr>
              <p:cNvPr id="3003438" name="Oval 46"/>
              <p:cNvSpPr>
                <a:spLocks noChangeAspect="1" noChangeArrowheads="1"/>
              </p:cNvSpPr>
              <p:nvPr/>
            </p:nvSpPr>
            <p:spPr bwMode="gray">
              <a:xfrm>
                <a:off x="2709" y="2629"/>
                <a:ext cx="136" cy="1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03439" name="Arc 47"/>
              <p:cNvSpPr>
                <a:spLocks noChangeAspect="1"/>
              </p:cNvSpPr>
              <p:nvPr/>
            </p:nvSpPr>
            <p:spPr bwMode="gray">
              <a:xfrm>
                <a:off x="2709" y="2629"/>
                <a:ext cx="136" cy="136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0 w 43200"/>
                  <a:gd name="T3" fmla="*/ 21584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cubicBezTo>
                      <a:pt x="-1" y="21594"/>
                      <a:pt x="0" y="21589"/>
                      <a:pt x="0" y="21584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cubicBezTo>
                      <a:pt x="-1" y="21594"/>
                      <a:pt x="0" y="21589"/>
                      <a:pt x="0" y="21584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 sz="2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</p:grpSp>
      <p:sp>
        <p:nvSpPr>
          <p:cNvPr id="3003423" name="Oval 31"/>
          <p:cNvSpPr>
            <a:spLocks noChangeAspect="1" noChangeArrowheads="1"/>
          </p:cNvSpPr>
          <p:nvPr/>
        </p:nvSpPr>
        <p:spPr bwMode="gray">
          <a:xfrm>
            <a:off x="6932613" y="5324476"/>
            <a:ext cx="252412" cy="2508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0" tIns="0" rIns="0" bIns="0" anchor="ctr"/>
          <a:lstStyle/>
          <a:p>
            <a:endParaRPr lang="de-DE" sz="2400">
              <a:latin typeface="Baskerville" charset="0"/>
              <a:ea typeface="Baskerville" charset="0"/>
              <a:cs typeface="Baskerville" charset="0"/>
            </a:endParaRPr>
          </a:p>
        </p:txBody>
      </p:sp>
      <p:grpSp>
        <p:nvGrpSpPr>
          <p:cNvPr id="3003424" name="Group 32"/>
          <p:cNvGrpSpPr>
            <a:grpSpLocks noChangeAspect="1"/>
          </p:cNvGrpSpPr>
          <p:nvPr/>
        </p:nvGrpSpPr>
        <p:grpSpPr bwMode="auto">
          <a:xfrm>
            <a:off x="6932613" y="2625726"/>
            <a:ext cx="252412" cy="250825"/>
            <a:chOff x="96" y="912"/>
            <a:chExt cx="2688" cy="2688"/>
          </a:xfrm>
        </p:grpSpPr>
        <p:sp>
          <p:nvSpPr>
            <p:cNvPr id="3003425" name="Oval 33"/>
            <p:cNvSpPr>
              <a:spLocks noChangeAspect="1" noChangeArrowheads="1"/>
            </p:cNvSpPr>
            <p:nvPr/>
          </p:nvSpPr>
          <p:spPr bwMode="gray">
            <a:xfrm>
              <a:off x="96" y="912"/>
              <a:ext cx="2688" cy="2688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3426" name="Arc 34"/>
            <p:cNvSpPr>
              <a:spLocks noChangeAspect="1"/>
            </p:cNvSpPr>
            <p:nvPr/>
          </p:nvSpPr>
          <p:spPr bwMode="gray">
            <a:xfrm>
              <a:off x="1440" y="912"/>
              <a:ext cx="1344" cy="1344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grpSp>
        <p:nvGrpSpPr>
          <p:cNvPr id="3003427" name="Group 35"/>
          <p:cNvGrpSpPr>
            <a:grpSpLocks noChangeAspect="1"/>
          </p:cNvGrpSpPr>
          <p:nvPr/>
        </p:nvGrpSpPr>
        <p:grpSpPr bwMode="auto">
          <a:xfrm>
            <a:off x="6932613" y="3503614"/>
            <a:ext cx="252412" cy="250825"/>
            <a:chOff x="3115" y="1998"/>
            <a:chExt cx="159" cy="159"/>
          </a:xfrm>
        </p:grpSpPr>
        <p:sp>
          <p:nvSpPr>
            <p:cNvPr id="3003428" name="Oval 36"/>
            <p:cNvSpPr>
              <a:spLocks noChangeAspect="1" noChangeArrowheads="1"/>
            </p:cNvSpPr>
            <p:nvPr/>
          </p:nvSpPr>
          <p:spPr bwMode="gray">
            <a:xfrm>
              <a:off x="3115" y="1998"/>
              <a:ext cx="159" cy="159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3429" name="Arc 37"/>
            <p:cNvSpPr>
              <a:spLocks noChangeAspect="1"/>
            </p:cNvSpPr>
            <p:nvPr/>
          </p:nvSpPr>
          <p:spPr bwMode="gray">
            <a:xfrm>
              <a:off x="3195" y="1998"/>
              <a:ext cx="79" cy="159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32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6"/>
                    <a:pt x="11948" y="43182"/>
                    <a:pt x="31" y="43199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16"/>
                    <a:pt x="11948" y="43182"/>
                    <a:pt x="31" y="43199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grpSp>
        <p:nvGrpSpPr>
          <p:cNvPr id="3003440" name="Group 48"/>
          <p:cNvGrpSpPr>
            <a:grpSpLocks noChangeAspect="1"/>
          </p:cNvGrpSpPr>
          <p:nvPr/>
        </p:nvGrpSpPr>
        <p:grpSpPr bwMode="auto">
          <a:xfrm>
            <a:off x="6932613" y="4424364"/>
            <a:ext cx="252412" cy="250825"/>
            <a:chOff x="3115" y="2617"/>
            <a:chExt cx="159" cy="160"/>
          </a:xfrm>
        </p:grpSpPr>
        <p:sp>
          <p:nvSpPr>
            <p:cNvPr id="3003441" name="Oval 49"/>
            <p:cNvSpPr>
              <a:spLocks noChangeAspect="1" noChangeArrowheads="1"/>
            </p:cNvSpPr>
            <p:nvPr/>
          </p:nvSpPr>
          <p:spPr bwMode="gray">
            <a:xfrm>
              <a:off x="3115" y="2617"/>
              <a:ext cx="159" cy="159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3442" name="Arc 50"/>
            <p:cNvSpPr>
              <a:spLocks noChangeAspect="1"/>
            </p:cNvSpPr>
            <p:nvPr/>
          </p:nvSpPr>
          <p:spPr bwMode="gray">
            <a:xfrm>
              <a:off x="3115" y="2618"/>
              <a:ext cx="159" cy="159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584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-1" y="21594"/>
                    <a:pt x="0" y="21589"/>
                    <a:pt x="0" y="21584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-1" y="21594"/>
                    <a:pt x="0" y="21589"/>
                    <a:pt x="0" y="21584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427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1346" name="Text Box 2"/>
          <p:cNvSpPr txBox="1">
            <a:spLocks noChangeArrowheads="1"/>
          </p:cNvSpPr>
          <p:nvPr/>
        </p:nvSpPr>
        <p:spPr bwMode="gray">
          <a:xfrm>
            <a:off x="1884363" y="1699920"/>
            <a:ext cx="9398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algn="l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571500" algn="l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algn="l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714500" algn="l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286000" algn="l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743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3200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657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4114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buSzTx/>
            </a:pPr>
            <a:r>
              <a:rPr lang="en-US" sz="1100" b="1">
                <a:latin typeface="Baskerville" charset="0"/>
                <a:ea typeface="Baskerville" charset="0"/>
                <a:cs typeface="Baskerville" charset="0"/>
              </a:rPr>
              <a:t>STICKERS</a:t>
            </a:r>
            <a:endParaRPr lang="en-US" sz="110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00134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ols </a:t>
            </a:r>
          </a:p>
        </p:txBody>
      </p:sp>
      <p:grpSp>
        <p:nvGrpSpPr>
          <p:cNvPr id="3001377" name="Group 33"/>
          <p:cNvGrpSpPr>
            <a:grpSpLocks/>
          </p:cNvGrpSpPr>
          <p:nvPr/>
        </p:nvGrpSpPr>
        <p:grpSpPr bwMode="auto">
          <a:xfrm>
            <a:off x="3270250" y="1744369"/>
            <a:ext cx="1962150" cy="4160838"/>
            <a:chOff x="1100" y="946"/>
            <a:chExt cx="1236" cy="2621"/>
          </a:xfrm>
        </p:grpSpPr>
        <p:sp>
          <p:nvSpPr>
            <p:cNvPr id="3001355" name="Text Box 11"/>
            <p:cNvSpPr txBox="1">
              <a:spLocks noChangeArrowheads="1"/>
            </p:cNvSpPr>
            <p:nvPr/>
          </p:nvSpPr>
          <p:spPr bwMode="gray">
            <a:xfrm>
              <a:off x="1518" y="997"/>
              <a:ext cx="373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71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714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286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buSzTx/>
              </a:pPr>
              <a:r>
                <a:rPr lang="en-US" sz="1100">
                  <a:latin typeface="Baskerville" charset="0"/>
                  <a:ea typeface="Baskerville" charset="0"/>
                  <a:cs typeface="Baskerville" charset="0"/>
                </a:rPr>
                <a:t>Symbol</a:t>
              </a:r>
            </a:p>
          </p:txBody>
        </p:sp>
        <p:sp>
          <p:nvSpPr>
            <p:cNvPr id="3001356" name="Rectangle 12"/>
            <p:cNvSpPr>
              <a:spLocks noChangeArrowheads="1"/>
            </p:cNvSpPr>
            <p:nvPr/>
          </p:nvSpPr>
          <p:spPr bwMode="gray">
            <a:xfrm>
              <a:off x="1100" y="946"/>
              <a:ext cx="1236" cy="2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de-DE" sz="1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1357" name="Rectangle 13"/>
            <p:cNvSpPr>
              <a:spLocks noChangeArrowheads="1"/>
            </p:cNvSpPr>
            <p:nvPr/>
          </p:nvSpPr>
          <p:spPr bwMode="gray">
            <a:xfrm>
              <a:off x="1100" y="1171"/>
              <a:ext cx="1236" cy="2396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de-DE" sz="1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3001358" name="Group 14"/>
            <p:cNvGrpSpPr>
              <a:grpSpLocks/>
            </p:cNvGrpSpPr>
            <p:nvPr/>
          </p:nvGrpSpPr>
          <p:grpSpPr bwMode="auto">
            <a:xfrm>
              <a:off x="1169" y="1373"/>
              <a:ext cx="1108" cy="147"/>
              <a:chOff x="318" y="1649"/>
              <a:chExt cx="1108" cy="147"/>
            </a:xfrm>
          </p:grpSpPr>
          <p:sp>
            <p:nvSpPr>
              <p:cNvPr id="3001359" name="AutoShape 15"/>
              <p:cNvSpPr>
                <a:spLocks noChangeArrowheads="1"/>
              </p:cNvSpPr>
              <p:nvPr/>
            </p:nvSpPr>
            <p:spPr bwMode="gray">
              <a:xfrm>
                <a:off x="318" y="1649"/>
                <a:ext cx="1108" cy="147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317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FFFFFF">
                          <a:gamma/>
                          <a:shade val="60000"/>
                          <a:invGamma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25200" rIns="0" bIns="25200" anchor="ctr"/>
              <a:lstStyle/>
              <a:p>
                <a:pPr defTabSz="933450">
                  <a:spcAft>
                    <a:spcPct val="0"/>
                  </a:spcAft>
                </a:pPr>
                <a:r>
                  <a:rPr lang="de-DE" sz="1050">
                    <a:latin typeface="Baskerville" charset="0"/>
                    <a:ea typeface="Baskerville" charset="0"/>
                    <a:cs typeface="Baskerville" charset="0"/>
                  </a:rPr>
                  <a:t>RAW IDEA</a:t>
                </a:r>
              </a:p>
            </p:txBody>
          </p:sp>
          <p:cxnSp>
            <p:nvCxnSpPr>
              <p:cNvPr id="3001360" name="AutoShape 16"/>
              <p:cNvCxnSpPr>
                <a:cxnSpLocks noChangeShapeType="1"/>
                <a:stCxn id="3001359" idx="2"/>
                <a:endCxn id="3001359" idx="0"/>
              </p:cNvCxnSpPr>
              <p:nvPr/>
            </p:nvCxnSpPr>
            <p:spPr bwMode="gray">
              <a:xfrm>
                <a:off x="318" y="1649"/>
                <a:ext cx="1108" cy="0"/>
              </a:xfrm>
              <a:prstGeom prst="straightConnector1">
                <a:avLst/>
              </a:prstGeom>
              <a:noFill/>
              <a:ln w="317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>
                          <a:gamma/>
                          <a:shade val="60000"/>
                          <a:invGamma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01361" name="AutoShape 17"/>
              <p:cNvCxnSpPr>
                <a:cxnSpLocks noChangeShapeType="1"/>
                <a:stCxn id="3001359" idx="4"/>
                <a:endCxn id="3001359" idx="6"/>
              </p:cNvCxnSpPr>
              <p:nvPr/>
            </p:nvCxnSpPr>
            <p:spPr bwMode="gray">
              <a:xfrm>
                <a:off x="318" y="1796"/>
                <a:ext cx="1108" cy="0"/>
              </a:xfrm>
              <a:prstGeom prst="straightConnector1">
                <a:avLst/>
              </a:prstGeom>
              <a:noFill/>
              <a:ln w="317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>
                          <a:gamma/>
                          <a:shade val="60000"/>
                          <a:invGamma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3001362" name="Group 18"/>
            <p:cNvGrpSpPr>
              <a:grpSpLocks/>
            </p:cNvGrpSpPr>
            <p:nvPr/>
          </p:nvGrpSpPr>
          <p:grpSpPr bwMode="auto">
            <a:xfrm>
              <a:off x="1169" y="1909"/>
              <a:ext cx="1108" cy="147"/>
              <a:chOff x="318" y="2185"/>
              <a:chExt cx="1108" cy="147"/>
            </a:xfrm>
          </p:grpSpPr>
          <p:sp>
            <p:nvSpPr>
              <p:cNvPr id="3001363" name="AutoShape 19"/>
              <p:cNvSpPr>
                <a:spLocks noChangeArrowheads="1"/>
              </p:cNvSpPr>
              <p:nvPr/>
            </p:nvSpPr>
            <p:spPr bwMode="gray">
              <a:xfrm>
                <a:off x="318" y="2185"/>
                <a:ext cx="1108" cy="147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317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FFFFFF">
                          <a:gamma/>
                          <a:shade val="60000"/>
                          <a:invGamma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25200" rIns="0" bIns="25200" anchor="ctr"/>
              <a:lstStyle/>
              <a:p>
                <a:pPr defTabSz="933450">
                  <a:spcAft>
                    <a:spcPct val="0"/>
                  </a:spcAft>
                </a:pPr>
                <a:r>
                  <a:rPr lang="de-DE" sz="1050">
                    <a:latin typeface="Baskerville" charset="0"/>
                    <a:ea typeface="Baskerville" charset="0"/>
                    <a:cs typeface="Baskerville" charset="0"/>
                  </a:rPr>
                  <a:t>FIRST DRAFT</a:t>
                </a:r>
              </a:p>
            </p:txBody>
          </p:sp>
          <p:cxnSp>
            <p:nvCxnSpPr>
              <p:cNvPr id="3001364" name="AutoShape 20"/>
              <p:cNvCxnSpPr>
                <a:cxnSpLocks noChangeShapeType="1"/>
                <a:stCxn id="3001363" idx="2"/>
                <a:endCxn id="3001363" idx="0"/>
              </p:cNvCxnSpPr>
              <p:nvPr/>
            </p:nvCxnSpPr>
            <p:spPr bwMode="gray">
              <a:xfrm>
                <a:off x="318" y="2185"/>
                <a:ext cx="1108" cy="0"/>
              </a:xfrm>
              <a:prstGeom prst="straightConnector1">
                <a:avLst/>
              </a:prstGeom>
              <a:noFill/>
              <a:ln w="317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>
                          <a:gamma/>
                          <a:shade val="60000"/>
                          <a:invGamma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01365" name="AutoShape 21"/>
              <p:cNvCxnSpPr>
                <a:cxnSpLocks noChangeShapeType="1"/>
                <a:stCxn id="3001363" idx="4"/>
                <a:endCxn id="3001363" idx="6"/>
              </p:cNvCxnSpPr>
              <p:nvPr/>
            </p:nvCxnSpPr>
            <p:spPr bwMode="gray">
              <a:xfrm>
                <a:off x="318" y="2332"/>
                <a:ext cx="1108" cy="0"/>
              </a:xfrm>
              <a:prstGeom prst="straightConnector1">
                <a:avLst/>
              </a:prstGeom>
              <a:noFill/>
              <a:ln w="317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>
                          <a:gamma/>
                          <a:shade val="60000"/>
                          <a:invGamma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3001366" name="Group 22"/>
            <p:cNvGrpSpPr>
              <a:grpSpLocks/>
            </p:cNvGrpSpPr>
            <p:nvPr/>
          </p:nvGrpSpPr>
          <p:grpSpPr bwMode="auto">
            <a:xfrm>
              <a:off x="1169" y="2498"/>
              <a:ext cx="1108" cy="147"/>
              <a:chOff x="318" y="2774"/>
              <a:chExt cx="1108" cy="147"/>
            </a:xfrm>
          </p:grpSpPr>
          <p:sp>
            <p:nvSpPr>
              <p:cNvPr id="3001367" name="AutoShape 23"/>
              <p:cNvSpPr>
                <a:spLocks noChangeArrowheads="1"/>
              </p:cNvSpPr>
              <p:nvPr/>
            </p:nvSpPr>
            <p:spPr bwMode="gray">
              <a:xfrm>
                <a:off x="318" y="2774"/>
                <a:ext cx="1108" cy="147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317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FFFFFF">
                          <a:gamma/>
                          <a:shade val="60000"/>
                          <a:invGamma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25200" rIns="0" bIns="25200" anchor="ctr"/>
              <a:lstStyle/>
              <a:p>
                <a:pPr defTabSz="933450">
                  <a:spcAft>
                    <a:spcPct val="0"/>
                  </a:spcAft>
                </a:pPr>
                <a:r>
                  <a:rPr lang="de-DE" sz="1050">
                    <a:latin typeface="Baskerville" charset="0"/>
                    <a:ea typeface="Baskerville" charset="0"/>
                    <a:cs typeface="Baskerville" charset="0"/>
                  </a:rPr>
                  <a:t>TO BE APPROVED</a:t>
                </a:r>
              </a:p>
            </p:txBody>
          </p:sp>
          <p:cxnSp>
            <p:nvCxnSpPr>
              <p:cNvPr id="3001368" name="AutoShape 24"/>
              <p:cNvCxnSpPr>
                <a:cxnSpLocks noChangeShapeType="1"/>
                <a:stCxn id="3001367" idx="2"/>
                <a:endCxn id="3001367" idx="0"/>
              </p:cNvCxnSpPr>
              <p:nvPr/>
            </p:nvCxnSpPr>
            <p:spPr bwMode="gray">
              <a:xfrm>
                <a:off x="318" y="2774"/>
                <a:ext cx="1108" cy="0"/>
              </a:xfrm>
              <a:prstGeom prst="straightConnector1">
                <a:avLst/>
              </a:prstGeom>
              <a:noFill/>
              <a:ln w="317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>
                          <a:gamma/>
                          <a:shade val="60000"/>
                          <a:invGamma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01369" name="AutoShape 25"/>
              <p:cNvCxnSpPr>
                <a:cxnSpLocks noChangeShapeType="1"/>
                <a:stCxn id="3001367" idx="4"/>
                <a:endCxn id="3001367" idx="6"/>
              </p:cNvCxnSpPr>
              <p:nvPr/>
            </p:nvCxnSpPr>
            <p:spPr bwMode="gray">
              <a:xfrm>
                <a:off x="318" y="2921"/>
                <a:ext cx="1108" cy="0"/>
              </a:xfrm>
              <a:prstGeom prst="straightConnector1">
                <a:avLst/>
              </a:prstGeom>
              <a:noFill/>
              <a:ln w="317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>
                          <a:gamma/>
                          <a:shade val="60000"/>
                          <a:invGamma/>
                        </a:schemeClr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3001370" name="Group 26"/>
            <p:cNvGrpSpPr>
              <a:grpSpLocks/>
            </p:cNvGrpSpPr>
            <p:nvPr/>
          </p:nvGrpSpPr>
          <p:grpSpPr bwMode="auto">
            <a:xfrm>
              <a:off x="1169" y="3061"/>
              <a:ext cx="1108" cy="147"/>
              <a:chOff x="318" y="2774"/>
              <a:chExt cx="1108" cy="147"/>
            </a:xfrm>
          </p:grpSpPr>
          <p:sp>
            <p:nvSpPr>
              <p:cNvPr id="3001371" name="AutoShape 27"/>
              <p:cNvSpPr>
                <a:spLocks noChangeArrowheads="1"/>
              </p:cNvSpPr>
              <p:nvPr/>
            </p:nvSpPr>
            <p:spPr bwMode="gray">
              <a:xfrm>
                <a:off x="318" y="2774"/>
                <a:ext cx="1108" cy="147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317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FFFFFF">
                          <a:gamma/>
                          <a:shade val="60000"/>
                          <a:invGamma/>
                        </a:srgbClr>
                      </a:outerShdw>
                    </a:effectLst>
                  </a14:hiddenEffects>
                </a:ext>
              </a:extLst>
            </p:spPr>
            <p:txBody>
              <a:bodyPr lIns="0" tIns="25200" rIns="0" bIns="25200" anchor="ctr"/>
              <a:lstStyle/>
              <a:p>
                <a:pPr defTabSz="933450">
                  <a:spcAft>
                    <a:spcPct val="0"/>
                  </a:spcAft>
                </a:pPr>
                <a:r>
                  <a:rPr lang="de-DE" sz="1050">
                    <a:latin typeface="Baskerville" charset="0"/>
                    <a:ea typeface="Baskerville" charset="0"/>
                    <a:cs typeface="Baskerville" charset="0"/>
                  </a:rPr>
                  <a:t>APPROVED</a:t>
                </a:r>
              </a:p>
            </p:txBody>
          </p:sp>
          <p:cxnSp>
            <p:nvCxnSpPr>
              <p:cNvPr id="3001372" name="AutoShape 28"/>
              <p:cNvCxnSpPr>
                <a:cxnSpLocks noChangeShapeType="1"/>
                <a:stCxn id="3001371" idx="2"/>
                <a:endCxn id="3001371" idx="0"/>
              </p:cNvCxnSpPr>
              <p:nvPr/>
            </p:nvCxnSpPr>
            <p:spPr bwMode="gray">
              <a:xfrm>
                <a:off x="318" y="2774"/>
                <a:ext cx="1108" cy="0"/>
              </a:xfrm>
              <a:prstGeom prst="straightConnector1">
                <a:avLst/>
              </a:prstGeom>
              <a:noFill/>
              <a:ln w="317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>
                          <a:gamma/>
                          <a:shade val="60000"/>
                          <a:invGamma/>
                        </a:scheme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01373" name="AutoShape 29"/>
              <p:cNvCxnSpPr>
                <a:cxnSpLocks noChangeShapeType="1"/>
                <a:stCxn id="3001371" idx="4"/>
                <a:endCxn id="3001371" idx="6"/>
              </p:cNvCxnSpPr>
              <p:nvPr/>
            </p:nvCxnSpPr>
            <p:spPr bwMode="gray">
              <a:xfrm>
                <a:off x="318" y="2921"/>
                <a:ext cx="1108" cy="0"/>
              </a:xfrm>
              <a:prstGeom prst="straightConnector1">
                <a:avLst/>
              </a:prstGeom>
              <a:noFill/>
              <a:ln w="317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chemeClr val="tx1">
                          <a:gamma/>
                          <a:shade val="60000"/>
                          <a:invGamma/>
                        </a:schemeClr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3001376" name="Group 32"/>
          <p:cNvGrpSpPr>
            <a:grpSpLocks/>
          </p:cNvGrpSpPr>
          <p:nvPr/>
        </p:nvGrpSpPr>
        <p:grpSpPr bwMode="auto">
          <a:xfrm>
            <a:off x="5221289" y="1744369"/>
            <a:ext cx="3419475" cy="4160838"/>
            <a:chOff x="2329" y="946"/>
            <a:chExt cx="2154" cy="2621"/>
          </a:xfrm>
        </p:grpSpPr>
        <p:sp>
          <p:nvSpPr>
            <p:cNvPr id="3001352" name="Rectangle 8"/>
            <p:cNvSpPr>
              <a:spLocks noChangeArrowheads="1"/>
            </p:cNvSpPr>
            <p:nvPr/>
          </p:nvSpPr>
          <p:spPr bwMode="gray">
            <a:xfrm>
              <a:off x="2329" y="1171"/>
              <a:ext cx="2154" cy="239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de-DE" sz="1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1353" name="Rectangle 9"/>
            <p:cNvSpPr>
              <a:spLocks noChangeArrowheads="1"/>
            </p:cNvSpPr>
            <p:nvPr/>
          </p:nvSpPr>
          <p:spPr bwMode="gray">
            <a:xfrm>
              <a:off x="2329" y="946"/>
              <a:ext cx="2154" cy="2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de-DE" sz="1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1348" name="Rectangle 4"/>
            <p:cNvSpPr>
              <a:spLocks noChangeArrowheads="1"/>
            </p:cNvSpPr>
            <p:nvPr/>
          </p:nvSpPr>
          <p:spPr bwMode="gray">
            <a:xfrm>
              <a:off x="2434" y="3061"/>
              <a:ext cx="2049" cy="4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400" dirty="0">
                  <a:latin typeface="Baskerville" charset="0"/>
                  <a:ea typeface="Baskerville" charset="0"/>
                  <a:cs typeface="Baskerville" charset="0"/>
                </a:rPr>
                <a:t>Well proved, close chain of evidence 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400" dirty="0">
                  <a:latin typeface="Baskerville" charset="0"/>
                  <a:ea typeface="Baskerville" charset="0"/>
                  <a:cs typeface="Baskerville" charset="0"/>
                </a:rPr>
                <a:t>Sources consistent and of high quality</a:t>
              </a:r>
            </a:p>
          </p:txBody>
        </p:sp>
        <p:sp>
          <p:nvSpPr>
            <p:cNvPr id="3001349" name="Rectangle 5"/>
            <p:cNvSpPr>
              <a:spLocks noChangeArrowheads="1"/>
            </p:cNvSpPr>
            <p:nvPr/>
          </p:nvSpPr>
          <p:spPr bwMode="gray">
            <a:xfrm>
              <a:off x="2434" y="2498"/>
              <a:ext cx="1948" cy="2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Advanced status, not all facets included yet</a:t>
              </a:r>
            </a:p>
          </p:txBody>
        </p:sp>
        <p:sp>
          <p:nvSpPr>
            <p:cNvPr id="3001350" name="Rectangle 6"/>
            <p:cNvSpPr>
              <a:spLocks noChangeArrowheads="1"/>
            </p:cNvSpPr>
            <p:nvPr/>
          </p:nvSpPr>
          <p:spPr bwMode="gray">
            <a:xfrm>
              <a:off x="2434" y="1373"/>
              <a:ext cx="940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400" dirty="0">
                  <a:latin typeface="Baskerville" charset="0"/>
                  <a:ea typeface="Baskerville" charset="0"/>
                  <a:cs typeface="Baskerville" charset="0"/>
                </a:rPr>
                <a:t>Not </a:t>
              </a:r>
              <a:r>
                <a:rPr lang="en-US" sz="1200" dirty="0">
                  <a:latin typeface="Baskerville" charset="0"/>
                  <a:ea typeface="Baskerville" charset="0"/>
                  <a:cs typeface="Baskerville" charset="0"/>
                </a:rPr>
                <a:t>proved</a:t>
              </a:r>
              <a:endParaRPr lang="en-US" sz="1400" dirty="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1351" name="Text Box 7"/>
            <p:cNvSpPr txBox="1">
              <a:spLocks noChangeArrowheads="1"/>
            </p:cNvSpPr>
            <p:nvPr/>
          </p:nvSpPr>
          <p:spPr bwMode="gray">
            <a:xfrm>
              <a:off x="2393" y="997"/>
              <a:ext cx="109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71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7145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286000" algn="l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743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32004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6576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41148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buSzTx/>
              </a:pPr>
              <a:r>
                <a:rPr lang="en-US" sz="1100">
                  <a:latin typeface="Baskerville" charset="0"/>
                  <a:ea typeface="Baskerville" charset="0"/>
                  <a:cs typeface="Baskerville" charset="0"/>
                </a:rPr>
                <a:t>Charts’ characteristics</a:t>
              </a:r>
            </a:p>
          </p:txBody>
        </p:sp>
        <p:sp>
          <p:nvSpPr>
            <p:cNvPr id="3001354" name="Rectangle 10"/>
            <p:cNvSpPr>
              <a:spLocks noChangeArrowheads="1"/>
            </p:cNvSpPr>
            <p:nvPr/>
          </p:nvSpPr>
          <p:spPr bwMode="gray">
            <a:xfrm>
              <a:off x="2434" y="1909"/>
              <a:ext cx="1948" cy="4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Partly proved but fragmentary, (also) </a:t>
              </a:r>
              <a:br>
                <a:rPr lang="en-US" sz="1400">
                  <a:latin typeface="Baskerville" charset="0"/>
                  <a:ea typeface="Baskerville" charset="0"/>
                  <a:cs typeface="Baskerville" charset="0"/>
                </a:rPr>
              </a:br>
              <a:r>
                <a:rPr lang="en-US" sz="1400">
                  <a:latin typeface="Baskerville" charset="0"/>
                  <a:ea typeface="Baskerville" charset="0"/>
                  <a:cs typeface="Baskerville" charset="0"/>
                </a:rPr>
                <a:t>instead the symbol „preliminary“ or „draft“</a:t>
              </a: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320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7844" name="Oval 4"/>
          <p:cNvSpPr>
            <a:spLocks noChangeArrowheads="1"/>
          </p:cNvSpPr>
          <p:nvPr/>
        </p:nvSpPr>
        <p:spPr bwMode="gray">
          <a:xfrm>
            <a:off x="159327" y="569508"/>
            <a:ext cx="6908800" cy="86558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4000" b="1" dirty="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  <a:t>Pros + Con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20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59383" name="Group 23"/>
          <p:cNvGrpSpPr>
            <a:grpSpLocks/>
          </p:cNvGrpSpPr>
          <p:nvPr/>
        </p:nvGrpSpPr>
        <p:grpSpPr bwMode="auto">
          <a:xfrm>
            <a:off x="1909764" y="1824038"/>
            <a:ext cx="8302625" cy="4151312"/>
            <a:chOff x="243" y="1149"/>
            <a:chExt cx="5230" cy="2615"/>
          </a:xfrm>
        </p:grpSpPr>
        <p:sp>
          <p:nvSpPr>
            <p:cNvPr id="2959363" name="Rectangle 3"/>
            <p:cNvSpPr>
              <a:spLocks noChangeArrowheads="1"/>
            </p:cNvSpPr>
            <p:nvPr/>
          </p:nvSpPr>
          <p:spPr bwMode="gray">
            <a:xfrm>
              <a:off x="3498" y="1487"/>
              <a:ext cx="1975" cy="173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tIns="108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59364" name="Rectangle 4"/>
            <p:cNvSpPr>
              <a:spLocks noChangeArrowheads="1"/>
            </p:cNvSpPr>
            <p:nvPr/>
          </p:nvSpPr>
          <p:spPr bwMode="gray">
            <a:xfrm>
              <a:off x="243" y="2031"/>
              <a:ext cx="1975" cy="1733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tIns="108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59365" name="Rectangle 5"/>
            <p:cNvSpPr>
              <a:spLocks noChangeAspect="1" noChangeArrowheads="1"/>
            </p:cNvSpPr>
            <p:nvPr/>
          </p:nvSpPr>
          <p:spPr bwMode="gray">
            <a:xfrm>
              <a:off x="874" y="2888"/>
              <a:ext cx="771" cy="252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59366" name="AutoShape 6"/>
            <p:cNvSpPr>
              <a:spLocks noChangeAspect="1" noChangeArrowheads="1"/>
            </p:cNvSpPr>
            <p:nvPr/>
          </p:nvSpPr>
          <p:spPr bwMode="gray">
            <a:xfrm>
              <a:off x="4104" y="2037"/>
              <a:ext cx="771" cy="848"/>
            </a:xfrm>
            <a:prstGeom prst="plus">
              <a:avLst>
                <a:gd name="adj" fmla="val 35074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59367" name="Rectangle 7"/>
            <p:cNvSpPr>
              <a:spLocks noChangeArrowheads="1"/>
            </p:cNvSpPr>
            <p:nvPr/>
          </p:nvSpPr>
          <p:spPr bwMode="gray">
            <a:xfrm>
              <a:off x="2438" y="3142"/>
              <a:ext cx="61" cy="58"/>
            </a:xfrm>
            <a:prstGeom prst="rect">
              <a:avLst/>
            </a:prstGeom>
            <a:solidFill>
              <a:srgbClr val="5F5F5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59368" name="Rectangle 8"/>
            <p:cNvSpPr>
              <a:spLocks noChangeArrowheads="1"/>
            </p:cNvSpPr>
            <p:nvPr/>
          </p:nvSpPr>
          <p:spPr bwMode="gray">
            <a:xfrm>
              <a:off x="3243" y="3139"/>
              <a:ext cx="52" cy="58"/>
            </a:xfrm>
            <a:prstGeom prst="rect">
              <a:avLst/>
            </a:prstGeom>
            <a:solidFill>
              <a:srgbClr val="5F5F5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59369" name="Arc 9"/>
            <p:cNvSpPr>
              <a:spLocks/>
            </p:cNvSpPr>
            <p:nvPr/>
          </p:nvSpPr>
          <p:spPr bwMode="gray">
            <a:xfrm>
              <a:off x="2437" y="3018"/>
              <a:ext cx="858" cy="348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6 w 43200"/>
                <a:gd name="T3" fmla="*/ 21095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-1" y="21431"/>
                    <a:pt x="1" y="21263"/>
                    <a:pt x="5" y="21094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-1" y="21431"/>
                    <a:pt x="1" y="21263"/>
                    <a:pt x="5" y="21094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5F5F5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59370" name="Oval 10"/>
            <p:cNvSpPr>
              <a:spLocks noChangeArrowheads="1"/>
            </p:cNvSpPr>
            <p:nvPr/>
          </p:nvSpPr>
          <p:spPr bwMode="gray">
            <a:xfrm>
              <a:off x="2436" y="2953"/>
              <a:ext cx="859" cy="34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59371" name="Rectangle 11"/>
            <p:cNvSpPr>
              <a:spLocks noChangeArrowheads="1"/>
            </p:cNvSpPr>
            <p:nvPr/>
          </p:nvSpPr>
          <p:spPr bwMode="gray">
            <a:xfrm>
              <a:off x="2815" y="1531"/>
              <a:ext cx="94" cy="15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59372" name="Freeform 12"/>
            <p:cNvSpPr>
              <a:spLocks/>
            </p:cNvSpPr>
            <p:nvPr/>
          </p:nvSpPr>
          <p:spPr bwMode="gray">
            <a:xfrm>
              <a:off x="1259" y="1181"/>
              <a:ext cx="3224" cy="651"/>
            </a:xfrm>
            <a:custGeom>
              <a:avLst/>
              <a:gdLst>
                <a:gd name="T0" fmla="*/ 3382 w 3390"/>
                <a:gd name="T1" fmla="*/ 0 h 541"/>
                <a:gd name="T2" fmla="*/ 3390 w 3390"/>
                <a:gd name="T3" fmla="*/ 40 h 541"/>
                <a:gd name="T4" fmla="*/ 8 w 3390"/>
                <a:gd name="T5" fmla="*/ 541 h 541"/>
                <a:gd name="T6" fmla="*/ 0 w 3390"/>
                <a:gd name="T7" fmla="*/ 501 h 541"/>
                <a:gd name="T8" fmla="*/ 3382 w 3390"/>
                <a:gd name="T9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90" h="541">
                  <a:moveTo>
                    <a:pt x="3382" y="0"/>
                  </a:moveTo>
                  <a:lnTo>
                    <a:pt x="3390" y="40"/>
                  </a:lnTo>
                  <a:lnTo>
                    <a:pt x="8" y="541"/>
                  </a:lnTo>
                  <a:lnTo>
                    <a:pt x="0" y="501"/>
                  </a:lnTo>
                  <a:lnTo>
                    <a:pt x="3382" y="0"/>
                  </a:lnTo>
                  <a:close/>
                </a:path>
              </a:pathLst>
            </a:custGeom>
            <a:solidFill>
              <a:srgbClr val="EAEAEA"/>
            </a:solidFill>
            <a:ln w="9525" cmpd="sng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59373" name="Line 13"/>
            <p:cNvSpPr>
              <a:spLocks noChangeShapeType="1"/>
            </p:cNvSpPr>
            <p:nvPr/>
          </p:nvSpPr>
          <p:spPr bwMode="gray">
            <a:xfrm flipV="1">
              <a:off x="4490" y="1181"/>
              <a:ext cx="0" cy="29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59374" name="Oval 14"/>
            <p:cNvSpPr>
              <a:spLocks noChangeArrowheads="1"/>
            </p:cNvSpPr>
            <p:nvPr/>
          </p:nvSpPr>
          <p:spPr bwMode="gray">
            <a:xfrm>
              <a:off x="4449" y="1149"/>
              <a:ext cx="88" cy="89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59375" name="Line 15"/>
            <p:cNvSpPr>
              <a:spLocks noChangeShapeType="1"/>
            </p:cNvSpPr>
            <p:nvPr/>
          </p:nvSpPr>
          <p:spPr bwMode="gray">
            <a:xfrm flipV="1">
              <a:off x="1259" y="1805"/>
              <a:ext cx="0" cy="23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59376" name="Oval 16"/>
            <p:cNvSpPr>
              <a:spLocks noChangeArrowheads="1"/>
            </p:cNvSpPr>
            <p:nvPr/>
          </p:nvSpPr>
          <p:spPr bwMode="gray">
            <a:xfrm>
              <a:off x="1212" y="1767"/>
              <a:ext cx="88" cy="89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59377" name="Oval 17"/>
            <p:cNvSpPr>
              <a:spLocks noChangeArrowheads="1"/>
            </p:cNvSpPr>
            <p:nvPr/>
          </p:nvSpPr>
          <p:spPr bwMode="gray">
            <a:xfrm>
              <a:off x="2829" y="1474"/>
              <a:ext cx="65" cy="81"/>
            </a:xfrm>
            <a:prstGeom prst="ellipse">
              <a:avLst/>
            </a:prstGeom>
            <a:blipFill dpi="0" rotWithShape="0">
              <a:blip r:embed="rId3"/>
              <a:srcRect/>
              <a:tile tx="0" ty="0" sx="100000" sy="100000" flip="none" algn="tl"/>
            </a:blip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59378" name="Oval 18"/>
            <p:cNvSpPr>
              <a:spLocks noChangeArrowheads="1"/>
            </p:cNvSpPr>
            <p:nvPr/>
          </p:nvSpPr>
          <p:spPr bwMode="gray">
            <a:xfrm>
              <a:off x="2829" y="1474"/>
              <a:ext cx="65" cy="81"/>
            </a:xfrm>
            <a:prstGeom prst="ellips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59379" name="Oval 19"/>
            <p:cNvSpPr>
              <a:spLocks noChangeArrowheads="1"/>
            </p:cNvSpPr>
            <p:nvPr/>
          </p:nvSpPr>
          <p:spPr bwMode="gray">
            <a:xfrm>
              <a:off x="2739" y="1391"/>
              <a:ext cx="236" cy="235"/>
            </a:xfrm>
            <a:prstGeom prst="ellipse">
              <a:avLst/>
            </a:prstGeom>
            <a:solidFill>
              <a:srgbClr val="5F5F5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59380" name="Arc 20"/>
            <p:cNvSpPr>
              <a:spLocks/>
            </p:cNvSpPr>
            <p:nvPr/>
          </p:nvSpPr>
          <p:spPr bwMode="gray">
            <a:xfrm>
              <a:off x="2815" y="3096"/>
              <a:ext cx="93" cy="45"/>
            </a:xfrm>
            <a:custGeom>
              <a:avLst/>
              <a:gdLst>
                <a:gd name="G0" fmla="+- 21600 0 0"/>
                <a:gd name="G1" fmla="+- 3409 0 0"/>
                <a:gd name="G2" fmla="+- 21600 0 0"/>
                <a:gd name="T0" fmla="*/ 43000 w 43200"/>
                <a:gd name="T1" fmla="*/ 477 h 25009"/>
                <a:gd name="T2" fmla="*/ 271 w 43200"/>
                <a:gd name="T3" fmla="*/ 0 h 25009"/>
                <a:gd name="T4" fmla="*/ 21600 w 43200"/>
                <a:gd name="T5" fmla="*/ 3409 h 25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25009" fill="none" extrusionOk="0">
                  <a:moveTo>
                    <a:pt x="43000" y="476"/>
                  </a:moveTo>
                  <a:cubicBezTo>
                    <a:pt x="43133" y="1448"/>
                    <a:pt x="43200" y="2428"/>
                    <a:pt x="43200" y="3409"/>
                  </a:cubicBezTo>
                  <a:cubicBezTo>
                    <a:pt x="43200" y="15338"/>
                    <a:pt x="33529" y="25009"/>
                    <a:pt x="21600" y="25009"/>
                  </a:cubicBezTo>
                  <a:cubicBezTo>
                    <a:pt x="9670" y="25009"/>
                    <a:pt x="0" y="15338"/>
                    <a:pt x="0" y="3409"/>
                  </a:cubicBezTo>
                  <a:cubicBezTo>
                    <a:pt x="-1" y="2267"/>
                    <a:pt x="90" y="1127"/>
                    <a:pt x="270" y="-1"/>
                  </a:cubicBezTo>
                </a:path>
                <a:path w="43200" h="25009" stroke="0" extrusionOk="0">
                  <a:moveTo>
                    <a:pt x="43000" y="476"/>
                  </a:moveTo>
                  <a:cubicBezTo>
                    <a:pt x="43133" y="1448"/>
                    <a:pt x="43200" y="2428"/>
                    <a:pt x="43200" y="3409"/>
                  </a:cubicBezTo>
                  <a:cubicBezTo>
                    <a:pt x="43200" y="15338"/>
                    <a:pt x="33529" y="25009"/>
                    <a:pt x="21600" y="25009"/>
                  </a:cubicBezTo>
                  <a:cubicBezTo>
                    <a:pt x="9670" y="25009"/>
                    <a:pt x="0" y="15338"/>
                    <a:pt x="0" y="3409"/>
                  </a:cubicBezTo>
                  <a:cubicBezTo>
                    <a:pt x="-1" y="2267"/>
                    <a:pt x="90" y="1127"/>
                    <a:pt x="270" y="-1"/>
                  </a:cubicBezTo>
                  <a:lnTo>
                    <a:pt x="21600" y="340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959381" name="Rectangle 2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cales I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865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61430" name="Group 22"/>
          <p:cNvGrpSpPr>
            <a:grpSpLocks/>
          </p:cNvGrpSpPr>
          <p:nvPr/>
        </p:nvGrpSpPr>
        <p:grpSpPr bwMode="auto">
          <a:xfrm>
            <a:off x="2055814" y="1482725"/>
            <a:ext cx="8059737" cy="3875088"/>
            <a:chOff x="335" y="934"/>
            <a:chExt cx="5077" cy="2441"/>
          </a:xfrm>
        </p:grpSpPr>
        <p:sp>
          <p:nvSpPr>
            <p:cNvPr id="2961411" name="Rectangle 3"/>
            <p:cNvSpPr>
              <a:spLocks noChangeArrowheads="1"/>
            </p:cNvSpPr>
            <p:nvPr/>
          </p:nvSpPr>
          <p:spPr bwMode="gray">
            <a:xfrm>
              <a:off x="335" y="1297"/>
              <a:ext cx="1561" cy="4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1412" name="Rectangle 4"/>
            <p:cNvSpPr>
              <a:spLocks noChangeArrowheads="1"/>
            </p:cNvSpPr>
            <p:nvPr/>
          </p:nvSpPr>
          <p:spPr bwMode="gray">
            <a:xfrm>
              <a:off x="361" y="1460"/>
              <a:ext cx="1510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61413" name="Rectangle 5"/>
            <p:cNvSpPr>
              <a:spLocks noChangeArrowheads="1"/>
            </p:cNvSpPr>
            <p:nvPr/>
          </p:nvSpPr>
          <p:spPr bwMode="gray">
            <a:xfrm>
              <a:off x="2820" y="959"/>
              <a:ext cx="111" cy="2286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2961429" name="Group 21"/>
            <p:cNvGrpSpPr>
              <a:grpSpLocks/>
            </p:cNvGrpSpPr>
            <p:nvPr/>
          </p:nvGrpSpPr>
          <p:grpSpPr bwMode="auto">
            <a:xfrm>
              <a:off x="1359" y="1086"/>
              <a:ext cx="1471" cy="1812"/>
              <a:chOff x="1359" y="1086"/>
              <a:chExt cx="1471" cy="1812"/>
            </a:xfrm>
          </p:grpSpPr>
          <p:sp>
            <p:nvSpPr>
              <p:cNvPr id="2961415" name="Arc 7"/>
              <p:cNvSpPr>
                <a:spLocks/>
              </p:cNvSpPr>
              <p:nvPr/>
            </p:nvSpPr>
            <p:spPr bwMode="gray">
              <a:xfrm rot="562624" flipH="1" flipV="1">
                <a:off x="1359" y="1336"/>
                <a:ext cx="1384" cy="1549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16794"/>
                  <a:gd name="T1" fmla="*/ 0 h 21600"/>
                  <a:gd name="T2" fmla="*/ 16794 w 16794"/>
                  <a:gd name="T3" fmla="*/ 8016 h 21600"/>
                  <a:gd name="T4" fmla="*/ 0 w 16794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794" h="21600" fill="none" extrusionOk="0">
                    <a:moveTo>
                      <a:pt x="-1" y="0"/>
                    </a:moveTo>
                    <a:cubicBezTo>
                      <a:pt x="6520" y="0"/>
                      <a:pt x="12692" y="2945"/>
                      <a:pt x="16793" y="8016"/>
                    </a:cubicBezTo>
                  </a:path>
                  <a:path w="16794" h="21600" stroke="0" extrusionOk="0">
                    <a:moveTo>
                      <a:pt x="-1" y="0"/>
                    </a:moveTo>
                    <a:cubicBezTo>
                      <a:pt x="6520" y="0"/>
                      <a:pt x="12692" y="2945"/>
                      <a:pt x="16793" y="8016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28575">
                <a:solidFill>
                  <a:schemeClr val="tx1"/>
                </a:solidFill>
                <a:prstDash val="dash"/>
                <a:round/>
                <a:headEnd type="triangl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61416" name="Line 8"/>
              <p:cNvSpPr>
                <a:spLocks noChangeShapeType="1"/>
              </p:cNvSpPr>
              <p:nvPr/>
            </p:nvSpPr>
            <p:spPr bwMode="gray">
              <a:xfrm flipH="1">
                <a:off x="1894" y="1086"/>
                <a:ext cx="936" cy="1591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grpSp>
            <p:nvGrpSpPr>
              <p:cNvPr id="2961417" name="Group 9"/>
              <p:cNvGrpSpPr>
                <a:grpSpLocks/>
              </p:cNvGrpSpPr>
              <p:nvPr/>
            </p:nvGrpSpPr>
            <p:grpSpPr bwMode="auto">
              <a:xfrm>
                <a:off x="1656" y="2472"/>
                <a:ext cx="425" cy="426"/>
                <a:chOff x="1691" y="2659"/>
                <a:chExt cx="499" cy="499"/>
              </a:xfrm>
            </p:grpSpPr>
            <p:sp>
              <p:nvSpPr>
                <p:cNvPr id="2961418" name="Oval 10"/>
                <p:cNvSpPr>
                  <a:spLocks noChangeArrowheads="1"/>
                </p:cNvSpPr>
                <p:nvPr/>
              </p:nvSpPr>
              <p:spPr bwMode="gray">
                <a:xfrm>
                  <a:off x="1691" y="2659"/>
                  <a:ext cx="499" cy="499"/>
                </a:xfrm>
                <a:prstGeom prst="ellipse">
                  <a:avLst/>
                </a:prstGeom>
                <a:solidFill>
                  <a:schemeClr val="folHlink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pPr defTabSz="857250" eaLnBrk="0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accent1"/>
                    </a:buClr>
                  </a:pPr>
                  <a:endParaRPr lang="de-DE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pic>
              <p:nvPicPr>
                <p:cNvPr id="2961419" name="Picture 11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9579" t="15672" r="6897" b="39064"/>
                <a:stretch>
                  <a:fillRect/>
                </a:stretch>
              </p:blipFill>
              <p:spPr bwMode="gray">
                <a:xfrm>
                  <a:off x="1839" y="2734"/>
                  <a:ext cx="204" cy="36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sp>
          <p:nvSpPr>
            <p:cNvPr id="2961420" name="Rectangle 12"/>
            <p:cNvSpPr>
              <a:spLocks noChangeArrowheads="1"/>
            </p:cNvSpPr>
            <p:nvPr/>
          </p:nvSpPr>
          <p:spPr bwMode="gray">
            <a:xfrm>
              <a:off x="3851" y="1297"/>
              <a:ext cx="1561" cy="4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1421" name="Rectangle 13"/>
            <p:cNvSpPr>
              <a:spLocks noChangeArrowheads="1"/>
            </p:cNvSpPr>
            <p:nvPr/>
          </p:nvSpPr>
          <p:spPr bwMode="gray">
            <a:xfrm>
              <a:off x="3877" y="1460"/>
              <a:ext cx="150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61422" name="Oval 14"/>
            <p:cNvSpPr>
              <a:spLocks noChangeArrowheads="1"/>
            </p:cNvSpPr>
            <p:nvPr/>
          </p:nvSpPr>
          <p:spPr bwMode="gray">
            <a:xfrm>
              <a:off x="2772" y="934"/>
              <a:ext cx="208" cy="208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1423" name="AutoShape 15"/>
            <p:cNvSpPr>
              <a:spLocks noChangeArrowheads="1"/>
            </p:cNvSpPr>
            <p:nvPr/>
          </p:nvSpPr>
          <p:spPr bwMode="gray">
            <a:xfrm flipV="1">
              <a:off x="1426" y="3238"/>
              <a:ext cx="2899" cy="137"/>
            </a:xfrm>
            <a:custGeom>
              <a:avLst/>
              <a:gdLst>
                <a:gd name="G0" fmla="+- 917 0 0"/>
                <a:gd name="G1" fmla="+- 21600 0 917"/>
                <a:gd name="G2" fmla="*/ 917 1 2"/>
                <a:gd name="G3" fmla="+- 21600 0 G2"/>
                <a:gd name="G4" fmla="+/ 917 21600 2"/>
                <a:gd name="G5" fmla="+/ G1 0 2"/>
                <a:gd name="G6" fmla="*/ 21600 21600 917"/>
                <a:gd name="G7" fmla="*/ G6 1 2"/>
                <a:gd name="G8" fmla="+- 21600 0 G7"/>
                <a:gd name="G9" fmla="*/ 21600 1 2"/>
                <a:gd name="G10" fmla="+- 917 0 G9"/>
                <a:gd name="G11" fmla="?: G10 G8 0"/>
                <a:gd name="G12" fmla="?: G10 G7 21600"/>
                <a:gd name="T0" fmla="*/ 21141 w 21600"/>
                <a:gd name="T1" fmla="*/ 10800 h 21600"/>
                <a:gd name="T2" fmla="*/ 10800 w 21600"/>
                <a:gd name="T3" fmla="*/ 21600 h 21600"/>
                <a:gd name="T4" fmla="*/ 459 w 21600"/>
                <a:gd name="T5" fmla="*/ 10800 h 21600"/>
                <a:gd name="T6" fmla="*/ 10800 w 21600"/>
                <a:gd name="T7" fmla="*/ 0 h 21600"/>
                <a:gd name="T8" fmla="*/ 2259 w 21600"/>
                <a:gd name="T9" fmla="*/ 2259 h 21600"/>
                <a:gd name="T10" fmla="*/ 19341 w 21600"/>
                <a:gd name="T11" fmla="*/ 19341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917" y="21600"/>
                  </a:lnTo>
                  <a:lnTo>
                    <a:pt x="2068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961424" name="Rectangle 1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cales II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118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3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cale 3</a:t>
            </a:r>
          </a:p>
        </p:txBody>
      </p:sp>
      <p:grpSp>
        <p:nvGrpSpPr>
          <p:cNvPr id="2963471" name="Group 15"/>
          <p:cNvGrpSpPr>
            <a:grpSpLocks/>
          </p:cNvGrpSpPr>
          <p:nvPr/>
        </p:nvGrpSpPr>
        <p:grpSpPr bwMode="auto">
          <a:xfrm>
            <a:off x="2182814" y="1457325"/>
            <a:ext cx="7812087" cy="3911600"/>
            <a:chOff x="409" y="918"/>
            <a:chExt cx="4921" cy="2464"/>
          </a:xfrm>
        </p:grpSpPr>
        <p:sp>
          <p:nvSpPr>
            <p:cNvPr id="2963460" name="AutoShape 4"/>
            <p:cNvSpPr>
              <a:spLocks noChangeArrowheads="1"/>
            </p:cNvSpPr>
            <p:nvPr/>
          </p:nvSpPr>
          <p:spPr bwMode="gray">
            <a:xfrm>
              <a:off x="4166" y="2492"/>
              <a:ext cx="497" cy="217"/>
            </a:xfrm>
            <a:custGeom>
              <a:avLst/>
              <a:gdLst>
                <a:gd name="G0" fmla="+- 5400 0 0"/>
                <a:gd name="G1" fmla="+- 21600 0 5400"/>
                <a:gd name="G2" fmla="*/ 5400 1 2"/>
                <a:gd name="G3" fmla="+- 21600 0 G2"/>
                <a:gd name="G4" fmla="+/ 5400 21600 2"/>
                <a:gd name="G5" fmla="+/ G1 0 2"/>
                <a:gd name="G6" fmla="*/ 21600 21600 5400"/>
                <a:gd name="G7" fmla="*/ G6 1 2"/>
                <a:gd name="G8" fmla="+- 21600 0 G7"/>
                <a:gd name="G9" fmla="*/ 21600 1 2"/>
                <a:gd name="G10" fmla="+- 5400 0 G9"/>
                <a:gd name="G11" fmla="?: G10 G8 0"/>
                <a:gd name="G12" fmla="?: G10 G7 21600"/>
                <a:gd name="T0" fmla="*/ 18900 w 21600"/>
                <a:gd name="T1" fmla="*/ 10800 h 21600"/>
                <a:gd name="T2" fmla="*/ 10800 w 21600"/>
                <a:gd name="T3" fmla="*/ 21600 h 21600"/>
                <a:gd name="T4" fmla="*/ 2700 w 21600"/>
                <a:gd name="T5" fmla="*/ 10800 h 21600"/>
                <a:gd name="T6" fmla="*/ 10800 w 21600"/>
                <a:gd name="T7" fmla="*/ 0 h 21600"/>
                <a:gd name="T8" fmla="*/ 4500 w 21600"/>
                <a:gd name="T9" fmla="*/ 4500 h 21600"/>
                <a:gd name="T10" fmla="*/ 17100 w 21600"/>
                <a:gd name="T11" fmla="*/ 171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3461" name="Rectangle 5"/>
            <p:cNvSpPr>
              <a:spLocks noChangeArrowheads="1"/>
            </p:cNvSpPr>
            <p:nvPr/>
          </p:nvSpPr>
          <p:spPr bwMode="gray">
            <a:xfrm>
              <a:off x="3498" y="2432"/>
              <a:ext cx="1832" cy="60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3462" name="AutoShape 6"/>
            <p:cNvSpPr>
              <a:spLocks noChangeArrowheads="1"/>
            </p:cNvSpPr>
            <p:nvPr/>
          </p:nvSpPr>
          <p:spPr bwMode="gray">
            <a:xfrm>
              <a:off x="1082" y="2920"/>
              <a:ext cx="497" cy="218"/>
            </a:xfrm>
            <a:custGeom>
              <a:avLst/>
              <a:gdLst>
                <a:gd name="G0" fmla="+- 5400 0 0"/>
                <a:gd name="G1" fmla="+- 21600 0 5400"/>
                <a:gd name="G2" fmla="*/ 5400 1 2"/>
                <a:gd name="G3" fmla="+- 21600 0 G2"/>
                <a:gd name="G4" fmla="+/ 5400 21600 2"/>
                <a:gd name="G5" fmla="+/ G1 0 2"/>
                <a:gd name="G6" fmla="*/ 21600 21600 5400"/>
                <a:gd name="G7" fmla="*/ G6 1 2"/>
                <a:gd name="G8" fmla="+- 21600 0 G7"/>
                <a:gd name="G9" fmla="*/ 21600 1 2"/>
                <a:gd name="G10" fmla="+- 5400 0 G9"/>
                <a:gd name="G11" fmla="?: G10 G8 0"/>
                <a:gd name="G12" fmla="?: G10 G7 21600"/>
                <a:gd name="T0" fmla="*/ 18900 w 21600"/>
                <a:gd name="T1" fmla="*/ 10800 h 21600"/>
                <a:gd name="T2" fmla="*/ 10800 w 21600"/>
                <a:gd name="T3" fmla="*/ 21600 h 21600"/>
                <a:gd name="T4" fmla="*/ 2700 w 21600"/>
                <a:gd name="T5" fmla="*/ 10800 h 21600"/>
                <a:gd name="T6" fmla="*/ 10800 w 21600"/>
                <a:gd name="T7" fmla="*/ 0 h 21600"/>
                <a:gd name="T8" fmla="*/ 4500 w 21600"/>
                <a:gd name="T9" fmla="*/ 4500 h 21600"/>
                <a:gd name="T10" fmla="*/ 17100 w 21600"/>
                <a:gd name="T11" fmla="*/ 171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3463" name="AutoShape 7"/>
            <p:cNvSpPr>
              <a:spLocks noChangeArrowheads="1"/>
            </p:cNvSpPr>
            <p:nvPr/>
          </p:nvSpPr>
          <p:spPr bwMode="gray">
            <a:xfrm>
              <a:off x="2509" y="2956"/>
              <a:ext cx="761" cy="426"/>
            </a:xfrm>
            <a:prstGeom prst="triangle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3464" name="Rectangle 8"/>
            <p:cNvSpPr>
              <a:spLocks noChangeArrowheads="1"/>
            </p:cNvSpPr>
            <p:nvPr/>
          </p:nvSpPr>
          <p:spPr bwMode="gray">
            <a:xfrm rot="-489884">
              <a:off x="667" y="2890"/>
              <a:ext cx="4411" cy="66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3465" name="Rectangle 9"/>
            <p:cNvSpPr>
              <a:spLocks noChangeArrowheads="1"/>
            </p:cNvSpPr>
            <p:nvPr/>
          </p:nvSpPr>
          <p:spPr bwMode="gray">
            <a:xfrm>
              <a:off x="415" y="2860"/>
              <a:ext cx="1831" cy="60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3466" name="Rectangle 10"/>
            <p:cNvSpPr>
              <a:spLocks noChangeArrowheads="1"/>
            </p:cNvSpPr>
            <p:nvPr/>
          </p:nvSpPr>
          <p:spPr bwMode="gray">
            <a:xfrm>
              <a:off x="409" y="1135"/>
              <a:ext cx="1837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en-US" b="1" dirty="0">
                  <a:latin typeface="Baskerville" charset="0"/>
                  <a:ea typeface="Baskerville" charset="0"/>
                  <a:cs typeface="Baskerville" charset="0"/>
                </a:rPr>
                <a:t>Heading</a:t>
              </a:r>
            </a:p>
          </p:txBody>
        </p:sp>
        <p:sp>
          <p:nvSpPr>
            <p:cNvPr id="2963467" name="Rectangle 11"/>
            <p:cNvSpPr>
              <a:spLocks noChangeArrowheads="1"/>
            </p:cNvSpPr>
            <p:nvPr/>
          </p:nvSpPr>
          <p:spPr bwMode="gray">
            <a:xfrm>
              <a:off x="409" y="1426"/>
              <a:ext cx="1837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63468" name="Rectangle 12"/>
            <p:cNvSpPr>
              <a:spLocks noChangeArrowheads="1"/>
            </p:cNvSpPr>
            <p:nvPr/>
          </p:nvSpPr>
          <p:spPr bwMode="gray">
            <a:xfrm>
              <a:off x="3491" y="918"/>
              <a:ext cx="1837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Heading</a:t>
              </a:r>
            </a:p>
          </p:txBody>
        </p:sp>
        <p:sp>
          <p:nvSpPr>
            <p:cNvPr id="2963469" name="Rectangle 13"/>
            <p:cNvSpPr>
              <a:spLocks noChangeArrowheads="1"/>
            </p:cNvSpPr>
            <p:nvPr/>
          </p:nvSpPr>
          <p:spPr bwMode="gray">
            <a:xfrm>
              <a:off x="3491" y="1209"/>
              <a:ext cx="1837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63470" name="Oval 14"/>
            <p:cNvSpPr>
              <a:spLocks noChangeArrowheads="1"/>
            </p:cNvSpPr>
            <p:nvPr/>
          </p:nvSpPr>
          <p:spPr bwMode="gray">
            <a:xfrm>
              <a:off x="2808" y="2860"/>
              <a:ext cx="163" cy="164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330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55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/>
              <a:t>Balance</a:t>
            </a:r>
          </a:p>
        </p:txBody>
      </p:sp>
      <p:grpSp>
        <p:nvGrpSpPr>
          <p:cNvPr id="2965515" name="Group 11"/>
          <p:cNvGrpSpPr>
            <a:grpSpLocks/>
          </p:cNvGrpSpPr>
          <p:nvPr/>
        </p:nvGrpSpPr>
        <p:grpSpPr bwMode="auto">
          <a:xfrm>
            <a:off x="2574925" y="2293939"/>
            <a:ext cx="7018338" cy="3851275"/>
            <a:chOff x="662" y="1445"/>
            <a:chExt cx="4421" cy="2426"/>
          </a:xfrm>
        </p:grpSpPr>
        <p:sp>
          <p:nvSpPr>
            <p:cNvPr id="2965508" name="Rectangle 4"/>
            <p:cNvSpPr>
              <a:spLocks noChangeArrowheads="1"/>
            </p:cNvSpPr>
            <p:nvPr/>
          </p:nvSpPr>
          <p:spPr bwMode="gray">
            <a:xfrm>
              <a:off x="662" y="3225"/>
              <a:ext cx="4421" cy="15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5509" name="Freeform 5"/>
            <p:cNvSpPr>
              <a:spLocks/>
            </p:cNvSpPr>
            <p:nvPr/>
          </p:nvSpPr>
          <p:spPr bwMode="gray">
            <a:xfrm>
              <a:off x="2754" y="3384"/>
              <a:ext cx="229" cy="487"/>
            </a:xfrm>
            <a:custGeom>
              <a:avLst/>
              <a:gdLst>
                <a:gd name="T0" fmla="*/ 0 w 228"/>
                <a:gd name="T1" fmla="*/ 448 h 448"/>
                <a:gd name="T2" fmla="*/ 228 w 228"/>
                <a:gd name="T3" fmla="*/ 448 h 448"/>
                <a:gd name="T4" fmla="*/ 114 w 228"/>
                <a:gd name="T5" fmla="*/ 0 h 448"/>
                <a:gd name="T6" fmla="*/ 0 w 228"/>
                <a:gd name="T7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8" h="448">
                  <a:moveTo>
                    <a:pt x="0" y="448"/>
                  </a:moveTo>
                  <a:lnTo>
                    <a:pt x="228" y="448"/>
                  </a:lnTo>
                  <a:lnTo>
                    <a:pt x="114" y="0"/>
                  </a:lnTo>
                  <a:lnTo>
                    <a:pt x="0" y="448"/>
                  </a:lnTo>
                </a:path>
              </a:pathLst>
            </a:custGeom>
            <a:solidFill>
              <a:srgbClr val="5F5F5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5510" name="Arc 6"/>
            <p:cNvSpPr>
              <a:spLocks/>
            </p:cNvSpPr>
            <p:nvPr/>
          </p:nvSpPr>
          <p:spPr bwMode="gray">
            <a:xfrm>
              <a:off x="2654" y="2995"/>
              <a:ext cx="438" cy="234"/>
            </a:xfrm>
            <a:custGeom>
              <a:avLst/>
              <a:gdLst>
                <a:gd name="G0" fmla="+- 21596 0 0"/>
                <a:gd name="G1" fmla="+- 21600 0 0"/>
                <a:gd name="G2" fmla="+- 21600 0 0"/>
                <a:gd name="T0" fmla="*/ 0 w 43192"/>
                <a:gd name="T1" fmla="*/ 21184 h 21600"/>
                <a:gd name="T2" fmla="*/ 43192 w 43192"/>
                <a:gd name="T3" fmla="*/ 21198 h 21600"/>
                <a:gd name="T4" fmla="*/ 21596 w 43192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192" h="21600" fill="none" extrusionOk="0">
                  <a:moveTo>
                    <a:pt x="0" y="21184"/>
                  </a:moveTo>
                  <a:cubicBezTo>
                    <a:pt x="226" y="9418"/>
                    <a:pt x="9828" y="-1"/>
                    <a:pt x="21596" y="0"/>
                  </a:cubicBezTo>
                  <a:cubicBezTo>
                    <a:pt x="33368" y="0"/>
                    <a:pt x="42973" y="9427"/>
                    <a:pt x="43192" y="21197"/>
                  </a:cubicBezTo>
                </a:path>
                <a:path w="43192" h="21600" stroke="0" extrusionOk="0">
                  <a:moveTo>
                    <a:pt x="0" y="21184"/>
                  </a:moveTo>
                  <a:cubicBezTo>
                    <a:pt x="226" y="9418"/>
                    <a:pt x="9828" y="-1"/>
                    <a:pt x="21596" y="0"/>
                  </a:cubicBezTo>
                  <a:cubicBezTo>
                    <a:pt x="33368" y="0"/>
                    <a:pt x="42973" y="9427"/>
                    <a:pt x="43192" y="21197"/>
                  </a:cubicBezTo>
                  <a:lnTo>
                    <a:pt x="21596" y="2160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5511" name="Rectangle 7"/>
            <p:cNvSpPr>
              <a:spLocks noChangeArrowheads="1"/>
            </p:cNvSpPr>
            <p:nvPr/>
          </p:nvSpPr>
          <p:spPr bwMode="gray">
            <a:xfrm>
              <a:off x="844" y="1445"/>
              <a:ext cx="1423" cy="177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128016" rIns="36000" bIns="3600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65512" name="Rectangle 8"/>
            <p:cNvSpPr>
              <a:spLocks noChangeArrowheads="1"/>
            </p:cNvSpPr>
            <p:nvPr/>
          </p:nvSpPr>
          <p:spPr bwMode="gray">
            <a:xfrm>
              <a:off x="3452" y="1445"/>
              <a:ext cx="1423" cy="1779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128016" rIns="36000" bIns="3600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2618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75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/>
              <a:t>Imbalance</a:t>
            </a:r>
          </a:p>
        </p:txBody>
      </p:sp>
      <p:grpSp>
        <p:nvGrpSpPr>
          <p:cNvPr id="2967569" name="Group 17"/>
          <p:cNvGrpSpPr>
            <a:grpSpLocks/>
          </p:cNvGrpSpPr>
          <p:nvPr/>
        </p:nvGrpSpPr>
        <p:grpSpPr bwMode="auto">
          <a:xfrm>
            <a:off x="2516189" y="1619250"/>
            <a:ext cx="7165975" cy="4552950"/>
            <a:chOff x="631" y="1020"/>
            <a:chExt cx="4514" cy="2868"/>
          </a:xfrm>
        </p:grpSpPr>
        <p:sp>
          <p:nvSpPr>
            <p:cNvPr id="2967556" name="Freeform 4"/>
            <p:cNvSpPr>
              <a:spLocks/>
            </p:cNvSpPr>
            <p:nvPr/>
          </p:nvSpPr>
          <p:spPr bwMode="gray">
            <a:xfrm>
              <a:off x="848" y="1020"/>
              <a:ext cx="1776" cy="2063"/>
            </a:xfrm>
            <a:custGeom>
              <a:avLst/>
              <a:gdLst>
                <a:gd name="T0" fmla="*/ 345 w 1670"/>
                <a:gd name="T1" fmla="*/ 0 h 1935"/>
                <a:gd name="T2" fmla="*/ 1670 w 1670"/>
                <a:gd name="T3" fmla="*/ 316 h 1935"/>
                <a:gd name="T4" fmla="*/ 1325 w 1670"/>
                <a:gd name="T5" fmla="*/ 1935 h 1935"/>
                <a:gd name="T6" fmla="*/ 0 w 1670"/>
                <a:gd name="T7" fmla="*/ 1619 h 1935"/>
                <a:gd name="T8" fmla="*/ 345 w 1670"/>
                <a:gd name="T9" fmla="*/ 0 h 1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0" h="1935">
                  <a:moveTo>
                    <a:pt x="345" y="0"/>
                  </a:moveTo>
                  <a:lnTo>
                    <a:pt x="1670" y="316"/>
                  </a:lnTo>
                  <a:lnTo>
                    <a:pt x="1325" y="1935"/>
                  </a:lnTo>
                  <a:lnTo>
                    <a:pt x="0" y="1619"/>
                  </a:lnTo>
                  <a:lnTo>
                    <a:pt x="345" y="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7557" name="Freeform 5"/>
            <p:cNvSpPr>
              <a:spLocks/>
            </p:cNvSpPr>
            <p:nvPr/>
          </p:nvSpPr>
          <p:spPr bwMode="gray">
            <a:xfrm>
              <a:off x="3369" y="1623"/>
              <a:ext cx="1776" cy="2061"/>
            </a:xfrm>
            <a:custGeom>
              <a:avLst/>
              <a:gdLst>
                <a:gd name="T0" fmla="*/ 345 w 1670"/>
                <a:gd name="T1" fmla="*/ 0 h 1934"/>
                <a:gd name="T2" fmla="*/ 1670 w 1670"/>
                <a:gd name="T3" fmla="*/ 316 h 1934"/>
                <a:gd name="T4" fmla="*/ 1325 w 1670"/>
                <a:gd name="T5" fmla="*/ 1934 h 1934"/>
                <a:gd name="T6" fmla="*/ 0 w 1670"/>
                <a:gd name="T7" fmla="*/ 1619 h 1934"/>
                <a:gd name="T8" fmla="*/ 345 w 1670"/>
                <a:gd name="T9" fmla="*/ 0 h 1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0" h="1934">
                  <a:moveTo>
                    <a:pt x="345" y="0"/>
                  </a:moveTo>
                  <a:lnTo>
                    <a:pt x="1670" y="316"/>
                  </a:lnTo>
                  <a:lnTo>
                    <a:pt x="1325" y="1934"/>
                  </a:lnTo>
                  <a:lnTo>
                    <a:pt x="0" y="1619"/>
                  </a:lnTo>
                  <a:lnTo>
                    <a:pt x="345" y="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7558" name="Freeform 6"/>
            <p:cNvSpPr>
              <a:spLocks/>
            </p:cNvSpPr>
            <p:nvPr/>
          </p:nvSpPr>
          <p:spPr bwMode="gray">
            <a:xfrm>
              <a:off x="631" y="2694"/>
              <a:ext cx="4415" cy="1194"/>
            </a:xfrm>
            <a:custGeom>
              <a:avLst/>
              <a:gdLst>
                <a:gd name="T0" fmla="*/ 31 w 4149"/>
                <a:gd name="T1" fmla="*/ 0 h 1120"/>
                <a:gd name="T2" fmla="*/ 4149 w 4149"/>
                <a:gd name="T3" fmla="*/ 988 h 1120"/>
                <a:gd name="T4" fmla="*/ 4118 w 4149"/>
                <a:gd name="T5" fmla="*/ 1120 h 1120"/>
                <a:gd name="T6" fmla="*/ 0 w 4149"/>
                <a:gd name="T7" fmla="*/ 141 h 1120"/>
                <a:gd name="T8" fmla="*/ 31 w 4149"/>
                <a:gd name="T9" fmla="*/ 0 h 1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49" h="1120">
                  <a:moveTo>
                    <a:pt x="31" y="0"/>
                  </a:moveTo>
                  <a:lnTo>
                    <a:pt x="4149" y="988"/>
                  </a:lnTo>
                  <a:lnTo>
                    <a:pt x="4118" y="1120"/>
                  </a:lnTo>
                  <a:lnTo>
                    <a:pt x="0" y="141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7559" name="Freeform 7"/>
            <p:cNvSpPr>
              <a:spLocks/>
            </p:cNvSpPr>
            <p:nvPr/>
          </p:nvSpPr>
          <p:spPr bwMode="gray">
            <a:xfrm>
              <a:off x="631" y="2694"/>
              <a:ext cx="4415" cy="1194"/>
            </a:xfrm>
            <a:custGeom>
              <a:avLst/>
              <a:gdLst>
                <a:gd name="T0" fmla="*/ 31 w 4149"/>
                <a:gd name="T1" fmla="*/ 0 h 1120"/>
                <a:gd name="T2" fmla="*/ 4149 w 4149"/>
                <a:gd name="T3" fmla="*/ 988 h 1120"/>
                <a:gd name="T4" fmla="*/ 4118 w 4149"/>
                <a:gd name="T5" fmla="*/ 1120 h 1120"/>
                <a:gd name="T6" fmla="*/ 0 w 4149"/>
                <a:gd name="T7" fmla="*/ 141 h 1120"/>
                <a:gd name="T8" fmla="*/ 31 w 4149"/>
                <a:gd name="T9" fmla="*/ 0 h 1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49" h="1120">
                  <a:moveTo>
                    <a:pt x="31" y="0"/>
                  </a:moveTo>
                  <a:lnTo>
                    <a:pt x="4149" y="988"/>
                  </a:lnTo>
                  <a:lnTo>
                    <a:pt x="4118" y="1120"/>
                  </a:lnTo>
                  <a:lnTo>
                    <a:pt x="0" y="141"/>
                  </a:lnTo>
                  <a:lnTo>
                    <a:pt x="31" y="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7560" name="Rectangle 8"/>
            <p:cNvSpPr>
              <a:spLocks noChangeArrowheads="1"/>
            </p:cNvSpPr>
            <p:nvPr/>
          </p:nvSpPr>
          <p:spPr bwMode="gray">
            <a:xfrm>
              <a:off x="673" y="3225"/>
              <a:ext cx="4421" cy="15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7563" name="Arc 11"/>
            <p:cNvSpPr>
              <a:spLocks/>
            </p:cNvSpPr>
            <p:nvPr/>
          </p:nvSpPr>
          <p:spPr bwMode="gray">
            <a:xfrm>
              <a:off x="2649" y="2989"/>
              <a:ext cx="436" cy="234"/>
            </a:xfrm>
            <a:custGeom>
              <a:avLst/>
              <a:gdLst>
                <a:gd name="G0" fmla="+- 21596 0 0"/>
                <a:gd name="G1" fmla="+- 21600 0 0"/>
                <a:gd name="G2" fmla="+- 21600 0 0"/>
                <a:gd name="T0" fmla="*/ 0 w 43192"/>
                <a:gd name="T1" fmla="*/ 21191 h 21600"/>
                <a:gd name="T2" fmla="*/ 43192 w 43192"/>
                <a:gd name="T3" fmla="*/ 21207 h 21600"/>
                <a:gd name="T4" fmla="*/ 21596 w 43192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192" h="21600" fill="none" extrusionOk="0">
                  <a:moveTo>
                    <a:pt x="-1" y="21190"/>
                  </a:moveTo>
                  <a:cubicBezTo>
                    <a:pt x="222" y="9423"/>
                    <a:pt x="9826" y="-1"/>
                    <a:pt x="21596" y="0"/>
                  </a:cubicBezTo>
                  <a:cubicBezTo>
                    <a:pt x="33372" y="0"/>
                    <a:pt x="42978" y="9432"/>
                    <a:pt x="43192" y="21206"/>
                  </a:cubicBezTo>
                </a:path>
                <a:path w="43192" h="21600" stroke="0" extrusionOk="0">
                  <a:moveTo>
                    <a:pt x="-1" y="21190"/>
                  </a:moveTo>
                  <a:cubicBezTo>
                    <a:pt x="222" y="9423"/>
                    <a:pt x="9826" y="-1"/>
                    <a:pt x="21596" y="0"/>
                  </a:cubicBezTo>
                  <a:cubicBezTo>
                    <a:pt x="33372" y="0"/>
                    <a:pt x="42978" y="9432"/>
                    <a:pt x="43192" y="21206"/>
                  </a:cubicBezTo>
                  <a:lnTo>
                    <a:pt x="21596" y="216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7564" name="Arc 12"/>
            <p:cNvSpPr>
              <a:spLocks/>
            </p:cNvSpPr>
            <p:nvPr/>
          </p:nvSpPr>
          <p:spPr bwMode="gray">
            <a:xfrm>
              <a:off x="2649" y="2989"/>
              <a:ext cx="436" cy="234"/>
            </a:xfrm>
            <a:custGeom>
              <a:avLst/>
              <a:gdLst>
                <a:gd name="G0" fmla="+- 21596 0 0"/>
                <a:gd name="G1" fmla="+- 21600 0 0"/>
                <a:gd name="G2" fmla="+- 21600 0 0"/>
                <a:gd name="T0" fmla="*/ 0 w 43192"/>
                <a:gd name="T1" fmla="*/ 21191 h 21600"/>
                <a:gd name="T2" fmla="*/ 43192 w 43192"/>
                <a:gd name="T3" fmla="*/ 21207 h 21600"/>
                <a:gd name="T4" fmla="*/ 21596 w 43192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192" h="21600" fill="none" extrusionOk="0">
                  <a:moveTo>
                    <a:pt x="-1" y="21190"/>
                  </a:moveTo>
                  <a:cubicBezTo>
                    <a:pt x="222" y="9423"/>
                    <a:pt x="9826" y="-1"/>
                    <a:pt x="21596" y="0"/>
                  </a:cubicBezTo>
                  <a:cubicBezTo>
                    <a:pt x="33372" y="0"/>
                    <a:pt x="42978" y="9432"/>
                    <a:pt x="43192" y="21206"/>
                  </a:cubicBezTo>
                </a:path>
                <a:path w="43192" h="21600" stroke="0" extrusionOk="0">
                  <a:moveTo>
                    <a:pt x="-1" y="21190"/>
                  </a:moveTo>
                  <a:cubicBezTo>
                    <a:pt x="222" y="9423"/>
                    <a:pt x="9826" y="-1"/>
                    <a:pt x="21596" y="0"/>
                  </a:cubicBezTo>
                  <a:cubicBezTo>
                    <a:pt x="33372" y="0"/>
                    <a:pt x="42978" y="9432"/>
                    <a:pt x="43192" y="21206"/>
                  </a:cubicBezTo>
                  <a:lnTo>
                    <a:pt x="21596" y="2160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967565" name="Rectangle 13"/>
            <p:cNvSpPr>
              <a:spLocks noChangeArrowheads="1"/>
            </p:cNvSpPr>
            <p:nvPr/>
          </p:nvSpPr>
          <p:spPr bwMode="gray">
            <a:xfrm>
              <a:off x="856" y="1445"/>
              <a:ext cx="1423" cy="177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128016" rIns="36000" bIns="3600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67566" name="Rectangle 14"/>
            <p:cNvSpPr>
              <a:spLocks noChangeArrowheads="1"/>
            </p:cNvSpPr>
            <p:nvPr/>
          </p:nvSpPr>
          <p:spPr bwMode="gray">
            <a:xfrm>
              <a:off x="3464" y="1445"/>
              <a:ext cx="1423" cy="177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128016" rIns="36000" bIns="3600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967568" name="Freeform 16"/>
            <p:cNvSpPr>
              <a:spLocks/>
            </p:cNvSpPr>
            <p:nvPr/>
          </p:nvSpPr>
          <p:spPr bwMode="gray">
            <a:xfrm>
              <a:off x="2766" y="3384"/>
              <a:ext cx="229" cy="487"/>
            </a:xfrm>
            <a:custGeom>
              <a:avLst/>
              <a:gdLst>
                <a:gd name="T0" fmla="*/ 0 w 228"/>
                <a:gd name="T1" fmla="*/ 448 h 448"/>
                <a:gd name="T2" fmla="*/ 228 w 228"/>
                <a:gd name="T3" fmla="*/ 448 h 448"/>
                <a:gd name="T4" fmla="*/ 114 w 228"/>
                <a:gd name="T5" fmla="*/ 0 h 448"/>
                <a:gd name="T6" fmla="*/ 0 w 228"/>
                <a:gd name="T7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8" h="448">
                  <a:moveTo>
                    <a:pt x="0" y="448"/>
                  </a:moveTo>
                  <a:lnTo>
                    <a:pt x="228" y="448"/>
                  </a:lnTo>
                  <a:lnTo>
                    <a:pt x="114" y="0"/>
                  </a:lnTo>
                  <a:lnTo>
                    <a:pt x="0" y="448"/>
                  </a:lnTo>
                </a:path>
              </a:pathLst>
            </a:custGeom>
            <a:solidFill>
              <a:srgbClr val="5F5F5F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056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42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pendency</a:t>
            </a:r>
          </a:p>
        </p:txBody>
      </p:sp>
      <p:grpSp>
        <p:nvGrpSpPr>
          <p:cNvPr id="3294211" name="Group 3"/>
          <p:cNvGrpSpPr>
            <a:grpSpLocks/>
          </p:cNvGrpSpPr>
          <p:nvPr/>
        </p:nvGrpSpPr>
        <p:grpSpPr bwMode="auto">
          <a:xfrm>
            <a:off x="3225801" y="1492251"/>
            <a:ext cx="5719763" cy="4625975"/>
            <a:chOff x="1126" y="940"/>
            <a:chExt cx="3603" cy="2914"/>
          </a:xfrm>
        </p:grpSpPr>
        <p:grpSp>
          <p:nvGrpSpPr>
            <p:cNvPr id="3294212" name="Group 4"/>
            <p:cNvGrpSpPr>
              <a:grpSpLocks/>
            </p:cNvGrpSpPr>
            <p:nvPr/>
          </p:nvGrpSpPr>
          <p:grpSpPr bwMode="auto">
            <a:xfrm>
              <a:off x="1866" y="940"/>
              <a:ext cx="281" cy="280"/>
              <a:chOff x="2020" y="916"/>
              <a:chExt cx="280" cy="280"/>
            </a:xfrm>
          </p:grpSpPr>
          <p:sp>
            <p:nvSpPr>
              <p:cNvPr id="3294213" name="Oval 5"/>
              <p:cNvSpPr>
                <a:spLocks noChangeArrowheads="1"/>
              </p:cNvSpPr>
              <p:nvPr/>
            </p:nvSpPr>
            <p:spPr bwMode="gray">
              <a:xfrm>
                <a:off x="2020" y="916"/>
                <a:ext cx="280" cy="280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294214" name="Oval 6"/>
              <p:cNvSpPr>
                <a:spLocks noChangeArrowheads="1"/>
              </p:cNvSpPr>
              <p:nvPr/>
            </p:nvSpPr>
            <p:spPr bwMode="gray">
              <a:xfrm>
                <a:off x="2092" y="989"/>
                <a:ext cx="136" cy="1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pSp>
          <p:nvGrpSpPr>
            <p:cNvPr id="3294215" name="Group 7"/>
            <p:cNvGrpSpPr>
              <a:grpSpLocks/>
            </p:cNvGrpSpPr>
            <p:nvPr/>
          </p:nvGrpSpPr>
          <p:grpSpPr bwMode="auto">
            <a:xfrm>
              <a:off x="3714" y="940"/>
              <a:ext cx="281" cy="280"/>
              <a:chOff x="4036" y="916"/>
              <a:chExt cx="280" cy="280"/>
            </a:xfrm>
          </p:grpSpPr>
          <p:sp>
            <p:nvSpPr>
              <p:cNvPr id="3294216" name="Oval 8"/>
              <p:cNvSpPr>
                <a:spLocks noChangeArrowheads="1"/>
              </p:cNvSpPr>
              <p:nvPr/>
            </p:nvSpPr>
            <p:spPr bwMode="gray">
              <a:xfrm>
                <a:off x="4036" y="916"/>
                <a:ext cx="280" cy="280"/>
              </a:xfrm>
              <a:prstGeom prst="ellipse">
                <a:avLst/>
              </a:prstGeom>
              <a:solidFill>
                <a:schemeClr val="tx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294217" name="Oval 9"/>
              <p:cNvSpPr>
                <a:spLocks noChangeArrowheads="1"/>
              </p:cNvSpPr>
              <p:nvPr/>
            </p:nvSpPr>
            <p:spPr bwMode="gray">
              <a:xfrm>
                <a:off x="4108" y="989"/>
                <a:ext cx="136" cy="1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sp>
          <p:nvSpPr>
            <p:cNvPr id="3294218" name="Line 10"/>
            <p:cNvSpPr>
              <a:spLocks noChangeShapeType="1"/>
            </p:cNvSpPr>
            <p:nvPr/>
          </p:nvSpPr>
          <p:spPr bwMode="gray">
            <a:xfrm>
              <a:off x="1865" y="1077"/>
              <a:ext cx="0" cy="72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94219" name="Line 11"/>
            <p:cNvSpPr>
              <a:spLocks noChangeShapeType="1"/>
            </p:cNvSpPr>
            <p:nvPr/>
          </p:nvSpPr>
          <p:spPr bwMode="gray">
            <a:xfrm>
              <a:off x="3988" y="1080"/>
              <a:ext cx="0" cy="129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94220" name="Line 12"/>
            <p:cNvSpPr>
              <a:spLocks noChangeShapeType="1"/>
            </p:cNvSpPr>
            <p:nvPr/>
          </p:nvSpPr>
          <p:spPr bwMode="gray">
            <a:xfrm flipV="1">
              <a:off x="1995" y="942"/>
              <a:ext cx="186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3294221" name="Group 13"/>
            <p:cNvGrpSpPr>
              <a:grpSpLocks/>
            </p:cNvGrpSpPr>
            <p:nvPr/>
          </p:nvGrpSpPr>
          <p:grpSpPr bwMode="auto">
            <a:xfrm>
              <a:off x="1126" y="1798"/>
              <a:ext cx="1477" cy="1648"/>
              <a:chOff x="1219" y="1774"/>
              <a:chExt cx="1600" cy="1648"/>
            </a:xfrm>
          </p:grpSpPr>
          <p:sp>
            <p:nvSpPr>
              <p:cNvPr id="3294222" name="AutoShape 14"/>
              <p:cNvSpPr>
                <a:spLocks noChangeArrowheads="1"/>
              </p:cNvSpPr>
              <p:nvPr/>
            </p:nvSpPr>
            <p:spPr bwMode="gray">
              <a:xfrm rot="16200000">
                <a:off x="1195" y="1798"/>
                <a:ext cx="1648" cy="1600"/>
              </a:xfrm>
              <a:prstGeom prst="homePlate">
                <a:avLst>
                  <a:gd name="adj" fmla="val 34333"/>
                </a:avLst>
              </a:prstGeom>
              <a:solidFill>
                <a:schemeClr val="bg1">
                  <a:lumMod val="95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294223" name="Line 15"/>
              <p:cNvSpPr>
                <a:spLocks noChangeShapeType="1"/>
              </p:cNvSpPr>
              <p:nvPr/>
            </p:nvSpPr>
            <p:spPr bwMode="gray">
              <a:xfrm>
                <a:off x="2772" y="2350"/>
                <a:ext cx="0" cy="102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294224" name="Line 16"/>
              <p:cNvSpPr>
                <a:spLocks noChangeShapeType="1"/>
              </p:cNvSpPr>
              <p:nvPr/>
            </p:nvSpPr>
            <p:spPr bwMode="gray">
              <a:xfrm>
                <a:off x="1290" y="3375"/>
                <a:ext cx="1482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pSp>
          <p:nvGrpSpPr>
            <p:cNvPr id="3294225" name="Group 17"/>
            <p:cNvGrpSpPr>
              <a:grpSpLocks/>
            </p:cNvGrpSpPr>
            <p:nvPr/>
          </p:nvGrpSpPr>
          <p:grpSpPr bwMode="auto">
            <a:xfrm>
              <a:off x="3252" y="2206"/>
              <a:ext cx="1477" cy="1648"/>
              <a:chOff x="3523" y="2350"/>
              <a:chExt cx="1600" cy="1648"/>
            </a:xfrm>
          </p:grpSpPr>
          <p:sp>
            <p:nvSpPr>
              <p:cNvPr id="3294226" name="AutoShape 18"/>
              <p:cNvSpPr>
                <a:spLocks noChangeArrowheads="1"/>
              </p:cNvSpPr>
              <p:nvPr/>
            </p:nvSpPr>
            <p:spPr bwMode="gray">
              <a:xfrm rot="16200000">
                <a:off x="3499" y="2374"/>
                <a:ext cx="1648" cy="1600"/>
              </a:xfrm>
              <a:prstGeom prst="homePlate">
                <a:avLst>
                  <a:gd name="adj" fmla="val 34333"/>
                </a:avLst>
              </a:prstGeom>
              <a:solidFill>
                <a:schemeClr val="bg1">
                  <a:lumMod val="95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294227" name="Line 19"/>
              <p:cNvSpPr>
                <a:spLocks noChangeShapeType="1"/>
              </p:cNvSpPr>
              <p:nvPr/>
            </p:nvSpPr>
            <p:spPr bwMode="gray">
              <a:xfrm>
                <a:off x="5076" y="2926"/>
                <a:ext cx="0" cy="1026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294228" name="Line 20"/>
              <p:cNvSpPr>
                <a:spLocks noChangeShapeType="1"/>
              </p:cNvSpPr>
              <p:nvPr/>
            </p:nvSpPr>
            <p:spPr bwMode="gray">
              <a:xfrm>
                <a:off x="3594" y="3951"/>
                <a:ext cx="1482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sp>
          <p:nvSpPr>
            <p:cNvPr id="3294229" name="Rectangle 21"/>
            <p:cNvSpPr>
              <a:spLocks noChangeArrowheads="1"/>
            </p:cNvSpPr>
            <p:nvPr/>
          </p:nvSpPr>
          <p:spPr bwMode="gray">
            <a:xfrm>
              <a:off x="1221" y="2443"/>
              <a:ext cx="124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94230" name="Rectangle 22"/>
            <p:cNvSpPr>
              <a:spLocks noChangeArrowheads="1"/>
            </p:cNvSpPr>
            <p:nvPr/>
          </p:nvSpPr>
          <p:spPr bwMode="gray">
            <a:xfrm>
              <a:off x="3360" y="2827"/>
              <a:ext cx="1249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6683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6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us-Minus I</a:t>
            </a:r>
          </a:p>
        </p:txBody>
      </p:sp>
      <p:grpSp>
        <p:nvGrpSpPr>
          <p:cNvPr id="2969613" name="Group 13"/>
          <p:cNvGrpSpPr>
            <a:grpSpLocks/>
          </p:cNvGrpSpPr>
          <p:nvPr/>
        </p:nvGrpSpPr>
        <p:grpSpPr bwMode="auto">
          <a:xfrm>
            <a:off x="1912938" y="1495425"/>
            <a:ext cx="8299450" cy="4654550"/>
            <a:chOff x="245" y="942"/>
            <a:chExt cx="5228" cy="2932"/>
          </a:xfrm>
        </p:grpSpPr>
        <p:grpSp>
          <p:nvGrpSpPr>
            <p:cNvPr id="2969611" name="Group 11"/>
            <p:cNvGrpSpPr>
              <a:grpSpLocks/>
            </p:cNvGrpSpPr>
            <p:nvPr/>
          </p:nvGrpSpPr>
          <p:grpSpPr bwMode="auto">
            <a:xfrm>
              <a:off x="2455" y="2704"/>
              <a:ext cx="3018" cy="1170"/>
              <a:chOff x="2455" y="2704"/>
              <a:chExt cx="3018" cy="1170"/>
            </a:xfrm>
          </p:grpSpPr>
          <p:sp>
            <p:nvSpPr>
              <p:cNvPr id="2969604" name="Rectangle 4"/>
              <p:cNvSpPr>
                <a:spLocks noChangeArrowheads="1"/>
              </p:cNvSpPr>
              <p:nvPr/>
            </p:nvSpPr>
            <p:spPr bwMode="gray">
              <a:xfrm>
                <a:off x="2455" y="2704"/>
                <a:ext cx="3018" cy="1170"/>
              </a:xfrm>
              <a:prstGeom prst="rect">
                <a:avLst/>
              </a:prstGeom>
              <a:noFill/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2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108000" tIns="108000" rIns="0" bIns="0"/>
              <a:lstStyle/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en-US"/>
                  <a:t>Text</a:t>
                </a:r>
              </a:p>
            </p:txBody>
          </p:sp>
          <p:sp>
            <p:nvSpPr>
              <p:cNvPr id="2969605" name="Rectangle 5"/>
              <p:cNvSpPr>
                <a:spLocks noChangeArrowheads="1"/>
              </p:cNvSpPr>
              <p:nvPr/>
            </p:nvSpPr>
            <p:spPr bwMode="gray">
              <a:xfrm>
                <a:off x="3648" y="3162"/>
                <a:ext cx="632" cy="254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de-DE"/>
              </a:p>
            </p:txBody>
          </p:sp>
        </p:grpSp>
        <p:grpSp>
          <p:nvGrpSpPr>
            <p:cNvPr id="2969612" name="Group 12"/>
            <p:cNvGrpSpPr>
              <a:grpSpLocks/>
            </p:cNvGrpSpPr>
            <p:nvPr/>
          </p:nvGrpSpPr>
          <p:grpSpPr bwMode="auto">
            <a:xfrm>
              <a:off x="245" y="942"/>
              <a:ext cx="5228" cy="2347"/>
              <a:chOff x="245" y="942"/>
              <a:chExt cx="5228" cy="2347"/>
            </a:xfrm>
          </p:grpSpPr>
          <p:sp>
            <p:nvSpPr>
              <p:cNvPr id="2969606" name="Rectangle 6"/>
              <p:cNvSpPr>
                <a:spLocks noChangeArrowheads="1"/>
              </p:cNvSpPr>
              <p:nvPr/>
            </p:nvSpPr>
            <p:spPr bwMode="gray">
              <a:xfrm>
                <a:off x="2455" y="942"/>
                <a:ext cx="3018" cy="1170"/>
              </a:xfrm>
              <a:prstGeom prst="rect">
                <a:avLst/>
              </a:prstGeom>
              <a:noFill/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2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108000" tIns="108000" rIns="0" bIns="0"/>
              <a:lstStyle/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/>
                  <a:t>Text</a:t>
                </a:r>
                <a:endParaRPr lang="en-US"/>
              </a:p>
            </p:txBody>
          </p:sp>
          <p:sp>
            <p:nvSpPr>
              <p:cNvPr id="2969607" name="AutoShape 7"/>
              <p:cNvSpPr>
                <a:spLocks noChangeArrowheads="1"/>
              </p:cNvSpPr>
              <p:nvPr/>
            </p:nvSpPr>
            <p:spPr bwMode="gray">
              <a:xfrm>
                <a:off x="3545" y="1100"/>
                <a:ext cx="839" cy="854"/>
              </a:xfrm>
              <a:prstGeom prst="plus">
                <a:avLst>
                  <a:gd name="adj" fmla="val 35074"/>
                </a:avLst>
              </a:pr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108000" tIns="108000" rIns="0" bIns="0"/>
              <a:lstStyle/>
              <a:p>
                <a:endParaRPr lang="en-US"/>
              </a:p>
            </p:txBody>
          </p:sp>
          <p:cxnSp>
            <p:nvCxnSpPr>
              <p:cNvPr id="2969608" name="AutoShape 8"/>
              <p:cNvCxnSpPr>
                <a:cxnSpLocks noChangeShapeType="1"/>
                <a:stCxn id="2969610" idx="3"/>
                <a:endCxn id="2969604" idx="1"/>
              </p:cNvCxnSpPr>
              <p:nvPr/>
            </p:nvCxnSpPr>
            <p:spPr bwMode="gray">
              <a:xfrm>
                <a:off x="1491" y="2409"/>
                <a:ext cx="964" cy="880"/>
              </a:xfrm>
              <a:prstGeom prst="bentConnector3">
                <a:avLst>
                  <a:gd name="adj1" fmla="val 50000"/>
                </a:avLst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 type="triangle" w="lg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969609" name="AutoShape 9"/>
              <p:cNvCxnSpPr>
                <a:cxnSpLocks noChangeShapeType="1"/>
                <a:stCxn id="2969610" idx="3"/>
                <a:endCxn id="2969606" idx="1"/>
              </p:cNvCxnSpPr>
              <p:nvPr/>
            </p:nvCxnSpPr>
            <p:spPr bwMode="gray">
              <a:xfrm flipV="1">
                <a:off x="1491" y="1527"/>
                <a:ext cx="964" cy="882"/>
              </a:xfrm>
              <a:prstGeom prst="bentConnector3">
                <a:avLst>
                  <a:gd name="adj1" fmla="val 50000"/>
                </a:avLst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 type="triangle" w="lg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2969610" name="Rectangle 10"/>
              <p:cNvSpPr>
                <a:spLocks noChangeArrowheads="1"/>
              </p:cNvSpPr>
              <p:nvPr/>
            </p:nvSpPr>
            <p:spPr bwMode="gray">
              <a:xfrm>
                <a:off x="245" y="1762"/>
                <a:ext cx="1246" cy="129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 anchorCtr="1"/>
              <a:lstStyle/>
              <a:p>
                <a:pPr defTabSz="912813"/>
                <a:r>
                  <a:rPr lang="de-DE" b="1"/>
                  <a:t>Text</a:t>
                </a:r>
                <a:endParaRPr lang="en-US" b="1"/>
              </a:p>
            </p:txBody>
          </p:sp>
        </p:grp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954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41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xt Template</a:t>
            </a:r>
          </a:p>
        </p:txBody>
      </p:sp>
      <p:sp>
        <p:nvSpPr>
          <p:cNvPr id="3034115" name="DPIC_Message_Title"/>
          <p:cNvSpPr txBox="1">
            <a:spLocks noChangeArrowheads="1"/>
          </p:cNvSpPr>
          <p:nvPr/>
        </p:nvSpPr>
        <p:spPr bwMode="gray">
          <a:xfrm>
            <a:off x="1668463" y="377826"/>
            <a:ext cx="6972300" cy="24447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anchor="b"/>
          <a:lstStyle>
            <a:lvl1pPr algn="l" defTabSz="873125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434975" algn="l" defTabSz="873125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873125" algn="l" defTabSz="873125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308100" algn="l" defTabSz="873125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746250" algn="l" defTabSz="873125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203450" defTabSz="8731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660650" defTabSz="8731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117850" defTabSz="8731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575050" defTabSz="8731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buClrTx/>
              <a:buSzTx/>
              <a:buFontTx/>
              <a:buNone/>
            </a:pPr>
            <a:endParaRPr lang="en-US" sz="1600" dirty="0">
              <a:latin typeface="Arial" pitchFamily="34" charset="0"/>
            </a:endParaRPr>
          </a:p>
        </p:txBody>
      </p:sp>
      <p:sp>
        <p:nvSpPr>
          <p:cNvPr id="3034117" name="Rectangle 5"/>
          <p:cNvSpPr>
            <a:spLocks noGrp="1" noChangeArrowheads="1"/>
          </p:cNvSpPr>
          <p:nvPr>
            <p:ph type="body" idx="4294967295"/>
          </p:nvPr>
        </p:nvSpPr>
        <p:spPr>
          <a:xfrm>
            <a:off x="1908175" y="2309391"/>
            <a:ext cx="4103688" cy="377824"/>
          </a:xfrm>
          <a:noFill/>
          <a:ln/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b="1" dirty="0"/>
              <a:t>Text</a:t>
            </a:r>
          </a:p>
        </p:txBody>
      </p:sp>
      <p:sp>
        <p:nvSpPr>
          <p:cNvPr id="3034118" name="Line 6"/>
          <p:cNvSpPr>
            <a:spLocks noChangeShapeType="1"/>
          </p:cNvSpPr>
          <p:nvPr/>
        </p:nvSpPr>
        <p:spPr bwMode="gray">
          <a:xfrm>
            <a:off x="1908175" y="2687215"/>
            <a:ext cx="410368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36000" anchor="ctr">
            <a:spAutoFit/>
          </a:bodyPr>
          <a:lstStyle/>
          <a:p>
            <a:endParaRPr lang="en-US"/>
          </a:p>
        </p:txBody>
      </p:sp>
      <p:sp>
        <p:nvSpPr>
          <p:cNvPr id="3034119" name="Rectangle 7"/>
          <p:cNvSpPr>
            <a:spLocks noGrp="1" noChangeArrowheads="1"/>
          </p:cNvSpPr>
          <p:nvPr>
            <p:ph type="body" idx="4294967295"/>
          </p:nvPr>
        </p:nvSpPr>
        <p:spPr>
          <a:xfrm>
            <a:off x="1908175" y="2774527"/>
            <a:ext cx="4103688" cy="9794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pPr lvl="1"/>
            <a:r>
              <a:rPr lang="de-DE" sz="2000" dirty="0"/>
              <a:t>Text</a:t>
            </a:r>
          </a:p>
          <a:p>
            <a:pPr lvl="1"/>
            <a:r>
              <a:rPr lang="de-DE" sz="2000" dirty="0"/>
              <a:t>Text</a:t>
            </a:r>
            <a:endParaRPr lang="en-US" sz="2000" dirty="0"/>
          </a:p>
          <a:p>
            <a:pPr lvl="1"/>
            <a:r>
              <a:rPr lang="de-DE" sz="2000" dirty="0"/>
              <a:t>Text</a:t>
            </a:r>
            <a:endParaRPr lang="en-US" sz="2000" dirty="0"/>
          </a:p>
          <a:p>
            <a:pPr lvl="1"/>
            <a:r>
              <a:rPr lang="de-DE" sz="2000" dirty="0"/>
              <a:t>Text</a:t>
            </a:r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35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16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us-Minus II</a:t>
            </a:r>
          </a:p>
        </p:txBody>
      </p:sp>
      <p:grpSp>
        <p:nvGrpSpPr>
          <p:cNvPr id="2971669" name="Group 21"/>
          <p:cNvGrpSpPr>
            <a:grpSpLocks/>
          </p:cNvGrpSpPr>
          <p:nvPr/>
        </p:nvGrpSpPr>
        <p:grpSpPr bwMode="auto">
          <a:xfrm>
            <a:off x="1906588" y="1495426"/>
            <a:ext cx="8297862" cy="4651375"/>
            <a:chOff x="241" y="942"/>
            <a:chExt cx="5227" cy="2930"/>
          </a:xfrm>
        </p:grpSpPr>
        <p:sp>
          <p:nvSpPr>
            <p:cNvPr id="2971661" name="AutoShape 13"/>
            <p:cNvSpPr>
              <a:spLocks noChangeArrowheads="1"/>
            </p:cNvSpPr>
            <p:nvPr/>
          </p:nvSpPr>
          <p:spPr bwMode="gray">
            <a:xfrm rot="5400000">
              <a:off x="940" y="573"/>
              <a:ext cx="1129" cy="2528"/>
            </a:xfrm>
            <a:prstGeom prst="homePlate">
              <a:avLst>
                <a:gd name="adj" fmla="val 10278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tIns="0" rIns="0" bIns="9144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/>
                <a:t>Text</a:t>
              </a:r>
            </a:p>
            <a:p>
              <a:pPr marL="455613" lvl="2" indent="-166688" defTabSz="912813">
                <a:buFontTx/>
                <a:buChar char="–"/>
              </a:pPr>
              <a:r>
                <a:rPr lang="de-DE"/>
                <a:t>Text</a:t>
              </a:r>
              <a:endParaRPr lang="en-US"/>
            </a:p>
            <a:p>
              <a:pPr marL="174625" lvl="1" indent="-173038" defTabSz="912813">
                <a:buFont typeface="Wingdings" pitchFamily="2" charset="2"/>
                <a:buChar char="§"/>
              </a:pPr>
              <a:endParaRPr lang="en-US"/>
            </a:p>
          </p:txBody>
        </p:sp>
        <p:sp>
          <p:nvSpPr>
            <p:cNvPr id="2971652" name="Rectangle 4"/>
            <p:cNvSpPr>
              <a:spLocks noChangeArrowheads="1"/>
            </p:cNvSpPr>
            <p:nvPr/>
          </p:nvSpPr>
          <p:spPr bwMode="gray">
            <a:xfrm>
              <a:off x="244" y="3595"/>
              <a:ext cx="2528" cy="277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36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/>
                <a:t>Text</a:t>
              </a:r>
              <a:endParaRPr lang="en-US"/>
            </a:p>
          </p:txBody>
        </p:sp>
        <p:sp>
          <p:nvSpPr>
            <p:cNvPr id="2971653" name="Rectangle 5"/>
            <p:cNvSpPr>
              <a:spLocks noChangeArrowheads="1"/>
            </p:cNvSpPr>
            <p:nvPr/>
          </p:nvSpPr>
          <p:spPr bwMode="gray">
            <a:xfrm>
              <a:off x="1041" y="2922"/>
              <a:ext cx="932" cy="216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2971654" name="Freeform 6"/>
            <p:cNvSpPr>
              <a:spLocks/>
            </p:cNvSpPr>
            <p:nvPr/>
          </p:nvSpPr>
          <p:spPr bwMode="gray">
            <a:xfrm>
              <a:off x="244" y="2354"/>
              <a:ext cx="2525" cy="1189"/>
            </a:xfrm>
            <a:custGeom>
              <a:avLst/>
              <a:gdLst>
                <a:gd name="T0" fmla="*/ 2560 w 2560"/>
                <a:gd name="T1" fmla="*/ 1147 h 1147"/>
                <a:gd name="T2" fmla="*/ 2560 w 2560"/>
                <a:gd name="T3" fmla="*/ 0 h 1147"/>
                <a:gd name="T4" fmla="*/ 1282 w 2560"/>
                <a:gd name="T5" fmla="*/ 106 h 1147"/>
                <a:gd name="T6" fmla="*/ 0 w 2560"/>
                <a:gd name="T7" fmla="*/ 0 h 1147"/>
                <a:gd name="T8" fmla="*/ 0 w 2560"/>
                <a:gd name="T9" fmla="*/ 1147 h 1147"/>
                <a:gd name="T10" fmla="*/ 2560 w 2560"/>
                <a:gd name="T11" fmla="*/ 1147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60" h="1147">
                  <a:moveTo>
                    <a:pt x="2560" y="1147"/>
                  </a:moveTo>
                  <a:lnTo>
                    <a:pt x="2560" y="0"/>
                  </a:lnTo>
                  <a:lnTo>
                    <a:pt x="1282" y="106"/>
                  </a:lnTo>
                  <a:lnTo>
                    <a:pt x="0" y="0"/>
                  </a:lnTo>
                  <a:lnTo>
                    <a:pt x="0" y="1147"/>
                  </a:lnTo>
                  <a:lnTo>
                    <a:pt x="2560" y="1147"/>
                  </a:lnTo>
                </a:path>
              </a:pathLst>
            </a:custGeom>
            <a:noFill/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71656" name="Rectangle 8"/>
            <p:cNvSpPr>
              <a:spLocks noChangeArrowheads="1"/>
            </p:cNvSpPr>
            <p:nvPr/>
          </p:nvSpPr>
          <p:spPr bwMode="gray">
            <a:xfrm>
              <a:off x="244" y="942"/>
              <a:ext cx="2528" cy="27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spcAft>
                  <a:spcPct val="0"/>
                </a:spcAft>
              </a:pPr>
              <a:r>
                <a:rPr lang="de-DE" b="1"/>
                <a:t>Text</a:t>
              </a:r>
              <a:endParaRPr lang="en-US" b="1"/>
            </a:p>
          </p:txBody>
        </p:sp>
        <p:sp>
          <p:nvSpPr>
            <p:cNvPr id="2971657" name="AutoShape 9"/>
            <p:cNvSpPr>
              <a:spLocks noChangeArrowheads="1"/>
            </p:cNvSpPr>
            <p:nvPr/>
          </p:nvSpPr>
          <p:spPr bwMode="gray">
            <a:xfrm>
              <a:off x="3742" y="2578"/>
              <a:ext cx="929" cy="903"/>
            </a:xfrm>
            <a:prstGeom prst="plus">
              <a:avLst>
                <a:gd name="adj" fmla="val 39398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2971658" name="Freeform 10"/>
            <p:cNvSpPr>
              <a:spLocks/>
            </p:cNvSpPr>
            <p:nvPr/>
          </p:nvSpPr>
          <p:spPr bwMode="gray">
            <a:xfrm>
              <a:off x="2945" y="2354"/>
              <a:ext cx="2523" cy="1189"/>
            </a:xfrm>
            <a:custGeom>
              <a:avLst/>
              <a:gdLst>
                <a:gd name="T0" fmla="*/ 2560 w 2560"/>
                <a:gd name="T1" fmla="*/ 1147 h 1147"/>
                <a:gd name="T2" fmla="*/ 2560 w 2560"/>
                <a:gd name="T3" fmla="*/ 0 h 1147"/>
                <a:gd name="T4" fmla="*/ 1282 w 2560"/>
                <a:gd name="T5" fmla="*/ 106 h 1147"/>
                <a:gd name="T6" fmla="*/ 0 w 2560"/>
                <a:gd name="T7" fmla="*/ 0 h 1147"/>
                <a:gd name="T8" fmla="*/ 0 w 2560"/>
                <a:gd name="T9" fmla="*/ 1147 h 1147"/>
                <a:gd name="T10" fmla="*/ 2560 w 2560"/>
                <a:gd name="T11" fmla="*/ 1147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60" h="1147">
                  <a:moveTo>
                    <a:pt x="2560" y="1147"/>
                  </a:moveTo>
                  <a:lnTo>
                    <a:pt x="2560" y="0"/>
                  </a:lnTo>
                  <a:lnTo>
                    <a:pt x="1282" y="106"/>
                  </a:lnTo>
                  <a:lnTo>
                    <a:pt x="0" y="0"/>
                  </a:lnTo>
                  <a:lnTo>
                    <a:pt x="0" y="1147"/>
                  </a:lnTo>
                  <a:lnTo>
                    <a:pt x="2560" y="1147"/>
                  </a:lnTo>
                </a:path>
              </a:pathLst>
            </a:custGeom>
            <a:noFill/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71660" name="Rectangle 12"/>
            <p:cNvSpPr>
              <a:spLocks noChangeArrowheads="1"/>
            </p:cNvSpPr>
            <p:nvPr/>
          </p:nvSpPr>
          <p:spPr bwMode="gray">
            <a:xfrm>
              <a:off x="2940" y="942"/>
              <a:ext cx="2528" cy="27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spcAft>
                  <a:spcPct val="0"/>
                </a:spcAft>
              </a:pPr>
              <a:r>
                <a:rPr lang="de-DE" b="1"/>
                <a:t>Text</a:t>
              </a:r>
              <a:endParaRPr lang="en-US" b="1"/>
            </a:p>
          </p:txBody>
        </p:sp>
        <p:sp>
          <p:nvSpPr>
            <p:cNvPr id="2971663" name="Rectangle 15"/>
            <p:cNvSpPr>
              <a:spLocks noChangeArrowheads="1"/>
            </p:cNvSpPr>
            <p:nvPr/>
          </p:nvSpPr>
          <p:spPr bwMode="gray">
            <a:xfrm>
              <a:off x="306" y="2522"/>
              <a:ext cx="238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/>
                <a:t>Text</a:t>
              </a:r>
              <a:endParaRPr lang="en-US"/>
            </a:p>
          </p:txBody>
        </p:sp>
        <p:sp>
          <p:nvSpPr>
            <p:cNvPr id="2971664" name="Rectangle 16"/>
            <p:cNvSpPr>
              <a:spLocks noChangeArrowheads="1"/>
            </p:cNvSpPr>
            <p:nvPr/>
          </p:nvSpPr>
          <p:spPr bwMode="gray">
            <a:xfrm>
              <a:off x="2998" y="2522"/>
              <a:ext cx="238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/>
                <a:t>Text</a:t>
              </a:r>
              <a:endParaRPr lang="en-US"/>
            </a:p>
          </p:txBody>
        </p:sp>
        <p:sp>
          <p:nvSpPr>
            <p:cNvPr id="2971665" name="Rectangle 17"/>
            <p:cNvSpPr>
              <a:spLocks noChangeArrowheads="1"/>
            </p:cNvSpPr>
            <p:nvPr/>
          </p:nvSpPr>
          <p:spPr bwMode="gray">
            <a:xfrm>
              <a:off x="2940" y="3595"/>
              <a:ext cx="2528" cy="277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36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/>
                <a:t>Text</a:t>
              </a:r>
              <a:endParaRPr lang="en-US"/>
            </a:p>
          </p:txBody>
        </p:sp>
        <p:sp>
          <p:nvSpPr>
            <p:cNvPr id="2971666" name="AutoShape 18"/>
            <p:cNvSpPr>
              <a:spLocks noChangeArrowheads="1"/>
            </p:cNvSpPr>
            <p:nvPr/>
          </p:nvSpPr>
          <p:spPr bwMode="gray">
            <a:xfrm rot="5400000">
              <a:off x="3639" y="573"/>
              <a:ext cx="1129" cy="2528"/>
            </a:xfrm>
            <a:prstGeom prst="homePlate">
              <a:avLst>
                <a:gd name="adj" fmla="val 10278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tIns="0" rIns="0" bIns="9144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/>
                <a:t>Text</a:t>
              </a:r>
            </a:p>
            <a:p>
              <a:pPr marL="455613" lvl="2" indent="-166688" defTabSz="912813">
                <a:buFontTx/>
                <a:buChar char="–"/>
              </a:pPr>
              <a:r>
                <a:rPr lang="de-DE"/>
                <a:t>Text</a:t>
              </a:r>
              <a:endParaRPr lang="en-US"/>
            </a:p>
            <a:p>
              <a:pPr marL="174625" lvl="1" indent="-173038" defTabSz="912813">
                <a:buFont typeface="Wingdings" pitchFamily="2" charset="2"/>
                <a:buChar char="§"/>
              </a:pPr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873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36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us-Minus III</a:t>
            </a:r>
          </a:p>
        </p:txBody>
      </p:sp>
      <p:grpSp>
        <p:nvGrpSpPr>
          <p:cNvPr id="2973710" name="Group 14"/>
          <p:cNvGrpSpPr>
            <a:grpSpLocks/>
          </p:cNvGrpSpPr>
          <p:nvPr/>
        </p:nvGrpSpPr>
        <p:grpSpPr bwMode="auto">
          <a:xfrm>
            <a:off x="1909764" y="1498600"/>
            <a:ext cx="8296275" cy="4649788"/>
            <a:chOff x="243" y="944"/>
            <a:chExt cx="5226" cy="2929"/>
          </a:xfrm>
        </p:grpSpPr>
        <p:sp>
          <p:nvSpPr>
            <p:cNvPr id="2973708" name="AutoShape 12"/>
            <p:cNvSpPr>
              <a:spLocks noChangeArrowheads="1"/>
            </p:cNvSpPr>
            <p:nvPr/>
          </p:nvSpPr>
          <p:spPr bwMode="gray">
            <a:xfrm rot="5400000">
              <a:off x="3044" y="1276"/>
              <a:ext cx="2321" cy="2528"/>
            </a:xfrm>
            <a:prstGeom prst="homePlate">
              <a:avLst>
                <a:gd name="adj" fmla="val 11551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tIns="0" rIns="0" bIns="9144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/>
                <a:t>Text</a:t>
              </a:r>
            </a:p>
            <a:p>
              <a:pPr marL="455613" lvl="2" indent="-166688" defTabSz="912813">
                <a:buFontTx/>
                <a:buChar char="–"/>
              </a:pPr>
              <a:r>
                <a:rPr lang="de-DE"/>
                <a:t>Text</a:t>
              </a:r>
              <a:endParaRPr lang="en-US"/>
            </a:p>
            <a:p>
              <a:pPr marL="174625" lvl="1" indent="-173038" defTabSz="912813">
                <a:buFont typeface="Wingdings" pitchFamily="2" charset="2"/>
                <a:buChar char="§"/>
              </a:pPr>
              <a:endParaRPr lang="en-US"/>
            </a:p>
          </p:txBody>
        </p:sp>
        <p:sp>
          <p:nvSpPr>
            <p:cNvPr id="2973699" name="Rectangle 3"/>
            <p:cNvSpPr>
              <a:spLocks noChangeArrowheads="1"/>
            </p:cNvSpPr>
            <p:nvPr/>
          </p:nvSpPr>
          <p:spPr bwMode="gray">
            <a:xfrm>
              <a:off x="3672" y="2442"/>
              <a:ext cx="1073" cy="204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2973700" name="Rectangle 4"/>
            <p:cNvSpPr>
              <a:spLocks noChangeArrowheads="1"/>
            </p:cNvSpPr>
            <p:nvPr/>
          </p:nvSpPr>
          <p:spPr bwMode="gray">
            <a:xfrm flipV="1">
              <a:off x="2949" y="944"/>
              <a:ext cx="2520" cy="38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lIns="0" tIns="0" rIns="0" bIns="0" anchor="ctr"/>
            <a:lstStyle/>
            <a:p>
              <a:pPr>
                <a:spcAft>
                  <a:spcPct val="0"/>
                </a:spcAft>
              </a:pPr>
              <a:r>
                <a:rPr lang="de-DE" altLang="de-DE" b="1"/>
                <a:t>Text</a:t>
              </a:r>
              <a:endParaRPr lang="en-US" b="1"/>
            </a:p>
          </p:txBody>
        </p:sp>
        <p:sp>
          <p:nvSpPr>
            <p:cNvPr id="2973702" name="AutoShape 6"/>
            <p:cNvSpPr>
              <a:spLocks noChangeArrowheads="1"/>
            </p:cNvSpPr>
            <p:nvPr/>
          </p:nvSpPr>
          <p:spPr bwMode="gray">
            <a:xfrm>
              <a:off x="936" y="1983"/>
              <a:ext cx="1133" cy="1122"/>
            </a:xfrm>
            <a:prstGeom prst="plus">
              <a:avLst>
                <a:gd name="adj" fmla="val 40653"/>
              </a:avLst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2973704" name="Rectangle 8"/>
            <p:cNvSpPr>
              <a:spLocks noChangeArrowheads="1"/>
            </p:cNvSpPr>
            <p:nvPr/>
          </p:nvSpPr>
          <p:spPr bwMode="gray">
            <a:xfrm flipV="1">
              <a:off x="243" y="3489"/>
              <a:ext cx="2520" cy="38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lIns="0" tIns="0" rIns="0" bIns="0" anchor="ctr"/>
            <a:lstStyle/>
            <a:p>
              <a:pPr>
                <a:spcAft>
                  <a:spcPct val="0"/>
                </a:spcAft>
              </a:pPr>
              <a:r>
                <a:rPr lang="de-DE" altLang="de-DE" b="1"/>
                <a:t>Text</a:t>
              </a:r>
              <a:endParaRPr lang="en-US" b="1"/>
            </a:p>
          </p:txBody>
        </p:sp>
        <p:sp>
          <p:nvSpPr>
            <p:cNvPr id="2973709" name="AutoShape 13"/>
            <p:cNvSpPr>
              <a:spLocks noChangeArrowheads="1"/>
            </p:cNvSpPr>
            <p:nvPr/>
          </p:nvSpPr>
          <p:spPr bwMode="gray">
            <a:xfrm rot="16200000" flipV="1">
              <a:off x="346" y="1013"/>
              <a:ext cx="2321" cy="2528"/>
            </a:xfrm>
            <a:prstGeom prst="homePlate">
              <a:avLst>
                <a:gd name="adj" fmla="val 11551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tIns="0" rIns="585216" bIns="9144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/>
                <a:t>Text</a:t>
              </a:r>
            </a:p>
            <a:p>
              <a:pPr marL="455613" lvl="2" indent="-166688" defTabSz="912813">
                <a:buFontTx/>
                <a:buChar char="–"/>
              </a:pPr>
              <a:r>
                <a:rPr lang="de-DE"/>
                <a:t>Text</a:t>
              </a:r>
              <a:endParaRPr lang="en-US"/>
            </a:p>
            <a:p>
              <a:pPr marL="174625" lvl="1" indent="-173038" defTabSz="912813">
                <a:buFont typeface="Wingdings" pitchFamily="2" charset="2"/>
                <a:buChar char="§"/>
              </a:pPr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715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57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us Minus IV</a:t>
            </a:r>
          </a:p>
        </p:txBody>
      </p:sp>
      <p:grpSp>
        <p:nvGrpSpPr>
          <p:cNvPr id="2975747" name="Group 3"/>
          <p:cNvGrpSpPr>
            <a:grpSpLocks/>
          </p:cNvGrpSpPr>
          <p:nvPr/>
        </p:nvGrpSpPr>
        <p:grpSpPr bwMode="auto">
          <a:xfrm>
            <a:off x="1905001" y="1797050"/>
            <a:ext cx="4067175" cy="4351338"/>
            <a:chOff x="240" y="1132"/>
            <a:chExt cx="2562" cy="2741"/>
          </a:xfrm>
        </p:grpSpPr>
        <p:sp>
          <p:nvSpPr>
            <p:cNvPr id="2975748" name="Rectangle 4"/>
            <p:cNvSpPr>
              <a:spLocks noChangeArrowheads="1"/>
            </p:cNvSpPr>
            <p:nvPr/>
          </p:nvSpPr>
          <p:spPr bwMode="gray">
            <a:xfrm>
              <a:off x="240" y="1132"/>
              <a:ext cx="2562" cy="2741"/>
            </a:xfrm>
            <a:prstGeom prst="rect">
              <a:avLst/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44000" tIns="180000" rIns="36000" bIns="3600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pPr marL="501650" lvl="3" indent="-157163" defTabSz="912813">
                <a:buFontTx/>
                <a:buChar char="•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2975749" name="Group 5"/>
            <p:cNvGrpSpPr>
              <a:grpSpLocks/>
            </p:cNvGrpSpPr>
            <p:nvPr/>
          </p:nvGrpSpPr>
          <p:grpSpPr bwMode="auto">
            <a:xfrm>
              <a:off x="632" y="1613"/>
              <a:ext cx="1779" cy="1779"/>
              <a:chOff x="889" y="1643"/>
              <a:chExt cx="1779" cy="1779"/>
            </a:xfrm>
          </p:grpSpPr>
          <p:sp>
            <p:nvSpPr>
              <p:cNvPr id="2975750" name="Oval 6"/>
              <p:cNvSpPr>
                <a:spLocks noChangeArrowheads="1"/>
              </p:cNvSpPr>
              <p:nvPr/>
            </p:nvSpPr>
            <p:spPr bwMode="gray">
              <a:xfrm>
                <a:off x="889" y="1643"/>
                <a:ext cx="1779" cy="177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75751" name="Rectangle 7"/>
              <p:cNvSpPr>
                <a:spLocks noChangeArrowheads="1"/>
              </p:cNvSpPr>
              <p:nvPr/>
            </p:nvSpPr>
            <p:spPr bwMode="gray">
              <a:xfrm rot="-5400000">
                <a:off x="1291" y="2436"/>
                <a:ext cx="971" cy="193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75752" name="Rectangle 8"/>
              <p:cNvSpPr>
                <a:spLocks noChangeArrowheads="1"/>
              </p:cNvSpPr>
              <p:nvPr/>
            </p:nvSpPr>
            <p:spPr bwMode="gray">
              <a:xfrm rot="10800000" flipH="1">
                <a:off x="1293" y="2434"/>
                <a:ext cx="971" cy="193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</p:grpSp>
      <p:grpSp>
        <p:nvGrpSpPr>
          <p:cNvPr id="2975753" name="Group 9"/>
          <p:cNvGrpSpPr>
            <a:grpSpLocks/>
          </p:cNvGrpSpPr>
          <p:nvPr/>
        </p:nvGrpSpPr>
        <p:grpSpPr bwMode="auto">
          <a:xfrm>
            <a:off x="6137276" y="1797050"/>
            <a:ext cx="4067175" cy="4351338"/>
            <a:chOff x="2906" y="1132"/>
            <a:chExt cx="2562" cy="2741"/>
          </a:xfrm>
        </p:grpSpPr>
        <p:sp>
          <p:nvSpPr>
            <p:cNvPr id="2975754" name="Rectangle 10"/>
            <p:cNvSpPr>
              <a:spLocks noChangeArrowheads="1"/>
            </p:cNvSpPr>
            <p:nvPr/>
          </p:nvSpPr>
          <p:spPr bwMode="gray">
            <a:xfrm>
              <a:off x="2906" y="1132"/>
              <a:ext cx="2562" cy="2741"/>
            </a:xfrm>
            <a:prstGeom prst="rect">
              <a:avLst/>
            </a:prstGeom>
            <a:solidFill>
              <a:srgbClr val="DDDDDD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44000" tIns="180000" rIns="36000" bIns="3600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  <a:p>
              <a:pPr marL="501650" lvl="3" indent="-157163" defTabSz="912813">
                <a:buFontTx/>
                <a:buChar char="•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2975755" name="Group 11"/>
            <p:cNvGrpSpPr>
              <a:grpSpLocks/>
            </p:cNvGrpSpPr>
            <p:nvPr/>
          </p:nvGrpSpPr>
          <p:grpSpPr bwMode="auto">
            <a:xfrm>
              <a:off x="3298" y="1613"/>
              <a:ext cx="1779" cy="1779"/>
              <a:chOff x="3575" y="1643"/>
              <a:chExt cx="1779" cy="1779"/>
            </a:xfrm>
          </p:grpSpPr>
          <p:sp>
            <p:nvSpPr>
              <p:cNvPr id="2975756" name="Oval 12"/>
              <p:cNvSpPr>
                <a:spLocks noChangeArrowheads="1"/>
              </p:cNvSpPr>
              <p:nvPr/>
            </p:nvSpPr>
            <p:spPr bwMode="gray">
              <a:xfrm>
                <a:off x="3575" y="1643"/>
                <a:ext cx="1779" cy="177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975757" name="Rectangle 13"/>
              <p:cNvSpPr>
                <a:spLocks noChangeArrowheads="1"/>
              </p:cNvSpPr>
              <p:nvPr/>
            </p:nvSpPr>
            <p:spPr bwMode="gray">
              <a:xfrm rot="10800000" flipH="1">
                <a:off x="3979" y="2434"/>
                <a:ext cx="971" cy="193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</p:grpSp>
      <p:sp>
        <p:nvSpPr>
          <p:cNvPr id="2975758" name="Rectangle 14"/>
          <p:cNvSpPr>
            <a:spLocks noGrp="1" noChangeArrowheads="1"/>
          </p:cNvSpPr>
          <p:nvPr>
            <p:ph type="body" idx="4294967295"/>
          </p:nvPr>
        </p:nvSpPr>
        <p:spPr>
          <a:xfrm>
            <a:off x="1922463" y="1454150"/>
            <a:ext cx="2787650" cy="222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b="1" dirty="0"/>
              <a:t>Advantages</a:t>
            </a:r>
          </a:p>
        </p:txBody>
      </p:sp>
      <p:sp>
        <p:nvSpPr>
          <p:cNvPr id="2975759" name="Rectangle 15"/>
          <p:cNvSpPr>
            <a:spLocks noGrp="1" noChangeArrowheads="1"/>
          </p:cNvSpPr>
          <p:nvPr>
            <p:ph type="body" idx="4294967295"/>
          </p:nvPr>
        </p:nvSpPr>
        <p:spPr>
          <a:xfrm>
            <a:off x="6121400" y="1454150"/>
            <a:ext cx="3327400" cy="3429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/>
              <a:t>Disadvantag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440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8868" name="Oval 4"/>
          <p:cNvSpPr>
            <a:spLocks noChangeArrowheads="1"/>
          </p:cNvSpPr>
          <p:nvPr/>
        </p:nvSpPr>
        <p:spPr bwMode="gray">
          <a:xfrm>
            <a:off x="497234" y="179627"/>
            <a:ext cx="5487930" cy="1731169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4000" b="1" dirty="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  <a:t>Org-</a:t>
            </a:r>
            <a:br>
              <a:rPr lang="en-US" sz="4000" b="1" dirty="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</a:br>
            <a:r>
              <a:rPr lang="en-US" sz="4000" b="1" dirty="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  <a:t>chart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2016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0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cision Tree I</a:t>
            </a:r>
          </a:p>
        </p:txBody>
      </p:sp>
      <p:grpSp>
        <p:nvGrpSpPr>
          <p:cNvPr id="3075075" name="Group 3"/>
          <p:cNvGrpSpPr>
            <a:grpSpLocks/>
          </p:cNvGrpSpPr>
          <p:nvPr/>
        </p:nvGrpSpPr>
        <p:grpSpPr bwMode="auto">
          <a:xfrm>
            <a:off x="1905000" y="1485901"/>
            <a:ext cx="8305800" cy="4672013"/>
            <a:chOff x="246" y="936"/>
            <a:chExt cx="5232" cy="2943"/>
          </a:xfrm>
        </p:grpSpPr>
        <p:sp>
          <p:nvSpPr>
            <p:cNvPr id="3075076" name="Rectangle 4"/>
            <p:cNvSpPr>
              <a:spLocks noChangeArrowheads="1"/>
            </p:cNvSpPr>
            <p:nvPr/>
          </p:nvSpPr>
          <p:spPr bwMode="gray">
            <a:xfrm>
              <a:off x="2952" y="3345"/>
              <a:ext cx="776" cy="409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5077" name="Rectangle 5"/>
            <p:cNvSpPr>
              <a:spLocks noChangeArrowheads="1"/>
            </p:cNvSpPr>
            <p:nvPr/>
          </p:nvSpPr>
          <p:spPr bwMode="gray">
            <a:xfrm>
              <a:off x="2952" y="2583"/>
              <a:ext cx="776" cy="409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5078" name="Rectangle 6"/>
            <p:cNvSpPr>
              <a:spLocks noChangeArrowheads="1"/>
            </p:cNvSpPr>
            <p:nvPr/>
          </p:nvSpPr>
          <p:spPr bwMode="gray">
            <a:xfrm>
              <a:off x="2952" y="1827"/>
              <a:ext cx="776" cy="409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5079" name="Rectangle 7"/>
            <p:cNvSpPr>
              <a:spLocks noChangeArrowheads="1"/>
            </p:cNvSpPr>
            <p:nvPr/>
          </p:nvSpPr>
          <p:spPr bwMode="gray">
            <a:xfrm>
              <a:off x="2952" y="1059"/>
              <a:ext cx="776" cy="409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5080" name="Text Box 8"/>
            <p:cNvSpPr txBox="1">
              <a:spLocks noChangeArrowheads="1"/>
            </p:cNvSpPr>
            <p:nvPr/>
          </p:nvSpPr>
          <p:spPr bwMode="gray">
            <a:xfrm>
              <a:off x="1126" y="2725"/>
              <a:ext cx="195" cy="1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N</a:t>
              </a:r>
            </a:p>
          </p:txBody>
        </p:sp>
        <p:sp>
          <p:nvSpPr>
            <p:cNvPr id="3075081" name="Text Box 9"/>
            <p:cNvSpPr txBox="1">
              <a:spLocks noChangeArrowheads="1"/>
            </p:cNvSpPr>
            <p:nvPr/>
          </p:nvSpPr>
          <p:spPr bwMode="gray">
            <a:xfrm>
              <a:off x="2476" y="1252"/>
              <a:ext cx="197" cy="11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Y</a:t>
              </a:r>
            </a:p>
          </p:txBody>
        </p:sp>
        <p:sp>
          <p:nvSpPr>
            <p:cNvPr id="3075082" name="Text Box 10"/>
            <p:cNvSpPr txBox="1">
              <a:spLocks noChangeArrowheads="1"/>
            </p:cNvSpPr>
            <p:nvPr/>
          </p:nvSpPr>
          <p:spPr bwMode="gray">
            <a:xfrm>
              <a:off x="2476" y="1941"/>
              <a:ext cx="197" cy="11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N</a:t>
              </a:r>
            </a:p>
          </p:txBody>
        </p:sp>
        <p:sp>
          <p:nvSpPr>
            <p:cNvPr id="3075083" name="Text Box 11"/>
            <p:cNvSpPr txBox="1">
              <a:spLocks noChangeArrowheads="1"/>
            </p:cNvSpPr>
            <p:nvPr/>
          </p:nvSpPr>
          <p:spPr bwMode="gray">
            <a:xfrm>
              <a:off x="1126" y="1970"/>
              <a:ext cx="196" cy="1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Y</a:t>
              </a:r>
            </a:p>
          </p:txBody>
        </p:sp>
        <p:sp>
          <p:nvSpPr>
            <p:cNvPr id="3075084" name="Text Box 12"/>
            <p:cNvSpPr txBox="1">
              <a:spLocks noChangeArrowheads="1"/>
            </p:cNvSpPr>
            <p:nvPr/>
          </p:nvSpPr>
          <p:spPr bwMode="gray">
            <a:xfrm>
              <a:off x="2476" y="2784"/>
              <a:ext cx="197" cy="11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Y</a:t>
              </a:r>
            </a:p>
          </p:txBody>
        </p:sp>
        <p:sp>
          <p:nvSpPr>
            <p:cNvPr id="3075085" name="Text Box 13"/>
            <p:cNvSpPr txBox="1">
              <a:spLocks noChangeArrowheads="1"/>
            </p:cNvSpPr>
            <p:nvPr/>
          </p:nvSpPr>
          <p:spPr bwMode="gray">
            <a:xfrm>
              <a:off x="2476" y="3468"/>
              <a:ext cx="197" cy="11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N</a:t>
              </a:r>
            </a:p>
          </p:txBody>
        </p:sp>
        <p:sp>
          <p:nvSpPr>
            <p:cNvPr id="3075086" name="Text Box 14"/>
            <p:cNvSpPr txBox="1">
              <a:spLocks noChangeArrowheads="1"/>
            </p:cNvSpPr>
            <p:nvPr/>
          </p:nvSpPr>
          <p:spPr bwMode="gray">
            <a:xfrm>
              <a:off x="3833" y="1053"/>
              <a:ext cx="193" cy="1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Y</a:t>
              </a:r>
            </a:p>
          </p:txBody>
        </p:sp>
        <p:sp>
          <p:nvSpPr>
            <p:cNvPr id="3075087" name="Text Box 15"/>
            <p:cNvSpPr txBox="1">
              <a:spLocks noChangeArrowheads="1"/>
            </p:cNvSpPr>
            <p:nvPr/>
          </p:nvSpPr>
          <p:spPr bwMode="gray">
            <a:xfrm>
              <a:off x="3833" y="1365"/>
              <a:ext cx="193" cy="11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N</a:t>
              </a:r>
            </a:p>
          </p:txBody>
        </p:sp>
        <p:sp>
          <p:nvSpPr>
            <p:cNvPr id="3075088" name="Text Box 16"/>
            <p:cNvSpPr txBox="1">
              <a:spLocks noChangeArrowheads="1"/>
            </p:cNvSpPr>
            <p:nvPr/>
          </p:nvSpPr>
          <p:spPr bwMode="gray">
            <a:xfrm>
              <a:off x="3833" y="1791"/>
              <a:ext cx="193" cy="11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Y</a:t>
              </a:r>
            </a:p>
          </p:txBody>
        </p:sp>
        <p:sp>
          <p:nvSpPr>
            <p:cNvPr id="3075089" name="Text Box 17"/>
            <p:cNvSpPr txBox="1">
              <a:spLocks noChangeArrowheads="1"/>
            </p:cNvSpPr>
            <p:nvPr/>
          </p:nvSpPr>
          <p:spPr bwMode="gray">
            <a:xfrm>
              <a:off x="3833" y="2134"/>
              <a:ext cx="193" cy="1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N</a:t>
              </a:r>
            </a:p>
          </p:txBody>
        </p:sp>
        <p:sp>
          <p:nvSpPr>
            <p:cNvPr id="3075090" name="Text Box 18"/>
            <p:cNvSpPr txBox="1">
              <a:spLocks noChangeArrowheads="1"/>
            </p:cNvSpPr>
            <p:nvPr/>
          </p:nvSpPr>
          <p:spPr bwMode="gray">
            <a:xfrm>
              <a:off x="3833" y="2560"/>
              <a:ext cx="193" cy="1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Y</a:t>
              </a:r>
            </a:p>
          </p:txBody>
        </p:sp>
        <p:sp>
          <p:nvSpPr>
            <p:cNvPr id="3075091" name="Text Box 19"/>
            <p:cNvSpPr txBox="1">
              <a:spLocks noChangeArrowheads="1"/>
            </p:cNvSpPr>
            <p:nvPr/>
          </p:nvSpPr>
          <p:spPr bwMode="gray">
            <a:xfrm>
              <a:off x="3833" y="2897"/>
              <a:ext cx="193" cy="1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N</a:t>
              </a:r>
            </a:p>
          </p:txBody>
        </p:sp>
        <p:sp>
          <p:nvSpPr>
            <p:cNvPr id="3075092" name="Text Box 20"/>
            <p:cNvSpPr txBox="1">
              <a:spLocks noChangeArrowheads="1"/>
            </p:cNvSpPr>
            <p:nvPr/>
          </p:nvSpPr>
          <p:spPr bwMode="gray">
            <a:xfrm>
              <a:off x="3833" y="3330"/>
              <a:ext cx="193" cy="1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Y</a:t>
              </a:r>
            </a:p>
          </p:txBody>
        </p:sp>
        <p:sp>
          <p:nvSpPr>
            <p:cNvPr id="3075093" name="Text Box 21"/>
            <p:cNvSpPr txBox="1">
              <a:spLocks noChangeArrowheads="1"/>
            </p:cNvSpPr>
            <p:nvPr/>
          </p:nvSpPr>
          <p:spPr bwMode="gray">
            <a:xfrm>
              <a:off x="3833" y="3647"/>
              <a:ext cx="193" cy="1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2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N</a:t>
              </a:r>
            </a:p>
          </p:txBody>
        </p:sp>
        <p:cxnSp>
          <p:nvCxnSpPr>
            <p:cNvPr id="3075094" name="AutoShape 22"/>
            <p:cNvCxnSpPr>
              <a:cxnSpLocks noChangeShapeType="1"/>
              <a:stCxn id="3075108" idx="3"/>
              <a:endCxn id="3075109" idx="1"/>
            </p:cNvCxnSpPr>
            <p:nvPr/>
          </p:nvCxnSpPr>
          <p:spPr bwMode="gray">
            <a:xfrm flipV="1">
              <a:off x="1022" y="1655"/>
              <a:ext cx="568" cy="761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5095" name="AutoShape 23"/>
            <p:cNvCxnSpPr>
              <a:cxnSpLocks noChangeShapeType="1"/>
              <a:stCxn id="3075108" idx="3"/>
              <a:endCxn id="3075110" idx="1"/>
            </p:cNvCxnSpPr>
            <p:nvPr/>
          </p:nvCxnSpPr>
          <p:spPr bwMode="gray">
            <a:xfrm>
              <a:off x="1022" y="2416"/>
              <a:ext cx="568" cy="763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5096" name="AutoShape 24"/>
            <p:cNvCxnSpPr>
              <a:cxnSpLocks noChangeShapeType="1"/>
              <a:stCxn id="3075110" idx="3"/>
              <a:endCxn id="3075076" idx="1"/>
            </p:cNvCxnSpPr>
            <p:nvPr/>
          </p:nvCxnSpPr>
          <p:spPr bwMode="gray">
            <a:xfrm>
              <a:off x="2366" y="3179"/>
              <a:ext cx="586" cy="371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5097" name="AutoShape 25"/>
            <p:cNvCxnSpPr>
              <a:cxnSpLocks noChangeShapeType="1"/>
              <a:stCxn id="3075110" idx="3"/>
              <a:endCxn id="3075077" idx="1"/>
            </p:cNvCxnSpPr>
            <p:nvPr/>
          </p:nvCxnSpPr>
          <p:spPr bwMode="gray">
            <a:xfrm flipV="1">
              <a:off x="2366" y="2788"/>
              <a:ext cx="586" cy="391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5098" name="AutoShape 26"/>
            <p:cNvCxnSpPr>
              <a:cxnSpLocks noChangeShapeType="1"/>
              <a:stCxn id="3075109" idx="3"/>
              <a:endCxn id="3075079" idx="1"/>
            </p:cNvCxnSpPr>
            <p:nvPr/>
          </p:nvCxnSpPr>
          <p:spPr bwMode="gray">
            <a:xfrm flipV="1">
              <a:off x="2366" y="1264"/>
              <a:ext cx="586" cy="391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5099" name="AutoShape 27"/>
            <p:cNvCxnSpPr>
              <a:cxnSpLocks noChangeShapeType="1"/>
              <a:stCxn id="3075109" idx="3"/>
              <a:endCxn id="3075078" idx="1"/>
            </p:cNvCxnSpPr>
            <p:nvPr/>
          </p:nvCxnSpPr>
          <p:spPr bwMode="gray">
            <a:xfrm>
              <a:off x="2366" y="1655"/>
              <a:ext cx="586" cy="377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5100" name="AutoShape 28"/>
            <p:cNvCxnSpPr>
              <a:cxnSpLocks noChangeShapeType="1"/>
              <a:stCxn id="3075079" idx="3"/>
              <a:endCxn id="3075111" idx="1"/>
            </p:cNvCxnSpPr>
            <p:nvPr/>
          </p:nvCxnSpPr>
          <p:spPr bwMode="gray">
            <a:xfrm flipV="1">
              <a:off x="3728" y="1070"/>
              <a:ext cx="587" cy="194"/>
            </a:xfrm>
            <a:prstGeom prst="bentConnector3">
              <a:avLst>
                <a:gd name="adj1" fmla="val 49917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5101" name="AutoShape 29"/>
            <p:cNvCxnSpPr>
              <a:cxnSpLocks noChangeShapeType="1"/>
              <a:stCxn id="3075079" idx="3"/>
              <a:endCxn id="3075112" idx="1"/>
            </p:cNvCxnSpPr>
            <p:nvPr/>
          </p:nvCxnSpPr>
          <p:spPr bwMode="gray">
            <a:xfrm>
              <a:off x="3728" y="1264"/>
              <a:ext cx="587" cy="188"/>
            </a:xfrm>
            <a:prstGeom prst="bentConnector3">
              <a:avLst>
                <a:gd name="adj1" fmla="val 49917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5102" name="AutoShape 30"/>
            <p:cNvCxnSpPr>
              <a:cxnSpLocks noChangeShapeType="1"/>
              <a:stCxn id="3075078" idx="3"/>
              <a:endCxn id="3075113" idx="1"/>
            </p:cNvCxnSpPr>
            <p:nvPr/>
          </p:nvCxnSpPr>
          <p:spPr bwMode="gray">
            <a:xfrm flipV="1">
              <a:off x="3728" y="1834"/>
              <a:ext cx="587" cy="198"/>
            </a:xfrm>
            <a:prstGeom prst="bentConnector3">
              <a:avLst>
                <a:gd name="adj1" fmla="val 49917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5103" name="AutoShape 31"/>
            <p:cNvCxnSpPr>
              <a:cxnSpLocks noChangeShapeType="1"/>
              <a:stCxn id="3075078" idx="3"/>
              <a:endCxn id="3075114" idx="1"/>
            </p:cNvCxnSpPr>
            <p:nvPr/>
          </p:nvCxnSpPr>
          <p:spPr bwMode="gray">
            <a:xfrm>
              <a:off x="3728" y="2032"/>
              <a:ext cx="587" cy="184"/>
            </a:xfrm>
            <a:prstGeom prst="bentConnector3">
              <a:avLst>
                <a:gd name="adj1" fmla="val 49917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5104" name="AutoShape 32"/>
            <p:cNvCxnSpPr>
              <a:cxnSpLocks noChangeShapeType="1"/>
              <a:stCxn id="3075077" idx="3"/>
              <a:endCxn id="3075116" idx="1"/>
            </p:cNvCxnSpPr>
            <p:nvPr/>
          </p:nvCxnSpPr>
          <p:spPr bwMode="gray">
            <a:xfrm>
              <a:off x="3728" y="2788"/>
              <a:ext cx="587" cy="193"/>
            </a:xfrm>
            <a:prstGeom prst="bentConnector3">
              <a:avLst>
                <a:gd name="adj1" fmla="val 49917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5105" name="AutoShape 33"/>
            <p:cNvCxnSpPr>
              <a:cxnSpLocks noChangeShapeType="1"/>
              <a:stCxn id="3075076" idx="3"/>
              <a:endCxn id="3075117" idx="1"/>
            </p:cNvCxnSpPr>
            <p:nvPr/>
          </p:nvCxnSpPr>
          <p:spPr bwMode="gray">
            <a:xfrm flipV="1">
              <a:off x="3728" y="3363"/>
              <a:ext cx="587" cy="187"/>
            </a:xfrm>
            <a:prstGeom prst="bentConnector3">
              <a:avLst>
                <a:gd name="adj1" fmla="val 49917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5106" name="AutoShape 34"/>
            <p:cNvCxnSpPr>
              <a:cxnSpLocks noChangeShapeType="1"/>
              <a:stCxn id="3075077" idx="3"/>
              <a:endCxn id="3075115" idx="1"/>
            </p:cNvCxnSpPr>
            <p:nvPr/>
          </p:nvCxnSpPr>
          <p:spPr bwMode="gray">
            <a:xfrm flipV="1">
              <a:off x="3728" y="2599"/>
              <a:ext cx="587" cy="189"/>
            </a:xfrm>
            <a:prstGeom prst="bentConnector3">
              <a:avLst>
                <a:gd name="adj1" fmla="val 49917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5107" name="AutoShape 35"/>
            <p:cNvCxnSpPr>
              <a:cxnSpLocks noChangeShapeType="1"/>
              <a:stCxn id="3075076" idx="3"/>
              <a:endCxn id="3075118" idx="1"/>
            </p:cNvCxnSpPr>
            <p:nvPr/>
          </p:nvCxnSpPr>
          <p:spPr bwMode="gray">
            <a:xfrm>
              <a:off x="3728" y="3550"/>
              <a:ext cx="587" cy="196"/>
            </a:xfrm>
            <a:prstGeom prst="bentConnector3">
              <a:avLst>
                <a:gd name="adj1" fmla="val 49917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75108" name="Rectangle 36"/>
            <p:cNvSpPr>
              <a:spLocks noChangeArrowheads="1"/>
            </p:cNvSpPr>
            <p:nvPr/>
          </p:nvSpPr>
          <p:spPr bwMode="gray">
            <a:xfrm>
              <a:off x="246" y="2211"/>
              <a:ext cx="776" cy="409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5109" name="Rectangle 37"/>
            <p:cNvSpPr>
              <a:spLocks noChangeArrowheads="1"/>
            </p:cNvSpPr>
            <p:nvPr/>
          </p:nvSpPr>
          <p:spPr bwMode="gray">
            <a:xfrm>
              <a:off x="1590" y="1450"/>
              <a:ext cx="776" cy="409"/>
            </a:xfrm>
            <a:prstGeom prst="rect">
              <a:avLst/>
            </a:prstGeom>
            <a:solidFill>
              <a:srgbClr val="EAEAEA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5110" name="Rectangle 38"/>
            <p:cNvSpPr>
              <a:spLocks noChangeArrowheads="1"/>
            </p:cNvSpPr>
            <p:nvPr/>
          </p:nvSpPr>
          <p:spPr bwMode="gray">
            <a:xfrm>
              <a:off x="1590" y="2974"/>
              <a:ext cx="776" cy="409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5111" name="Rectangle 39"/>
            <p:cNvSpPr>
              <a:spLocks noChangeArrowheads="1"/>
            </p:cNvSpPr>
            <p:nvPr/>
          </p:nvSpPr>
          <p:spPr bwMode="gray">
            <a:xfrm>
              <a:off x="4315" y="936"/>
              <a:ext cx="1163" cy="267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5112" name="Rectangle 40"/>
            <p:cNvSpPr>
              <a:spLocks noChangeArrowheads="1"/>
            </p:cNvSpPr>
            <p:nvPr/>
          </p:nvSpPr>
          <p:spPr bwMode="gray">
            <a:xfrm>
              <a:off x="4315" y="1318"/>
              <a:ext cx="1163" cy="267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5113" name="Rectangle 41"/>
            <p:cNvSpPr>
              <a:spLocks noChangeArrowheads="1"/>
            </p:cNvSpPr>
            <p:nvPr/>
          </p:nvSpPr>
          <p:spPr bwMode="gray">
            <a:xfrm>
              <a:off x="4315" y="1700"/>
              <a:ext cx="1163" cy="267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5114" name="Rectangle 42"/>
            <p:cNvSpPr>
              <a:spLocks noChangeArrowheads="1"/>
            </p:cNvSpPr>
            <p:nvPr/>
          </p:nvSpPr>
          <p:spPr bwMode="gray">
            <a:xfrm>
              <a:off x="4315" y="2082"/>
              <a:ext cx="1163" cy="267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5115" name="Rectangle 43"/>
            <p:cNvSpPr>
              <a:spLocks noChangeArrowheads="1"/>
            </p:cNvSpPr>
            <p:nvPr/>
          </p:nvSpPr>
          <p:spPr bwMode="gray">
            <a:xfrm>
              <a:off x="4315" y="2465"/>
              <a:ext cx="1163" cy="267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5116" name="Rectangle 44"/>
            <p:cNvSpPr>
              <a:spLocks noChangeArrowheads="1"/>
            </p:cNvSpPr>
            <p:nvPr/>
          </p:nvSpPr>
          <p:spPr bwMode="gray">
            <a:xfrm>
              <a:off x="4315" y="2847"/>
              <a:ext cx="1163" cy="267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5117" name="Rectangle 45"/>
            <p:cNvSpPr>
              <a:spLocks noChangeArrowheads="1"/>
            </p:cNvSpPr>
            <p:nvPr/>
          </p:nvSpPr>
          <p:spPr bwMode="gray">
            <a:xfrm>
              <a:off x="4315" y="3229"/>
              <a:ext cx="1163" cy="267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5118" name="Rectangle 46"/>
            <p:cNvSpPr>
              <a:spLocks noChangeArrowheads="1"/>
            </p:cNvSpPr>
            <p:nvPr/>
          </p:nvSpPr>
          <p:spPr bwMode="gray">
            <a:xfrm>
              <a:off x="4315" y="3612"/>
              <a:ext cx="1163" cy="267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rIns="0" bIns="0" anchor="ctr"/>
            <a:lstStyle/>
            <a:p>
              <a:pPr defTabSz="912813"/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720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cision Tree II</a:t>
            </a:r>
          </a:p>
        </p:txBody>
      </p:sp>
      <p:grpSp>
        <p:nvGrpSpPr>
          <p:cNvPr id="3077167" name="Group 47"/>
          <p:cNvGrpSpPr>
            <a:grpSpLocks/>
          </p:cNvGrpSpPr>
          <p:nvPr/>
        </p:nvGrpSpPr>
        <p:grpSpPr bwMode="auto">
          <a:xfrm>
            <a:off x="1905001" y="1485901"/>
            <a:ext cx="8315325" cy="4672013"/>
            <a:chOff x="240" y="936"/>
            <a:chExt cx="5238" cy="2943"/>
          </a:xfrm>
        </p:grpSpPr>
        <p:sp>
          <p:nvSpPr>
            <p:cNvPr id="3077124" name="Rectangle 4"/>
            <p:cNvSpPr>
              <a:spLocks noChangeArrowheads="1"/>
            </p:cNvSpPr>
            <p:nvPr/>
          </p:nvSpPr>
          <p:spPr bwMode="gray">
            <a:xfrm>
              <a:off x="2946" y="3345"/>
              <a:ext cx="776" cy="4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7125" name="Rectangle 5"/>
            <p:cNvSpPr>
              <a:spLocks noChangeArrowheads="1"/>
            </p:cNvSpPr>
            <p:nvPr/>
          </p:nvSpPr>
          <p:spPr bwMode="gray">
            <a:xfrm>
              <a:off x="2946" y="2583"/>
              <a:ext cx="776" cy="4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7126" name="Rectangle 6"/>
            <p:cNvSpPr>
              <a:spLocks noChangeArrowheads="1"/>
            </p:cNvSpPr>
            <p:nvPr/>
          </p:nvSpPr>
          <p:spPr bwMode="gray">
            <a:xfrm>
              <a:off x="2946" y="1827"/>
              <a:ext cx="776" cy="4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7127" name="Rectangle 7"/>
            <p:cNvSpPr>
              <a:spLocks noChangeArrowheads="1"/>
            </p:cNvSpPr>
            <p:nvPr/>
          </p:nvSpPr>
          <p:spPr bwMode="gray">
            <a:xfrm>
              <a:off x="2946" y="1059"/>
              <a:ext cx="776" cy="4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7128" name="Text Box 8"/>
            <p:cNvSpPr txBox="1">
              <a:spLocks noChangeArrowheads="1"/>
            </p:cNvSpPr>
            <p:nvPr/>
          </p:nvSpPr>
          <p:spPr bwMode="gray">
            <a:xfrm>
              <a:off x="1120" y="2725"/>
              <a:ext cx="195" cy="1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N</a:t>
              </a:r>
            </a:p>
          </p:txBody>
        </p:sp>
        <p:sp>
          <p:nvSpPr>
            <p:cNvPr id="3077129" name="Text Box 9"/>
            <p:cNvSpPr txBox="1">
              <a:spLocks noChangeArrowheads="1"/>
            </p:cNvSpPr>
            <p:nvPr/>
          </p:nvSpPr>
          <p:spPr bwMode="gray">
            <a:xfrm>
              <a:off x="2470" y="1252"/>
              <a:ext cx="197" cy="11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Y</a:t>
              </a:r>
            </a:p>
          </p:txBody>
        </p:sp>
        <p:sp>
          <p:nvSpPr>
            <p:cNvPr id="3077130" name="Text Box 10"/>
            <p:cNvSpPr txBox="1">
              <a:spLocks noChangeArrowheads="1"/>
            </p:cNvSpPr>
            <p:nvPr/>
          </p:nvSpPr>
          <p:spPr bwMode="gray">
            <a:xfrm>
              <a:off x="2470" y="1941"/>
              <a:ext cx="197" cy="11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N</a:t>
              </a:r>
            </a:p>
          </p:txBody>
        </p:sp>
        <p:sp>
          <p:nvSpPr>
            <p:cNvPr id="3077131" name="Text Box 11"/>
            <p:cNvSpPr txBox="1">
              <a:spLocks noChangeArrowheads="1"/>
            </p:cNvSpPr>
            <p:nvPr/>
          </p:nvSpPr>
          <p:spPr bwMode="gray">
            <a:xfrm>
              <a:off x="1120" y="1970"/>
              <a:ext cx="196" cy="1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Y</a:t>
              </a:r>
            </a:p>
          </p:txBody>
        </p:sp>
        <p:sp>
          <p:nvSpPr>
            <p:cNvPr id="3077132" name="Text Box 12"/>
            <p:cNvSpPr txBox="1">
              <a:spLocks noChangeArrowheads="1"/>
            </p:cNvSpPr>
            <p:nvPr/>
          </p:nvSpPr>
          <p:spPr bwMode="gray">
            <a:xfrm>
              <a:off x="2470" y="2784"/>
              <a:ext cx="197" cy="11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Y</a:t>
              </a:r>
            </a:p>
          </p:txBody>
        </p:sp>
        <p:sp>
          <p:nvSpPr>
            <p:cNvPr id="3077133" name="Text Box 13"/>
            <p:cNvSpPr txBox="1">
              <a:spLocks noChangeArrowheads="1"/>
            </p:cNvSpPr>
            <p:nvPr/>
          </p:nvSpPr>
          <p:spPr bwMode="gray">
            <a:xfrm>
              <a:off x="2470" y="3468"/>
              <a:ext cx="197" cy="11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N</a:t>
              </a:r>
            </a:p>
          </p:txBody>
        </p:sp>
        <p:sp>
          <p:nvSpPr>
            <p:cNvPr id="3077134" name="Text Box 14"/>
            <p:cNvSpPr txBox="1">
              <a:spLocks noChangeArrowheads="1"/>
            </p:cNvSpPr>
            <p:nvPr/>
          </p:nvSpPr>
          <p:spPr bwMode="gray">
            <a:xfrm>
              <a:off x="3827" y="1053"/>
              <a:ext cx="193" cy="1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Y</a:t>
              </a:r>
            </a:p>
          </p:txBody>
        </p:sp>
        <p:sp>
          <p:nvSpPr>
            <p:cNvPr id="3077135" name="Text Box 15"/>
            <p:cNvSpPr txBox="1">
              <a:spLocks noChangeArrowheads="1"/>
            </p:cNvSpPr>
            <p:nvPr/>
          </p:nvSpPr>
          <p:spPr bwMode="gray">
            <a:xfrm>
              <a:off x="3827" y="1365"/>
              <a:ext cx="193" cy="11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N</a:t>
              </a:r>
            </a:p>
          </p:txBody>
        </p:sp>
        <p:sp>
          <p:nvSpPr>
            <p:cNvPr id="3077136" name="Text Box 16"/>
            <p:cNvSpPr txBox="1">
              <a:spLocks noChangeArrowheads="1"/>
            </p:cNvSpPr>
            <p:nvPr/>
          </p:nvSpPr>
          <p:spPr bwMode="gray">
            <a:xfrm>
              <a:off x="3827" y="1791"/>
              <a:ext cx="193" cy="11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Y</a:t>
              </a:r>
            </a:p>
          </p:txBody>
        </p:sp>
        <p:sp>
          <p:nvSpPr>
            <p:cNvPr id="3077137" name="Text Box 17"/>
            <p:cNvSpPr txBox="1">
              <a:spLocks noChangeArrowheads="1"/>
            </p:cNvSpPr>
            <p:nvPr/>
          </p:nvSpPr>
          <p:spPr bwMode="gray">
            <a:xfrm>
              <a:off x="3827" y="2134"/>
              <a:ext cx="193" cy="1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N</a:t>
              </a:r>
            </a:p>
          </p:txBody>
        </p:sp>
        <p:sp>
          <p:nvSpPr>
            <p:cNvPr id="3077138" name="Text Box 18"/>
            <p:cNvSpPr txBox="1">
              <a:spLocks noChangeArrowheads="1"/>
            </p:cNvSpPr>
            <p:nvPr/>
          </p:nvSpPr>
          <p:spPr bwMode="gray">
            <a:xfrm>
              <a:off x="3827" y="2560"/>
              <a:ext cx="193" cy="1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Y</a:t>
              </a:r>
            </a:p>
          </p:txBody>
        </p:sp>
        <p:sp>
          <p:nvSpPr>
            <p:cNvPr id="3077139" name="Text Box 19"/>
            <p:cNvSpPr txBox="1">
              <a:spLocks noChangeArrowheads="1"/>
            </p:cNvSpPr>
            <p:nvPr/>
          </p:nvSpPr>
          <p:spPr bwMode="gray">
            <a:xfrm>
              <a:off x="3827" y="2897"/>
              <a:ext cx="193" cy="1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N</a:t>
              </a:r>
            </a:p>
          </p:txBody>
        </p:sp>
        <p:sp>
          <p:nvSpPr>
            <p:cNvPr id="3077140" name="Text Box 20"/>
            <p:cNvSpPr txBox="1">
              <a:spLocks noChangeArrowheads="1"/>
            </p:cNvSpPr>
            <p:nvPr/>
          </p:nvSpPr>
          <p:spPr bwMode="gray">
            <a:xfrm>
              <a:off x="3827" y="3330"/>
              <a:ext cx="193" cy="1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Y</a:t>
              </a:r>
            </a:p>
          </p:txBody>
        </p:sp>
        <p:sp>
          <p:nvSpPr>
            <p:cNvPr id="3077141" name="Text Box 21"/>
            <p:cNvSpPr txBox="1">
              <a:spLocks noChangeArrowheads="1"/>
            </p:cNvSpPr>
            <p:nvPr/>
          </p:nvSpPr>
          <p:spPr bwMode="gray">
            <a:xfrm>
              <a:off x="3827" y="3647"/>
              <a:ext cx="193" cy="1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582613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39788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2604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679575" algn="l" defTabSz="330200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1367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5939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0511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508375" defTabSz="33020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  <a:buClrTx/>
                <a:buSzTx/>
                <a:buFontTx/>
                <a:buNone/>
              </a:pPr>
              <a:r>
                <a:rPr lang="en-US" sz="1600" b="1">
                  <a:solidFill>
                    <a:srgbClr val="000000"/>
                  </a:solidFill>
                  <a:latin typeface="Baskerville" charset="0"/>
                  <a:ea typeface="Baskerville" charset="0"/>
                  <a:cs typeface="Baskerville" charset="0"/>
                </a:rPr>
                <a:t>N</a:t>
              </a:r>
            </a:p>
          </p:txBody>
        </p:sp>
        <p:cxnSp>
          <p:nvCxnSpPr>
            <p:cNvPr id="3077142" name="AutoShape 22"/>
            <p:cNvCxnSpPr>
              <a:cxnSpLocks noChangeShapeType="1"/>
              <a:stCxn id="3077156" idx="3"/>
              <a:endCxn id="3077157" idx="1"/>
            </p:cNvCxnSpPr>
            <p:nvPr/>
          </p:nvCxnSpPr>
          <p:spPr bwMode="gray">
            <a:xfrm flipV="1">
              <a:off x="1016" y="1655"/>
              <a:ext cx="568" cy="761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7143" name="AutoShape 23"/>
            <p:cNvCxnSpPr>
              <a:cxnSpLocks noChangeShapeType="1"/>
              <a:stCxn id="3077156" idx="3"/>
              <a:endCxn id="3077158" idx="1"/>
            </p:cNvCxnSpPr>
            <p:nvPr/>
          </p:nvCxnSpPr>
          <p:spPr bwMode="gray">
            <a:xfrm>
              <a:off x="1016" y="2416"/>
              <a:ext cx="568" cy="763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7144" name="AutoShape 24"/>
            <p:cNvCxnSpPr>
              <a:cxnSpLocks noChangeShapeType="1"/>
              <a:stCxn id="3077158" idx="3"/>
              <a:endCxn id="3077124" idx="1"/>
            </p:cNvCxnSpPr>
            <p:nvPr/>
          </p:nvCxnSpPr>
          <p:spPr bwMode="gray">
            <a:xfrm>
              <a:off x="2360" y="3179"/>
              <a:ext cx="586" cy="371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7145" name="AutoShape 25"/>
            <p:cNvCxnSpPr>
              <a:cxnSpLocks noChangeShapeType="1"/>
              <a:stCxn id="3077158" idx="3"/>
              <a:endCxn id="3077125" idx="1"/>
            </p:cNvCxnSpPr>
            <p:nvPr/>
          </p:nvCxnSpPr>
          <p:spPr bwMode="gray">
            <a:xfrm flipV="1">
              <a:off x="2360" y="2788"/>
              <a:ext cx="586" cy="391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7146" name="AutoShape 26"/>
            <p:cNvCxnSpPr>
              <a:cxnSpLocks noChangeShapeType="1"/>
              <a:stCxn id="3077157" idx="3"/>
              <a:endCxn id="3077127" idx="1"/>
            </p:cNvCxnSpPr>
            <p:nvPr/>
          </p:nvCxnSpPr>
          <p:spPr bwMode="gray">
            <a:xfrm flipV="1">
              <a:off x="2360" y="1264"/>
              <a:ext cx="586" cy="391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7147" name="AutoShape 27"/>
            <p:cNvCxnSpPr>
              <a:cxnSpLocks noChangeShapeType="1"/>
              <a:stCxn id="3077157" idx="3"/>
              <a:endCxn id="3077126" idx="1"/>
            </p:cNvCxnSpPr>
            <p:nvPr/>
          </p:nvCxnSpPr>
          <p:spPr bwMode="gray">
            <a:xfrm>
              <a:off x="2360" y="1655"/>
              <a:ext cx="586" cy="377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7148" name="AutoShape 28"/>
            <p:cNvCxnSpPr>
              <a:cxnSpLocks noChangeShapeType="1"/>
              <a:stCxn id="3077127" idx="3"/>
              <a:endCxn id="3077159" idx="1"/>
            </p:cNvCxnSpPr>
            <p:nvPr/>
          </p:nvCxnSpPr>
          <p:spPr bwMode="gray">
            <a:xfrm flipV="1">
              <a:off x="3722" y="1070"/>
              <a:ext cx="593" cy="194"/>
            </a:xfrm>
            <a:prstGeom prst="bentConnector3">
              <a:avLst>
                <a:gd name="adj1" fmla="val 49917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7149" name="AutoShape 29"/>
            <p:cNvCxnSpPr>
              <a:cxnSpLocks noChangeShapeType="1"/>
              <a:stCxn id="3077127" idx="3"/>
              <a:endCxn id="3077160" idx="1"/>
            </p:cNvCxnSpPr>
            <p:nvPr/>
          </p:nvCxnSpPr>
          <p:spPr bwMode="gray">
            <a:xfrm>
              <a:off x="3722" y="1264"/>
              <a:ext cx="593" cy="188"/>
            </a:xfrm>
            <a:prstGeom prst="bentConnector3">
              <a:avLst>
                <a:gd name="adj1" fmla="val 49917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7150" name="AutoShape 30"/>
            <p:cNvCxnSpPr>
              <a:cxnSpLocks noChangeShapeType="1"/>
              <a:stCxn id="3077126" idx="3"/>
              <a:endCxn id="3077161" idx="1"/>
            </p:cNvCxnSpPr>
            <p:nvPr/>
          </p:nvCxnSpPr>
          <p:spPr bwMode="gray">
            <a:xfrm flipV="1">
              <a:off x="3722" y="1834"/>
              <a:ext cx="593" cy="198"/>
            </a:xfrm>
            <a:prstGeom prst="bentConnector3">
              <a:avLst>
                <a:gd name="adj1" fmla="val 49917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7151" name="AutoShape 31"/>
            <p:cNvCxnSpPr>
              <a:cxnSpLocks noChangeShapeType="1"/>
              <a:stCxn id="3077126" idx="3"/>
              <a:endCxn id="3077162" idx="1"/>
            </p:cNvCxnSpPr>
            <p:nvPr/>
          </p:nvCxnSpPr>
          <p:spPr bwMode="gray">
            <a:xfrm>
              <a:off x="3722" y="2032"/>
              <a:ext cx="593" cy="184"/>
            </a:xfrm>
            <a:prstGeom prst="bentConnector3">
              <a:avLst>
                <a:gd name="adj1" fmla="val 49917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7152" name="AutoShape 32"/>
            <p:cNvCxnSpPr>
              <a:cxnSpLocks noChangeShapeType="1"/>
              <a:stCxn id="3077125" idx="3"/>
              <a:endCxn id="3077164" idx="1"/>
            </p:cNvCxnSpPr>
            <p:nvPr/>
          </p:nvCxnSpPr>
          <p:spPr bwMode="gray">
            <a:xfrm>
              <a:off x="3722" y="2788"/>
              <a:ext cx="593" cy="193"/>
            </a:xfrm>
            <a:prstGeom prst="bentConnector3">
              <a:avLst>
                <a:gd name="adj1" fmla="val 49917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7153" name="AutoShape 33"/>
            <p:cNvCxnSpPr>
              <a:cxnSpLocks noChangeShapeType="1"/>
              <a:stCxn id="3077124" idx="3"/>
              <a:endCxn id="3077165" idx="1"/>
            </p:cNvCxnSpPr>
            <p:nvPr/>
          </p:nvCxnSpPr>
          <p:spPr bwMode="gray">
            <a:xfrm flipV="1">
              <a:off x="3722" y="3363"/>
              <a:ext cx="593" cy="187"/>
            </a:xfrm>
            <a:prstGeom prst="bentConnector3">
              <a:avLst>
                <a:gd name="adj1" fmla="val 49917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7154" name="AutoShape 34"/>
            <p:cNvCxnSpPr>
              <a:cxnSpLocks noChangeShapeType="1"/>
              <a:stCxn id="3077125" idx="3"/>
              <a:endCxn id="3077163" idx="1"/>
            </p:cNvCxnSpPr>
            <p:nvPr/>
          </p:nvCxnSpPr>
          <p:spPr bwMode="gray">
            <a:xfrm flipV="1">
              <a:off x="3722" y="2599"/>
              <a:ext cx="593" cy="189"/>
            </a:xfrm>
            <a:prstGeom prst="bentConnector3">
              <a:avLst>
                <a:gd name="adj1" fmla="val 49917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77155" name="AutoShape 35"/>
            <p:cNvCxnSpPr>
              <a:cxnSpLocks noChangeShapeType="1"/>
              <a:stCxn id="3077124" idx="3"/>
              <a:endCxn id="3077166" idx="1"/>
            </p:cNvCxnSpPr>
            <p:nvPr/>
          </p:nvCxnSpPr>
          <p:spPr bwMode="gray">
            <a:xfrm>
              <a:off x="3722" y="3550"/>
              <a:ext cx="593" cy="196"/>
            </a:xfrm>
            <a:prstGeom prst="bentConnector3">
              <a:avLst>
                <a:gd name="adj1" fmla="val 49917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77156" name="Rectangle 36"/>
            <p:cNvSpPr>
              <a:spLocks noChangeArrowheads="1"/>
            </p:cNvSpPr>
            <p:nvPr/>
          </p:nvSpPr>
          <p:spPr bwMode="gray">
            <a:xfrm>
              <a:off x="240" y="2211"/>
              <a:ext cx="776" cy="409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7157" name="Rectangle 37"/>
            <p:cNvSpPr>
              <a:spLocks noChangeArrowheads="1"/>
            </p:cNvSpPr>
            <p:nvPr/>
          </p:nvSpPr>
          <p:spPr bwMode="gray">
            <a:xfrm>
              <a:off x="1584" y="1450"/>
              <a:ext cx="776" cy="4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7158" name="Rectangle 38"/>
            <p:cNvSpPr>
              <a:spLocks noChangeArrowheads="1"/>
            </p:cNvSpPr>
            <p:nvPr/>
          </p:nvSpPr>
          <p:spPr bwMode="gray">
            <a:xfrm>
              <a:off x="1584" y="2974"/>
              <a:ext cx="776" cy="4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7159" name="Rectangle 39"/>
            <p:cNvSpPr>
              <a:spLocks noChangeArrowheads="1"/>
            </p:cNvSpPr>
            <p:nvPr/>
          </p:nvSpPr>
          <p:spPr bwMode="gray">
            <a:xfrm>
              <a:off x="4315" y="936"/>
              <a:ext cx="1163" cy="2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7160" name="Rectangle 40"/>
            <p:cNvSpPr>
              <a:spLocks noChangeArrowheads="1"/>
            </p:cNvSpPr>
            <p:nvPr/>
          </p:nvSpPr>
          <p:spPr bwMode="gray">
            <a:xfrm>
              <a:off x="4315" y="1318"/>
              <a:ext cx="1163" cy="2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7161" name="Rectangle 41"/>
            <p:cNvSpPr>
              <a:spLocks noChangeArrowheads="1"/>
            </p:cNvSpPr>
            <p:nvPr/>
          </p:nvSpPr>
          <p:spPr bwMode="gray">
            <a:xfrm>
              <a:off x="4315" y="1700"/>
              <a:ext cx="1163" cy="2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7162" name="Rectangle 42"/>
            <p:cNvSpPr>
              <a:spLocks noChangeArrowheads="1"/>
            </p:cNvSpPr>
            <p:nvPr/>
          </p:nvSpPr>
          <p:spPr bwMode="gray">
            <a:xfrm>
              <a:off x="4315" y="2082"/>
              <a:ext cx="1163" cy="2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7163" name="Rectangle 43"/>
            <p:cNvSpPr>
              <a:spLocks noChangeArrowheads="1"/>
            </p:cNvSpPr>
            <p:nvPr/>
          </p:nvSpPr>
          <p:spPr bwMode="gray">
            <a:xfrm>
              <a:off x="4315" y="2465"/>
              <a:ext cx="1163" cy="2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7164" name="Rectangle 44"/>
            <p:cNvSpPr>
              <a:spLocks noChangeArrowheads="1"/>
            </p:cNvSpPr>
            <p:nvPr/>
          </p:nvSpPr>
          <p:spPr bwMode="gray">
            <a:xfrm>
              <a:off x="4315" y="2847"/>
              <a:ext cx="1163" cy="2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7165" name="Rectangle 45"/>
            <p:cNvSpPr>
              <a:spLocks noChangeArrowheads="1"/>
            </p:cNvSpPr>
            <p:nvPr/>
          </p:nvSpPr>
          <p:spPr bwMode="gray">
            <a:xfrm>
              <a:off x="4315" y="3229"/>
              <a:ext cx="1163" cy="2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077166" name="Rectangle 46"/>
            <p:cNvSpPr>
              <a:spLocks noChangeArrowheads="1"/>
            </p:cNvSpPr>
            <p:nvPr/>
          </p:nvSpPr>
          <p:spPr bwMode="gray">
            <a:xfrm>
              <a:off x="4315" y="3612"/>
              <a:ext cx="1163" cy="2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AEAEA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0" r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537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91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ganizational Chart I</a:t>
            </a:r>
          </a:p>
        </p:txBody>
      </p:sp>
      <p:grpSp>
        <p:nvGrpSpPr>
          <p:cNvPr id="2269202" name="Group 18"/>
          <p:cNvGrpSpPr>
            <a:grpSpLocks/>
          </p:cNvGrpSpPr>
          <p:nvPr/>
        </p:nvGrpSpPr>
        <p:grpSpPr bwMode="auto">
          <a:xfrm>
            <a:off x="1908175" y="2170716"/>
            <a:ext cx="7734300" cy="3257550"/>
            <a:chOff x="242" y="938"/>
            <a:chExt cx="4872" cy="2052"/>
          </a:xfrm>
        </p:grpSpPr>
        <p:cxnSp>
          <p:nvCxnSpPr>
            <p:cNvPr id="2269188" name="AutoShape 4"/>
            <p:cNvCxnSpPr>
              <a:cxnSpLocks noChangeShapeType="1"/>
              <a:stCxn id="2269194" idx="0"/>
              <a:endCxn id="2269192" idx="2"/>
            </p:cNvCxnSpPr>
            <p:nvPr/>
          </p:nvCxnSpPr>
          <p:spPr bwMode="gray">
            <a:xfrm rot="16200000">
              <a:off x="2235" y="1939"/>
              <a:ext cx="365" cy="920"/>
            </a:xfrm>
            <a:prstGeom prst="bentConnector3">
              <a:avLst>
                <a:gd name="adj1" fmla="val 50139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69189" name="AutoShape 5"/>
            <p:cNvCxnSpPr>
              <a:cxnSpLocks noChangeShapeType="1"/>
              <a:stCxn id="2269192" idx="2"/>
              <a:endCxn id="2269196" idx="0"/>
            </p:cNvCxnSpPr>
            <p:nvPr/>
          </p:nvCxnSpPr>
          <p:spPr bwMode="gray">
            <a:xfrm rot="16200000" flipH="1">
              <a:off x="3158" y="1936"/>
              <a:ext cx="365" cy="925"/>
            </a:xfrm>
            <a:prstGeom prst="bentConnector3">
              <a:avLst>
                <a:gd name="adj1" fmla="val 49861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69190" name="AutoShape 6"/>
            <p:cNvCxnSpPr>
              <a:cxnSpLocks noChangeShapeType="1"/>
              <a:stCxn id="2269197" idx="0"/>
              <a:endCxn id="2269192" idx="2"/>
            </p:cNvCxnSpPr>
            <p:nvPr/>
          </p:nvCxnSpPr>
          <p:spPr bwMode="gray">
            <a:xfrm rot="5400000" flipH="1">
              <a:off x="3619" y="1475"/>
              <a:ext cx="365" cy="1848"/>
            </a:xfrm>
            <a:prstGeom prst="bentConnector3">
              <a:avLst>
                <a:gd name="adj1" fmla="val 50139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69191" name="AutoShape 7"/>
            <p:cNvCxnSpPr>
              <a:cxnSpLocks noChangeShapeType="1"/>
              <a:stCxn id="2269193" idx="0"/>
              <a:endCxn id="2269192" idx="2"/>
            </p:cNvCxnSpPr>
            <p:nvPr/>
          </p:nvCxnSpPr>
          <p:spPr bwMode="gray">
            <a:xfrm rot="16200000">
              <a:off x="1774" y="1478"/>
              <a:ext cx="365" cy="1842"/>
            </a:xfrm>
            <a:prstGeom prst="bentConnector3">
              <a:avLst>
                <a:gd name="adj1" fmla="val 50139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69192" name="Rectangle 8"/>
            <p:cNvSpPr>
              <a:spLocks noChangeArrowheads="1"/>
            </p:cNvSpPr>
            <p:nvPr/>
          </p:nvSpPr>
          <p:spPr bwMode="gray">
            <a:xfrm>
              <a:off x="2490" y="1807"/>
              <a:ext cx="776" cy="4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69193" name="Rectangle 9"/>
            <p:cNvSpPr>
              <a:spLocks noChangeArrowheads="1"/>
            </p:cNvSpPr>
            <p:nvPr/>
          </p:nvSpPr>
          <p:spPr bwMode="gray">
            <a:xfrm>
              <a:off x="648" y="2581"/>
              <a:ext cx="776" cy="4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69194" name="Rectangle 10"/>
            <p:cNvSpPr>
              <a:spLocks noChangeArrowheads="1"/>
            </p:cNvSpPr>
            <p:nvPr/>
          </p:nvSpPr>
          <p:spPr bwMode="gray">
            <a:xfrm>
              <a:off x="1570" y="2581"/>
              <a:ext cx="776" cy="4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69195" name="Rectangle 11"/>
            <p:cNvSpPr>
              <a:spLocks noChangeArrowheads="1"/>
            </p:cNvSpPr>
            <p:nvPr/>
          </p:nvSpPr>
          <p:spPr bwMode="gray">
            <a:xfrm>
              <a:off x="2490" y="2581"/>
              <a:ext cx="776" cy="4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69196" name="Rectangle 12"/>
            <p:cNvSpPr>
              <a:spLocks noChangeArrowheads="1"/>
            </p:cNvSpPr>
            <p:nvPr/>
          </p:nvSpPr>
          <p:spPr bwMode="gray">
            <a:xfrm>
              <a:off x="3415" y="2581"/>
              <a:ext cx="776" cy="4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69197" name="Rectangle 13"/>
            <p:cNvSpPr>
              <a:spLocks noChangeArrowheads="1"/>
            </p:cNvSpPr>
            <p:nvPr/>
          </p:nvSpPr>
          <p:spPr bwMode="gray">
            <a:xfrm>
              <a:off x="4338" y="2581"/>
              <a:ext cx="776" cy="4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cxnSp>
          <p:nvCxnSpPr>
            <p:cNvPr id="2269198" name="AutoShape 14"/>
            <p:cNvCxnSpPr>
              <a:cxnSpLocks noChangeShapeType="1"/>
              <a:stCxn id="2269192" idx="2"/>
              <a:endCxn id="2269195" idx="0"/>
            </p:cNvCxnSpPr>
            <p:nvPr/>
          </p:nvCxnSpPr>
          <p:spPr bwMode="gray">
            <a:xfrm>
              <a:off x="2878" y="2216"/>
              <a:ext cx="0" cy="36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2269199" name="Group 15"/>
            <p:cNvGrpSpPr>
              <a:grpSpLocks/>
            </p:cNvGrpSpPr>
            <p:nvPr/>
          </p:nvGrpSpPr>
          <p:grpSpPr bwMode="auto">
            <a:xfrm>
              <a:off x="242" y="938"/>
              <a:ext cx="918" cy="928"/>
              <a:chOff x="242" y="938"/>
              <a:chExt cx="918" cy="928"/>
            </a:xfrm>
          </p:grpSpPr>
          <p:sp>
            <p:nvSpPr>
              <p:cNvPr id="2269200" name="Rectangle 16"/>
              <p:cNvSpPr>
                <a:spLocks noChangeArrowheads="1"/>
              </p:cNvSpPr>
              <p:nvPr/>
            </p:nvSpPr>
            <p:spPr bwMode="gray">
              <a:xfrm>
                <a:off x="242" y="938"/>
                <a:ext cx="918" cy="674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0" bIns="0"/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269201" name="Rectangle 17"/>
              <p:cNvSpPr>
                <a:spLocks noChangeArrowheads="1"/>
              </p:cNvSpPr>
              <p:nvPr/>
            </p:nvSpPr>
            <p:spPr bwMode="gray">
              <a:xfrm>
                <a:off x="242" y="1610"/>
                <a:ext cx="918" cy="256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0" bIns="0"/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</p:grp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844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12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ganizational Chart II</a:t>
            </a:r>
          </a:p>
        </p:txBody>
      </p:sp>
      <p:grpSp>
        <p:nvGrpSpPr>
          <p:cNvPr id="2271257" name="Group 25"/>
          <p:cNvGrpSpPr>
            <a:grpSpLocks/>
          </p:cNvGrpSpPr>
          <p:nvPr/>
        </p:nvGrpSpPr>
        <p:grpSpPr bwMode="auto">
          <a:xfrm>
            <a:off x="1905000" y="2373314"/>
            <a:ext cx="8305800" cy="2039937"/>
            <a:chOff x="240" y="1495"/>
            <a:chExt cx="5232" cy="1285"/>
          </a:xfrm>
        </p:grpSpPr>
        <p:cxnSp>
          <p:nvCxnSpPr>
            <p:cNvPr id="2271236" name="AutoShape 4"/>
            <p:cNvCxnSpPr>
              <a:cxnSpLocks noChangeShapeType="1"/>
              <a:stCxn id="2271255" idx="0"/>
              <a:endCxn id="2271246" idx="2"/>
            </p:cNvCxnSpPr>
            <p:nvPr/>
          </p:nvCxnSpPr>
          <p:spPr bwMode="gray">
            <a:xfrm rot="5400000" flipH="1">
              <a:off x="3557" y="1225"/>
              <a:ext cx="467" cy="1826"/>
            </a:xfrm>
            <a:prstGeom prst="bentConnector3">
              <a:avLst>
                <a:gd name="adj1" fmla="val 50106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1237" name="AutoShape 5"/>
            <p:cNvCxnSpPr>
              <a:cxnSpLocks noChangeShapeType="1"/>
              <a:stCxn id="2271253" idx="0"/>
              <a:endCxn id="2271246" idx="2"/>
            </p:cNvCxnSpPr>
            <p:nvPr/>
          </p:nvCxnSpPr>
          <p:spPr bwMode="gray">
            <a:xfrm rot="5400000" flipH="1">
              <a:off x="3029" y="1753"/>
              <a:ext cx="467" cy="770"/>
            </a:xfrm>
            <a:prstGeom prst="bentConnector3">
              <a:avLst>
                <a:gd name="adj1" fmla="val 50106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1238" name="AutoShape 6"/>
            <p:cNvCxnSpPr>
              <a:cxnSpLocks noChangeShapeType="1"/>
              <a:stCxn id="2271251" idx="0"/>
              <a:endCxn id="2271246" idx="2"/>
            </p:cNvCxnSpPr>
            <p:nvPr/>
          </p:nvCxnSpPr>
          <p:spPr bwMode="gray">
            <a:xfrm rot="16200000">
              <a:off x="2501" y="1995"/>
              <a:ext cx="467" cy="286"/>
            </a:xfrm>
            <a:prstGeom prst="bentConnector3">
              <a:avLst>
                <a:gd name="adj1" fmla="val 50106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1239" name="AutoShape 7"/>
            <p:cNvCxnSpPr>
              <a:cxnSpLocks noChangeShapeType="1"/>
              <a:stCxn id="2271249" idx="0"/>
              <a:endCxn id="2271246" idx="2"/>
            </p:cNvCxnSpPr>
            <p:nvPr/>
          </p:nvCxnSpPr>
          <p:spPr bwMode="gray">
            <a:xfrm rot="16200000">
              <a:off x="1973" y="1467"/>
              <a:ext cx="467" cy="1342"/>
            </a:xfrm>
            <a:prstGeom prst="bentConnector3">
              <a:avLst>
                <a:gd name="adj1" fmla="val 50106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1240" name="AutoShape 8"/>
            <p:cNvCxnSpPr>
              <a:cxnSpLocks noChangeShapeType="1"/>
              <a:stCxn id="2271248" idx="0"/>
              <a:endCxn id="2271246" idx="2"/>
            </p:cNvCxnSpPr>
            <p:nvPr/>
          </p:nvCxnSpPr>
          <p:spPr bwMode="gray">
            <a:xfrm rot="16200000">
              <a:off x="1709" y="1203"/>
              <a:ext cx="467" cy="1870"/>
            </a:xfrm>
            <a:prstGeom prst="bentConnector3">
              <a:avLst>
                <a:gd name="adj1" fmla="val 50106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1241" name="AutoShape 9"/>
            <p:cNvCxnSpPr>
              <a:cxnSpLocks noChangeShapeType="1"/>
              <a:stCxn id="2271256" idx="0"/>
              <a:endCxn id="2271246" idx="2"/>
            </p:cNvCxnSpPr>
            <p:nvPr/>
          </p:nvCxnSpPr>
          <p:spPr bwMode="gray">
            <a:xfrm rot="5400000" flipH="1">
              <a:off x="3821" y="961"/>
              <a:ext cx="467" cy="2354"/>
            </a:xfrm>
            <a:prstGeom prst="bentConnector3">
              <a:avLst>
                <a:gd name="adj1" fmla="val 50106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1242" name="AutoShape 10"/>
            <p:cNvCxnSpPr>
              <a:cxnSpLocks noChangeShapeType="1"/>
              <a:stCxn id="2271254" idx="0"/>
              <a:endCxn id="2271246" idx="2"/>
            </p:cNvCxnSpPr>
            <p:nvPr/>
          </p:nvCxnSpPr>
          <p:spPr bwMode="gray">
            <a:xfrm rot="5400000" flipH="1">
              <a:off x="3293" y="1489"/>
              <a:ext cx="467" cy="1298"/>
            </a:xfrm>
            <a:prstGeom prst="bentConnector3">
              <a:avLst>
                <a:gd name="adj1" fmla="val 50106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1243" name="AutoShape 11"/>
            <p:cNvCxnSpPr>
              <a:cxnSpLocks noChangeShapeType="1"/>
              <a:stCxn id="2271252" idx="0"/>
              <a:endCxn id="2271246" idx="2"/>
            </p:cNvCxnSpPr>
            <p:nvPr/>
          </p:nvCxnSpPr>
          <p:spPr bwMode="gray">
            <a:xfrm rot="5400000" flipH="1">
              <a:off x="2765" y="2017"/>
              <a:ext cx="467" cy="242"/>
            </a:xfrm>
            <a:prstGeom prst="bentConnector3">
              <a:avLst>
                <a:gd name="adj1" fmla="val 50106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1244" name="AutoShape 12"/>
            <p:cNvCxnSpPr>
              <a:cxnSpLocks noChangeShapeType="1"/>
              <a:stCxn id="2271250" idx="0"/>
              <a:endCxn id="2271246" idx="2"/>
            </p:cNvCxnSpPr>
            <p:nvPr/>
          </p:nvCxnSpPr>
          <p:spPr bwMode="gray">
            <a:xfrm rot="16200000">
              <a:off x="2237" y="1731"/>
              <a:ext cx="467" cy="814"/>
            </a:xfrm>
            <a:prstGeom prst="bentConnector3">
              <a:avLst>
                <a:gd name="adj1" fmla="val 50106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1245" name="AutoShape 13"/>
            <p:cNvCxnSpPr>
              <a:cxnSpLocks noChangeShapeType="1"/>
              <a:stCxn id="2271247" idx="0"/>
              <a:endCxn id="2271246" idx="2"/>
            </p:cNvCxnSpPr>
            <p:nvPr/>
          </p:nvCxnSpPr>
          <p:spPr bwMode="gray">
            <a:xfrm rot="16200000">
              <a:off x="1445" y="939"/>
              <a:ext cx="467" cy="2398"/>
            </a:xfrm>
            <a:prstGeom prst="bentConnector3">
              <a:avLst>
                <a:gd name="adj1" fmla="val 50106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71246" name="Rectangle 14"/>
            <p:cNvSpPr>
              <a:spLocks noChangeArrowheads="1"/>
            </p:cNvSpPr>
            <p:nvPr/>
          </p:nvSpPr>
          <p:spPr bwMode="gray">
            <a:xfrm>
              <a:off x="2490" y="1495"/>
              <a:ext cx="776" cy="4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1247" name="Rectangle 15"/>
            <p:cNvSpPr>
              <a:spLocks noChangeArrowheads="1"/>
            </p:cNvSpPr>
            <p:nvPr/>
          </p:nvSpPr>
          <p:spPr bwMode="gray">
            <a:xfrm>
              <a:off x="240" y="2371"/>
              <a:ext cx="480" cy="4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1248" name="Rectangle 16"/>
            <p:cNvSpPr>
              <a:spLocks noChangeArrowheads="1"/>
            </p:cNvSpPr>
            <p:nvPr/>
          </p:nvSpPr>
          <p:spPr bwMode="gray">
            <a:xfrm>
              <a:off x="768" y="2371"/>
              <a:ext cx="480" cy="4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1249" name="Rectangle 17"/>
            <p:cNvSpPr>
              <a:spLocks noChangeArrowheads="1"/>
            </p:cNvSpPr>
            <p:nvPr/>
          </p:nvSpPr>
          <p:spPr bwMode="gray">
            <a:xfrm>
              <a:off x="1296" y="2371"/>
              <a:ext cx="480" cy="4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1250" name="Rectangle 18"/>
            <p:cNvSpPr>
              <a:spLocks noChangeArrowheads="1"/>
            </p:cNvSpPr>
            <p:nvPr/>
          </p:nvSpPr>
          <p:spPr bwMode="gray">
            <a:xfrm>
              <a:off x="1824" y="2371"/>
              <a:ext cx="480" cy="4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1251" name="Rectangle 19"/>
            <p:cNvSpPr>
              <a:spLocks noChangeArrowheads="1"/>
            </p:cNvSpPr>
            <p:nvPr/>
          </p:nvSpPr>
          <p:spPr bwMode="gray">
            <a:xfrm>
              <a:off x="2352" y="2371"/>
              <a:ext cx="480" cy="4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1252" name="Rectangle 20"/>
            <p:cNvSpPr>
              <a:spLocks noChangeArrowheads="1"/>
            </p:cNvSpPr>
            <p:nvPr/>
          </p:nvSpPr>
          <p:spPr bwMode="gray">
            <a:xfrm>
              <a:off x="2880" y="2371"/>
              <a:ext cx="480" cy="4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1253" name="Rectangle 21"/>
            <p:cNvSpPr>
              <a:spLocks noChangeArrowheads="1"/>
            </p:cNvSpPr>
            <p:nvPr/>
          </p:nvSpPr>
          <p:spPr bwMode="gray">
            <a:xfrm>
              <a:off x="3408" y="2371"/>
              <a:ext cx="480" cy="4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1254" name="Rectangle 22"/>
            <p:cNvSpPr>
              <a:spLocks noChangeArrowheads="1"/>
            </p:cNvSpPr>
            <p:nvPr/>
          </p:nvSpPr>
          <p:spPr bwMode="gray">
            <a:xfrm>
              <a:off x="3936" y="2371"/>
              <a:ext cx="480" cy="4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1255" name="Rectangle 23"/>
            <p:cNvSpPr>
              <a:spLocks noChangeArrowheads="1"/>
            </p:cNvSpPr>
            <p:nvPr/>
          </p:nvSpPr>
          <p:spPr bwMode="gray">
            <a:xfrm>
              <a:off x="4464" y="2371"/>
              <a:ext cx="480" cy="4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1256" name="Rectangle 24"/>
            <p:cNvSpPr>
              <a:spLocks noChangeArrowheads="1"/>
            </p:cNvSpPr>
            <p:nvPr/>
          </p:nvSpPr>
          <p:spPr bwMode="gray">
            <a:xfrm>
              <a:off x="4992" y="2371"/>
              <a:ext cx="480" cy="40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529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2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ganizational Chart  III</a:t>
            </a:r>
          </a:p>
        </p:txBody>
      </p:sp>
      <p:grpSp>
        <p:nvGrpSpPr>
          <p:cNvPr id="2273320" name="Group 40"/>
          <p:cNvGrpSpPr>
            <a:grpSpLocks/>
          </p:cNvGrpSpPr>
          <p:nvPr/>
        </p:nvGrpSpPr>
        <p:grpSpPr bwMode="auto">
          <a:xfrm>
            <a:off x="1911351" y="1804956"/>
            <a:ext cx="8302625" cy="4237038"/>
            <a:chOff x="244" y="938"/>
            <a:chExt cx="5230" cy="2669"/>
          </a:xfrm>
        </p:grpSpPr>
        <p:cxnSp>
          <p:nvCxnSpPr>
            <p:cNvPr id="2273284" name="AutoShape 4"/>
            <p:cNvCxnSpPr>
              <a:cxnSpLocks noChangeShapeType="1"/>
              <a:stCxn id="2273319" idx="2"/>
              <a:endCxn id="2273300" idx="0"/>
            </p:cNvCxnSpPr>
            <p:nvPr/>
          </p:nvCxnSpPr>
          <p:spPr bwMode="gray">
            <a:xfrm rot="16200000" flipH="1">
              <a:off x="3700" y="501"/>
              <a:ext cx="191" cy="1843"/>
            </a:xfrm>
            <a:prstGeom prst="bentConnector3">
              <a:avLst>
                <a:gd name="adj1" fmla="val 49736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3285" name="AutoShape 5"/>
            <p:cNvCxnSpPr>
              <a:cxnSpLocks noChangeShapeType="1"/>
              <a:stCxn id="2273294" idx="0"/>
              <a:endCxn id="2273319" idx="2"/>
            </p:cNvCxnSpPr>
            <p:nvPr/>
          </p:nvCxnSpPr>
          <p:spPr bwMode="gray">
            <a:xfrm rot="16200000">
              <a:off x="2778" y="1423"/>
              <a:ext cx="191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3286" name="AutoShape 6"/>
            <p:cNvCxnSpPr>
              <a:cxnSpLocks noChangeShapeType="1"/>
              <a:stCxn id="2273303" idx="0"/>
              <a:endCxn id="2273319" idx="2"/>
            </p:cNvCxnSpPr>
            <p:nvPr/>
          </p:nvCxnSpPr>
          <p:spPr bwMode="gray">
            <a:xfrm rot="16200000">
              <a:off x="1842" y="487"/>
              <a:ext cx="191" cy="1872"/>
            </a:xfrm>
            <a:prstGeom prst="bentConnector3">
              <a:avLst>
                <a:gd name="adj1" fmla="val 50264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73287" name="Rectangle 7"/>
            <p:cNvSpPr>
              <a:spLocks noChangeArrowheads="1"/>
            </p:cNvSpPr>
            <p:nvPr/>
          </p:nvSpPr>
          <p:spPr bwMode="gray">
            <a:xfrm>
              <a:off x="2120" y="1800"/>
              <a:ext cx="66" cy="10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0" rIns="0" bIns="0" anchor="ctr"/>
            <a:lstStyle/>
            <a:p>
              <a:pPr algn="l"/>
              <a:endParaRPr lang="de-DE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cxnSp>
          <p:nvCxnSpPr>
            <p:cNvPr id="2273288" name="AutoShape 8"/>
            <p:cNvCxnSpPr>
              <a:cxnSpLocks noChangeShapeType="1"/>
              <a:stCxn id="2273287" idx="2"/>
              <a:endCxn id="2273291" idx="1"/>
            </p:cNvCxnSpPr>
            <p:nvPr/>
          </p:nvCxnSpPr>
          <p:spPr bwMode="gray">
            <a:xfrm rot="16200000" flipH="1">
              <a:off x="2070" y="1990"/>
              <a:ext cx="266" cy="99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3289" name="AutoShape 9"/>
            <p:cNvCxnSpPr>
              <a:cxnSpLocks noChangeShapeType="1"/>
              <a:stCxn id="2273287" idx="2"/>
              <a:endCxn id="2273292" idx="1"/>
            </p:cNvCxnSpPr>
            <p:nvPr/>
          </p:nvCxnSpPr>
          <p:spPr bwMode="gray">
            <a:xfrm rot="16200000" flipH="1">
              <a:off x="1859" y="2201"/>
              <a:ext cx="687" cy="99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3290" name="AutoShape 10"/>
            <p:cNvCxnSpPr>
              <a:cxnSpLocks noChangeShapeType="1"/>
              <a:stCxn id="2273287" idx="2"/>
              <a:endCxn id="2273293" idx="1"/>
            </p:cNvCxnSpPr>
            <p:nvPr/>
          </p:nvCxnSpPr>
          <p:spPr bwMode="gray">
            <a:xfrm rot="16200000" flipH="1">
              <a:off x="1649" y="2411"/>
              <a:ext cx="1108" cy="99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73291" name="Rectangle 11"/>
            <p:cNvSpPr>
              <a:spLocks noChangeArrowheads="1"/>
            </p:cNvSpPr>
            <p:nvPr/>
          </p:nvSpPr>
          <p:spPr bwMode="gray">
            <a:xfrm>
              <a:off x="2252" y="2014"/>
              <a:ext cx="1379" cy="31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3292" name="Rectangle 12"/>
            <p:cNvSpPr>
              <a:spLocks noChangeArrowheads="1"/>
            </p:cNvSpPr>
            <p:nvPr/>
          </p:nvSpPr>
          <p:spPr bwMode="gray">
            <a:xfrm>
              <a:off x="2252" y="2435"/>
              <a:ext cx="1379" cy="31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3293" name="Rectangle 13"/>
            <p:cNvSpPr>
              <a:spLocks noChangeArrowheads="1"/>
            </p:cNvSpPr>
            <p:nvPr/>
          </p:nvSpPr>
          <p:spPr bwMode="gray">
            <a:xfrm>
              <a:off x="2252" y="2856"/>
              <a:ext cx="1379" cy="31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3294" name="Rectangle 14"/>
            <p:cNvSpPr>
              <a:spLocks noChangeArrowheads="1"/>
            </p:cNvSpPr>
            <p:nvPr/>
          </p:nvSpPr>
          <p:spPr bwMode="gray">
            <a:xfrm>
              <a:off x="2117" y="1518"/>
              <a:ext cx="1514" cy="38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3295" name="Rectangle 15"/>
            <p:cNvSpPr>
              <a:spLocks noChangeArrowheads="1"/>
            </p:cNvSpPr>
            <p:nvPr/>
          </p:nvSpPr>
          <p:spPr bwMode="gray">
            <a:xfrm>
              <a:off x="3960" y="1800"/>
              <a:ext cx="65" cy="10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0" rIns="0" bIns="0" anchor="ctr"/>
            <a:lstStyle/>
            <a:p>
              <a:pPr algn="l"/>
              <a:endParaRPr lang="de-DE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cxnSp>
          <p:nvCxnSpPr>
            <p:cNvPr id="2273296" name="AutoShape 16"/>
            <p:cNvCxnSpPr>
              <a:cxnSpLocks noChangeShapeType="1"/>
              <a:stCxn id="2273295" idx="2"/>
              <a:endCxn id="2273298" idx="1"/>
            </p:cNvCxnSpPr>
            <p:nvPr/>
          </p:nvCxnSpPr>
          <p:spPr bwMode="gray">
            <a:xfrm rot="16200000" flipH="1">
              <a:off x="3911" y="1989"/>
              <a:ext cx="266" cy="102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3297" name="AutoShape 17"/>
            <p:cNvCxnSpPr>
              <a:cxnSpLocks noChangeShapeType="1"/>
              <a:stCxn id="2273295" idx="2"/>
              <a:endCxn id="2273299" idx="1"/>
            </p:cNvCxnSpPr>
            <p:nvPr/>
          </p:nvCxnSpPr>
          <p:spPr bwMode="gray">
            <a:xfrm rot="16200000" flipH="1">
              <a:off x="3700" y="2200"/>
              <a:ext cx="687" cy="102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73298" name="Rectangle 18"/>
            <p:cNvSpPr>
              <a:spLocks noChangeArrowheads="1"/>
            </p:cNvSpPr>
            <p:nvPr/>
          </p:nvSpPr>
          <p:spPr bwMode="gray">
            <a:xfrm>
              <a:off x="4095" y="2014"/>
              <a:ext cx="1379" cy="31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3299" name="Rectangle 19"/>
            <p:cNvSpPr>
              <a:spLocks noChangeArrowheads="1"/>
            </p:cNvSpPr>
            <p:nvPr/>
          </p:nvSpPr>
          <p:spPr bwMode="gray">
            <a:xfrm>
              <a:off x="4095" y="2435"/>
              <a:ext cx="1379" cy="31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3300" name="Rectangle 20"/>
            <p:cNvSpPr>
              <a:spLocks noChangeArrowheads="1"/>
            </p:cNvSpPr>
            <p:nvPr/>
          </p:nvSpPr>
          <p:spPr bwMode="gray">
            <a:xfrm>
              <a:off x="3959" y="1518"/>
              <a:ext cx="1515" cy="38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3301" name="Rectangle 21"/>
            <p:cNvSpPr>
              <a:spLocks noChangeArrowheads="1"/>
            </p:cNvSpPr>
            <p:nvPr/>
          </p:nvSpPr>
          <p:spPr bwMode="gray">
            <a:xfrm>
              <a:off x="1063" y="2222"/>
              <a:ext cx="66" cy="10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0" rIns="0" bIns="0" anchor="ctr"/>
            <a:lstStyle/>
            <a:p>
              <a:pPr algn="l"/>
              <a:endParaRPr lang="de-DE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273302" name="Rectangle 22"/>
            <p:cNvSpPr>
              <a:spLocks noChangeArrowheads="1"/>
            </p:cNvSpPr>
            <p:nvPr/>
          </p:nvSpPr>
          <p:spPr bwMode="gray">
            <a:xfrm>
              <a:off x="1060" y="2010"/>
              <a:ext cx="701" cy="31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3303" name="Rectangle 23"/>
            <p:cNvSpPr>
              <a:spLocks noChangeArrowheads="1"/>
            </p:cNvSpPr>
            <p:nvPr/>
          </p:nvSpPr>
          <p:spPr bwMode="gray">
            <a:xfrm>
              <a:off x="244" y="1518"/>
              <a:ext cx="1515" cy="38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3304" name="Rectangle 24"/>
            <p:cNvSpPr>
              <a:spLocks noChangeArrowheads="1"/>
            </p:cNvSpPr>
            <p:nvPr/>
          </p:nvSpPr>
          <p:spPr bwMode="gray">
            <a:xfrm>
              <a:off x="244" y="2222"/>
              <a:ext cx="66" cy="10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0" rIns="0" bIns="0" anchor="ctr"/>
            <a:lstStyle/>
            <a:p>
              <a:pPr algn="l"/>
              <a:endParaRPr lang="de-DE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273305" name="Rectangle 25"/>
            <p:cNvSpPr>
              <a:spLocks noChangeArrowheads="1"/>
            </p:cNvSpPr>
            <p:nvPr/>
          </p:nvSpPr>
          <p:spPr bwMode="gray">
            <a:xfrm>
              <a:off x="340" y="3070"/>
              <a:ext cx="67" cy="10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45720" tIns="0" rIns="0" bIns="0" anchor="ctr"/>
            <a:lstStyle/>
            <a:p>
              <a:pPr algn="l"/>
              <a:endParaRPr lang="de-DE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cxnSp>
          <p:nvCxnSpPr>
            <p:cNvPr id="2273306" name="AutoShape 26"/>
            <p:cNvCxnSpPr>
              <a:cxnSpLocks noChangeShapeType="1"/>
            </p:cNvCxnSpPr>
            <p:nvPr/>
          </p:nvCxnSpPr>
          <p:spPr bwMode="gray">
            <a:xfrm rot="16200000" flipH="1">
              <a:off x="1154" y="1755"/>
              <a:ext cx="103" cy="408"/>
            </a:xfrm>
            <a:prstGeom prst="bentConnector3">
              <a:avLst>
                <a:gd name="adj1" fmla="val 49514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3307" name="AutoShape 27"/>
            <p:cNvCxnSpPr>
              <a:cxnSpLocks noChangeShapeType="1"/>
            </p:cNvCxnSpPr>
            <p:nvPr/>
          </p:nvCxnSpPr>
          <p:spPr bwMode="gray">
            <a:xfrm rot="5400000">
              <a:off x="747" y="1755"/>
              <a:ext cx="103" cy="407"/>
            </a:xfrm>
            <a:prstGeom prst="bentConnector3">
              <a:avLst>
                <a:gd name="adj1" fmla="val 49514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3308" name="AutoShape 28"/>
            <p:cNvCxnSpPr>
              <a:cxnSpLocks noChangeShapeType="1"/>
              <a:stCxn id="2273304" idx="2"/>
              <a:endCxn id="2273314" idx="1"/>
            </p:cNvCxnSpPr>
            <p:nvPr/>
          </p:nvCxnSpPr>
          <p:spPr bwMode="gray">
            <a:xfrm rot="16200000" flipH="1">
              <a:off x="176" y="2429"/>
              <a:ext cx="266" cy="63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3309" name="AutoShape 29"/>
            <p:cNvCxnSpPr>
              <a:cxnSpLocks noChangeShapeType="1"/>
              <a:stCxn id="2273304" idx="2"/>
              <a:endCxn id="2273315" idx="1"/>
            </p:cNvCxnSpPr>
            <p:nvPr/>
          </p:nvCxnSpPr>
          <p:spPr bwMode="gray">
            <a:xfrm rot="16200000" flipH="1">
              <a:off x="-35" y="2640"/>
              <a:ext cx="687" cy="63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3310" name="AutoShape 30"/>
            <p:cNvCxnSpPr>
              <a:cxnSpLocks noChangeShapeType="1"/>
              <a:stCxn id="2273305" idx="2"/>
              <a:endCxn id="2273318" idx="1"/>
            </p:cNvCxnSpPr>
            <p:nvPr/>
          </p:nvCxnSpPr>
          <p:spPr bwMode="gray">
            <a:xfrm rot="16200000" flipH="1">
              <a:off x="269" y="3282"/>
              <a:ext cx="271" cy="61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3311" name="AutoShape 31"/>
            <p:cNvCxnSpPr>
              <a:cxnSpLocks noChangeShapeType="1"/>
              <a:stCxn id="2273301" idx="2"/>
              <a:endCxn id="2273316" idx="1"/>
            </p:cNvCxnSpPr>
            <p:nvPr/>
          </p:nvCxnSpPr>
          <p:spPr bwMode="gray">
            <a:xfrm rot="16200000" flipH="1">
              <a:off x="993" y="2431"/>
              <a:ext cx="266" cy="60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3312" name="AutoShape 32"/>
            <p:cNvCxnSpPr>
              <a:cxnSpLocks noChangeShapeType="1"/>
              <a:stCxn id="2273301" idx="2"/>
              <a:endCxn id="2273317" idx="1"/>
            </p:cNvCxnSpPr>
            <p:nvPr/>
          </p:nvCxnSpPr>
          <p:spPr bwMode="gray">
            <a:xfrm rot="16200000" flipH="1">
              <a:off x="782" y="2642"/>
              <a:ext cx="687" cy="60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73313" name="Rectangle 33"/>
            <p:cNvSpPr>
              <a:spLocks noChangeArrowheads="1"/>
            </p:cNvSpPr>
            <p:nvPr/>
          </p:nvSpPr>
          <p:spPr bwMode="gray">
            <a:xfrm>
              <a:off x="244" y="2010"/>
              <a:ext cx="701" cy="31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3314" name="Rectangle 34"/>
            <p:cNvSpPr>
              <a:spLocks noChangeArrowheads="1"/>
            </p:cNvSpPr>
            <p:nvPr/>
          </p:nvSpPr>
          <p:spPr bwMode="gray">
            <a:xfrm>
              <a:off x="340" y="2435"/>
              <a:ext cx="605" cy="31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3315" name="Rectangle 35"/>
            <p:cNvSpPr>
              <a:spLocks noChangeArrowheads="1"/>
            </p:cNvSpPr>
            <p:nvPr/>
          </p:nvSpPr>
          <p:spPr bwMode="gray">
            <a:xfrm>
              <a:off x="340" y="2856"/>
              <a:ext cx="605" cy="31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3316" name="Rectangle 36"/>
            <p:cNvSpPr>
              <a:spLocks noChangeArrowheads="1"/>
            </p:cNvSpPr>
            <p:nvPr/>
          </p:nvSpPr>
          <p:spPr bwMode="gray">
            <a:xfrm>
              <a:off x="1156" y="2435"/>
              <a:ext cx="605" cy="31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3317" name="Rectangle 37"/>
            <p:cNvSpPr>
              <a:spLocks noChangeArrowheads="1"/>
            </p:cNvSpPr>
            <p:nvPr/>
          </p:nvSpPr>
          <p:spPr bwMode="gray">
            <a:xfrm>
              <a:off x="1156" y="2856"/>
              <a:ext cx="605" cy="31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3318" name="Rectangle 38"/>
            <p:cNvSpPr>
              <a:spLocks noChangeArrowheads="1"/>
            </p:cNvSpPr>
            <p:nvPr/>
          </p:nvSpPr>
          <p:spPr bwMode="gray">
            <a:xfrm>
              <a:off x="435" y="3289"/>
              <a:ext cx="605" cy="318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3319" name="Rectangle 39"/>
            <p:cNvSpPr>
              <a:spLocks noChangeArrowheads="1"/>
            </p:cNvSpPr>
            <p:nvPr/>
          </p:nvSpPr>
          <p:spPr bwMode="gray">
            <a:xfrm>
              <a:off x="2117" y="938"/>
              <a:ext cx="1514" cy="38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5485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53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ganizational Chart IV</a:t>
            </a:r>
          </a:p>
        </p:txBody>
      </p:sp>
      <p:grpSp>
        <p:nvGrpSpPr>
          <p:cNvPr id="2275385" name="Group 57"/>
          <p:cNvGrpSpPr>
            <a:grpSpLocks/>
          </p:cNvGrpSpPr>
          <p:nvPr/>
        </p:nvGrpSpPr>
        <p:grpSpPr bwMode="auto">
          <a:xfrm>
            <a:off x="1911350" y="1937961"/>
            <a:ext cx="8305800" cy="3965575"/>
            <a:chOff x="244" y="938"/>
            <a:chExt cx="5232" cy="2498"/>
          </a:xfrm>
        </p:grpSpPr>
        <p:cxnSp>
          <p:nvCxnSpPr>
            <p:cNvPr id="2275342" name="AutoShape 14"/>
            <p:cNvCxnSpPr>
              <a:cxnSpLocks noChangeShapeType="1"/>
              <a:endCxn id="2275346" idx="2"/>
            </p:cNvCxnSpPr>
            <p:nvPr/>
          </p:nvCxnSpPr>
          <p:spPr bwMode="gray">
            <a:xfrm rot="16200000">
              <a:off x="1664" y="495"/>
              <a:ext cx="421" cy="2005"/>
            </a:xfrm>
            <a:prstGeom prst="bentConnector3">
              <a:avLst>
                <a:gd name="adj1" fmla="val 4988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5343" name="AutoShape 15"/>
            <p:cNvCxnSpPr>
              <a:cxnSpLocks noChangeShapeType="1"/>
              <a:stCxn id="2275354" idx="0"/>
              <a:endCxn id="2275346" idx="2"/>
            </p:cNvCxnSpPr>
            <p:nvPr/>
          </p:nvCxnSpPr>
          <p:spPr bwMode="gray">
            <a:xfrm rot="16200000">
              <a:off x="2327" y="1158"/>
              <a:ext cx="421" cy="679"/>
            </a:xfrm>
            <a:prstGeom prst="bentConnector3">
              <a:avLst>
                <a:gd name="adj1" fmla="val 5012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5344" name="AutoShape 16"/>
            <p:cNvCxnSpPr>
              <a:cxnSpLocks noChangeShapeType="1"/>
              <a:stCxn id="2275355" idx="0"/>
              <a:endCxn id="2275346" idx="2"/>
            </p:cNvCxnSpPr>
            <p:nvPr/>
          </p:nvCxnSpPr>
          <p:spPr bwMode="gray">
            <a:xfrm rot="5400000" flipH="1">
              <a:off x="2991" y="1173"/>
              <a:ext cx="421" cy="650"/>
            </a:xfrm>
            <a:prstGeom prst="bentConnector3">
              <a:avLst>
                <a:gd name="adj1" fmla="val 5012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5345" name="AutoShape 17"/>
            <p:cNvCxnSpPr>
              <a:cxnSpLocks noChangeShapeType="1"/>
              <a:stCxn id="2275356" idx="0"/>
              <a:endCxn id="2275346" idx="2"/>
            </p:cNvCxnSpPr>
            <p:nvPr/>
          </p:nvCxnSpPr>
          <p:spPr bwMode="gray">
            <a:xfrm rot="5400000" flipH="1">
              <a:off x="3655" y="509"/>
              <a:ext cx="421" cy="1978"/>
            </a:xfrm>
            <a:prstGeom prst="bentConnector3">
              <a:avLst>
                <a:gd name="adj1" fmla="val 5012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75346" name="Rectangle 18"/>
            <p:cNvSpPr>
              <a:spLocks noChangeArrowheads="1"/>
            </p:cNvSpPr>
            <p:nvPr/>
          </p:nvSpPr>
          <p:spPr bwMode="gray">
            <a:xfrm>
              <a:off x="2362" y="938"/>
              <a:ext cx="1029" cy="34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5332" name="Rectangle 4"/>
            <p:cNvSpPr>
              <a:spLocks noChangeArrowheads="1"/>
            </p:cNvSpPr>
            <p:nvPr/>
          </p:nvSpPr>
          <p:spPr bwMode="gray">
            <a:xfrm>
              <a:off x="244" y="2612"/>
              <a:ext cx="592" cy="31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5333" name="Rectangle 5"/>
            <p:cNvSpPr>
              <a:spLocks noChangeArrowheads="1"/>
            </p:cNvSpPr>
            <p:nvPr/>
          </p:nvSpPr>
          <p:spPr bwMode="gray">
            <a:xfrm>
              <a:off x="439" y="1708"/>
              <a:ext cx="866" cy="34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cxnSp>
          <p:nvCxnSpPr>
            <p:cNvPr id="2275340" name="AutoShape 12"/>
            <p:cNvCxnSpPr>
              <a:cxnSpLocks noChangeShapeType="1"/>
              <a:stCxn id="2275347" idx="0"/>
              <a:endCxn id="2275333" idx="2"/>
            </p:cNvCxnSpPr>
            <p:nvPr/>
          </p:nvCxnSpPr>
          <p:spPr bwMode="gray">
            <a:xfrm rot="5400000" flipH="1">
              <a:off x="760" y="2169"/>
              <a:ext cx="555" cy="331"/>
            </a:xfrm>
            <a:prstGeom prst="bentConnector3">
              <a:avLst>
                <a:gd name="adj1" fmla="val 50088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5341" name="AutoShape 13"/>
            <p:cNvCxnSpPr>
              <a:cxnSpLocks noChangeShapeType="1"/>
              <a:stCxn id="2275332" idx="0"/>
              <a:endCxn id="2275333" idx="2"/>
            </p:cNvCxnSpPr>
            <p:nvPr/>
          </p:nvCxnSpPr>
          <p:spPr bwMode="gray">
            <a:xfrm rot="16200000">
              <a:off x="428" y="2169"/>
              <a:ext cx="555" cy="332"/>
            </a:xfrm>
            <a:prstGeom prst="bentConnector3">
              <a:avLst>
                <a:gd name="adj1" fmla="val 50088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75347" name="Rectangle 19"/>
            <p:cNvSpPr>
              <a:spLocks noChangeArrowheads="1"/>
            </p:cNvSpPr>
            <p:nvPr/>
          </p:nvSpPr>
          <p:spPr bwMode="gray">
            <a:xfrm>
              <a:off x="907" y="2612"/>
              <a:ext cx="592" cy="31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5357" name="Rectangle 29"/>
            <p:cNvSpPr>
              <a:spLocks noChangeArrowheads="1"/>
            </p:cNvSpPr>
            <p:nvPr/>
          </p:nvSpPr>
          <p:spPr bwMode="gray">
            <a:xfrm>
              <a:off x="244" y="3122"/>
              <a:ext cx="592" cy="31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5358" name="Rectangle 30"/>
            <p:cNvSpPr>
              <a:spLocks noChangeArrowheads="1"/>
            </p:cNvSpPr>
            <p:nvPr/>
          </p:nvSpPr>
          <p:spPr bwMode="gray">
            <a:xfrm>
              <a:off x="907" y="3122"/>
              <a:ext cx="592" cy="31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cxnSp>
          <p:nvCxnSpPr>
            <p:cNvPr id="2275338" name="AutoShape 10"/>
            <p:cNvCxnSpPr>
              <a:cxnSpLocks noChangeShapeType="1"/>
              <a:stCxn id="2275349" idx="0"/>
              <a:endCxn id="2275354" idx="2"/>
            </p:cNvCxnSpPr>
            <p:nvPr/>
          </p:nvCxnSpPr>
          <p:spPr bwMode="gray">
            <a:xfrm rot="5400000" flipH="1">
              <a:off x="2085" y="2170"/>
              <a:ext cx="555" cy="330"/>
            </a:xfrm>
            <a:prstGeom prst="bentConnector3">
              <a:avLst>
                <a:gd name="adj1" fmla="val 50088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5339" name="AutoShape 11"/>
            <p:cNvCxnSpPr>
              <a:cxnSpLocks noChangeShapeType="1"/>
              <a:stCxn id="2275348" idx="0"/>
              <a:endCxn id="2275354" idx="2"/>
            </p:cNvCxnSpPr>
            <p:nvPr/>
          </p:nvCxnSpPr>
          <p:spPr bwMode="gray">
            <a:xfrm rot="16200000">
              <a:off x="1753" y="2168"/>
              <a:ext cx="555" cy="334"/>
            </a:xfrm>
            <a:prstGeom prst="bentConnector3">
              <a:avLst>
                <a:gd name="adj1" fmla="val 50088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75348" name="Rectangle 20"/>
            <p:cNvSpPr>
              <a:spLocks noChangeArrowheads="1"/>
            </p:cNvSpPr>
            <p:nvPr/>
          </p:nvSpPr>
          <p:spPr bwMode="gray">
            <a:xfrm>
              <a:off x="1568" y="2612"/>
              <a:ext cx="592" cy="31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5349" name="Rectangle 21"/>
            <p:cNvSpPr>
              <a:spLocks noChangeArrowheads="1"/>
            </p:cNvSpPr>
            <p:nvPr/>
          </p:nvSpPr>
          <p:spPr bwMode="gray">
            <a:xfrm>
              <a:off x="2232" y="2612"/>
              <a:ext cx="592" cy="31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5354" name="Rectangle 26"/>
            <p:cNvSpPr>
              <a:spLocks noChangeArrowheads="1"/>
            </p:cNvSpPr>
            <p:nvPr/>
          </p:nvSpPr>
          <p:spPr bwMode="gray">
            <a:xfrm>
              <a:off x="1765" y="1708"/>
              <a:ext cx="866" cy="34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5359" name="Rectangle 31"/>
            <p:cNvSpPr>
              <a:spLocks noChangeArrowheads="1"/>
            </p:cNvSpPr>
            <p:nvPr/>
          </p:nvSpPr>
          <p:spPr bwMode="gray">
            <a:xfrm>
              <a:off x="1568" y="3122"/>
              <a:ext cx="592" cy="31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5360" name="Rectangle 32"/>
            <p:cNvSpPr>
              <a:spLocks noChangeArrowheads="1"/>
            </p:cNvSpPr>
            <p:nvPr/>
          </p:nvSpPr>
          <p:spPr bwMode="gray">
            <a:xfrm>
              <a:off x="2232" y="3122"/>
              <a:ext cx="592" cy="31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cxnSp>
          <p:nvCxnSpPr>
            <p:cNvPr id="2275336" name="AutoShape 8"/>
            <p:cNvCxnSpPr>
              <a:cxnSpLocks noChangeShapeType="1"/>
              <a:stCxn id="2275351" idx="0"/>
              <a:endCxn id="2275355" idx="2"/>
            </p:cNvCxnSpPr>
            <p:nvPr/>
          </p:nvCxnSpPr>
          <p:spPr bwMode="gray">
            <a:xfrm rot="5400000" flipH="1">
              <a:off x="3413" y="2171"/>
              <a:ext cx="555" cy="327"/>
            </a:xfrm>
            <a:prstGeom prst="bentConnector3">
              <a:avLst>
                <a:gd name="adj1" fmla="val 50088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5337" name="AutoShape 9"/>
            <p:cNvCxnSpPr>
              <a:cxnSpLocks noChangeShapeType="1"/>
              <a:stCxn id="2275350" idx="0"/>
              <a:endCxn id="2275355" idx="2"/>
            </p:cNvCxnSpPr>
            <p:nvPr/>
          </p:nvCxnSpPr>
          <p:spPr bwMode="gray">
            <a:xfrm rot="16200000">
              <a:off x="3081" y="2166"/>
              <a:ext cx="555" cy="337"/>
            </a:xfrm>
            <a:prstGeom prst="bentConnector3">
              <a:avLst>
                <a:gd name="adj1" fmla="val 50088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75350" name="Rectangle 22"/>
            <p:cNvSpPr>
              <a:spLocks noChangeArrowheads="1"/>
            </p:cNvSpPr>
            <p:nvPr/>
          </p:nvSpPr>
          <p:spPr bwMode="gray">
            <a:xfrm>
              <a:off x="2894" y="2612"/>
              <a:ext cx="592" cy="31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5351" name="Rectangle 23"/>
            <p:cNvSpPr>
              <a:spLocks noChangeArrowheads="1"/>
            </p:cNvSpPr>
            <p:nvPr/>
          </p:nvSpPr>
          <p:spPr bwMode="gray">
            <a:xfrm>
              <a:off x="3558" y="2612"/>
              <a:ext cx="592" cy="31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5355" name="Rectangle 27"/>
            <p:cNvSpPr>
              <a:spLocks noChangeArrowheads="1"/>
            </p:cNvSpPr>
            <p:nvPr/>
          </p:nvSpPr>
          <p:spPr bwMode="gray">
            <a:xfrm>
              <a:off x="3094" y="1708"/>
              <a:ext cx="866" cy="34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5361" name="Rectangle 33"/>
            <p:cNvSpPr>
              <a:spLocks noChangeArrowheads="1"/>
            </p:cNvSpPr>
            <p:nvPr/>
          </p:nvSpPr>
          <p:spPr bwMode="gray">
            <a:xfrm>
              <a:off x="2894" y="3122"/>
              <a:ext cx="592" cy="31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5362" name="Rectangle 34"/>
            <p:cNvSpPr>
              <a:spLocks noChangeArrowheads="1"/>
            </p:cNvSpPr>
            <p:nvPr/>
          </p:nvSpPr>
          <p:spPr bwMode="gray">
            <a:xfrm>
              <a:off x="3558" y="3122"/>
              <a:ext cx="592" cy="31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cxnSp>
          <p:nvCxnSpPr>
            <p:cNvPr id="2275334" name="AutoShape 6"/>
            <p:cNvCxnSpPr>
              <a:cxnSpLocks noChangeShapeType="1"/>
              <a:stCxn id="2275353" idx="0"/>
              <a:endCxn id="2275356" idx="2"/>
            </p:cNvCxnSpPr>
            <p:nvPr/>
          </p:nvCxnSpPr>
          <p:spPr bwMode="gray">
            <a:xfrm rot="5400000" flipH="1">
              <a:off x="4740" y="2172"/>
              <a:ext cx="555" cy="325"/>
            </a:xfrm>
            <a:prstGeom prst="bentConnector3">
              <a:avLst>
                <a:gd name="adj1" fmla="val 50088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5335" name="AutoShape 7"/>
            <p:cNvCxnSpPr>
              <a:cxnSpLocks noChangeShapeType="1"/>
              <a:stCxn id="2275352" idx="0"/>
              <a:endCxn id="2275356" idx="2"/>
            </p:cNvCxnSpPr>
            <p:nvPr/>
          </p:nvCxnSpPr>
          <p:spPr bwMode="gray">
            <a:xfrm rot="16200000">
              <a:off x="4408" y="2165"/>
              <a:ext cx="555" cy="339"/>
            </a:xfrm>
            <a:prstGeom prst="bentConnector3">
              <a:avLst>
                <a:gd name="adj1" fmla="val 50088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75352" name="Rectangle 24"/>
            <p:cNvSpPr>
              <a:spLocks noChangeArrowheads="1"/>
            </p:cNvSpPr>
            <p:nvPr/>
          </p:nvSpPr>
          <p:spPr bwMode="gray">
            <a:xfrm>
              <a:off x="4220" y="2612"/>
              <a:ext cx="592" cy="31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5353" name="Rectangle 25"/>
            <p:cNvSpPr>
              <a:spLocks noChangeArrowheads="1"/>
            </p:cNvSpPr>
            <p:nvPr/>
          </p:nvSpPr>
          <p:spPr bwMode="gray">
            <a:xfrm>
              <a:off x="4884" y="2612"/>
              <a:ext cx="592" cy="31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5356" name="Rectangle 28"/>
            <p:cNvSpPr>
              <a:spLocks noChangeArrowheads="1"/>
            </p:cNvSpPr>
            <p:nvPr/>
          </p:nvSpPr>
          <p:spPr bwMode="gray">
            <a:xfrm>
              <a:off x="4422" y="1708"/>
              <a:ext cx="866" cy="34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5363" name="Rectangle 35"/>
            <p:cNvSpPr>
              <a:spLocks noChangeArrowheads="1"/>
            </p:cNvSpPr>
            <p:nvPr/>
          </p:nvSpPr>
          <p:spPr bwMode="gray">
            <a:xfrm>
              <a:off x="4220" y="3122"/>
              <a:ext cx="592" cy="31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5364" name="Rectangle 36"/>
            <p:cNvSpPr>
              <a:spLocks noChangeArrowheads="1"/>
            </p:cNvSpPr>
            <p:nvPr/>
          </p:nvSpPr>
          <p:spPr bwMode="gray">
            <a:xfrm>
              <a:off x="4884" y="3122"/>
              <a:ext cx="592" cy="314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/>
            <a:lstStyle/>
            <a:p>
              <a:pPr defTabSz="912813"/>
              <a:r>
                <a:rPr lang="en-US" sz="1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cxnSp>
          <p:nvCxnSpPr>
            <p:cNvPr id="2275376" name="AutoShape 48"/>
            <p:cNvCxnSpPr>
              <a:cxnSpLocks noChangeShapeType="1"/>
              <a:stCxn id="2275332" idx="2"/>
              <a:endCxn id="2275357" idx="0"/>
            </p:cNvCxnSpPr>
            <p:nvPr/>
          </p:nvCxnSpPr>
          <p:spPr bwMode="gray">
            <a:xfrm>
              <a:off x="540" y="2926"/>
              <a:ext cx="0" cy="19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5377" name="AutoShape 49"/>
            <p:cNvCxnSpPr>
              <a:cxnSpLocks noChangeShapeType="1"/>
              <a:stCxn id="2275347" idx="2"/>
              <a:endCxn id="2275358" idx="0"/>
            </p:cNvCxnSpPr>
            <p:nvPr/>
          </p:nvCxnSpPr>
          <p:spPr bwMode="gray">
            <a:xfrm>
              <a:off x="1203" y="2926"/>
              <a:ext cx="0" cy="19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5378" name="AutoShape 50"/>
            <p:cNvCxnSpPr>
              <a:cxnSpLocks noChangeShapeType="1"/>
              <a:stCxn id="2275348" idx="2"/>
              <a:endCxn id="2275359" idx="0"/>
            </p:cNvCxnSpPr>
            <p:nvPr/>
          </p:nvCxnSpPr>
          <p:spPr bwMode="gray">
            <a:xfrm>
              <a:off x="1864" y="2926"/>
              <a:ext cx="0" cy="19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5379" name="AutoShape 51"/>
            <p:cNvCxnSpPr>
              <a:cxnSpLocks noChangeShapeType="1"/>
              <a:stCxn id="2275349" idx="2"/>
              <a:endCxn id="2275360" idx="0"/>
            </p:cNvCxnSpPr>
            <p:nvPr/>
          </p:nvCxnSpPr>
          <p:spPr bwMode="gray">
            <a:xfrm>
              <a:off x="2528" y="2926"/>
              <a:ext cx="0" cy="19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5380" name="AutoShape 52"/>
            <p:cNvCxnSpPr>
              <a:cxnSpLocks noChangeShapeType="1"/>
              <a:stCxn id="2275350" idx="2"/>
              <a:endCxn id="2275361" idx="0"/>
            </p:cNvCxnSpPr>
            <p:nvPr/>
          </p:nvCxnSpPr>
          <p:spPr bwMode="gray">
            <a:xfrm>
              <a:off x="3190" y="2926"/>
              <a:ext cx="0" cy="19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5381" name="AutoShape 53"/>
            <p:cNvCxnSpPr>
              <a:cxnSpLocks noChangeShapeType="1"/>
              <a:stCxn id="2275351" idx="2"/>
              <a:endCxn id="2275362" idx="0"/>
            </p:cNvCxnSpPr>
            <p:nvPr/>
          </p:nvCxnSpPr>
          <p:spPr bwMode="gray">
            <a:xfrm>
              <a:off x="3854" y="2926"/>
              <a:ext cx="0" cy="19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5382" name="AutoShape 54"/>
            <p:cNvCxnSpPr>
              <a:cxnSpLocks noChangeShapeType="1"/>
              <a:stCxn id="2275352" idx="2"/>
              <a:endCxn id="2275363" idx="0"/>
            </p:cNvCxnSpPr>
            <p:nvPr/>
          </p:nvCxnSpPr>
          <p:spPr bwMode="gray">
            <a:xfrm>
              <a:off x="4516" y="2926"/>
              <a:ext cx="0" cy="19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5383" name="AutoShape 55"/>
            <p:cNvCxnSpPr>
              <a:cxnSpLocks noChangeShapeType="1"/>
              <a:stCxn id="2275353" idx="2"/>
              <a:endCxn id="2275364" idx="0"/>
            </p:cNvCxnSpPr>
            <p:nvPr/>
          </p:nvCxnSpPr>
          <p:spPr bwMode="gray">
            <a:xfrm>
              <a:off x="5180" y="2926"/>
              <a:ext cx="0" cy="19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172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4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allenges</a:t>
            </a:r>
          </a:p>
        </p:txBody>
      </p:sp>
      <p:grpSp>
        <p:nvGrpSpPr>
          <p:cNvPr id="2834452" name="Group 20"/>
          <p:cNvGrpSpPr>
            <a:grpSpLocks/>
          </p:cNvGrpSpPr>
          <p:nvPr/>
        </p:nvGrpSpPr>
        <p:grpSpPr bwMode="auto">
          <a:xfrm>
            <a:off x="1898651" y="1842082"/>
            <a:ext cx="8323263" cy="4584700"/>
            <a:chOff x="236" y="890"/>
            <a:chExt cx="5243" cy="2888"/>
          </a:xfrm>
        </p:grpSpPr>
        <p:sp>
          <p:nvSpPr>
            <p:cNvPr id="2834436" name="Line 4"/>
            <p:cNvSpPr>
              <a:spLocks noChangeShapeType="1"/>
            </p:cNvSpPr>
            <p:nvPr/>
          </p:nvSpPr>
          <p:spPr bwMode="gray">
            <a:xfrm>
              <a:off x="245" y="1064"/>
              <a:ext cx="16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34437" name="Line 5"/>
            <p:cNvSpPr>
              <a:spLocks noChangeShapeType="1"/>
            </p:cNvSpPr>
            <p:nvPr/>
          </p:nvSpPr>
          <p:spPr bwMode="gray">
            <a:xfrm>
              <a:off x="2359" y="1064"/>
              <a:ext cx="312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34438" name="AutoShape 6"/>
            <p:cNvSpPr>
              <a:spLocks noChangeArrowheads="1"/>
            </p:cNvSpPr>
            <p:nvPr/>
          </p:nvSpPr>
          <p:spPr bwMode="gray">
            <a:xfrm>
              <a:off x="1999" y="1206"/>
              <a:ext cx="212" cy="560"/>
            </a:xfrm>
            <a:prstGeom prst="rightArrow">
              <a:avLst>
                <a:gd name="adj1" fmla="val 61111"/>
                <a:gd name="adj2" fmla="val 100000"/>
              </a:avLst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34439" name="Rectangle 7"/>
            <p:cNvSpPr>
              <a:spLocks noChangeArrowheads="1"/>
            </p:cNvSpPr>
            <p:nvPr/>
          </p:nvSpPr>
          <p:spPr bwMode="gray">
            <a:xfrm>
              <a:off x="245" y="1207"/>
              <a:ext cx="1636" cy="56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4440" name="Rectangle 8"/>
            <p:cNvSpPr>
              <a:spLocks noChangeArrowheads="1"/>
            </p:cNvSpPr>
            <p:nvPr/>
          </p:nvSpPr>
          <p:spPr bwMode="gray">
            <a:xfrm>
              <a:off x="2315" y="1207"/>
              <a:ext cx="3130" cy="5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4441" name="AutoShape 9"/>
            <p:cNvSpPr>
              <a:spLocks noChangeArrowheads="1"/>
            </p:cNvSpPr>
            <p:nvPr/>
          </p:nvSpPr>
          <p:spPr bwMode="gray">
            <a:xfrm>
              <a:off x="1999" y="1876"/>
              <a:ext cx="212" cy="560"/>
            </a:xfrm>
            <a:prstGeom prst="rightArrow">
              <a:avLst>
                <a:gd name="adj1" fmla="val 61111"/>
                <a:gd name="adj2" fmla="val 100000"/>
              </a:avLst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34442" name="Rectangle 10"/>
            <p:cNvSpPr>
              <a:spLocks noChangeArrowheads="1"/>
            </p:cNvSpPr>
            <p:nvPr/>
          </p:nvSpPr>
          <p:spPr bwMode="gray">
            <a:xfrm>
              <a:off x="245" y="1877"/>
              <a:ext cx="1636" cy="56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4443" name="Rectangle 11"/>
            <p:cNvSpPr>
              <a:spLocks noChangeArrowheads="1"/>
            </p:cNvSpPr>
            <p:nvPr/>
          </p:nvSpPr>
          <p:spPr bwMode="gray">
            <a:xfrm>
              <a:off x="2315" y="1877"/>
              <a:ext cx="3130" cy="5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4444" name="AutoShape 12"/>
            <p:cNvSpPr>
              <a:spLocks noChangeArrowheads="1"/>
            </p:cNvSpPr>
            <p:nvPr/>
          </p:nvSpPr>
          <p:spPr bwMode="gray">
            <a:xfrm>
              <a:off x="1999" y="2546"/>
              <a:ext cx="212" cy="560"/>
            </a:xfrm>
            <a:prstGeom prst="rightArrow">
              <a:avLst>
                <a:gd name="adj1" fmla="val 61111"/>
                <a:gd name="adj2" fmla="val 100000"/>
              </a:avLst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34445" name="Rectangle 13"/>
            <p:cNvSpPr>
              <a:spLocks noChangeArrowheads="1"/>
            </p:cNvSpPr>
            <p:nvPr/>
          </p:nvSpPr>
          <p:spPr bwMode="gray">
            <a:xfrm>
              <a:off x="245" y="2547"/>
              <a:ext cx="1636" cy="56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4446" name="Rectangle 14"/>
            <p:cNvSpPr>
              <a:spLocks noChangeArrowheads="1"/>
            </p:cNvSpPr>
            <p:nvPr/>
          </p:nvSpPr>
          <p:spPr bwMode="gray">
            <a:xfrm>
              <a:off x="2315" y="2547"/>
              <a:ext cx="3130" cy="5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4447" name="AutoShape 15"/>
            <p:cNvSpPr>
              <a:spLocks noChangeArrowheads="1"/>
            </p:cNvSpPr>
            <p:nvPr/>
          </p:nvSpPr>
          <p:spPr bwMode="gray">
            <a:xfrm>
              <a:off x="1999" y="3217"/>
              <a:ext cx="212" cy="560"/>
            </a:xfrm>
            <a:prstGeom prst="rightArrow">
              <a:avLst>
                <a:gd name="adj1" fmla="val 61111"/>
                <a:gd name="adj2" fmla="val 100000"/>
              </a:avLst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72000" bIns="72000" anchor="ctr"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34448" name="Rectangle 16"/>
            <p:cNvSpPr>
              <a:spLocks noChangeArrowheads="1"/>
            </p:cNvSpPr>
            <p:nvPr/>
          </p:nvSpPr>
          <p:spPr bwMode="gray">
            <a:xfrm>
              <a:off x="245" y="3218"/>
              <a:ext cx="1636" cy="56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4449" name="Rectangle 17"/>
            <p:cNvSpPr>
              <a:spLocks noChangeArrowheads="1"/>
            </p:cNvSpPr>
            <p:nvPr/>
          </p:nvSpPr>
          <p:spPr bwMode="gray">
            <a:xfrm>
              <a:off x="2315" y="3218"/>
              <a:ext cx="3130" cy="5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4450" name="Rectangle 18"/>
            <p:cNvSpPr>
              <a:spLocks noChangeArrowheads="1"/>
            </p:cNvSpPr>
            <p:nvPr/>
          </p:nvSpPr>
          <p:spPr bwMode="gray">
            <a:xfrm>
              <a:off x="236" y="890"/>
              <a:ext cx="96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defTabSz="912813"/>
              <a:r>
                <a:rPr lang="en-US" b="1" dirty="0">
                  <a:latin typeface="Baskerville" charset="0"/>
                  <a:ea typeface="Baskerville" charset="0"/>
                  <a:cs typeface="Baskerville" charset="0"/>
                </a:rPr>
                <a:t>Challenges</a:t>
              </a:r>
            </a:p>
          </p:txBody>
        </p:sp>
        <p:sp>
          <p:nvSpPr>
            <p:cNvPr id="2834451" name="Rectangle 19"/>
            <p:cNvSpPr>
              <a:spLocks noChangeArrowheads="1"/>
            </p:cNvSpPr>
            <p:nvPr/>
          </p:nvSpPr>
          <p:spPr bwMode="gray">
            <a:xfrm>
              <a:off x="2353" y="910"/>
              <a:ext cx="676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Descriptions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603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02402" name="Group 2"/>
          <p:cNvGrpSpPr>
            <a:grpSpLocks/>
          </p:cNvGrpSpPr>
          <p:nvPr/>
        </p:nvGrpSpPr>
        <p:grpSpPr bwMode="auto">
          <a:xfrm>
            <a:off x="1912938" y="1580138"/>
            <a:ext cx="8286750" cy="4660900"/>
            <a:chOff x="257" y="943"/>
            <a:chExt cx="5202" cy="2936"/>
          </a:xfrm>
        </p:grpSpPr>
        <p:sp>
          <p:nvSpPr>
            <p:cNvPr id="3302403" name="Rectangle 3"/>
            <p:cNvSpPr>
              <a:spLocks noChangeArrowheads="1"/>
            </p:cNvSpPr>
            <p:nvPr/>
          </p:nvSpPr>
          <p:spPr bwMode="gray">
            <a:xfrm>
              <a:off x="257" y="943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04" name="Rectangle 4"/>
            <p:cNvSpPr>
              <a:spLocks noChangeArrowheads="1"/>
            </p:cNvSpPr>
            <p:nvPr/>
          </p:nvSpPr>
          <p:spPr bwMode="gray">
            <a:xfrm>
              <a:off x="839" y="943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05" name="Rectangle 5"/>
            <p:cNvSpPr>
              <a:spLocks noChangeArrowheads="1"/>
            </p:cNvSpPr>
            <p:nvPr/>
          </p:nvSpPr>
          <p:spPr bwMode="gray">
            <a:xfrm>
              <a:off x="1422" y="943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06" name="Rectangle 6"/>
            <p:cNvSpPr>
              <a:spLocks noChangeArrowheads="1"/>
            </p:cNvSpPr>
            <p:nvPr/>
          </p:nvSpPr>
          <p:spPr bwMode="gray">
            <a:xfrm>
              <a:off x="2005" y="943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07" name="Rectangle 7"/>
            <p:cNvSpPr>
              <a:spLocks noChangeArrowheads="1"/>
            </p:cNvSpPr>
            <p:nvPr/>
          </p:nvSpPr>
          <p:spPr bwMode="gray">
            <a:xfrm>
              <a:off x="2587" y="943"/>
              <a:ext cx="542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08" name="Rectangle 8"/>
            <p:cNvSpPr>
              <a:spLocks noChangeArrowheads="1"/>
            </p:cNvSpPr>
            <p:nvPr/>
          </p:nvSpPr>
          <p:spPr bwMode="gray">
            <a:xfrm>
              <a:off x="3170" y="943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09" name="Rectangle 9"/>
            <p:cNvSpPr>
              <a:spLocks noChangeArrowheads="1"/>
            </p:cNvSpPr>
            <p:nvPr/>
          </p:nvSpPr>
          <p:spPr bwMode="gray">
            <a:xfrm>
              <a:off x="3752" y="943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10" name="Rectangle 10"/>
            <p:cNvSpPr>
              <a:spLocks noChangeArrowheads="1"/>
            </p:cNvSpPr>
            <p:nvPr/>
          </p:nvSpPr>
          <p:spPr bwMode="gray">
            <a:xfrm>
              <a:off x="4336" y="943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11" name="Rectangle 11"/>
            <p:cNvSpPr>
              <a:spLocks noChangeArrowheads="1"/>
            </p:cNvSpPr>
            <p:nvPr/>
          </p:nvSpPr>
          <p:spPr bwMode="gray">
            <a:xfrm>
              <a:off x="4918" y="943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12" name="Rectangle 12"/>
            <p:cNvSpPr>
              <a:spLocks noChangeArrowheads="1"/>
            </p:cNvSpPr>
            <p:nvPr/>
          </p:nvSpPr>
          <p:spPr bwMode="gray">
            <a:xfrm>
              <a:off x="257" y="1370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13" name="Rectangle 13"/>
            <p:cNvSpPr>
              <a:spLocks noChangeArrowheads="1"/>
            </p:cNvSpPr>
            <p:nvPr/>
          </p:nvSpPr>
          <p:spPr bwMode="gray">
            <a:xfrm>
              <a:off x="257" y="1795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14" name="Rectangle 14"/>
            <p:cNvSpPr>
              <a:spLocks noChangeArrowheads="1"/>
            </p:cNvSpPr>
            <p:nvPr/>
          </p:nvSpPr>
          <p:spPr bwMode="gray">
            <a:xfrm>
              <a:off x="257" y="2222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15" name="Rectangle 15"/>
            <p:cNvSpPr>
              <a:spLocks noChangeArrowheads="1"/>
            </p:cNvSpPr>
            <p:nvPr/>
          </p:nvSpPr>
          <p:spPr bwMode="gray">
            <a:xfrm>
              <a:off x="257" y="2648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16" name="Rectangle 16"/>
            <p:cNvSpPr>
              <a:spLocks noChangeArrowheads="1"/>
            </p:cNvSpPr>
            <p:nvPr/>
          </p:nvSpPr>
          <p:spPr bwMode="gray">
            <a:xfrm>
              <a:off x="257" y="3074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17" name="Rectangle 17"/>
            <p:cNvSpPr>
              <a:spLocks noChangeArrowheads="1"/>
            </p:cNvSpPr>
            <p:nvPr/>
          </p:nvSpPr>
          <p:spPr bwMode="gray">
            <a:xfrm>
              <a:off x="257" y="3500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18" name="Rectangle 18"/>
            <p:cNvSpPr>
              <a:spLocks noChangeArrowheads="1"/>
            </p:cNvSpPr>
            <p:nvPr/>
          </p:nvSpPr>
          <p:spPr bwMode="gray">
            <a:xfrm>
              <a:off x="839" y="1370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19" name="Rectangle 19"/>
            <p:cNvSpPr>
              <a:spLocks noChangeArrowheads="1"/>
            </p:cNvSpPr>
            <p:nvPr/>
          </p:nvSpPr>
          <p:spPr bwMode="gray">
            <a:xfrm>
              <a:off x="839" y="1795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20" name="Rectangle 20"/>
            <p:cNvSpPr>
              <a:spLocks noChangeArrowheads="1"/>
            </p:cNvSpPr>
            <p:nvPr/>
          </p:nvSpPr>
          <p:spPr bwMode="gray">
            <a:xfrm>
              <a:off x="839" y="2222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21" name="Rectangle 21"/>
            <p:cNvSpPr>
              <a:spLocks noChangeArrowheads="1"/>
            </p:cNvSpPr>
            <p:nvPr/>
          </p:nvSpPr>
          <p:spPr bwMode="gray">
            <a:xfrm>
              <a:off x="839" y="2648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22" name="Rectangle 22"/>
            <p:cNvSpPr>
              <a:spLocks noChangeArrowheads="1"/>
            </p:cNvSpPr>
            <p:nvPr/>
          </p:nvSpPr>
          <p:spPr bwMode="gray">
            <a:xfrm>
              <a:off x="839" y="3074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23" name="Rectangle 23"/>
            <p:cNvSpPr>
              <a:spLocks noChangeArrowheads="1"/>
            </p:cNvSpPr>
            <p:nvPr/>
          </p:nvSpPr>
          <p:spPr bwMode="gray">
            <a:xfrm>
              <a:off x="839" y="3500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24" name="Rectangle 24"/>
            <p:cNvSpPr>
              <a:spLocks noChangeArrowheads="1"/>
            </p:cNvSpPr>
            <p:nvPr/>
          </p:nvSpPr>
          <p:spPr bwMode="gray">
            <a:xfrm>
              <a:off x="1422" y="1370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25" name="Rectangle 25"/>
            <p:cNvSpPr>
              <a:spLocks noChangeArrowheads="1"/>
            </p:cNvSpPr>
            <p:nvPr/>
          </p:nvSpPr>
          <p:spPr bwMode="gray">
            <a:xfrm>
              <a:off x="1422" y="1795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26" name="Rectangle 26"/>
            <p:cNvSpPr>
              <a:spLocks noChangeArrowheads="1"/>
            </p:cNvSpPr>
            <p:nvPr/>
          </p:nvSpPr>
          <p:spPr bwMode="gray">
            <a:xfrm>
              <a:off x="1422" y="2222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27" name="Rectangle 27"/>
            <p:cNvSpPr>
              <a:spLocks noChangeArrowheads="1"/>
            </p:cNvSpPr>
            <p:nvPr/>
          </p:nvSpPr>
          <p:spPr bwMode="gray">
            <a:xfrm>
              <a:off x="1422" y="2648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28" name="Rectangle 28"/>
            <p:cNvSpPr>
              <a:spLocks noChangeArrowheads="1"/>
            </p:cNvSpPr>
            <p:nvPr/>
          </p:nvSpPr>
          <p:spPr bwMode="gray">
            <a:xfrm>
              <a:off x="1422" y="3074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29" name="Rectangle 29"/>
            <p:cNvSpPr>
              <a:spLocks noChangeArrowheads="1"/>
            </p:cNvSpPr>
            <p:nvPr/>
          </p:nvSpPr>
          <p:spPr bwMode="gray">
            <a:xfrm>
              <a:off x="1422" y="3500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30" name="Rectangle 30"/>
            <p:cNvSpPr>
              <a:spLocks noChangeArrowheads="1"/>
            </p:cNvSpPr>
            <p:nvPr/>
          </p:nvSpPr>
          <p:spPr bwMode="gray">
            <a:xfrm>
              <a:off x="2005" y="1370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31" name="Rectangle 31"/>
            <p:cNvSpPr>
              <a:spLocks noChangeArrowheads="1"/>
            </p:cNvSpPr>
            <p:nvPr/>
          </p:nvSpPr>
          <p:spPr bwMode="gray">
            <a:xfrm>
              <a:off x="2005" y="1795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32" name="Rectangle 32"/>
            <p:cNvSpPr>
              <a:spLocks noChangeArrowheads="1"/>
            </p:cNvSpPr>
            <p:nvPr/>
          </p:nvSpPr>
          <p:spPr bwMode="gray">
            <a:xfrm>
              <a:off x="2005" y="2222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33" name="Rectangle 33"/>
            <p:cNvSpPr>
              <a:spLocks noChangeArrowheads="1"/>
            </p:cNvSpPr>
            <p:nvPr/>
          </p:nvSpPr>
          <p:spPr bwMode="gray">
            <a:xfrm>
              <a:off x="2005" y="2648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34" name="Rectangle 34"/>
            <p:cNvSpPr>
              <a:spLocks noChangeArrowheads="1"/>
            </p:cNvSpPr>
            <p:nvPr/>
          </p:nvSpPr>
          <p:spPr bwMode="gray">
            <a:xfrm>
              <a:off x="2005" y="3074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35" name="Rectangle 35"/>
            <p:cNvSpPr>
              <a:spLocks noChangeArrowheads="1"/>
            </p:cNvSpPr>
            <p:nvPr/>
          </p:nvSpPr>
          <p:spPr bwMode="gray">
            <a:xfrm>
              <a:off x="2005" y="3500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36" name="Rectangle 36"/>
            <p:cNvSpPr>
              <a:spLocks noChangeArrowheads="1"/>
            </p:cNvSpPr>
            <p:nvPr/>
          </p:nvSpPr>
          <p:spPr bwMode="gray">
            <a:xfrm>
              <a:off x="2587" y="1370"/>
              <a:ext cx="542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37" name="Rectangle 37"/>
            <p:cNvSpPr>
              <a:spLocks noChangeArrowheads="1"/>
            </p:cNvSpPr>
            <p:nvPr/>
          </p:nvSpPr>
          <p:spPr bwMode="gray">
            <a:xfrm>
              <a:off x="2587" y="1795"/>
              <a:ext cx="542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38" name="Rectangle 38"/>
            <p:cNvSpPr>
              <a:spLocks noChangeArrowheads="1"/>
            </p:cNvSpPr>
            <p:nvPr/>
          </p:nvSpPr>
          <p:spPr bwMode="gray">
            <a:xfrm>
              <a:off x="2587" y="2222"/>
              <a:ext cx="542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39" name="Rectangle 39"/>
            <p:cNvSpPr>
              <a:spLocks noChangeArrowheads="1"/>
            </p:cNvSpPr>
            <p:nvPr/>
          </p:nvSpPr>
          <p:spPr bwMode="gray">
            <a:xfrm>
              <a:off x="2587" y="2648"/>
              <a:ext cx="542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40" name="Rectangle 40"/>
            <p:cNvSpPr>
              <a:spLocks noChangeArrowheads="1"/>
            </p:cNvSpPr>
            <p:nvPr/>
          </p:nvSpPr>
          <p:spPr bwMode="gray">
            <a:xfrm>
              <a:off x="2587" y="3074"/>
              <a:ext cx="542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41" name="Rectangle 41"/>
            <p:cNvSpPr>
              <a:spLocks noChangeArrowheads="1"/>
            </p:cNvSpPr>
            <p:nvPr/>
          </p:nvSpPr>
          <p:spPr bwMode="gray">
            <a:xfrm>
              <a:off x="2587" y="3500"/>
              <a:ext cx="542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42" name="Rectangle 42"/>
            <p:cNvSpPr>
              <a:spLocks noChangeArrowheads="1"/>
            </p:cNvSpPr>
            <p:nvPr/>
          </p:nvSpPr>
          <p:spPr bwMode="gray">
            <a:xfrm>
              <a:off x="3170" y="1370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43" name="Rectangle 43"/>
            <p:cNvSpPr>
              <a:spLocks noChangeArrowheads="1"/>
            </p:cNvSpPr>
            <p:nvPr/>
          </p:nvSpPr>
          <p:spPr bwMode="gray">
            <a:xfrm>
              <a:off x="3170" y="1795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44" name="Rectangle 44"/>
            <p:cNvSpPr>
              <a:spLocks noChangeArrowheads="1"/>
            </p:cNvSpPr>
            <p:nvPr/>
          </p:nvSpPr>
          <p:spPr bwMode="gray">
            <a:xfrm>
              <a:off x="3170" y="2222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45" name="Rectangle 45"/>
            <p:cNvSpPr>
              <a:spLocks noChangeArrowheads="1"/>
            </p:cNvSpPr>
            <p:nvPr/>
          </p:nvSpPr>
          <p:spPr bwMode="gray">
            <a:xfrm>
              <a:off x="3170" y="2648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46" name="Rectangle 46"/>
            <p:cNvSpPr>
              <a:spLocks noChangeArrowheads="1"/>
            </p:cNvSpPr>
            <p:nvPr/>
          </p:nvSpPr>
          <p:spPr bwMode="gray">
            <a:xfrm>
              <a:off x="3170" y="3074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47" name="Rectangle 47"/>
            <p:cNvSpPr>
              <a:spLocks noChangeArrowheads="1"/>
            </p:cNvSpPr>
            <p:nvPr/>
          </p:nvSpPr>
          <p:spPr bwMode="gray">
            <a:xfrm>
              <a:off x="3170" y="3500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48" name="Rectangle 48"/>
            <p:cNvSpPr>
              <a:spLocks noChangeArrowheads="1"/>
            </p:cNvSpPr>
            <p:nvPr/>
          </p:nvSpPr>
          <p:spPr bwMode="gray">
            <a:xfrm>
              <a:off x="3752" y="1370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49" name="Rectangle 49"/>
            <p:cNvSpPr>
              <a:spLocks noChangeArrowheads="1"/>
            </p:cNvSpPr>
            <p:nvPr/>
          </p:nvSpPr>
          <p:spPr bwMode="gray">
            <a:xfrm>
              <a:off x="3752" y="1795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50" name="Rectangle 50"/>
            <p:cNvSpPr>
              <a:spLocks noChangeArrowheads="1"/>
            </p:cNvSpPr>
            <p:nvPr/>
          </p:nvSpPr>
          <p:spPr bwMode="gray">
            <a:xfrm>
              <a:off x="3752" y="2222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51" name="Rectangle 51"/>
            <p:cNvSpPr>
              <a:spLocks noChangeArrowheads="1"/>
            </p:cNvSpPr>
            <p:nvPr/>
          </p:nvSpPr>
          <p:spPr bwMode="gray">
            <a:xfrm>
              <a:off x="3752" y="2648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52" name="Rectangle 52"/>
            <p:cNvSpPr>
              <a:spLocks noChangeArrowheads="1"/>
            </p:cNvSpPr>
            <p:nvPr/>
          </p:nvSpPr>
          <p:spPr bwMode="gray">
            <a:xfrm>
              <a:off x="3752" y="3074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53" name="Rectangle 53"/>
            <p:cNvSpPr>
              <a:spLocks noChangeArrowheads="1"/>
            </p:cNvSpPr>
            <p:nvPr/>
          </p:nvSpPr>
          <p:spPr bwMode="gray">
            <a:xfrm>
              <a:off x="3752" y="3500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54" name="Rectangle 54"/>
            <p:cNvSpPr>
              <a:spLocks noChangeArrowheads="1"/>
            </p:cNvSpPr>
            <p:nvPr/>
          </p:nvSpPr>
          <p:spPr bwMode="gray">
            <a:xfrm>
              <a:off x="4336" y="1370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55" name="Rectangle 55"/>
            <p:cNvSpPr>
              <a:spLocks noChangeArrowheads="1"/>
            </p:cNvSpPr>
            <p:nvPr/>
          </p:nvSpPr>
          <p:spPr bwMode="gray">
            <a:xfrm>
              <a:off x="4336" y="1795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56" name="Rectangle 56"/>
            <p:cNvSpPr>
              <a:spLocks noChangeArrowheads="1"/>
            </p:cNvSpPr>
            <p:nvPr/>
          </p:nvSpPr>
          <p:spPr bwMode="gray">
            <a:xfrm>
              <a:off x="4336" y="2222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57" name="Rectangle 57"/>
            <p:cNvSpPr>
              <a:spLocks noChangeArrowheads="1"/>
            </p:cNvSpPr>
            <p:nvPr/>
          </p:nvSpPr>
          <p:spPr bwMode="gray">
            <a:xfrm>
              <a:off x="4336" y="2648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58" name="Rectangle 58"/>
            <p:cNvSpPr>
              <a:spLocks noChangeArrowheads="1"/>
            </p:cNvSpPr>
            <p:nvPr/>
          </p:nvSpPr>
          <p:spPr bwMode="gray">
            <a:xfrm>
              <a:off x="4336" y="3074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59" name="Rectangle 59"/>
            <p:cNvSpPr>
              <a:spLocks noChangeArrowheads="1"/>
            </p:cNvSpPr>
            <p:nvPr/>
          </p:nvSpPr>
          <p:spPr bwMode="gray">
            <a:xfrm>
              <a:off x="4336" y="3500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60" name="Rectangle 60"/>
            <p:cNvSpPr>
              <a:spLocks noChangeArrowheads="1"/>
            </p:cNvSpPr>
            <p:nvPr/>
          </p:nvSpPr>
          <p:spPr bwMode="gray">
            <a:xfrm>
              <a:off x="4918" y="1370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61" name="Rectangle 61"/>
            <p:cNvSpPr>
              <a:spLocks noChangeArrowheads="1"/>
            </p:cNvSpPr>
            <p:nvPr/>
          </p:nvSpPr>
          <p:spPr bwMode="gray">
            <a:xfrm>
              <a:off x="4918" y="1795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62" name="Rectangle 62"/>
            <p:cNvSpPr>
              <a:spLocks noChangeArrowheads="1"/>
            </p:cNvSpPr>
            <p:nvPr/>
          </p:nvSpPr>
          <p:spPr bwMode="gray">
            <a:xfrm>
              <a:off x="4918" y="2222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63" name="Rectangle 63"/>
            <p:cNvSpPr>
              <a:spLocks noChangeArrowheads="1"/>
            </p:cNvSpPr>
            <p:nvPr/>
          </p:nvSpPr>
          <p:spPr bwMode="gray">
            <a:xfrm>
              <a:off x="4918" y="2648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64" name="Rectangle 64"/>
            <p:cNvSpPr>
              <a:spLocks noChangeArrowheads="1"/>
            </p:cNvSpPr>
            <p:nvPr/>
          </p:nvSpPr>
          <p:spPr bwMode="gray">
            <a:xfrm>
              <a:off x="4918" y="3074"/>
              <a:ext cx="541" cy="37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  <p:sp>
          <p:nvSpPr>
            <p:cNvPr id="3302465" name="Rectangle 65"/>
            <p:cNvSpPr>
              <a:spLocks noChangeArrowheads="1"/>
            </p:cNvSpPr>
            <p:nvPr/>
          </p:nvSpPr>
          <p:spPr bwMode="gray">
            <a:xfrm>
              <a:off x="4918" y="3500"/>
              <a:ext cx="541" cy="37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ept 11</a:t>
              </a:r>
            </a:p>
            <a:p>
              <a:pPr algn="l">
                <a:lnSpc>
                  <a:spcPct val="80000"/>
                </a:lnSpc>
                <a:spcAft>
                  <a:spcPct val="0"/>
                </a:spcAft>
                <a:buSzTx/>
              </a:pPr>
              <a:r>
                <a:rPr lang="en-US" sz="800">
                  <a:latin typeface="Baskerville" charset="0"/>
                  <a:ea typeface="Baskerville" charset="0"/>
                  <a:cs typeface="Baskerville" charset="0"/>
                </a:rPr>
                <a:t>Direct Marketing Media Distribution</a:t>
              </a:r>
            </a:p>
          </p:txBody>
        </p:sp>
      </p:grpSp>
      <p:sp>
        <p:nvSpPr>
          <p:cNvPr id="3302466" name="Rectangle 6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usiness Departmen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58821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73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Organization</a:t>
            </a:r>
          </a:p>
        </p:txBody>
      </p:sp>
      <p:grpSp>
        <p:nvGrpSpPr>
          <p:cNvPr id="2277399" name="Group 23"/>
          <p:cNvGrpSpPr>
            <a:grpSpLocks/>
          </p:cNvGrpSpPr>
          <p:nvPr/>
        </p:nvGrpSpPr>
        <p:grpSpPr bwMode="auto">
          <a:xfrm>
            <a:off x="2828925" y="1487488"/>
            <a:ext cx="7321550" cy="4667250"/>
            <a:chOff x="822" y="937"/>
            <a:chExt cx="4612" cy="2940"/>
          </a:xfrm>
        </p:grpSpPr>
        <p:cxnSp>
          <p:nvCxnSpPr>
            <p:cNvPr id="2277380" name="AutoShape 4"/>
            <p:cNvCxnSpPr>
              <a:cxnSpLocks noChangeShapeType="1"/>
              <a:stCxn id="2277386" idx="2"/>
              <a:endCxn id="2277388" idx="0"/>
            </p:cNvCxnSpPr>
            <p:nvPr/>
          </p:nvCxnSpPr>
          <p:spPr bwMode="gray">
            <a:xfrm rot="5400000">
              <a:off x="1829" y="2657"/>
              <a:ext cx="263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7381" name="AutoShape 5"/>
            <p:cNvCxnSpPr>
              <a:cxnSpLocks noChangeShapeType="1"/>
              <a:stCxn id="2277382" idx="2"/>
              <a:endCxn id="2277386" idx="0"/>
            </p:cNvCxnSpPr>
            <p:nvPr/>
          </p:nvCxnSpPr>
          <p:spPr bwMode="gray">
            <a:xfrm rot="5400000">
              <a:off x="1693" y="2038"/>
              <a:ext cx="537" cy="1"/>
            </a:xfrm>
            <a:prstGeom prst="bentConnector3">
              <a:avLst>
                <a:gd name="adj1" fmla="val 49907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77382" name="Rectangle 6"/>
            <p:cNvSpPr>
              <a:spLocks noChangeArrowheads="1"/>
            </p:cNvSpPr>
            <p:nvPr/>
          </p:nvSpPr>
          <p:spPr bwMode="gray">
            <a:xfrm>
              <a:off x="1824" y="1632"/>
              <a:ext cx="276" cy="13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277384" name="Rectangle 8"/>
            <p:cNvSpPr>
              <a:spLocks noChangeArrowheads="1"/>
            </p:cNvSpPr>
            <p:nvPr/>
          </p:nvSpPr>
          <p:spPr bwMode="gray">
            <a:xfrm>
              <a:off x="1261" y="937"/>
              <a:ext cx="1400" cy="2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 anchor="ctr"/>
            <a:lstStyle/>
            <a:p>
              <a:pPr defTabSz="912813"/>
              <a:r>
                <a:rPr lang="de-DE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7385" name="Rectangle 9"/>
            <p:cNvSpPr>
              <a:spLocks noChangeArrowheads="1"/>
            </p:cNvSpPr>
            <p:nvPr/>
          </p:nvSpPr>
          <p:spPr bwMode="gray">
            <a:xfrm>
              <a:off x="1261" y="1154"/>
              <a:ext cx="1400" cy="89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defTabSz="912813"/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7386" name="Rectangle 10"/>
            <p:cNvSpPr>
              <a:spLocks noChangeArrowheads="1"/>
            </p:cNvSpPr>
            <p:nvPr/>
          </p:nvSpPr>
          <p:spPr bwMode="gray">
            <a:xfrm>
              <a:off x="1261" y="2307"/>
              <a:ext cx="1400" cy="21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sz="12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277388" name="Rectangle 12"/>
            <p:cNvSpPr>
              <a:spLocks noChangeArrowheads="1"/>
            </p:cNvSpPr>
            <p:nvPr/>
          </p:nvSpPr>
          <p:spPr bwMode="gray">
            <a:xfrm>
              <a:off x="1873" y="2788"/>
              <a:ext cx="175" cy="82"/>
            </a:xfrm>
            <a:prstGeom prst="rect">
              <a:avLst/>
            </a:prstGeom>
            <a:solidFill>
              <a:srgbClr val="EAEAEA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de-DE" b="1">
                <a:solidFill>
                  <a:schemeClr val="bg1"/>
                </a:solidFill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2277389" name="Group 13"/>
            <p:cNvGrpSpPr>
              <a:grpSpLocks/>
            </p:cNvGrpSpPr>
            <p:nvPr/>
          </p:nvGrpSpPr>
          <p:grpSpPr bwMode="auto">
            <a:xfrm>
              <a:off x="822" y="2788"/>
              <a:ext cx="2278" cy="1089"/>
              <a:chOff x="1734" y="2788"/>
              <a:chExt cx="2278" cy="1089"/>
            </a:xfrm>
          </p:grpSpPr>
          <p:grpSp>
            <p:nvGrpSpPr>
              <p:cNvPr id="2277390" name="Group 14"/>
              <p:cNvGrpSpPr>
                <a:grpSpLocks/>
              </p:cNvGrpSpPr>
              <p:nvPr/>
            </p:nvGrpSpPr>
            <p:grpSpPr bwMode="auto">
              <a:xfrm>
                <a:off x="1734" y="2788"/>
                <a:ext cx="1140" cy="1089"/>
                <a:chOff x="1734" y="2788"/>
                <a:chExt cx="1140" cy="1089"/>
              </a:xfrm>
            </p:grpSpPr>
            <p:sp>
              <p:nvSpPr>
                <p:cNvPr id="2277391" name="Rectangle 15"/>
                <p:cNvSpPr>
                  <a:spLocks noChangeArrowheads="1"/>
                </p:cNvSpPr>
                <p:nvPr/>
              </p:nvSpPr>
              <p:spPr bwMode="gray">
                <a:xfrm>
                  <a:off x="1734" y="2788"/>
                  <a:ext cx="1140" cy="218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36000" tIns="36000" rIns="0" bIns="0" anchor="ctr"/>
                <a:lstStyle/>
                <a:p>
                  <a:pPr defTabSz="912813"/>
                  <a:r>
                    <a:rPr lang="de-DE" b="1">
                      <a:latin typeface="Baskerville" charset="0"/>
                      <a:ea typeface="Baskerville" charset="0"/>
                      <a:cs typeface="Baskerville" charset="0"/>
                    </a:rPr>
                    <a:t>Text</a:t>
                  </a:r>
                </a:p>
              </p:txBody>
            </p:sp>
            <p:sp>
              <p:nvSpPr>
                <p:cNvPr id="2277392" name="Rectangle 16"/>
                <p:cNvSpPr>
                  <a:spLocks noChangeArrowheads="1"/>
                </p:cNvSpPr>
                <p:nvPr/>
              </p:nvSpPr>
              <p:spPr bwMode="gray">
                <a:xfrm>
                  <a:off x="1734" y="3005"/>
                  <a:ext cx="1140" cy="872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36000" tIns="36000" rIns="0" bIns="0"/>
                <a:lstStyle/>
                <a:p>
                  <a:pPr marL="174625" lvl="1" indent="-173038" defTabSz="912813">
                    <a:buFont typeface="Wingdings" pitchFamily="2" charset="2"/>
                    <a:buChar char="§"/>
                  </a:pPr>
                  <a:r>
                    <a:rPr lang="de-DE" sz="1200">
                      <a:latin typeface="Baskerville" charset="0"/>
                      <a:ea typeface="Baskerville" charset="0"/>
                      <a:cs typeface="Baskerville" charset="0"/>
                    </a:rPr>
                    <a:t>Text</a:t>
                  </a:r>
                </a:p>
              </p:txBody>
            </p:sp>
          </p:grpSp>
          <p:grpSp>
            <p:nvGrpSpPr>
              <p:cNvPr id="2277393" name="Group 17"/>
              <p:cNvGrpSpPr>
                <a:grpSpLocks/>
              </p:cNvGrpSpPr>
              <p:nvPr/>
            </p:nvGrpSpPr>
            <p:grpSpPr bwMode="auto">
              <a:xfrm>
                <a:off x="2872" y="2788"/>
                <a:ext cx="1140" cy="1089"/>
                <a:chOff x="2872" y="2788"/>
                <a:chExt cx="1140" cy="1089"/>
              </a:xfrm>
            </p:grpSpPr>
            <p:sp>
              <p:nvSpPr>
                <p:cNvPr id="2277394" name="Rectangle 18"/>
                <p:cNvSpPr>
                  <a:spLocks noChangeArrowheads="1"/>
                </p:cNvSpPr>
                <p:nvPr/>
              </p:nvSpPr>
              <p:spPr bwMode="gray">
                <a:xfrm>
                  <a:off x="2872" y="2788"/>
                  <a:ext cx="1140" cy="218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36000" tIns="36000" rIns="0" bIns="0" anchor="ctr"/>
                <a:lstStyle/>
                <a:p>
                  <a:pPr defTabSz="912813"/>
                  <a:r>
                    <a:rPr lang="de-DE" b="1">
                      <a:latin typeface="Baskerville" charset="0"/>
                      <a:ea typeface="Baskerville" charset="0"/>
                      <a:cs typeface="Baskerville" charset="0"/>
                    </a:rPr>
                    <a:t>Text</a:t>
                  </a:r>
                </a:p>
              </p:txBody>
            </p:sp>
            <p:sp>
              <p:nvSpPr>
                <p:cNvPr id="2277395" name="Rectangle 19"/>
                <p:cNvSpPr>
                  <a:spLocks noChangeArrowheads="1"/>
                </p:cNvSpPr>
                <p:nvPr/>
              </p:nvSpPr>
              <p:spPr bwMode="gray">
                <a:xfrm>
                  <a:off x="2872" y="3005"/>
                  <a:ext cx="1140" cy="872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36000" tIns="36000" rIns="0" bIns="0"/>
                <a:lstStyle/>
                <a:p>
                  <a:pPr marL="174625" lvl="1" indent="-173038" defTabSz="912813">
                    <a:buFont typeface="Wingdings" pitchFamily="2" charset="2"/>
                    <a:buChar char="§"/>
                  </a:pPr>
                  <a:r>
                    <a:rPr lang="de-DE" sz="1200">
                      <a:latin typeface="Baskerville" charset="0"/>
                      <a:ea typeface="Baskerville" charset="0"/>
                      <a:cs typeface="Baskerville" charset="0"/>
                    </a:rPr>
                    <a:t>Text</a:t>
                  </a:r>
                </a:p>
              </p:txBody>
            </p:sp>
          </p:grpSp>
        </p:grpSp>
        <p:sp>
          <p:nvSpPr>
            <p:cNvPr id="2277396" name="Rectangle 20"/>
            <p:cNvSpPr>
              <a:spLocks noChangeArrowheads="1"/>
            </p:cNvSpPr>
            <p:nvPr/>
          </p:nvSpPr>
          <p:spPr bwMode="gray">
            <a:xfrm>
              <a:off x="3335" y="2774"/>
              <a:ext cx="2099" cy="58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en-US" sz="1200" b="1" dirty="0">
                  <a:latin typeface="Baskerville" charset="0"/>
                  <a:ea typeface="Baskerville" charset="0"/>
                  <a:cs typeface="Baskerville" charset="0"/>
                </a:rPr>
                <a:t>Role and Responsibilities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sz="1200" dirty="0">
                  <a:latin typeface="Baskerville" charset="0"/>
                  <a:ea typeface="Baskerville" charset="0"/>
                  <a:cs typeface="Baskerville" charset="0"/>
                </a:rPr>
                <a:t>###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sz="1200" dirty="0">
                  <a:latin typeface="Baskerville" charset="0"/>
                  <a:ea typeface="Baskerville" charset="0"/>
                  <a:cs typeface="Baskerville" charset="0"/>
                </a:rPr>
                <a:t>###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sz="1200" dirty="0">
                  <a:latin typeface="Baskerville" charset="0"/>
                  <a:ea typeface="Baskerville" charset="0"/>
                  <a:cs typeface="Baskerville" charset="0"/>
                </a:rPr>
                <a:t>###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sz="1200" dirty="0">
                  <a:latin typeface="Baskerville" charset="0"/>
                  <a:ea typeface="Baskerville" charset="0"/>
                  <a:cs typeface="Baskerville" charset="0"/>
                </a:rPr>
                <a:t>###</a:t>
              </a:r>
              <a:endParaRPr lang="en-US" sz="1200" dirty="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277397" name="Line 21"/>
            <p:cNvSpPr>
              <a:spLocks noChangeShapeType="1"/>
            </p:cNvSpPr>
            <p:nvPr/>
          </p:nvSpPr>
          <p:spPr bwMode="gray">
            <a:xfrm>
              <a:off x="3287" y="2785"/>
              <a:ext cx="0" cy="1089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1825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94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am Organization</a:t>
            </a:r>
          </a:p>
        </p:txBody>
      </p:sp>
      <p:grpSp>
        <p:nvGrpSpPr>
          <p:cNvPr id="2279475" name="Group 51"/>
          <p:cNvGrpSpPr>
            <a:grpSpLocks/>
          </p:cNvGrpSpPr>
          <p:nvPr/>
        </p:nvGrpSpPr>
        <p:grpSpPr bwMode="auto">
          <a:xfrm>
            <a:off x="1908176" y="1489076"/>
            <a:ext cx="8302625" cy="4664075"/>
            <a:chOff x="242" y="938"/>
            <a:chExt cx="5230" cy="2938"/>
          </a:xfrm>
        </p:grpSpPr>
        <p:cxnSp>
          <p:nvCxnSpPr>
            <p:cNvPr id="2279428" name="AutoShape 4"/>
            <p:cNvCxnSpPr>
              <a:cxnSpLocks noChangeShapeType="1"/>
              <a:stCxn id="2279461" idx="2"/>
              <a:endCxn id="2279454" idx="0"/>
            </p:cNvCxnSpPr>
            <p:nvPr/>
          </p:nvCxnSpPr>
          <p:spPr bwMode="gray">
            <a:xfrm>
              <a:off x="2872" y="1586"/>
              <a:ext cx="0" cy="186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9429" name="AutoShape 5"/>
            <p:cNvCxnSpPr>
              <a:cxnSpLocks noChangeShapeType="1"/>
              <a:stCxn id="2279453" idx="2"/>
              <a:endCxn id="2279435" idx="0"/>
            </p:cNvCxnSpPr>
            <p:nvPr/>
          </p:nvCxnSpPr>
          <p:spPr bwMode="gray">
            <a:xfrm rot="5400000">
              <a:off x="1638" y="1634"/>
              <a:ext cx="447" cy="2020"/>
            </a:xfrm>
            <a:prstGeom prst="bentConnector3">
              <a:avLst>
                <a:gd name="adj1" fmla="val 49889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9430" name="AutoShape 6"/>
            <p:cNvCxnSpPr>
              <a:cxnSpLocks noChangeShapeType="1"/>
              <a:stCxn id="2279453" idx="2"/>
              <a:endCxn id="2279438" idx="0"/>
            </p:cNvCxnSpPr>
            <p:nvPr/>
          </p:nvCxnSpPr>
          <p:spPr bwMode="gray">
            <a:xfrm rot="5400000">
              <a:off x="2306" y="2302"/>
              <a:ext cx="447" cy="684"/>
            </a:xfrm>
            <a:prstGeom prst="bentConnector3">
              <a:avLst>
                <a:gd name="adj1" fmla="val 49889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9431" name="AutoShape 7"/>
            <p:cNvCxnSpPr>
              <a:cxnSpLocks noChangeShapeType="1"/>
              <a:stCxn id="2279453" idx="2"/>
              <a:endCxn id="2279441" idx="0"/>
            </p:cNvCxnSpPr>
            <p:nvPr/>
          </p:nvCxnSpPr>
          <p:spPr bwMode="gray">
            <a:xfrm rot="16200000" flipH="1">
              <a:off x="2975" y="2317"/>
              <a:ext cx="447" cy="653"/>
            </a:xfrm>
            <a:prstGeom prst="bentConnector3">
              <a:avLst>
                <a:gd name="adj1" fmla="val 49889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79432" name="AutoShape 8"/>
            <p:cNvCxnSpPr>
              <a:cxnSpLocks noChangeShapeType="1"/>
              <a:stCxn id="2279453" idx="2"/>
              <a:endCxn id="2279444" idx="0"/>
            </p:cNvCxnSpPr>
            <p:nvPr/>
          </p:nvCxnSpPr>
          <p:spPr bwMode="gray">
            <a:xfrm rot="16200000" flipH="1">
              <a:off x="3643" y="1649"/>
              <a:ext cx="447" cy="1990"/>
            </a:xfrm>
            <a:prstGeom prst="bentConnector3">
              <a:avLst>
                <a:gd name="adj1" fmla="val 49889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2279470" name="Group 46"/>
            <p:cNvGrpSpPr>
              <a:grpSpLocks/>
            </p:cNvGrpSpPr>
            <p:nvPr/>
          </p:nvGrpSpPr>
          <p:grpSpPr bwMode="auto">
            <a:xfrm>
              <a:off x="242" y="2867"/>
              <a:ext cx="1220" cy="1009"/>
              <a:chOff x="242" y="2867"/>
              <a:chExt cx="1220" cy="1009"/>
            </a:xfrm>
          </p:grpSpPr>
          <p:sp>
            <p:nvSpPr>
              <p:cNvPr id="2279434" name="Rectangle 10"/>
              <p:cNvSpPr>
                <a:spLocks noChangeArrowheads="1"/>
              </p:cNvSpPr>
              <p:nvPr/>
            </p:nvSpPr>
            <p:spPr bwMode="gray">
              <a:xfrm>
                <a:off x="242" y="2867"/>
                <a:ext cx="1220" cy="100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486000" rIns="36000" bIns="36000"/>
              <a:lstStyle/>
              <a:p>
                <a:pPr defTabSz="912813"/>
                <a:r>
                  <a:rPr lang="de-DE" sz="14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279435" name="Rectangle 11"/>
              <p:cNvSpPr>
                <a:spLocks noChangeArrowheads="1"/>
              </p:cNvSpPr>
              <p:nvPr/>
            </p:nvSpPr>
            <p:spPr bwMode="gray">
              <a:xfrm>
                <a:off x="242" y="2867"/>
                <a:ext cx="1220" cy="247"/>
              </a:xfrm>
              <a:prstGeom prst="rect">
                <a:avLst/>
              </a:prstGeom>
              <a:solidFill>
                <a:srgbClr val="7030A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defTabSz="912813"/>
                <a:r>
                  <a:rPr lang="en-US" sz="1400" b="1">
                    <a:solidFill>
                      <a:schemeClr val="bg1"/>
                    </a:solidFill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</p:grpSp>
        <p:grpSp>
          <p:nvGrpSpPr>
            <p:cNvPr id="2279471" name="Group 47"/>
            <p:cNvGrpSpPr>
              <a:grpSpLocks/>
            </p:cNvGrpSpPr>
            <p:nvPr/>
          </p:nvGrpSpPr>
          <p:grpSpPr bwMode="auto">
            <a:xfrm>
              <a:off x="1578" y="2867"/>
              <a:ext cx="1220" cy="1009"/>
              <a:chOff x="1578" y="2867"/>
              <a:chExt cx="1220" cy="1009"/>
            </a:xfrm>
          </p:grpSpPr>
          <p:sp>
            <p:nvSpPr>
              <p:cNvPr id="2279437" name="Rectangle 13"/>
              <p:cNvSpPr>
                <a:spLocks noChangeArrowheads="1"/>
              </p:cNvSpPr>
              <p:nvPr/>
            </p:nvSpPr>
            <p:spPr bwMode="gray">
              <a:xfrm>
                <a:off x="1578" y="2867"/>
                <a:ext cx="1220" cy="100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486000" rIns="36000" bIns="36000"/>
              <a:lstStyle/>
              <a:p>
                <a:pPr defTabSz="912813"/>
                <a:r>
                  <a:rPr lang="de-DE" sz="14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279438" name="Rectangle 14"/>
              <p:cNvSpPr>
                <a:spLocks noChangeArrowheads="1"/>
              </p:cNvSpPr>
              <p:nvPr/>
            </p:nvSpPr>
            <p:spPr bwMode="gray">
              <a:xfrm>
                <a:off x="1578" y="2867"/>
                <a:ext cx="1220" cy="247"/>
              </a:xfrm>
              <a:prstGeom prst="rect">
                <a:avLst/>
              </a:prstGeom>
              <a:solidFill>
                <a:srgbClr val="7030A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defTabSz="912813"/>
                <a:r>
                  <a:rPr lang="en-US" sz="1400" b="1">
                    <a:solidFill>
                      <a:schemeClr val="bg1"/>
                    </a:solidFill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</p:grpSp>
        <p:grpSp>
          <p:nvGrpSpPr>
            <p:cNvPr id="2279472" name="Group 48"/>
            <p:cNvGrpSpPr>
              <a:grpSpLocks/>
            </p:cNvGrpSpPr>
            <p:nvPr/>
          </p:nvGrpSpPr>
          <p:grpSpPr bwMode="auto">
            <a:xfrm>
              <a:off x="2915" y="2867"/>
              <a:ext cx="1220" cy="1009"/>
              <a:chOff x="2915" y="2867"/>
              <a:chExt cx="1220" cy="1009"/>
            </a:xfrm>
          </p:grpSpPr>
          <p:sp>
            <p:nvSpPr>
              <p:cNvPr id="2279440" name="Rectangle 16"/>
              <p:cNvSpPr>
                <a:spLocks noChangeArrowheads="1"/>
              </p:cNvSpPr>
              <p:nvPr/>
            </p:nvSpPr>
            <p:spPr bwMode="gray">
              <a:xfrm>
                <a:off x="2915" y="2867"/>
                <a:ext cx="1220" cy="100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486000" rIns="36000" bIns="36000"/>
              <a:lstStyle/>
              <a:p>
                <a:pPr defTabSz="912813"/>
                <a:r>
                  <a:rPr lang="de-DE" sz="14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279441" name="Rectangle 17"/>
              <p:cNvSpPr>
                <a:spLocks noChangeArrowheads="1"/>
              </p:cNvSpPr>
              <p:nvPr/>
            </p:nvSpPr>
            <p:spPr bwMode="gray">
              <a:xfrm>
                <a:off x="2915" y="2867"/>
                <a:ext cx="1220" cy="247"/>
              </a:xfrm>
              <a:prstGeom prst="rect">
                <a:avLst/>
              </a:prstGeom>
              <a:solidFill>
                <a:srgbClr val="7030A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defTabSz="912813"/>
                <a:r>
                  <a:rPr lang="en-US" sz="1400" b="1">
                    <a:solidFill>
                      <a:schemeClr val="bg1"/>
                    </a:solidFill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</p:grpSp>
        <p:grpSp>
          <p:nvGrpSpPr>
            <p:cNvPr id="2279473" name="Group 49"/>
            <p:cNvGrpSpPr>
              <a:grpSpLocks/>
            </p:cNvGrpSpPr>
            <p:nvPr/>
          </p:nvGrpSpPr>
          <p:grpSpPr bwMode="auto">
            <a:xfrm>
              <a:off x="4252" y="2867"/>
              <a:ext cx="1220" cy="1009"/>
              <a:chOff x="4252" y="2867"/>
              <a:chExt cx="1220" cy="1009"/>
            </a:xfrm>
          </p:grpSpPr>
          <p:sp>
            <p:nvSpPr>
              <p:cNvPr id="2279443" name="Rectangle 19"/>
              <p:cNvSpPr>
                <a:spLocks noChangeArrowheads="1"/>
              </p:cNvSpPr>
              <p:nvPr/>
            </p:nvSpPr>
            <p:spPr bwMode="gray">
              <a:xfrm>
                <a:off x="4252" y="2867"/>
                <a:ext cx="1220" cy="100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486000" rIns="36000" bIns="36000"/>
              <a:lstStyle/>
              <a:p>
                <a:pPr defTabSz="912813"/>
                <a:r>
                  <a:rPr lang="de-DE" sz="14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279444" name="Rectangle 20"/>
              <p:cNvSpPr>
                <a:spLocks noChangeArrowheads="1"/>
              </p:cNvSpPr>
              <p:nvPr/>
            </p:nvSpPr>
            <p:spPr bwMode="gray">
              <a:xfrm>
                <a:off x="4252" y="2867"/>
                <a:ext cx="1220" cy="247"/>
              </a:xfrm>
              <a:prstGeom prst="rect">
                <a:avLst/>
              </a:prstGeom>
              <a:solidFill>
                <a:srgbClr val="7030A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36000" bIns="36000" anchor="ctr"/>
              <a:lstStyle/>
              <a:p>
                <a:pPr defTabSz="912813"/>
                <a:r>
                  <a:rPr lang="en-US" sz="1400" b="1">
                    <a:solidFill>
                      <a:schemeClr val="bg1"/>
                    </a:solidFill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</p:grpSp>
        <p:grpSp>
          <p:nvGrpSpPr>
            <p:cNvPr id="2279452" name="Group 28"/>
            <p:cNvGrpSpPr>
              <a:grpSpLocks/>
            </p:cNvGrpSpPr>
            <p:nvPr/>
          </p:nvGrpSpPr>
          <p:grpSpPr bwMode="auto">
            <a:xfrm>
              <a:off x="1670" y="1772"/>
              <a:ext cx="2403" cy="648"/>
              <a:chOff x="1670" y="1772"/>
              <a:chExt cx="2403" cy="648"/>
            </a:xfrm>
          </p:grpSpPr>
          <p:sp>
            <p:nvSpPr>
              <p:cNvPr id="2279453" name="Rectangle 29"/>
              <p:cNvSpPr>
                <a:spLocks noChangeArrowheads="1"/>
              </p:cNvSpPr>
              <p:nvPr/>
            </p:nvSpPr>
            <p:spPr bwMode="gray">
              <a:xfrm>
                <a:off x="1670" y="2139"/>
                <a:ext cx="2403" cy="28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de-DE" sz="1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279454" name="Rectangle 30"/>
              <p:cNvSpPr>
                <a:spLocks noChangeArrowheads="1"/>
              </p:cNvSpPr>
              <p:nvPr/>
            </p:nvSpPr>
            <p:spPr bwMode="gray">
              <a:xfrm>
                <a:off x="1670" y="1772"/>
                <a:ext cx="2403" cy="247"/>
              </a:xfrm>
              <a:prstGeom prst="rect">
                <a:avLst/>
              </a:prstGeom>
              <a:solidFill>
                <a:srgbClr val="7030A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0" bIns="0" anchor="ctr"/>
              <a:lstStyle/>
              <a:p>
                <a:pPr defTabSz="912813"/>
                <a:r>
                  <a:rPr lang="de-DE" sz="1400" b="1">
                    <a:solidFill>
                      <a:schemeClr val="bg1"/>
                    </a:solidFill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279455" name="Rectangle 31"/>
              <p:cNvSpPr>
                <a:spLocks noChangeArrowheads="1"/>
              </p:cNvSpPr>
              <p:nvPr/>
            </p:nvSpPr>
            <p:spPr bwMode="gray">
              <a:xfrm>
                <a:off x="1726" y="2186"/>
                <a:ext cx="1082" cy="1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2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 sz="14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279456" name="Rectangle 32"/>
              <p:cNvSpPr>
                <a:spLocks noChangeArrowheads="1"/>
              </p:cNvSpPr>
              <p:nvPr/>
            </p:nvSpPr>
            <p:spPr bwMode="gray">
              <a:xfrm>
                <a:off x="2957" y="2186"/>
                <a:ext cx="1082" cy="1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2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 sz="14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279457" name="Rectangle 33"/>
              <p:cNvSpPr>
                <a:spLocks noChangeArrowheads="1"/>
              </p:cNvSpPr>
              <p:nvPr/>
            </p:nvSpPr>
            <p:spPr bwMode="gray">
              <a:xfrm>
                <a:off x="1670" y="2018"/>
                <a:ext cx="1206" cy="1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de-DE" sz="1400" b="1">
                    <a:latin typeface="Baskerville" charset="0"/>
                    <a:ea typeface="Baskerville" charset="0"/>
                    <a:cs typeface="Baskerville" charset="0"/>
                  </a:rPr>
                  <a:t>Level 1</a:t>
                </a:r>
              </a:p>
            </p:txBody>
          </p:sp>
          <p:sp>
            <p:nvSpPr>
              <p:cNvPr id="2279458" name="Rectangle 34"/>
              <p:cNvSpPr>
                <a:spLocks noChangeArrowheads="1"/>
              </p:cNvSpPr>
              <p:nvPr/>
            </p:nvSpPr>
            <p:spPr bwMode="gray">
              <a:xfrm>
                <a:off x="2876" y="2018"/>
                <a:ext cx="1197" cy="1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de-DE" sz="1400" b="1">
                    <a:latin typeface="Baskerville" charset="0"/>
                    <a:ea typeface="Baskerville" charset="0"/>
                    <a:cs typeface="Baskerville" charset="0"/>
                  </a:rPr>
                  <a:t>Level 1</a:t>
                </a:r>
              </a:p>
            </p:txBody>
          </p:sp>
        </p:grpSp>
        <p:grpSp>
          <p:nvGrpSpPr>
            <p:cNvPr id="2279460" name="Group 36"/>
            <p:cNvGrpSpPr>
              <a:grpSpLocks/>
            </p:cNvGrpSpPr>
            <p:nvPr/>
          </p:nvGrpSpPr>
          <p:grpSpPr bwMode="auto">
            <a:xfrm>
              <a:off x="1670" y="938"/>
              <a:ext cx="2403" cy="648"/>
              <a:chOff x="1670" y="1772"/>
              <a:chExt cx="2403" cy="648"/>
            </a:xfrm>
          </p:grpSpPr>
          <p:sp>
            <p:nvSpPr>
              <p:cNvPr id="2279461" name="Rectangle 37"/>
              <p:cNvSpPr>
                <a:spLocks noChangeArrowheads="1"/>
              </p:cNvSpPr>
              <p:nvPr/>
            </p:nvSpPr>
            <p:spPr bwMode="gray">
              <a:xfrm>
                <a:off x="1670" y="2139"/>
                <a:ext cx="2403" cy="28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de-DE" sz="14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279462" name="Rectangle 38"/>
              <p:cNvSpPr>
                <a:spLocks noChangeArrowheads="1"/>
              </p:cNvSpPr>
              <p:nvPr/>
            </p:nvSpPr>
            <p:spPr bwMode="gray">
              <a:xfrm>
                <a:off x="1670" y="1772"/>
                <a:ext cx="2403" cy="247"/>
              </a:xfrm>
              <a:prstGeom prst="rect">
                <a:avLst/>
              </a:prstGeom>
              <a:solidFill>
                <a:srgbClr val="7030A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6000" tIns="36000" rIns="0" bIns="0" anchor="ctr"/>
              <a:lstStyle/>
              <a:p>
                <a:pPr defTabSz="912813"/>
                <a:r>
                  <a:rPr lang="de-DE" sz="1400" b="1">
                    <a:solidFill>
                      <a:schemeClr val="bg1"/>
                    </a:solidFill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279463" name="Rectangle 39"/>
              <p:cNvSpPr>
                <a:spLocks noChangeArrowheads="1"/>
              </p:cNvSpPr>
              <p:nvPr/>
            </p:nvSpPr>
            <p:spPr bwMode="gray">
              <a:xfrm>
                <a:off x="1726" y="2186"/>
                <a:ext cx="1082" cy="1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2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 sz="14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279464" name="Rectangle 40"/>
              <p:cNvSpPr>
                <a:spLocks noChangeArrowheads="1"/>
              </p:cNvSpPr>
              <p:nvPr/>
            </p:nvSpPr>
            <p:spPr bwMode="gray">
              <a:xfrm>
                <a:off x="2957" y="2186"/>
                <a:ext cx="1082" cy="1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2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 sz="14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2279465" name="Rectangle 41"/>
              <p:cNvSpPr>
                <a:spLocks noChangeArrowheads="1"/>
              </p:cNvSpPr>
              <p:nvPr/>
            </p:nvSpPr>
            <p:spPr bwMode="gray">
              <a:xfrm>
                <a:off x="1670" y="2018"/>
                <a:ext cx="1206" cy="1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de-DE" sz="1400" b="1">
                    <a:latin typeface="Baskerville" charset="0"/>
                    <a:ea typeface="Baskerville" charset="0"/>
                    <a:cs typeface="Baskerville" charset="0"/>
                  </a:rPr>
                  <a:t>Level 1</a:t>
                </a:r>
              </a:p>
            </p:txBody>
          </p:sp>
          <p:sp>
            <p:nvSpPr>
              <p:cNvPr id="2279466" name="Rectangle 42"/>
              <p:cNvSpPr>
                <a:spLocks noChangeArrowheads="1"/>
              </p:cNvSpPr>
              <p:nvPr/>
            </p:nvSpPr>
            <p:spPr bwMode="gray">
              <a:xfrm>
                <a:off x="2876" y="2018"/>
                <a:ext cx="1197" cy="1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de-DE" sz="1400" b="1">
                    <a:latin typeface="Baskerville" charset="0"/>
                    <a:ea typeface="Baskerville" charset="0"/>
                    <a:cs typeface="Baskerville" charset="0"/>
                  </a:rPr>
                  <a:t>Level 1</a:t>
                </a:r>
              </a:p>
            </p:txBody>
          </p:sp>
        </p:grp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263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9892" name="Oval 4"/>
          <p:cNvSpPr>
            <a:spLocks noChangeArrowheads="1"/>
          </p:cNvSpPr>
          <p:nvPr/>
        </p:nvSpPr>
        <p:spPr bwMode="gray">
          <a:xfrm>
            <a:off x="655320" y="624840"/>
            <a:ext cx="3529961" cy="86558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4000" b="1" dirty="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  <a:t>Influenc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21243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62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 Factors</a:t>
            </a:r>
          </a:p>
        </p:txBody>
      </p:sp>
      <p:grpSp>
        <p:nvGrpSpPr>
          <p:cNvPr id="2316300" name="Group 12"/>
          <p:cNvGrpSpPr>
            <a:grpSpLocks/>
          </p:cNvGrpSpPr>
          <p:nvPr/>
        </p:nvGrpSpPr>
        <p:grpSpPr bwMode="auto">
          <a:xfrm>
            <a:off x="1903414" y="1490663"/>
            <a:ext cx="8302625" cy="4652962"/>
            <a:chOff x="239" y="939"/>
            <a:chExt cx="5230" cy="2931"/>
          </a:xfrm>
        </p:grpSpPr>
        <p:sp>
          <p:nvSpPr>
            <p:cNvPr id="2316292" name="AutoShape 4"/>
            <p:cNvSpPr>
              <a:spLocks noChangeArrowheads="1"/>
            </p:cNvSpPr>
            <p:nvPr/>
          </p:nvSpPr>
          <p:spPr bwMode="gray">
            <a:xfrm>
              <a:off x="245" y="1364"/>
              <a:ext cx="2189" cy="2506"/>
            </a:xfrm>
            <a:prstGeom prst="homePlate">
              <a:avLst>
                <a:gd name="adj" fmla="val 8074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44000" tIns="72000" rIns="0" bIns="0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16293" name="Rectangle 5"/>
            <p:cNvSpPr>
              <a:spLocks noChangeArrowheads="1"/>
            </p:cNvSpPr>
            <p:nvPr/>
          </p:nvSpPr>
          <p:spPr bwMode="gray">
            <a:xfrm>
              <a:off x="239" y="939"/>
              <a:ext cx="2016" cy="346"/>
            </a:xfrm>
            <a:prstGeom prst="rect">
              <a:avLst/>
            </a:prstGeom>
            <a:solidFill>
              <a:srgbClr val="77777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4400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16294" name="Rectangle 6"/>
            <p:cNvSpPr>
              <a:spLocks noChangeArrowheads="1"/>
            </p:cNvSpPr>
            <p:nvPr/>
          </p:nvSpPr>
          <p:spPr bwMode="gray">
            <a:xfrm>
              <a:off x="3453" y="939"/>
              <a:ext cx="2016" cy="346"/>
            </a:xfrm>
            <a:prstGeom prst="rect">
              <a:avLst/>
            </a:prstGeom>
            <a:solidFill>
              <a:srgbClr val="77777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4400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16295" name="AutoShape 7"/>
            <p:cNvSpPr>
              <a:spLocks noChangeArrowheads="1"/>
            </p:cNvSpPr>
            <p:nvPr/>
          </p:nvSpPr>
          <p:spPr bwMode="gray">
            <a:xfrm flipH="1">
              <a:off x="3280" y="1364"/>
              <a:ext cx="2189" cy="2506"/>
            </a:xfrm>
            <a:prstGeom prst="homePlate">
              <a:avLst>
                <a:gd name="adj" fmla="val 8074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04000" tIns="72000" rIns="0" bIns="0"/>
            <a:lstStyle/>
            <a:p>
              <a:pPr marL="304800" indent="-9525"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16296" name="Oval 8"/>
            <p:cNvSpPr>
              <a:spLocks noChangeArrowheads="1"/>
            </p:cNvSpPr>
            <p:nvPr/>
          </p:nvSpPr>
          <p:spPr bwMode="gray">
            <a:xfrm>
              <a:off x="2271" y="2053"/>
              <a:ext cx="1184" cy="112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118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85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4 Factors</a:t>
            </a:r>
          </a:p>
        </p:txBody>
      </p:sp>
      <p:grpSp>
        <p:nvGrpSpPr>
          <p:cNvPr id="2328589" name="Group 13"/>
          <p:cNvGrpSpPr>
            <a:grpSpLocks/>
          </p:cNvGrpSpPr>
          <p:nvPr/>
        </p:nvGrpSpPr>
        <p:grpSpPr bwMode="auto">
          <a:xfrm>
            <a:off x="1911350" y="1490664"/>
            <a:ext cx="8301038" cy="4664075"/>
            <a:chOff x="244" y="939"/>
            <a:chExt cx="5229" cy="2896"/>
          </a:xfrm>
        </p:grpSpPr>
        <p:sp>
          <p:nvSpPr>
            <p:cNvPr id="2328580" name="Rectangle 4"/>
            <p:cNvSpPr>
              <a:spLocks noChangeArrowheads="1"/>
            </p:cNvSpPr>
            <p:nvPr/>
          </p:nvSpPr>
          <p:spPr bwMode="gray">
            <a:xfrm>
              <a:off x="1838" y="1542"/>
              <a:ext cx="2036" cy="168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 dirty="0">
                  <a:latin typeface="Baskerville" charset="0"/>
                  <a:ea typeface="Baskerville" charset="0"/>
                  <a:cs typeface="Baskerville" charset="0"/>
                </a:rPr>
                <a:t>      Text</a:t>
              </a:r>
            </a:p>
          </p:txBody>
        </p:sp>
        <p:sp>
          <p:nvSpPr>
            <p:cNvPr id="2328581" name="AutoShape 5"/>
            <p:cNvSpPr>
              <a:spLocks noChangeArrowheads="1"/>
            </p:cNvSpPr>
            <p:nvPr/>
          </p:nvSpPr>
          <p:spPr bwMode="gray">
            <a:xfrm>
              <a:off x="2093" y="3106"/>
              <a:ext cx="1543" cy="224"/>
            </a:xfrm>
            <a:prstGeom prst="triangle">
              <a:avLst>
                <a:gd name="adj" fmla="val 50000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0" anchor="ctr"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28582" name="AutoShape 6"/>
            <p:cNvSpPr>
              <a:spLocks noChangeArrowheads="1"/>
            </p:cNvSpPr>
            <p:nvPr/>
          </p:nvSpPr>
          <p:spPr bwMode="gray">
            <a:xfrm flipV="1">
              <a:off x="2093" y="1447"/>
              <a:ext cx="1543" cy="223"/>
            </a:xfrm>
            <a:prstGeom prst="triangle">
              <a:avLst>
                <a:gd name="adj" fmla="val 50000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wrap="none" lIns="72000" tIns="0" rIns="0" bIns="0" anchor="ctr"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28583" name="AutoShape 7"/>
            <p:cNvSpPr>
              <a:spLocks noChangeArrowheads="1"/>
            </p:cNvSpPr>
            <p:nvPr/>
          </p:nvSpPr>
          <p:spPr bwMode="gray">
            <a:xfrm rot="5400000">
              <a:off x="1210" y="2250"/>
              <a:ext cx="1256" cy="274"/>
            </a:xfrm>
            <a:prstGeom prst="triangle">
              <a:avLst>
                <a:gd name="adj" fmla="val 50000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wrap="none" lIns="72000" tIns="0" rIns="0" bIns="0" anchor="ctr"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28584" name="AutoShape 8"/>
            <p:cNvSpPr>
              <a:spLocks noChangeArrowheads="1"/>
            </p:cNvSpPr>
            <p:nvPr/>
          </p:nvSpPr>
          <p:spPr bwMode="gray">
            <a:xfrm rot="5400000" flipV="1">
              <a:off x="3252" y="2250"/>
              <a:ext cx="1256" cy="274"/>
            </a:xfrm>
            <a:prstGeom prst="triangle">
              <a:avLst>
                <a:gd name="adj" fmla="val 50000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72000" tIns="0" rIns="0" bIns="0" anchor="ctr"/>
            <a:lstStyle/>
            <a:p>
              <a:endParaRPr lang="de-DE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28585" name="Rectangle 9"/>
            <p:cNvSpPr>
              <a:spLocks noChangeArrowheads="1"/>
            </p:cNvSpPr>
            <p:nvPr/>
          </p:nvSpPr>
          <p:spPr bwMode="gray">
            <a:xfrm>
              <a:off x="1835" y="3424"/>
              <a:ext cx="2042" cy="411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28586" name="Rectangle 10"/>
            <p:cNvSpPr>
              <a:spLocks noChangeArrowheads="1"/>
            </p:cNvSpPr>
            <p:nvPr/>
          </p:nvSpPr>
          <p:spPr bwMode="gray">
            <a:xfrm>
              <a:off x="1835" y="939"/>
              <a:ext cx="2042" cy="411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28587" name="Rectangle 11"/>
            <p:cNvSpPr>
              <a:spLocks noChangeArrowheads="1"/>
            </p:cNvSpPr>
            <p:nvPr/>
          </p:nvSpPr>
          <p:spPr bwMode="gray">
            <a:xfrm>
              <a:off x="244" y="1542"/>
              <a:ext cx="1348" cy="1682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28588" name="Rectangle 12"/>
            <p:cNvSpPr>
              <a:spLocks noChangeArrowheads="1"/>
            </p:cNvSpPr>
            <p:nvPr/>
          </p:nvSpPr>
          <p:spPr bwMode="gray">
            <a:xfrm>
              <a:off x="4125" y="1542"/>
              <a:ext cx="1348" cy="1682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490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0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4 Factors</a:t>
            </a:r>
          </a:p>
        </p:txBody>
      </p:sp>
      <p:grpSp>
        <p:nvGrpSpPr>
          <p:cNvPr id="2330638" name="Group 14"/>
          <p:cNvGrpSpPr>
            <a:grpSpLocks/>
          </p:cNvGrpSpPr>
          <p:nvPr/>
        </p:nvGrpSpPr>
        <p:grpSpPr bwMode="auto">
          <a:xfrm>
            <a:off x="3257550" y="1895475"/>
            <a:ext cx="5651500" cy="3956050"/>
            <a:chOff x="1092" y="882"/>
            <a:chExt cx="3560" cy="2492"/>
          </a:xfrm>
        </p:grpSpPr>
        <p:sp>
          <p:nvSpPr>
            <p:cNvPr id="2330628" name="Rectangle 4"/>
            <p:cNvSpPr>
              <a:spLocks noChangeArrowheads="1"/>
            </p:cNvSpPr>
            <p:nvPr/>
          </p:nvSpPr>
          <p:spPr bwMode="gray">
            <a:xfrm>
              <a:off x="2097" y="1369"/>
              <a:ext cx="1551" cy="15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buSzTx/>
              </a:pPr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 </a:t>
              </a:r>
            </a:p>
          </p:txBody>
        </p:sp>
        <p:sp>
          <p:nvSpPr>
            <p:cNvPr id="2330629" name="AutoShap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811" y="1683"/>
              <a:ext cx="568" cy="914"/>
            </a:xfrm>
            <a:prstGeom prst="rightArrow">
              <a:avLst>
                <a:gd name="adj1" fmla="val 48481"/>
                <a:gd name="adj2" fmla="val 49389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de-DE" sz="1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0630" name="AutoShap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 flipH="1">
              <a:off x="3366" y="1683"/>
              <a:ext cx="569" cy="914"/>
            </a:xfrm>
            <a:prstGeom prst="rightArrow">
              <a:avLst>
                <a:gd name="adj1" fmla="val 48481"/>
                <a:gd name="adj2" fmla="val 49389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de-DE" sz="1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0631" name="AutoShape 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 rot="16200000" flipH="1">
              <a:off x="2585" y="898"/>
              <a:ext cx="555" cy="935"/>
            </a:xfrm>
            <a:prstGeom prst="rightArrow">
              <a:avLst>
                <a:gd name="adj1" fmla="val 48481"/>
                <a:gd name="adj2" fmla="val 49389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lIns="0" tIns="0" rIns="0" bIns="0" anchor="ctr"/>
            <a:lstStyle/>
            <a:p>
              <a:endParaRPr lang="de-DE" sz="1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0632" name="AutoShape 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 rot="5400000" flipH="1" flipV="1">
              <a:off x="2585" y="2419"/>
              <a:ext cx="555" cy="935"/>
            </a:xfrm>
            <a:prstGeom prst="rightArrow">
              <a:avLst>
                <a:gd name="adj1" fmla="val 48481"/>
                <a:gd name="adj2" fmla="val 49389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lIns="0" tIns="0" rIns="0" bIns="0" anchor="ctr"/>
            <a:lstStyle/>
            <a:p>
              <a:endParaRPr lang="de-DE" sz="1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0633" name="Rectangle 9"/>
            <p:cNvSpPr>
              <a:spLocks noChangeArrowheads="1"/>
            </p:cNvSpPr>
            <p:nvPr/>
          </p:nvSpPr>
          <p:spPr bwMode="gray">
            <a:xfrm>
              <a:off x="2411" y="2076"/>
              <a:ext cx="884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0634" name="Rectangle 10"/>
            <p:cNvSpPr>
              <a:spLocks noChangeArrowheads="1"/>
            </p:cNvSpPr>
            <p:nvPr/>
          </p:nvSpPr>
          <p:spPr bwMode="gray">
            <a:xfrm>
              <a:off x="1092" y="2040"/>
              <a:ext cx="668" cy="1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algn="r"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0635" name="Rectangle 11"/>
            <p:cNvSpPr>
              <a:spLocks noChangeArrowheads="1"/>
            </p:cNvSpPr>
            <p:nvPr/>
          </p:nvSpPr>
          <p:spPr bwMode="gray">
            <a:xfrm>
              <a:off x="3984" y="2040"/>
              <a:ext cx="668" cy="1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0636" name="Rectangle 12"/>
            <p:cNvSpPr>
              <a:spLocks noChangeArrowheads="1"/>
            </p:cNvSpPr>
            <p:nvPr/>
          </p:nvSpPr>
          <p:spPr bwMode="gray">
            <a:xfrm>
              <a:off x="2519" y="3180"/>
              <a:ext cx="668" cy="1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0637" name="Rectangle 13"/>
            <p:cNvSpPr>
              <a:spLocks noChangeArrowheads="1"/>
            </p:cNvSpPr>
            <p:nvPr/>
          </p:nvSpPr>
          <p:spPr bwMode="gray">
            <a:xfrm>
              <a:off x="2519" y="882"/>
              <a:ext cx="668" cy="1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052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13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fluence – 3 Factors</a:t>
            </a:r>
          </a:p>
        </p:txBody>
      </p:sp>
      <p:grpSp>
        <p:nvGrpSpPr>
          <p:cNvPr id="2361356" name="Group 12"/>
          <p:cNvGrpSpPr>
            <a:grpSpLocks/>
          </p:cNvGrpSpPr>
          <p:nvPr/>
        </p:nvGrpSpPr>
        <p:grpSpPr bwMode="auto">
          <a:xfrm>
            <a:off x="2452689" y="2092355"/>
            <a:ext cx="7419975" cy="3516312"/>
            <a:chOff x="585" y="941"/>
            <a:chExt cx="4674" cy="2215"/>
          </a:xfrm>
        </p:grpSpPr>
        <p:cxnSp>
          <p:nvCxnSpPr>
            <p:cNvPr id="2361348" name="AutoShape 4"/>
            <p:cNvCxnSpPr>
              <a:cxnSpLocks noChangeShapeType="1"/>
              <a:stCxn id="2361352" idx="3"/>
              <a:endCxn id="2361355" idx="2"/>
            </p:cNvCxnSpPr>
            <p:nvPr/>
          </p:nvCxnSpPr>
          <p:spPr bwMode="gray">
            <a:xfrm flipV="1">
              <a:off x="2243" y="2048"/>
              <a:ext cx="1301" cy="1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61349" name="AutoShape 5"/>
            <p:cNvCxnSpPr>
              <a:cxnSpLocks noChangeShapeType="1"/>
              <a:stCxn id="2361351" idx="3"/>
            </p:cNvCxnSpPr>
            <p:nvPr/>
          </p:nvCxnSpPr>
          <p:spPr bwMode="gray">
            <a:xfrm>
              <a:off x="2243" y="1197"/>
              <a:ext cx="1339" cy="775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61350" name="AutoShape 6"/>
            <p:cNvCxnSpPr>
              <a:cxnSpLocks noChangeShapeType="1"/>
              <a:stCxn id="2361353" idx="3"/>
            </p:cNvCxnSpPr>
            <p:nvPr/>
          </p:nvCxnSpPr>
          <p:spPr bwMode="gray">
            <a:xfrm flipV="1">
              <a:off x="2243" y="2104"/>
              <a:ext cx="1339" cy="797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61351" name="Rectangle 7"/>
            <p:cNvSpPr>
              <a:spLocks noChangeArrowheads="1"/>
            </p:cNvSpPr>
            <p:nvPr/>
          </p:nvSpPr>
          <p:spPr bwMode="gray">
            <a:xfrm>
              <a:off x="585" y="941"/>
              <a:ext cx="1658" cy="511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61352" name="Rectangle 8"/>
            <p:cNvSpPr>
              <a:spLocks noChangeArrowheads="1"/>
            </p:cNvSpPr>
            <p:nvPr/>
          </p:nvSpPr>
          <p:spPr bwMode="gray">
            <a:xfrm>
              <a:off x="585" y="1793"/>
              <a:ext cx="1658" cy="511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61353" name="Rectangle 9"/>
            <p:cNvSpPr>
              <a:spLocks noChangeArrowheads="1"/>
            </p:cNvSpPr>
            <p:nvPr/>
          </p:nvSpPr>
          <p:spPr bwMode="gray">
            <a:xfrm>
              <a:off x="585" y="2645"/>
              <a:ext cx="1658" cy="511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61354" name="Rectangle 10"/>
            <p:cNvSpPr>
              <a:spLocks noChangeArrowheads="1"/>
            </p:cNvSpPr>
            <p:nvPr/>
          </p:nvSpPr>
          <p:spPr bwMode="gray">
            <a:xfrm>
              <a:off x="3601" y="1630"/>
              <a:ext cx="1658" cy="83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4572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61355" name="Oval 11"/>
            <p:cNvSpPr>
              <a:spLocks noChangeArrowheads="1"/>
            </p:cNvSpPr>
            <p:nvPr/>
          </p:nvSpPr>
          <p:spPr bwMode="gray">
            <a:xfrm>
              <a:off x="3544" y="1953"/>
              <a:ext cx="379" cy="189"/>
            </a:xfrm>
            <a:prstGeom prst="ellips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de-DE" sz="2000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730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16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4 Factors</a:t>
            </a:r>
          </a:p>
        </p:txBody>
      </p:sp>
      <p:grpSp>
        <p:nvGrpSpPr>
          <p:cNvPr id="2331669" name="Group 21"/>
          <p:cNvGrpSpPr>
            <a:grpSpLocks/>
          </p:cNvGrpSpPr>
          <p:nvPr/>
        </p:nvGrpSpPr>
        <p:grpSpPr bwMode="auto">
          <a:xfrm>
            <a:off x="1908176" y="1490664"/>
            <a:ext cx="8297863" cy="4670425"/>
            <a:chOff x="248" y="939"/>
            <a:chExt cx="5227" cy="2942"/>
          </a:xfrm>
        </p:grpSpPr>
        <p:grpSp>
          <p:nvGrpSpPr>
            <p:cNvPr id="2331652" name="Group 4"/>
            <p:cNvGrpSpPr>
              <a:grpSpLocks/>
            </p:cNvGrpSpPr>
            <p:nvPr/>
          </p:nvGrpSpPr>
          <p:grpSpPr bwMode="auto">
            <a:xfrm>
              <a:off x="2111" y="1341"/>
              <a:ext cx="1502" cy="581"/>
              <a:chOff x="2258" y="1390"/>
              <a:chExt cx="1736" cy="586"/>
            </a:xfrm>
          </p:grpSpPr>
          <p:sp>
            <p:nvSpPr>
              <p:cNvPr id="2331653" name="Freeform 5"/>
              <p:cNvSpPr>
                <a:spLocks/>
              </p:cNvSpPr>
              <p:nvPr/>
            </p:nvSpPr>
            <p:spPr bwMode="gray">
              <a:xfrm flipH="1">
                <a:off x="3404" y="1390"/>
                <a:ext cx="590" cy="586"/>
              </a:xfrm>
              <a:custGeom>
                <a:avLst/>
                <a:gdLst>
                  <a:gd name="T0" fmla="*/ 32 w 590"/>
                  <a:gd name="T1" fmla="*/ 0 h 586"/>
                  <a:gd name="T2" fmla="*/ 530 w 590"/>
                  <a:gd name="T3" fmla="*/ 428 h 586"/>
                  <a:gd name="T4" fmla="*/ 590 w 590"/>
                  <a:gd name="T5" fmla="*/ 394 h 586"/>
                  <a:gd name="T6" fmla="*/ 532 w 590"/>
                  <a:gd name="T7" fmla="*/ 586 h 586"/>
                  <a:gd name="T8" fmla="*/ 308 w 590"/>
                  <a:gd name="T9" fmla="*/ 562 h 586"/>
                  <a:gd name="T10" fmla="*/ 372 w 590"/>
                  <a:gd name="T11" fmla="*/ 524 h 586"/>
                  <a:gd name="T12" fmla="*/ 0 w 590"/>
                  <a:gd name="T13" fmla="*/ 278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0" h="586">
                    <a:moveTo>
                      <a:pt x="32" y="0"/>
                    </a:moveTo>
                    <a:cubicBezTo>
                      <a:pt x="32" y="0"/>
                      <a:pt x="260" y="58"/>
                      <a:pt x="530" y="428"/>
                    </a:cubicBezTo>
                    <a:cubicBezTo>
                      <a:pt x="560" y="411"/>
                      <a:pt x="590" y="394"/>
                      <a:pt x="590" y="394"/>
                    </a:cubicBezTo>
                    <a:lnTo>
                      <a:pt x="532" y="586"/>
                    </a:lnTo>
                    <a:lnTo>
                      <a:pt x="308" y="562"/>
                    </a:lnTo>
                    <a:cubicBezTo>
                      <a:pt x="308" y="562"/>
                      <a:pt x="340" y="543"/>
                      <a:pt x="372" y="524"/>
                    </a:cubicBezTo>
                    <a:cubicBezTo>
                      <a:pt x="190" y="306"/>
                      <a:pt x="0" y="278"/>
                      <a:pt x="0" y="278"/>
                    </a:cubicBezTo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331654" name="Freeform 6"/>
              <p:cNvSpPr>
                <a:spLocks/>
              </p:cNvSpPr>
              <p:nvPr/>
            </p:nvSpPr>
            <p:spPr bwMode="gray">
              <a:xfrm>
                <a:off x="2258" y="1390"/>
                <a:ext cx="590" cy="586"/>
              </a:xfrm>
              <a:custGeom>
                <a:avLst/>
                <a:gdLst>
                  <a:gd name="T0" fmla="*/ 32 w 590"/>
                  <a:gd name="T1" fmla="*/ 0 h 586"/>
                  <a:gd name="T2" fmla="*/ 530 w 590"/>
                  <a:gd name="T3" fmla="*/ 428 h 586"/>
                  <a:gd name="T4" fmla="*/ 590 w 590"/>
                  <a:gd name="T5" fmla="*/ 394 h 586"/>
                  <a:gd name="T6" fmla="*/ 532 w 590"/>
                  <a:gd name="T7" fmla="*/ 586 h 586"/>
                  <a:gd name="T8" fmla="*/ 308 w 590"/>
                  <a:gd name="T9" fmla="*/ 562 h 586"/>
                  <a:gd name="T10" fmla="*/ 372 w 590"/>
                  <a:gd name="T11" fmla="*/ 524 h 586"/>
                  <a:gd name="T12" fmla="*/ 0 w 590"/>
                  <a:gd name="T13" fmla="*/ 278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0" h="586">
                    <a:moveTo>
                      <a:pt x="32" y="0"/>
                    </a:moveTo>
                    <a:cubicBezTo>
                      <a:pt x="32" y="0"/>
                      <a:pt x="260" y="58"/>
                      <a:pt x="530" y="428"/>
                    </a:cubicBezTo>
                    <a:cubicBezTo>
                      <a:pt x="560" y="411"/>
                      <a:pt x="590" y="394"/>
                      <a:pt x="590" y="394"/>
                    </a:cubicBezTo>
                    <a:lnTo>
                      <a:pt x="532" y="586"/>
                    </a:lnTo>
                    <a:lnTo>
                      <a:pt x="308" y="562"/>
                    </a:lnTo>
                    <a:cubicBezTo>
                      <a:pt x="308" y="562"/>
                      <a:pt x="340" y="543"/>
                      <a:pt x="372" y="524"/>
                    </a:cubicBezTo>
                    <a:cubicBezTo>
                      <a:pt x="190" y="306"/>
                      <a:pt x="0" y="278"/>
                      <a:pt x="0" y="278"/>
                    </a:cubicBezTo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pSp>
          <p:nvGrpSpPr>
            <p:cNvPr id="2331655" name="Group 7"/>
            <p:cNvGrpSpPr>
              <a:grpSpLocks/>
            </p:cNvGrpSpPr>
            <p:nvPr/>
          </p:nvGrpSpPr>
          <p:grpSpPr bwMode="auto">
            <a:xfrm flipV="1">
              <a:off x="2111" y="2898"/>
              <a:ext cx="1502" cy="581"/>
              <a:chOff x="2258" y="1390"/>
              <a:chExt cx="1736" cy="586"/>
            </a:xfrm>
          </p:grpSpPr>
          <p:sp>
            <p:nvSpPr>
              <p:cNvPr id="2331656" name="Freeform 8"/>
              <p:cNvSpPr>
                <a:spLocks/>
              </p:cNvSpPr>
              <p:nvPr/>
            </p:nvSpPr>
            <p:spPr bwMode="gray">
              <a:xfrm flipH="1">
                <a:off x="3404" y="1390"/>
                <a:ext cx="590" cy="586"/>
              </a:xfrm>
              <a:custGeom>
                <a:avLst/>
                <a:gdLst>
                  <a:gd name="T0" fmla="*/ 32 w 590"/>
                  <a:gd name="T1" fmla="*/ 0 h 586"/>
                  <a:gd name="T2" fmla="*/ 530 w 590"/>
                  <a:gd name="T3" fmla="*/ 428 h 586"/>
                  <a:gd name="T4" fmla="*/ 590 w 590"/>
                  <a:gd name="T5" fmla="*/ 394 h 586"/>
                  <a:gd name="T6" fmla="*/ 532 w 590"/>
                  <a:gd name="T7" fmla="*/ 586 h 586"/>
                  <a:gd name="T8" fmla="*/ 308 w 590"/>
                  <a:gd name="T9" fmla="*/ 562 h 586"/>
                  <a:gd name="T10" fmla="*/ 372 w 590"/>
                  <a:gd name="T11" fmla="*/ 524 h 586"/>
                  <a:gd name="T12" fmla="*/ 0 w 590"/>
                  <a:gd name="T13" fmla="*/ 278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0" h="586">
                    <a:moveTo>
                      <a:pt x="32" y="0"/>
                    </a:moveTo>
                    <a:cubicBezTo>
                      <a:pt x="32" y="0"/>
                      <a:pt x="260" y="58"/>
                      <a:pt x="530" y="428"/>
                    </a:cubicBezTo>
                    <a:cubicBezTo>
                      <a:pt x="560" y="411"/>
                      <a:pt x="590" y="394"/>
                      <a:pt x="590" y="394"/>
                    </a:cubicBezTo>
                    <a:lnTo>
                      <a:pt x="532" y="586"/>
                    </a:lnTo>
                    <a:lnTo>
                      <a:pt x="308" y="562"/>
                    </a:lnTo>
                    <a:cubicBezTo>
                      <a:pt x="308" y="562"/>
                      <a:pt x="340" y="543"/>
                      <a:pt x="372" y="524"/>
                    </a:cubicBezTo>
                    <a:cubicBezTo>
                      <a:pt x="190" y="306"/>
                      <a:pt x="0" y="278"/>
                      <a:pt x="0" y="278"/>
                    </a:cubicBezTo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331657" name="Freeform 9"/>
              <p:cNvSpPr>
                <a:spLocks/>
              </p:cNvSpPr>
              <p:nvPr/>
            </p:nvSpPr>
            <p:spPr bwMode="gray">
              <a:xfrm>
                <a:off x="2258" y="1390"/>
                <a:ext cx="590" cy="586"/>
              </a:xfrm>
              <a:custGeom>
                <a:avLst/>
                <a:gdLst>
                  <a:gd name="T0" fmla="*/ 32 w 590"/>
                  <a:gd name="T1" fmla="*/ 0 h 586"/>
                  <a:gd name="T2" fmla="*/ 530 w 590"/>
                  <a:gd name="T3" fmla="*/ 428 h 586"/>
                  <a:gd name="T4" fmla="*/ 590 w 590"/>
                  <a:gd name="T5" fmla="*/ 394 h 586"/>
                  <a:gd name="T6" fmla="*/ 532 w 590"/>
                  <a:gd name="T7" fmla="*/ 586 h 586"/>
                  <a:gd name="T8" fmla="*/ 308 w 590"/>
                  <a:gd name="T9" fmla="*/ 562 h 586"/>
                  <a:gd name="T10" fmla="*/ 372 w 590"/>
                  <a:gd name="T11" fmla="*/ 524 h 586"/>
                  <a:gd name="T12" fmla="*/ 0 w 590"/>
                  <a:gd name="T13" fmla="*/ 278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0" h="586">
                    <a:moveTo>
                      <a:pt x="32" y="0"/>
                    </a:moveTo>
                    <a:cubicBezTo>
                      <a:pt x="32" y="0"/>
                      <a:pt x="260" y="58"/>
                      <a:pt x="530" y="428"/>
                    </a:cubicBezTo>
                    <a:cubicBezTo>
                      <a:pt x="560" y="411"/>
                      <a:pt x="590" y="394"/>
                      <a:pt x="590" y="394"/>
                    </a:cubicBezTo>
                    <a:lnTo>
                      <a:pt x="532" y="586"/>
                    </a:lnTo>
                    <a:lnTo>
                      <a:pt x="308" y="562"/>
                    </a:lnTo>
                    <a:cubicBezTo>
                      <a:pt x="308" y="562"/>
                      <a:pt x="340" y="543"/>
                      <a:pt x="372" y="524"/>
                    </a:cubicBezTo>
                    <a:cubicBezTo>
                      <a:pt x="190" y="306"/>
                      <a:pt x="0" y="278"/>
                      <a:pt x="0" y="278"/>
                    </a:cubicBezTo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sp>
          <p:nvSpPr>
            <p:cNvPr id="2331658" name="AutoShape 10"/>
            <p:cNvSpPr>
              <a:spLocks noChangeArrowheads="1"/>
            </p:cNvSpPr>
            <p:nvPr/>
          </p:nvSpPr>
          <p:spPr bwMode="gray">
            <a:xfrm>
              <a:off x="2358" y="1871"/>
              <a:ext cx="1027" cy="1078"/>
            </a:xfrm>
            <a:prstGeom prst="irregularSeal1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buClrTx/>
                <a:buSzTx/>
                <a:buFontTx/>
                <a:buNone/>
              </a:pPr>
              <a:endParaRPr lang="en-GB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1659" name="Rectangle 11"/>
            <p:cNvSpPr>
              <a:spLocks noChangeArrowheads="1"/>
            </p:cNvSpPr>
            <p:nvPr/>
          </p:nvSpPr>
          <p:spPr bwMode="gray">
            <a:xfrm>
              <a:off x="248" y="1212"/>
              <a:ext cx="1963" cy="11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1660" name="Rectangle 12"/>
            <p:cNvSpPr>
              <a:spLocks noChangeArrowheads="1"/>
            </p:cNvSpPr>
            <p:nvPr/>
          </p:nvSpPr>
          <p:spPr bwMode="gray">
            <a:xfrm>
              <a:off x="248" y="939"/>
              <a:ext cx="1963" cy="275"/>
            </a:xfrm>
            <a:prstGeom prst="rect">
              <a:avLst/>
            </a:prstGeom>
            <a:solidFill>
              <a:srgbClr val="7030A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1661" name="Rectangle 13"/>
            <p:cNvSpPr>
              <a:spLocks noChangeArrowheads="1"/>
            </p:cNvSpPr>
            <p:nvPr/>
          </p:nvSpPr>
          <p:spPr bwMode="gray">
            <a:xfrm>
              <a:off x="248" y="2769"/>
              <a:ext cx="1963" cy="11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1662" name="Rectangle 14"/>
            <p:cNvSpPr>
              <a:spLocks noChangeArrowheads="1"/>
            </p:cNvSpPr>
            <p:nvPr/>
          </p:nvSpPr>
          <p:spPr bwMode="gray">
            <a:xfrm>
              <a:off x="248" y="2496"/>
              <a:ext cx="1963" cy="275"/>
            </a:xfrm>
            <a:prstGeom prst="rect">
              <a:avLst/>
            </a:prstGeom>
            <a:solidFill>
              <a:srgbClr val="7030A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1663" name="Rectangle 15"/>
            <p:cNvSpPr>
              <a:spLocks noChangeArrowheads="1"/>
            </p:cNvSpPr>
            <p:nvPr/>
          </p:nvSpPr>
          <p:spPr bwMode="gray">
            <a:xfrm>
              <a:off x="3512" y="1212"/>
              <a:ext cx="1963" cy="11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1664" name="Rectangle 16"/>
            <p:cNvSpPr>
              <a:spLocks noChangeArrowheads="1"/>
            </p:cNvSpPr>
            <p:nvPr/>
          </p:nvSpPr>
          <p:spPr bwMode="gray">
            <a:xfrm>
              <a:off x="3512" y="939"/>
              <a:ext cx="1963" cy="275"/>
            </a:xfrm>
            <a:prstGeom prst="rect">
              <a:avLst/>
            </a:prstGeom>
            <a:solidFill>
              <a:srgbClr val="7030A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1665" name="Rectangle 17"/>
            <p:cNvSpPr>
              <a:spLocks noChangeArrowheads="1"/>
            </p:cNvSpPr>
            <p:nvPr/>
          </p:nvSpPr>
          <p:spPr bwMode="gray">
            <a:xfrm>
              <a:off x="3512" y="2769"/>
              <a:ext cx="1963" cy="11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1666" name="Rectangle 18"/>
            <p:cNvSpPr>
              <a:spLocks noChangeArrowheads="1"/>
            </p:cNvSpPr>
            <p:nvPr/>
          </p:nvSpPr>
          <p:spPr bwMode="gray">
            <a:xfrm>
              <a:off x="3512" y="2496"/>
              <a:ext cx="1963" cy="275"/>
            </a:xfrm>
            <a:prstGeom prst="rect">
              <a:avLst/>
            </a:prstGeom>
            <a:solidFill>
              <a:srgbClr val="7030A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1667" name="Rectangle 19"/>
            <p:cNvSpPr>
              <a:spLocks noChangeArrowheads="1"/>
            </p:cNvSpPr>
            <p:nvPr/>
          </p:nvSpPr>
          <p:spPr bwMode="gray">
            <a:xfrm>
              <a:off x="2501" y="2313"/>
              <a:ext cx="884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78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57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4 Factors</a:t>
            </a:r>
          </a:p>
        </p:txBody>
      </p:sp>
      <p:grpSp>
        <p:nvGrpSpPr>
          <p:cNvPr id="2335772" name="Group 28"/>
          <p:cNvGrpSpPr>
            <a:grpSpLocks/>
          </p:cNvGrpSpPr>
          <p:nvPr/>
        </p:nvGrpSpPr>
        <p:grpSpPr bwMode="auto">
          <a:xfrm>
            <a:off x="1912939" y="2010813"/>
            <a:ext cx="8288337" cy="3814763"/>
            <a:chOff x="245" y="942"/>
            <a:chExt cx="5221" cy="2403"/>
          </a:xfrm>
        </p:grpSpPr>
        <p:sp>
          <p:nvSpPr>
            <p:cNvPr id="2335748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872" y="1630"/>
              <a:ext cx="693" cy="489"/>
            </a:xfrm>
            <a:custGeom>
              <a:avLst/>
              <a:gdLst>
                <a:gd name="T0" fmla="*/ 0 w 664"/>
                <a:gd name="T1" fmla="*/ 312 h 472"/>
                <a:gd name="T2" fmla="*/ 0 w 664"/>
                <a:gd name="T3" fmla="*/ 472 h 472"/>
                <a:gd name="T4" fmla="*/ 664 w 664"/>
                <a:gd name="T5" fmla="*/ 173 h 472"/>
                <a:gd name="T6" fmla="*/ 664 w 664"/>
                <a:gd name="T7" fmla="*/ 90 h 472"/>
                <a:gd name="T8" fmla="*/ 662 w 664"/>
                <a:gd name="T9" fmla="*/ 0 h 472"/>
                <a:gd name="T10" fmla="*/ 0 w 664"/>
                <a:gd name="T11" fmla="*/ 31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4" h="472">
                  <a:moveTo>
                    <a:pt x="0" y="312"/>
                  </a:moveTo>
                  <a:lnTo>
                    <a:pt x="0" y="472"/>
                  </a:lnTo>
                  <a:lnTo>
                    <a:pt x="664" y="173"/>
                  </a:lnTo>
                  <a:lnTo>
                    <a:pt x="664" y="90"/>
                  </a:lnTo>
                  <a:lnTo>
                    <a:pt x="662" y="0"/>
                  </a:lnTo>
                  <a:lnTo>
                    <a:pt x="0" y="312"/>
                  </a:lnTo>
                </a:path>
              </a:pathLst>
            </a:custGeom>
            <a:solidFill>
              <a:srgbClr val="EAEAEA"/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5749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1815" y="1437"/>
              <a:ext cx="2265" cy="1288"/>
            </a:xfrm>
            <a:custGeom>
              <a:avLst/>
              <a:gdLst>
                <a:gd name="T0" fmla="*/ 1707 w 1841"/>
                <a:gd name="T1" fmla="*/ 65 h 1052"/>
                <a:gd name="T2" fmla="*/ 39 w 1841"/>
                <a:gd name="T3" fmla="*/ 848 h 1052"/>
                <a:gd name="T4" fmla="*/ 0 w 1841"/>
                <a:gd name="T5" fmla="*/ 1051 h 1052"/>
                <a:gd name="T6" fmla="*/ 1714 w 1841"/>
                <a:gd name="T7" fmla="*/ 261 h 1052"/>
                <a:gd name="T8" fmla="*/ 1714 w 1841"/>
                <a:gd name="T9" fmla="*/ 323 h 1052"/>
                <a:gd name="T10" fmla="*/ 1840 w 1841"/>
                <a:gd name="T11" fmla="*/ 128 h 1052"/>
                <a:gd name="T12" fmla="*/ 1707 w 1841"/>
                <a:gd name="T13" fmla="*/ 0 h 1052"/>
                <a:gd name="T14" fmla="*/ 1707 w 1841"/>
                <a:gd name="T15" fmla="*/ 65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1" h="1052">
                  <a:moveTo>
                    <a:pt x="1707" y="65"/>
                  </a:moveTo>
                  <a:lnTo>
                    <a:pt x="39" y="848"/>
                  </a:lnTo>
                  <a:lnTo>
                    <a:pt x="0" y="1051"/>
                  </a:lnTo>
                  <a:lnTo>
                    <a:pt x="1714" y="261"/>
                  </a:lnTo>
                  <a:lnTo>
                    <a:pt x="1714" y="323"/>
                  </a:lnTo>
                  <a:lnTo>
                    <a:pt x="1840" y="128"/>
                  </a:lnTo>
                  <a:lnTo>
                    <a:pt x="1707" y="0"/>
                  </a:lnTo>
                  <a:lnTo>
                    <a:pt x="1707" y="65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5750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170" y="1539"/>
              <a:ext cx="1396" cy="417"/>
            </a:xfrm>
            <a:custGeom>
              <a:avLst/>
              <a:gdLst>
                <a:gd name="T0" fmla="*/ 1135 w 1136"/>
                <a:gd name="T1" fmla="*/ 78 h 340"/>
                <a:gd name="T2" fmla="*/ 1093 w 1136"/>
                <a:gd name="T3" fmla="*/ 66 h 340"/>
                <a:gd name="T4" fmla="*/ 1051 w 1136"/>
                <a:gd name="T5" fmla="*/ 56 h 340"/>
                <a:gd name="T6" fmla="*/ 1006 w 1136"/>
                <a:gd name="T7" fmla="*/ 46 h 340"/>
                <a:gd name="T8" fmla="*/ 960 w 1136"/>
                <a:gd name="T9" fmla="*/ 37 h 340"/>
                <a:gd name="T10" fmla="*/ 912 w 1136"/>
                <a:gd name="T11" fmla="*/ 28 h 340"/>
                <a:gd name="T12" fmla="*/ 864 w 1136"/>
                <a:gd name="T13" fmla="*/ 21 h 340"/>
                <a:gd name="T14" fmla="*/ 814 w 1136"/>
                <a:gd name="T15" fmla="*/ 15 h 340"/>
                <a:gd name="T16" fmla="*/ 763 w 1136"/>
                <a:gd name="T17" fmla="*/ 10 h 340"/>
                <a:gd name="T18" fmla="*/ 711 w 1136"/>
                <a:gd name="T19" fmla="*/ 6 h 340"/>
                <a:gd name="T20" fmla="*/ 660 w 1136"/>
                <a:gd name="T21" fmla="*/ 2 h 340"/>
                <a:gd name="T22" fmla="*/ 607 w 1136"/>
                <a:gd name="T23" fmla="*/ 1 h 340"/>
                <a:gd name="T24" fmla="*/ 556 w 1136"/>
                <a:gd name="T25" fmla="*/ 0 h 340"/>
                <a:gd name="T26" fmla="*/ 503 w 1136"/>
                <a:gd name="T27" fmla="*/ 0 h 340"/>
                <a:gd name="T28" fmla="*/ 451 w 1136"/>
                <a:gd name="T29" fmla="*/ 2 h 340"/>
                <a:gd name="T30" fmla="*/ 401 w 1136"/>
                <a:gd name="T31" fmla="*/ 3 h 340"/>
                <a:gd name="T32" fmla="*/ 351 w 1136"/>
                <a:gd name="T33" fmla="*/ 7 h 340"/>
                <a:gd name="T34" fmla="*/ 301 w 1136"/>
                <a:gd name="T35" fmla="*/ 12 h 340"/>
                <a:gd name="T36" fmla="*/ 253 w 1136"/>
                <a:gd name="T37" fmla="*/ 17 h 340"/>
                <a:gd name="T38" fmla="*/ 207 w 1136"/>
                <a:gd name="T39" fmla="*/ 24 h 340"/>
                <a:gd name="T40" fmla="*/ 162 w 1136"/>
                <a:gd name="T41" fmla="*/ 31 h 340"/>
                <a:gd name="T42" fmla="*/ 118 w 1136"/>
                <a:gd name="T43" fmla="*/ 40 h 340"/>
                <a:gd name="T44" fmla="*/ 77 w 1136"/>
                <a:gd name="T45" fmla="*/ 50 h 340"/>
                <a:gd name="T46" fmla="*/ 38 w 1136"/>
                <a:gd name="T47" fmla="*/ 60 h 340"/>
                <a:gd name="T48" fmla="*/ 0 w 1136"/>
                <a:gd name="T49" fmla="*/ 71 h 340"/>
                <a:gd name="T50" fmla="*/ 572 w 1136"/>
                <a:gd name="T51" fmla="*/ 339 h 340"/>
                <a:gd name="T52" fmla="*/ 853 w 1136"/>
                <a:gd name="T53" fmla="*/ 209 h 340"/>
                <a:gd name="T54" fmla="*/ 1135 w 1136"/>
                <a:gd name="T55" fmla="*/ 78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36" h="340">
                  <a:moveTo>
                    <a:pt x="1135" y="78"/>
                  </a:moveTo>
                  <a:lnTo>
                    <a:pt x="1093" y="66"/>
                  </a:lnTo>
                  <a:lnTo>
                    <a:pt x="1051" y="56"/>
                  </a:lnTo>
                  <a:lnTo>
                    <a:pt x="1006" y="46"/>
                  </a:lnTo>
                  <a:lnTo>
                    <a:pt x="960" y="37"/>
                  </a:lnTo>
                  <a:lnTo>
                    <a:pt x="912" y="28"/>
                  </a:lnTo>
                  <a:lnTo>
                    <a:pt x="864" y="21"/>
                  </a:lnTo>
                  <a:lnTo>
                    <a:pt x="814" y="15"/>
                  </a:lnTo>
                  <a:lnTo>
                    <a:pt x="763" y="10"/>
                  </a:lnTo>
                  <a:lnTo>
                    <a:pt x="711" y="6"/>
                  </a:lnTo>
                  <a:lnTo>
                    <a:pt x="660" y="2"/>
                  </a:lnTo>
                  <a:lnTo>
                    <a:pt x="607" y="1"/>
                  </a:lnTo>
                  <a:lnTo>
                    <a:pt x="556" y="0"/>
                  </a:lnTo>
                  <a:lnTo>
                    <a:pt x="503" y="0"/>
                  </a:lnTo>
                  <a:lnTo>
                    <a:pt x="451" y="2"/>
                  </a:lnTo>
                  <a:lnTo>
                    <a:pt x="401" y="3"/>
                  </a:lnTo>
                  <a:lnTo>
                    <a:pt x="351" y="7"/>
                  </a:lnTo>
                  <a:lnTo>
                    <a:pt x="301" y="12"/>
                  </a:lnTo>
                  <a:lnTo>
                    <a:pt x="253" y="17"/>
                  </a:lnTo>
                  <a:lnTo>
                    <a:pt x="207" y="24"/>
                  </a:lnTo>
                  <a:lnTo>
                    <a:pt x="162" y="31"/>
                  </a:lnTo>
                  <a:lnTo>
                    <a:pt x="118" y="40"/>
                  </a:lnTo>
                  <a:lnTo>
                    <a:pt x="77" y="50"/>
                  </a:lnTo>
                  <a:lnTo>
                    <a:pt x="38" y="60"/>
                  </a:lnTo>
                  <a:lnTo>
                    <a:pt x="0" y="71"/>
                  </a:lnTo>
                  <a:lnTo>
                    <a:pt x="572" y="339"/>
                  </a:lnTo>
                  <a:lnTo>
                    <a:pt x="853" y="209"/>
                  </a:lnTo>
                  <a:lnTo>
                    <a:pt x="1135" y="78"/>
                  </a:lnTo>
                </a:path>
              </a:pathLst>
            </a:custGeom>
            <a:solidFill>
              <a:srgbClr val="FFFFFF"/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5751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172" y="1627"/>
              <a:ext cx="704" cy="493"/>
            </a:xfrm>
            <a:custGeom>
              <a:avLst/>
              <a:gdLst>
                <a:gd name="T0" fmla="*/ 571 w 572"/>
                <a:gd name="T1" fmla="*/ 266 h 402"/>
                <a:gd name="T2" fmla="*/ 571 w 572"/>
                <a:gd name="T3" fmla="*/ 401 h 402"/>
                <a:gd name="T4" fmla="*/ 0 w 572"/>
                <a:gd name="T5" fmla="*/ 139 h 402"/>
                <a:gd name="T6" fmla="*/ 0 w 572"/>
                <a:gd name="T7" fmla="*/ 0 h 402"/>
                <a:gd name="T8" fmla="*/ 571 w 572"/>
                <a:gd name="T9" fmla="*/ 266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2" h="402">
                  <a:moveTo>
                    <a:pt x="571" y="266"/>
                  </a:moveTo>
                  <a:lnTo>
                    <a:pt x="571" y="401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571" y="266"/>
                  </a:lnTo>
                </a:path>
              </a:pathLst>
            </a:custGeom>
            <a:solidFill>
              <a:srgbClr val="EAEAEA"/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5752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000" y="2011"/>
              <a:ext cx="698" cy="573"/>
            </a:xfrm>
            <a:custGeom>
              <a:avLst/>
              <a:gdLst>
                <a:gd name="T0" fmla="*/ 0 w 567"/>
                <a:gd name="T1" fmla="*/ 0 h 469"/>
                <a:gd name="T2" fmla="*/ 565 w 567"/>
                <a:gd name="T3" fmla="*/ 292 h 469"/>
                <a:gd name="T4" fmla="*/ 566 w 567"/>
                <a:gd name="T5" fmla="*/ 380 h 469"/>
                <a:gd name="T6" fmla="*/ 565 w 567"/>
                <a:gd name="T7" fmla="*/ 468 h 469"/>
                <a:gd name="T8" fmla="*/ 0 w 567"/>
                <a:gd name="T9" fmla="*/ 137 h 469"/>
                <a:gd name="T10" fmla="*/ 0 w 567"/>
                <a:gd name="T11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7" h="469">
                  <a:moveTo>
                    <a:pt x="0" y="0"/>
                  </a:moveTo>
                  <a:lnTo>
                    <a:pt x="565" y="292"/>
                  </a:lnTo>
                  <a:lnTo>
                    <a:pt x="566" y="380"/>
                  </a:lnTo>
                  <a:lnTo>
                    <a:pt x="565" y="468"/>
                  </a:lnTo>
                  <a:lnTo>
                    <a:pt x="0" y="137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5753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3696" y="2080"/>
              <a:ext cx="318" cy="502"/>
            </a:xfrm>
            <a:custGeom>
              <a:avLst/>
              <a:gdLst>
                <a:gd name="T0" fmla="*/ 257 w 258"/>
                <a:gd name="T1" fmla="*/ 0 h 410"/>
                <a:gd name="T2" fmla="*/ 257 w 258"/>
                <a:gd name="T3" fmla="*/ 147 h 410"/>
                <a:gd name="T4" fmla="*/ 257 w 258"/>
                <a:gd name="T5" fmla="*/ 169 h 410"/>
                <a:gd name="T6" fmla="*/ 255 w 258"/>
                <a:gd name="T7" fmla="*/ 191 h 410"/>
                <a:gd name="T8" fmla="*/ 249 w 258"/>
                <a:gd name="T9" fmla="*/ 212 h 410"/>
                <a:gd name="T10" fmla="*/ 240 w 258"/>
                <a:gd name="T11" fmla="*/ 233 h 410"/>
                <a:gd name="T12" fmla="*/ 229 w 258"/>
                <a:gd name="T13" fmla="*/ 253 h 410"/>
                <a:gd name="T14" fmla="*/ 215 w 258"/>
                <a:gd name="T15" fmla="*/ 273 h 410"/>
                <a:gd name="T16" fmla="*/ 197 w 258"/>
                <a:gd name="T17" fmla="*/ 293 h 410"/>
                <a:gd name="T18" fmla="*/ 177 w 258"/>
                <a:gd name="T19" fmla="*/ 311 h 410"/>
                <a:gd name="T20" fmla="*/ 155 w 258"/>
                <a:gd name="T21" fmla="*/ 329 h 410"/>
                <a:gd name="T22" fmla="*/ 126 w 258"/>
                <a:gd name="T23" fmla="*/ 350 h 410"/>
                <a:gd name="T24" fmla="*/ 96 w 258"/>
                <a:gd name="T25" fmla="*/ 367 h 410"/>
                <a:gd name="T26" fmla="*/ 65 w 258"/>
                <a:gd name="T27" fmla="*/ 383 h 410"/>
                <a:gd name="T28" fmla="*/ 32 w 258"/>
                <a:gd name="T29" fmla="*/ 397 h 410"/>
                <a:gd name="T30" fmla="*/ 0 w 258"/>
                <a:gd name="T31" fmla="*/ 409 h 410"/>
                <a:gd name="T32" fmla="*/ 0 w 258"/>
                <a:gd name="T33" fmla="*/ 235 h 410"/>
                <a:gd name="T34" fmla="*/ 35 w 258"/>
                <a:gd name="T35" fmla="*/ 221 h 410"/>
                <a:gd name="T36" fmla="*/ 68 w 258"/>
                <a:gd name="T37" fmla="*/ 205 h 410"/>
                <a:gd name="T38" fmla="*/ 99 w 258"/>
                <a:gd name="T39" fmla="*/ 188 h 410"/>
                <a:gd name="T40" fmla="*/ 126 w 258"/>
                <a:gd name="T41" fmla="*/ 171 h 410"/>
                <a:gd name="T42" fmla="*/ 152 w 258"/>
                <a:gd name="T43" fmla="*/ 153 h 410"/>
                <a:gd name="T44" fmla="*/ 175 w 258"/>
                <a:gd name="T45" fmla="*/ 134 h 410"/>
                <a:gd name="T46" fmla="*/ 196 w 258"/>
                <a:gd name="T47" fmla="*/ 113 h 410"/>
                <a:gd name="T48" fmla="*/ 214 w 258"/>
                <a:gd name="T49" fmla="*/ 92 h 410"/>
                <a:gd name="T50" fmla="*/ 229 w 258"/>
                <a:gd name="T51" fmla="*/ 70 h 410"/>
                <a:gd name="T52" fmla="*/ 241 w 258"/>
                <a:gd name="T53" fmla="*/ 48 h 410"/>
                <a:gd name="T54" fmla="*/ 250 w 258"/>
                <a:gd name="T55" fmla="*/ 24 h 410"/>
                <a:gd name="T56" fmla="*/ 257 w 258"/>
                <a:gd name="T57" fmla="*/ 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8" h="410">
                  <a:moveTo>
                    <a:pt x="257" y="0"/>
                  </a:moveTo>
                  <a:lnTo>
                    <a:pt x="257" y="147"/>
                  </a:lnTo>
                  <a:lnTo>
                    <a:pt x="257" y="169"/>
                  </a:lnTo>
                  <a:lnTo>
                    <a:pt x="255" y="191"/>
                  </a:lnTo>
                  <a:lnTo>
                    <a:pt x="249" y="212"/>
                  </a:lnTo>
                  <a:lnTo>
                    <a:pt x="240" y="233"/>
                  </a:lnTo>
                  <a:lnTo>
                    <a:pt x="229" y="253"/>
                  </a:lnTo>
                  <a:lnTo>
                    <a:pt x="215" y="273"/>
                  </a:lnTo>
                  <a:lnTo>
                    <a:pt x="197" y="293"/>
                  </a:lnTo>
                  <a:lnTo>
                    <a:pt x="177" y="311"/>
                  </a:lnTo>
                  <a:lnTo>
                    <a:pt x="155" y="329"/>
                  </a:lnTo>
                  <a:lnTo>
                    <a:pt x="126" y="350"/>
                  </a:lnTo>
                  <a:lnTo>
                    <a:pt x="96" y="367"/>
                  </a:lnTo>
                  <a:lnTo>
                    <a:pt x="65" y="383"/>
                  </a:lnTo>
                  <a:lnTo>
                    <a:pt x="32" y="397"/>
                  </a:lnTo>
                  <a:lnTo>
                    <a:pt x="0" y="409"/>
                  </a:lnTo>
                  <a:lnTo>
                    <a:pt x="0" y="235"/>
                  </a:lnTo>
                  <a:lnTo>
                    <a:pt x="35" y="221"/>
                  </a:lnTo>
                  <a:lnTo>
                    <a:pt x="68" y="205"/>
                  </a:lnTo>
                  <a:lnTo>
                    <a:pt x="99" y="188"/>
                  </a:lnTo>
                  <a:lnTo>
                    <a:pt x="126" y="171"/>
                  </a:lnTo>
                  <a:lnTo>
                    <a:pt x="152" y="153"/>
                  </a:lnTo>
                  <a:lnTo>
                    <a:pt x="175" y="134"/>
                  </a:lnTo>
                  <a:lnTo>
                    <a:pt x="196" y="113"/>
                  </a:lnTo>
                  <a:lnTo>
                    <a:pt x="214" y="92"/>
                  </a:lnTo>
                  <a:lnTo>
                    <a:pt x="229" y="70"/>
                  </a:lnTo>
                  <a:lnTo>
                    <a:pt x="241" y="48"/>
                  </a:lnTo>
                  <a:lnTo>
                    <a:pt x="250" y="24"/>
                  </a:lnTo>
                  <a:lnTo>
                    <a:pt x="257" y="0"/>
                  </a:lnTo>
                </a:path>
              </a:pathLst>
            </a:custGeom>
            <a:solidFill>
              <a:srgbClr val="EAEAEA"/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5754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3000" y="1726"/>
              <a:ext cx="1014" cy="644"/>
            </a:xfrm>
            <a:custGeom>
              <a:avLst/>
              <a:gdLst>
                <a:gd name="T0" fmla="*/ 563 w 823"/>
                <a:gd name="T1" fmla="*/ 525 h 526"/>
                <a:gd name="T2" fmla="*/ 600 w 823"/>
                <a:gd name="T3" fmla="*/ 510 h 526"/>
                <a:gd name="T4" fmla="*/ 635 w 823"/>
                <a:gd name="T5" fmla="*/ 494 h 526"/>
                <a:gd name="T6" fmla="*/ 666 w 823"/>
                <a:gd name="T7" fmla="*/ 478 h 526"/>
                <a:gd name="T8" fmla="*/ 696 w 823"/>
                <a:gd name="T9" fmla="*/ 460 h 526"/>
                <a:gd name="T10" fmla="*/ 722 w 823"/>
                <a:gd name="T11" fmla="*/ 442 h 526"/>
                <a:gd name="T12" fmla="*/ 746 w 823"/>
                <a:gd name="T13" fmla="*/ 423 h 526"/>
                <a:gd name="T14" fmla="*/ 766 w 823"/>
                <a:gd name="T15" fmla="*/ 404 h 526"/>
                <a:gd name="T16" fmla="*/ 784 w 823"/>
                <a:gd name="T17" fmla="*/ 384 h 526"/>
                <a:gd name="T18" fmla="*/ 798 w 823"/>
                <a:gd name="T19" fmla="*/ 363 h 526"/>
                <a:gd name="T20" fmla="*/ 809 w 823"/>
                <a:gd name="T21" fmla="*/ 342 h 526"/>
                <a:gd name="T22" fmla="*/ 816 w 823"/>
                <a:gd name="T23" fmla="*/ 321 h 526"/>
                <a:gd name="T24" fmla="*/ 821 w 823"/>
                <a:gd name="T25" fmla="*/ 300 h 526"/>
                <a:gd name="T26" fmla="*/ 822 w 823"/>
                <a:gd name="T27" fmla="*/ 278 h 526"/>
                <a:gd name="T28" fmla="*/ 821 w 823"/>
                <a:gd name="T29" fmla="*/ 256 h 526"/>
                <a:gd name="T30" fmla="*/ 815 w 823"/>
                <a:gd name="T31" fmla="*/ 235 h 526"/>
                <a:gd name="T32" fmla="*/ 806 w 823"/>
                <a:gd name="T33" fmla="*/ 213 h 526"/>
                <a:gd name="T34" fmla="*/ 795 w 823"/>
                <a:gd name="T35" fmla="*/ 191 h 526"/>
                <a:gd name="T36" fmla="*/ 780 w 823"/>
                <a:gd name="T37" fmla="*/ 171 h 526"/>
                <a:gd name="T38" fmla="*/ 761 w 823"/>
                <a:gd name="T39" fmla="*/ 149 h 526"/>
                <a:gd name="T40" fmla="*/ 740 w 823"/>
                <a:gd name="T41" fmla="*/ 129 h 526"/>
                <a:gd name="T42" fmla="*/ 715 w 823"/>
                <a:gd name="T43" fmla="*/ 108 h 526"/>
                <a:gd name="T44" fmla="*/ 689 w 823"/>
                <a:gd name="T45" fmla="*/ 89 h 526"/>
                <a:gd name="T46" fmla="*/ 659 w 823"/>
                <a:gd name="T47" fmla="*/ 70 h 526"/>
                <a:gd name="T48" fmla="*/ 626 w 823"/>
                <a:gd name="T49" fmla="*/ 52 h 526"/>
                <a:gd name="T50" fmla="*/ 591 w 823"/>
                <a:gd name="T51" fmla="*/ 33 h 526"/>
                <a:gd name="T52" fmla="*/ 553 w 823"/>
                <a:gd name="T53" fmla="*/ 17 h 526"/>
                <a:gd name="T54" fmla="*/ 513 w 823"/>
                <a:gd name="T55" fmla="*/ 0 h 526"/>
                <a:gd name="T56" fmla="*/ 0 w 823"/>
                <a:gd name="T57" fmla="*/ 233 h 526"/>
                <a:gd name="T58" fmla="*/ 563 w 823"/>
                <a:gd name="T59" fmla="*/ 525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23" h="526">
                  <a:moveTo>
                    <a:pt x="563" y="525"/>
                  </a:moveTo>
                  <a:lnTo>
                    <a:pt x="600" y="510"/>
                  </a:lnTo>
                  <a:lnTo>
                    <a:pt x="635" y="494"/>
                  </a:lnTo>
                  <a:lnTo>
                    <a:pt x="666" y="478"/>
                  </a:lnTo>
                  <a:lnTo>
                    <a:pt x="696" y="460"/>
                  </a:lnTo>
                  <a:lnTo>
                    <a:pt x="722" y="442"/>
                  </a:lnTo>
                  <a:lnTo>
                    <a:pt x="746" y="423"/>
                  </a:lnTo>
                  <a:lnTo>
                    <a:pt x="766" y="404"/>
                  </a:lnTo>
                  <a:lnTo>
                    <a:pt x="784" y="384"/>
                  </a:lnTo>
                  <a:lnTo>
                    <a:pt x="798" y="363"/>
                  </a:lnTo>
                  <a:lnTo>
                    <a:pt x="809" y="342"/>
                  </a:lnTo>
                  <a:lnTo>
                    <a:pt x="816" y="321"/>
                  </a:lnTo>
                  <a:lnTo>
                    <a:pt x="821" y="300"/>
                  </a:lnTo>
                  <a:lnTo>
                    <a:pt x="822" y="278"/>
                  </a:lnTo>
                  <a:lnTo>
                    <a:pt x="821" y="256"/>
                  </a:lnTo>
                  <a:lnTo>
                    <a:pt x="815" y="235"/>
                  </a:lnTo>
                  <a:lnTo>
                    <a:pt x="806" y="213"/>
                  </a:lnTo>
                  <a:lnTo>
                    <a:pt x="795" y="191"/>
                  </a:lnTo>
                  <a:lnTo>
                    <a:pt x="780" y="171"/>
                  </a:lnTo>
                  <a:lnTo>
                    <a:pt x="761" y="149"/>
                  </a:lnTo>
                  <a:lnTo>
                    <a:pt x="740" y="129"/>
                  </a:lnTo>
                  <a:lnTo>
                    <a:pt x="715" y="108"/>
                  </a:lnTo>
                  <a:lnTo>
                    <a:pt x="689" y="89"/>
                  </a:lnTo>
                  <a:lnTo>
                    <a:pt x="659" y="70"/>
                  </a:lnTo>
                  <a:lnTo>
                    <a:pt x="626" y="52"/>
                  </a:lnTo>
                  <a:lnTo>
                    <a:pt x="591" y="33"/>
                  </a:lnTo>
                  <a:lnTo>
                    <a:pt x="553" y="17"/>
                  </a:lnTo>
                  <a:lnTo>
                    <a:pt x="513" y="0"/>
                  </a:lnTo>
                  <a:lnTo>
                    <a:pt x="0" y="233"/>
                  </a:lnTo>
                  <a:lnTo>
                    <a:pt x="563" y="525"/>
                  </a:lnTo>
                </a:path>
              </a:pathLst>
            </a:custGeom>
            <a:solidFill>
              <a:srgbClr val="FFFFFF"/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5755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1637" y="1441"/>
              <a:ext cx="1235" cy="799"/>
            </a:xfrm>
            <a:custGeom>
              <a:avLst/>
              <a:gdLst>
                <a:gd name="T0" fmla="*/ 1004 w 1005"/>
                <a:gd name="T1" fmla="*/ 652 h 653"/>
                <a:gd name="T2" fmla="*/ 1004 w 1005"/>
                <a:gd name="T3" fmla="*/ 464 h 653"/>
                <a:gd name="T4" fmla="*/ 133 w 1005"/>
                <a:gd name="T5" fmla="*/ 65 h 653"/>
                <a:gd name="T6" fmla="*/ 133 w 1005"/>
                <a:gd name="T7" fmla="*/ 0 h 653"/>
                <a:gd name="T8" fmla="*/ 0 w 1005"/>
                <a:gd name="T9" fmla="*/ 128 h 653"/>
                <a:gd name="T10" fmla="*/ 126 w 1005"/>
                <a:gd name="T11" fmla="*/ 323 h 653"/>
                <a:gd name="T12" fmla="*/ 126 w 1005"/>
                <a:gd name="T13" fmla="*/ 261 h 653"/>
                <a:gd name="T14" fmla="*/ 1004 w 1005"/>
                <a:gd name="T15" fmla="*/ 652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5" h="653">
                  <a:moveTo>
                    <a:pt x="1004" y="652"/>
                  </a:moveTo>
                  <a:lnTo>
                    <a:pt x="1004" y="464"/>
                  </a:lnTo>
                  <a:lnTo>
                    <a:pt x="133" y="65"/>
                  </a:lnTo>
                  <a:lnTo>
                    <a:pt x="133" y="0"/>
                  </a:lnTo>
                  <a:lnTo>
                    <a:pt x="0" y="128"/>
                  </a:lnTo>
                  <a:lnTo>
                    <a:pt x="126" y="323"/>
                  </a:lnTo>
                  <a:lnTo>
                    <a:pt x="126" y="261"/>
                  </a:lnTo>
                  <a:lnTo>
                    <a:pt x="1004" y="652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5756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2870" y="2002"/>
              <a:ext cx="1192" cy="863"/>
            </a:xfrm>
            <a:custGeom>
              <a:avLst/>
              <a:gdLst>
                <a:gd name="T0" fmla="*/ 1 w 968"/>
                <a:gd name="T1" fmla="*/ 230 h 705"/>
                <a:gd name="T2" fmla="*/ 806 w 968"/>
                <a:gd name="T3" fmla="*/ 609 h 705"/>
                <a:gd name="T4" fmla="*/ 806 w 968"/>
                <a:gd name="T5" fmla="*/ 704 h 705"/>
                <a:gd name="T6" fmla="*/ 967 w 968"/>
                <a:gd name="T7" fmla="*/ 539 h 705"/>
                <a:gd name="T8" fmla="*/ 811 w 968"/>
                <a:gd name="T9" fmla="*/ 328 h 705"/>
                <a:gd name="T10" fmla="*/ 811 w 968"/>
                <a:gd name="T11" fmla="*/ 369 h 705"/>
                <a:gd name="T12" fmla="*/ 811 w 968"/>
                <a:gd name="T13" fmla="*/ 410 h 705"/>
                <a:gd name="T14" fmla="*/ 0 w 968"/>
                <a:gd name="T15" fmla="*/ 0 h 705"/>
                <a:gd name="T16" fmla="*/ 1 w 968"/>
                <a:gd name="T17" fmla="*/ 230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8" h="705">
                  <a:moveTo>
                    <a:pt x="1" y="230"/>
                  </a:moveTo>
                  <a:lnTo>
                    <a:pt x="806" y="609"/>
                  </a:lnTo>
                  <a:lnTo>
                    <a:pt x="806" y="704"/>
                  </a:lnTo>
                  <a:lnTo>
                    <a:pt x="967" y="539"/>
                  </a:lnTo>
                  <a:lnTo>
                    <a:pt x="811" y="328"/>
                  </a:lnTo>
                  <a:lnTo>
                    <a:pt x="811" y="369"/>
                  </a:lnTo>
                  <a:lnTo>
                    <a:pt x="811" y="410"/>
                  </a:lnTo>
                  <a:lnTo>
                    <a:pt x="0" y="0"/>
                  </a:lnTo>
                  <a:lnTo>
                    <a:pt x="1" y="23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5757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2015" y="2018"/>
              <a:ext cx="726" cy="564"/>
            </a:xfrm>
            <a:custGeom>
              <a:avLst/>
              <a:gdLst>
                <a:gd name="T0" fmla="*/ 698 w 698"/>
                <a:gd name="T1" fmla="*/ 0 h 546"/>
                <a:gd name="T2" fmla="*/ 465 w 698"/>
                <a:gd name="T3" fmla="*/ 107 h 546"/>
                <a:gd name="T4" fmla="*/ 225 w 698"/>
                <a:gd name="T5" fmla="*/ 219 h 546"/>
                <a:gd name="T6" fmla="*/ 1 w 698"/>
                <a:gd name="T7" fmla="*/ 331 h 546"/>
                <a:gd name="T8" fmla="*/ 0 w 698"/>
                <a:gd name="T9" fmla="*/ 453 h 546"/>
                <a:gd name="T10" fmla="*/ 1 w 698"/>
                <a:gd name="T11" fmla="*/ 546 h 546"/>
                <a:gd name="T12" fmla="*/ 698 w 698"/>
                <a:gd name="T13" fmla="*/ 175 h 546"/>
                <a:gd name="T14" fmla="*/ 698 w 698"/>
                <a:gd name="T15" fmla="*/ 0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8" h="546">
                  <a:moveTo>
                    <a:pt x="698" y="0"/>
                  </a:moveTo>
                  <a:lnTo>
                    <a:pt x="465" y="107"/>
                  </a:lnTo>
                  <a:lnTo>
                    <a:pt x="225" y="219"/>
                  </a:lnTo>
                  <a:lnTo>
                    <a:pt x="1" y="331"/>
                  </a:lnTo>
                  <a:lnTo>
                    <a:pt x="0" y="453"/>
                  </a:lnTo>
                  <a:lnTo>
                    <a:pt x="1" y="546"/>
                  </a:lnTo>
                  <a:lnTo>
                    <a:pt x="698" y="175"/>
                  </a:lnTo>
                  <a:lnTo>
                    <a:pt x="698" y="0"/>
                  </a:lnTo>
                </a:path>
              </a:pathLst>
            </a:custGeom>
            <a:solidFill>
              <a:srgbClr val="EAEAEA"/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5758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1735" y="2101"/>
              <a:ext cx="282" cy="483"/>
            </a:xfrm>
            <a:custGeom>
              <a:avLst/>
              <a:gdLst>
                <a:gd name="T0" fmla="*/ 1 w 231"/>
                <a:gd name="T1" fmla="*/ 0 h 396"/>
                <a:gd name="T2" fmla="*/ 0 w 231"/>
                <a:gd name="T3" fmla="*/ 158 h 396"/>
                <a:gd name="T4" fmla="*/ 1 w 231"/>
                <a:gd name="T5" fmla="*/ 171 h 396"/>
                <a:gd name="T6" fmla="*/ 4 w 231"/>
                <a:gd name="T7" fmla="*/ 185 h 396"/>
                <a:gd name="T8" fmla="*/ 10 w 231"/>
                <a:gd name="T9" fmla="*/ 200 h 396"/>
                <a:gd name="T10" fmla="*/ 19 w 231"/>
                <a:gd name="T11" fmla="*/ 216 h 396"/>
                <a:gd name="T12" fmla="*/ 29 w 231"/>
                <a:gd name="T13" fmla="*/ 232 h 396"/>
                <a:gd name="T14" fmla="*/ 41 w 231"/>
                <a:gd name="T15" fmla="*/ 248 h 396"/>
                <a:gd name="T16" fmla="*/ 55 w 231"/>
                <a:gd name="T17" fmla="*/ 265 h 396"/>
                <a:gd name="T18" fmla="*/ 71 w 231"/>
                <a:gd name="T19" fmla="*/ 281 h 396"/>
                <a:gd name="T20" fmla="*/ 109 w 231"/>
                <a:gd name="T21" fmla="*/ 312 h 396"/>
                <a:gd name="T22" fmla="*/ 148 w 231"/>
                <a:gd name="T23" fmla="*/ 341 h 396"/>
                <a:gd name="T24" fmla="*/ 189 w 231"/>
                <a:gd name="T25" fmla="*/ 369 h 396"/>
                <a:gd name="T26" fmla="*/ 230 w 231"/>
                <a:gd name="T27" fmla="*/ 395 h 396"/>
                <a:gd name="T28" fmla="*/ 230 w 231"/>
                <a:gd name="T29" fmla="*/ 207 h 396"/>
                <a:gd name="T30" fmla="*/ 195 w 231"/>
                <a:gd name="T31" fmla="*/ 193 h 396"/>
                <a:gd name="T32" fmla="*/ 162 w 231"/>
                <a:gd name="T33" fmla="*/ 178 h 396"/>
                <a:gd name="T34" fmla="*/ 132 w 231"/>
                <a:gd name="T35" fmla="*/ 162 h 396"/>
                <a:gd name="T36" fmla="*/ 105 w 231"/>
                <a:gd name="T37" fmla="*/ 145 h 396"/>
                <a:gd name="T38" fmla="*/ 81 w 231"/>
                <a:gd name="T39" fmla="*/ 128 h 396"/>
                <a:gd name="T40" fmla="*/ 59 w 231"/>
                <a:gd name="T41" fmla="*/ 109 h 396"/>
                <a:gd name="T42" fmla="*/ 42 w 231"/>
                <a:gd name="T43" fmla="*/ 88 h 396"/>
                <a:gd name="T44" fmla="*/ 27 w 231"/>
                <a:gd name="T45" fmla="*/ 67 h 396"/>
                <a:gd name="T46" fmla="*/ 15 w 231"/>
                <a:gd name="T47" fmla="*/ 45 h 396"/>
                <a:gd name="T48" fmla="*/ 6 w 231"/>
                <a:gd name="T49" fmla="*/ 23 h 396"/>
                <a:gd name="T50" fmla="*/ 1 w 231"/>
                <a:gd name="T51" fmla="*/ 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1" h="396">
                  <a:moveTo>
                    <a:pt x="1" y="0"/>
                  </a:moveTo>
                  <a:lnTo>
                    <a:pt x="0" y="158"/>
                  </a:lnTo>
                  <a:lnTo>
                    <a:pt x="1" y="171"/>
                  </a:lnTo>
                  <a:lnTo>
                    <a:pt x="4" y="185"/>
                  </a:lnTo>
                  <a:lnTo>
                    <a:pt x="10" y="200"/>
                  </a:lnTo>
                  <a:lnTo>
                    <a:pt x="19" y="216"/>
                  </a:lnTo>
                  <a:lnTo>
                    <a:pt x="29" y="232"/>
                  </a:lnTo>
                  <a:lnTo>
                    <a:pt x="41" y="248"/>
                  </a:lnTo>
                  <a:lnTo>
                    <a:pt x="55" y="265"/>
                  </a:lnTo>
                  <a:lnTo>
                    <a:pt x="71" y="281"/>
                  </a:lnTo>
                  <a:lnTo>
                    <a:pt x="109" y="312"/>
                  </a:lnTo>
                  <a:lnTo>
                    <a:pt x="148" y="341"/>
                  </a:lnTo>
                  <a:lnTo>
                    <a:pt x="189" y="369"/>
                  </a:lnTo>
                  <a:lnTo>
                    <a:pt x="230" y="395"/>
                  </a:lnTo>
                  <a:lnTo>
                    <a:pt x="230" y="207"/>
                  </a:lnTo>
                  <a:lnTo>
                    <a:pt x="195" y="193"/>
                  </a:lnTo>
                  <a:lnTo>
                    <a:pt x="162" y="178"/>
                  </a:lnTo>
                  <a:lnTo>
                    <a:pt x="132" y="162"/>
                  </a:lnTo>
                  <a:lnTo>
                    <a:pt x="105" y="145"/>
                  </a:lnTo>
                  <a:lnTo>
                    <a:pt x="81" y="128"/>
                  </a:lnTo>
                  <a:lnTo>
                    <a:pt x="59" y="109"/>
                  </a:lnTo>
                  <a:lnTo>
                    <a:pt x="42" y="88"/>
                  </a:lnTo>
                  <a:lnTo>
                    <a:pt x="27" y="67"/>
                  </a:lnTo>
                  <a:lnTo>
                    <a:pt x="15" y="45"/>
                  </a:lnTo>
                  <a:lnTo>
                    <a:pt x="6" y="23"/>
                  </a:lnTo>
                  <a:lnTo>
                    <a:pt x="1" y="0"/>
                  </a:lnTo>
                </a:path>
              </a:pathLst>
            </a:custGeom>
            <a:solidFill>
              <a:srgbClr val="EAEAEA"/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5759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1733" y="1730"/>
              <a:ext cx="1012" cy="632"/>
            </a:xfrm>
            <a:custGeom>
              <a:avLst/>
              <a:gdLst>
                <a:gd name="T0" fmla="*/ 228 w 822"/>
                <a:gd name="T1" fmla="*/ 515 h 516"/>
                <a:gd name="T2" fmla="*/ 194 w 822"/>
                <a:gd name="T3" fmla="*/ 504 h 516"/>
                <a:gd name="T4" fmla="*/ 163 w 822"/>
                <a:gd name="T5" fmla="*/ 491 h 516"/>
                <a:gd name="T6" fmla="*/ 134 w 822"/>
                <a:gd name="T7" fmla="*/ 477 h 516"/>
                <a:gd name="T8" fmla="*/ 107 w 822"/>
                <a:gd name="T9" fmla="*/ 461 h 516"/>
                <a:gd name="T10" fmla="*/ 84 w 822"/>
                <a:gd name="T11" fmla="*/ 445 h 516"/>
                <a:gd name="T12" fmla="*/ 63 w 822"/>
                <a:gd name="T13" fmla="*/ 427 h 516"/>
                <a:gd name="T14" fmla="*/ 45 w 822"/>
                <a:gd name="T15" fmla="*/ 408 h 516"/>
                <a:gd name="T16" fmla="*/ 30 w 822"/>
                <a:gd name="T17" fmla="*/ 389 h 516"/>
                <a:gd name="T18" fmla="*/ 17 w 822"/>
                <a:gd name="T19" fmla="*/ 368 h 516"/>
                <a:gd name="T20" fmla="*/ 9 w 822"/>
                <a:gd name="T21" fmla="*/ 347 h 516"/>
                <a:gd name="T22" fmla="*/ 3 w 822"/>
                <a:gd name="T23" fmla="*/ 326 h 516"/>
                <a:gd name="T24" fmla="*/ 0 w 822"/>
                <a:gd name="T25" fmla="*/ 303 h 516"/>
                <a:gd name="T26" fmla="*/ 1 w 822"/>
                <a:gd name="T27" fmla="*/ 281 h 516"/>
                <a:gd name="T28" fmla="*/ 5 w 822"/>
                <a:gd name="T29" fmla="*/ 258 h 516"/>
                <a:gd name="T30" fmla="*/ 13 w 822"/>
                <a:gd name="T31" fmla="*/ 236 h 516"/>
                <a:gd name="T32" fmla="*/ 24 w 822"/>
                <a:gd name="T33" fmla="*/ 213 h 516"/>
                <a:gd name="T34" fmla="*/ 37 w 822"/>
                <a:gd name="T35" fmla="*/ 191 h 516"/>
                <a:gd name="T36" fmla="*/ 54 w 822"/>
                <a:gd name="T37" fmla="*/ 168 h 516"/>
                <a:gd name="T38" fmla="*/ 74 w 822"/>
                <a:gd name="T39" fmla="*/ 147 h 516"/>
                <a:gd name="T40" fmla="*/ 96 w 822"/>
                <a:gd name="T41" fmla="*/ 125 h 516"/>
                <a:gd name="T42" fmla="*/ 121 w 822"/>
                <a:gd name="T43" fmla="*/ 105 h 516"/>
                <a:gd name="T44" fmla="*/ 149 w 822"/>
                <a:gd name="T45" fmla="*/ 85 h 516"/>
                <a:gd name="T46" fmla="*/ 180 w 822"/>
                <a:gd name="T47" fmla="*/ 66 h 516"/>
                <a:gd name="T48" fmla="*/ 212 w 822"/>
                <a:gd name="T49" fmla="*/ 48 h 516"/>
                <a:gd name="T50" fmla="*/ 246 w 822"/>
                <a:gd name="T51" fmla="*/ 31 h 516"/>
                <a:gd name="T52" fmla="*/ 283 w 822"/>
                <a:gd name="T53" fmla="*/ 15 h 516"/>
                <a:gd name="T54" fmla="*/ 321 w 822"/>
                <a:gd name="T55" fmla="*/ 0 h 516"/>
                <a:gd name="T56" fmla="*/ 821 w 822"/>
                <a:gd name="T57" fmla="*/ 234 h 516"/>
                <a:gd name="T58" fmla="*/ 228 w 822"/>
                <a:gd name="T59" fmla="*/ 515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22" h="516">
                  <a:moveTo>
                    <a:pt x="228" y="515"/>
                  </a:moveTo>
                  <a:lnTo>
                    <a:pt x="194" y="504"/>
                  </a:lnTo>
                  <a:lnTo>
                    <a:pt x="163" y="491"/>
                  </a:lnTo>
                  <a:lnTo>
                    <a:pt x="134" y="477"/>
                  </a:lnTo>
                  <a:lnTo>
                    <a:pt x="107" y="461"/>
                  </a:lnTo>
                  <a:lnTo>
                    <a:pt x="84" y="445"/>
                  </a:lnTo>
                  <a:lnTo>
                    <a:pt x="63" y="427"/>
                  </a:lnTo>
                  <a:lnTo>
                    <a:pt x="45" y="408"/>
                  </a:lnTo>
                  <a:lnTo>
                    <a:pt x="30" y="389"/>
                  </a:lnTo>
                  <a:lnTo>
                    <a:pt x="17" y="368"/>
                  </a:lnTo>
                  <a:lnTo>
                    <a:pt x="9" y="347"/>
                  </a:lnTo>
                  <a:lnTo>
                    <a:pt x="3" y="326"/>
                  </a:lnTo>
                  <a:lnTo>
                    <a:pt x="0" y="303"/>
                  </a:lnTo>
                  <a:lnTo>
                    <a:pt x="1" y="281"/>
                  </a:lnTo>
                  <a:lnTo>
                    <a:pt x="5" y="258"/>
                  </a:lnTo>
                  <a:lnTo>
                    <a:pt x="13" y="236"/>
                  </a:lnTo>
                  <a:lnTo>
                    <a:pt x="24" y="213"/>
                  </a:lnTo>
                  <a:lnTo>
                    <a:pt x="37" y="191"/>
                  </a:lnTo>
                  <a:lnTo>
                    <a:pt x="54" y="168"/>
                  </a:lnTo>
                  <a:lnTo>
                    <a:pt x="74" y="147"/>
                  </a:lnTo>
                  <a:lnTo>
                    <a:pt x="96" y="125"/>
                  </a:lnTo>
                  <a:lnTo>
                    <a:pt x="121" y="105"/>
                  </a:lnTo>
                  <a:lnTo>
                    <a:pt x="149" y="85"/>
                  </a:lnTo>
                  <a:lnTo>
                    <a:pt x="180" y="66"/>
                  </a:lnTo>
                  <a:lnTo>
                    <a:pt x="212" y="48"/>
                  </a:lnTo>
                  <a:lnTo>
                    <a:pt x="246" y="31"/>
                  </a:lnTo>
                  <a:lnTo>
                    <a:pt x="283" y="15"/>
                  </a:lnTo>
                  <a:lnTo>
                    <a:pt x="321" y="0"/>
                  </a:lnTo>
                  <a:lnTo>
                    <a:pt x="821" y="234"/>
                  </a:lnTo>
                  <a:lnTo>
                    <a:pt x="228" y="515"/>
                  </a:lnTo>
                </a:path>
              </a:pathLst>
            </a:custGeom>
            <a:solidFill>
              <a:srgbClr val="FFFFFF"/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5760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1684" y="2008"/>
              <a:ext cx="1188" cy="850"/>
            </a:xfrm>
            <a:custGeom>
              <a:avLst/>
              <a:gdLst>
                <a:gd name="T0" fmla="*/ 967 w 968"/>
                <a:gd name="T1" fmla="*/ 220 h 694"/>
                <a:gd name="T2" fmla="*/ 162 w 968"/>
                <a:gd name="T3" fmla="*/ 599 h 694"/>
                <a:gd name="T4" fmla="*/ 162 w 968"/>
                <a:gd name="T5" fmla="*/ 693 h 694"/>
                <a:gd name="T6" fmla="*/ 0 w 968"/>
                <a:gd name="T7" fmla="*/ 529 h 694"/>
                <a:gd name="T8" fmla="*/ 152 w 968"/>
                <a:gd name="T9" fmla="*/ 289 h 694"/>
                <a:gd name="T10" fmla="*/ 153 w 968"/>
                <a:gd name="T11" fmla="*/ 333 h 694"/>
                <a:gd name="T12" fmla="*/ 152 w 968"/>
                <a:gd name="T13" fmla="*/ 378 h 694"/>
                <a:gd name="T14" fmla="*/ 967 w 968"/>
                <a:gd name="T15" fmla="*/ 0 h 694"/>
                <a:gd name="T16" fmla="*/ 967 w 968"/>
                <a:gd name="T17" fmla="*/ 22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8" h="694">
                  <a:moveTo>
                    <a:pt x="967" y="220"/>
                  </a:moveTo>
                  <a:lnTo>
                    <a:pt x="162" y="599"/>
                  </a:lnTo>
                  <a:lnTo>
                    <a:pt x="162" y="693"/>
                  </a:lnTo>
                  <a:lnTo>
                    <a:pt x="0" y="529"/>
                  </a:lnTo>
                  <a:lnTo>
                    <a:pt x="152" y="289"/>
                  </a:lnTo>
                  <a:lnTo>
                    <a:pt x="153" y="333"/>
                  </a:lnTo>
                  <a:lnTo>
                    <a:pt x="152" y="378"/>
                  </a:lnTo>
                  <a:lnTo>
                    <a:pt x="967" y="0"/>
                  </a:lnTo>
                  <a:lnTo>
                    <a:pt x="967" y="22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5761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2182" y="2421"/>
              <a:ext cx="1371" cy="322"/>
            </a:xfrm>
            <a:custGeom>
              <a:avLst/>
              <a:gdLst>
                <a:gd name="T0" fmla="*/ 0 w 1116"/>
                <a:gd name="T1" fmla="*/ 179 h 264"/>
                <a:gd name="T2" fmla="*/ 39 w 1116"/>
                <a:gd name="T3" fmla="*/ 192 h 264"/>
                <a:gd name="T4" fmla="*/ 78 w 1116"/>
                <a:gd name="T5" fmla="*/ 204 h 264"/>
                <a:gd name="T6" fmla="*/ 120 w 1116"/>
                <a:gd name="T7" fmla="*/ 215 h 264"/>
                <a:gd name="T8" fmla="*/ 164 w 1116"/>
                <a:gd name="T9" fmla="*/ 225 h 264"/>
                <a:gd name="T10" fmla="*/ 210 w 1116"/>
                <a:gd name="T11" fmla="*/ 234 h 264"/>
                <a:gd name="T12" fmla="*/ 257 w 1116"/>
                <a:gd name="T13" fmla="*/ 243 h 264"/>
                <a:gd name="T14" fmla="*/ 305 w 1116"/>
                <a:gd name="T15" fmla="*/ 249 h 264"/>
                <a:gd name="T16" fmla="*/ 354 w 1116"/>
                <a:gd name="T17" fmla="*/ 254 h 264"/>
                <a:gd name="T18" fmla="*/ 405 w 1116"/>
                <a:gd name="T19" fmla="*/ 258 h 264"/>
                <a:gd name="T20" fmla="*/ 456 w 1116"/>
                <a:gd name="T21" fmla="*/ 262 h 264"/>
                <a:gd name="T22" fmla="*/ 507 w 1116"/>
                <a:gd name="T23" fmla="*/ 263 h 264"/>
                <a:gd name="T24" fmla="*/ 560 w 1116"/>
                <a:gd name="T25" fmla="*/ 263 h 264"/>
                <a:gd name="T26" fmla="*/ 612 w 1116"/>
                <a:gd name="T27" fmla="*/ 263 h 264"/>
                <a:gd name="T28" fmla="*/ 665 w 1116"/>
                <a:gd name="T29" fmla="*/ 261 h 264"/>
                <a:gd name="T30" fmla="*/ 718 w 1116"/>
                <a:gd name="T31" fmla="*/ 258 h 264"/>
                <a:gd name="T32" fmla="*/ 770 w 1116"/>
                <a:gd name="T33" fmla="*/ 254 h 264"/>
                <a:gd name="T34" fmla="*/ 822 w 1116"/>
                <a:gd name="T35" fmla="*/ 248 h 264"/>
                <a:gd name="T36" fmla="*/ 874 w 1116"/>
                <a:gd name="T37" fmla="*/ 241 h 264"/>
                <a:gd name="T38" fmla="*/ 924 w 1116"/>
                <a:gd name="T39" fmla="*/ 233 h 264"/>
                <a:gd name="T40" fmla="*/ 973 w 1116"/>
                <a:gd name="T41" fmla="*/ 223 h 264"/>
                <a:gd name="T42" fmla="*/ 1022 w 1116"/>
                <a:gd name="T43" fmla="*/ 213 h 264"/>
                <a:gd name="T44" fmla="*/ 1069 w 1116"/>
                <a:gd name="T45" fmla="*/ 202 h 264"/>
                <a:gd name="T46" fmla="*/ 1115 w 1116"/>
                <a:gd name="T47" fmla="*/ 189 h 264"/>
                <a:gd name="T48" fmla="*/ 1115 w 1116"/>
                <a:gd name="T49" fmla="*/ 97 h 264"/>
                <a:gd name="T50" fmla="*/ 1115 w 1116"/>
                <a:gd name="T51" fmla="*/ 4 h 264"/>
                <a:gd name="T52" fmla="*/ 0 w 1116"/>
                <a:gd name="T53" fmla="*/ 0 h 264"/>
                <a:gd name="T54" fmla="*/ 0 w 1116"/>
                <a:gd name="T55" fmla="*/ 179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16" h="264">
                  <a:moveTo>
                    <a:pt x="0" y="179"/>
                  </a:moveTo>
                  <a:lnTo>
                    <a:pt x="39" y="192"/>
                  </a:lnTo>
                  <a:lnTo>
                    <a:pt x="78" y="204"/>
                  </a:lnTo>
                  <a:lnTo>
                    <a:pt x="120" y="215"/>
                  </a:lnTo>
                  <a:lnTo>
                    <a:pt x="164" y="225"/>
                  </a:lnTo>
                  <a:lnTo>
                    <a:pt x="210" y="234"/>
                  </a:lnTo>
                  <a:lnTo>
                    <a:pt x="257" y="243"/>
                  </a:lnTo>
                  <a:lnTo>
                    <a:pt x="305" y="249"/>
                  </a:lnTo>
                  <a:lnTo>
                    <a:pt x="354" y="254"/>
                  </a:lnTo>
                  <a:lnTo>
                    <a:pt x="405" y="258"/>
                  </a:lnTo>
                  <a:lnTo>
                    <a:pt x="456" y="262"/>
                  </a:lnTo>
                  <a:lnTo>
                    <a:pt x="507" y="263"/>
                  </a:lnTo>
                  <a:lnTo>
                    <a:pt x="560" y="263"/>
                  </a:lnTo>
                  <a:lnTo>
                    <a:pt x="612" y="263"/>
                  </a:lnTo>
                  <a:lnTo>
                    <a:pt x="665" y="261"/>
                  </a:lnTo>
                  <a:lnTo>
                    <a:pt x="718" y="258"/>
                  </a:lnTo>
                  <a:lnTo>
                    <a:pt x="770" y="254"/>
                  </a:lnTo>
                  <a:lnTo>
                    <a:pt x="822" y="248"/>
                  </a:lnTo>
                  <a:lnTo>
                    <a:pt x="874" y="241"/>
                  </a:lnTo>
                  <a:lnTo>
                    <a:pt x="924" y="233"/>
                  </a:lnTo>
                  <a:lnTo>
                    <a:pt x="973" y="223"/>
                  </a:lnTo>
                  <a:lnTo>
                    <a:pt x="1022" y="213"/>
                  </a:lnTo>
                  <a:lnTo>
                    <a:pt x="1069" y="202"/>
                  </a:lnTo>
                  <a:lnTo>
                    <a:pt x="1115" y="189"/>
                  </a:lnTo>
                  <a:lnTo>
                    <a:pt x="1115" y="97"/>
                  </a:lnTo>
                  <a:lnTo>
                    <a:pt x="1115" y="4"/>
                  </a:lnTo>
                  <a:lnTo>
                    <a:pt x="0" y="0"/>
                  </a:lnTo>
                  <a:lnTo>
                    <a:pt x="0" y="179"/>
                  </a:lnTo>
                </a:path>
              </a:pathLst>
            </a:custGeom>
            <a:solidFill>
              <a:srgbClr val="EAEAEA"/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5762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2182" y="2074"/>
              <a:ext cx="1371" cy="438"/>
            </a:xfrm>
            <a:custGeom>
              <a:avLst/>
              <a:gdLst>
                <a:gd name="T0" fmla="*/ 0 w 1116"/>
                <a:gd name="T1" fmla="*/ 282 h 358"/>
                <a:gd name="T2" fmla="*/ 40 w 1116"/>
                <a:gd name="T3" fmla="*/ 293 h 358"/>
                <a:gd name="T4" fmla="*/ 83 w 1116"/>
                <a:gd name="T5" fmla="*/ 303 h 358"/>
                <a:gd name="T6" fmla="*/ 127 w 1116"/>
                <a:gd name="T7" fmla="*/ 313 h 358"/>
                <a:gd name="T8" fmla="*/ 172 w 1116"/>
                <a:gd name="T9" fmla="*/ 323 h 358"/>
                <a:gd name="T10" fmla="*/ 219 w 1116"/>
                <a:gd name="T11" fmla="*/ 330 h 358"/>
                <a:gd name="T12" fmla="*/ 267 w 1116"/>
                <a:gd name="T13" fmla="*/ 337 h 358"/>
                <a:gd name="T14" fmla="*/ 316 w 1116"/>
                <a:gd name="T15" fmla="*/ 342 h 358"/>
                <a:gd name="T16" fmla="*/ 366 w 1116"/>
                <a:gd name="T17" fmla="*/ 347 h 358"/>
                <a:gd name="T18" fmla="*/ 416 w 1116"/>
                <a:gd name="T19" fmla="*/ 352 h 358"/>
                <a:gd name="T20" fmla="*/ 467 w 1116"/>
                <a:gd name="T21" fmla="*/ 354 h 358"/>
                <a:gd name="T22" fmla="*/ 519 w 1116"/>
                <a:gd name="T23" fmla="*/ 356 h 358"/>
                <a:gd name="T24" fmla="*/ 570 w 1116"/>
                <a:gd name="T25" fmla="*/ 357 h 358"/>
                <a:gd name="T26" fmla="*/ 621 w 1116"/>
                <a:gd name="T27" fmla="*/ 356 h 358"/>
                <a:gd name="T28" fmla="*/ 671 w 1116"/>
                <a:gd name="T29" fmla="*/ 355 h 358"/>
                <a:gd name="T30" fmla="*/ 721 w 1116"/>
                <a:gd name="T31" fmla="*/ 352 h 358"/>
                <a:gd name="T32" fmla="*/ 771 w 1116"/>
                <a:gd name="T33" fmla="*/ 348 h 358"/>
                <a:gd name="T34" fmla="*/ 820 w 1116"/>
                <a:gd name="T35" fmla="*/ 343 h 358"/>
                <a:gd name="T36" fmla="*/ 866 w 1116"/>
                <a:gd name="T37" fmla="*/ 338 h 358"/>
                <a:gd name="T38" fmla="*/ 912 w 1116"/>
                <a:gd name="T39" fmla="*/ 331 h 358"/>
                <a:gd name="T40" fmla="*/ 956 w 1116"/>
                <a:gd name="T41" fmla="*/ 323 h 358"/>
                <a:gd name="T42" fmla="*/ 999 w 1116"/>
                <a:gd name="T43" fmla="*/ 315 h 358"/>
                <a:gd name="T44" fmla="*/ 1040 w 1116"/>
                <a:gd name="T45" fmla="*/ 305 h 358"/>
                <a:gd name="T46" fmla="*/ 1079 w 1116"/>
                <a:gd name="T47" fmla="*/ 295 h 358"/>
                <a:gd name="T48" fmla="*/ 1115 w 1116"/>
                <a:gd name="T49" fmla="*/ 283 h 358"/>
                <a:gd name="T50" fmla="*/ 562 w 1116"/>
                <a:gd name="T51" fmla="*/ 0 h 358"/>
                <a:gd name="T52" fmla="*/ 0 w 1116"/>
                <a:gd name="T53" fmla="*/ 282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16" h="358">
                  <a:moveTo>
                    <a:pt x="0" y="282"/>
                  </a:moveTo>
                  <a:lnTo>
                    <a:pt x="40" y="293"/>
                  </a:lnTo>
                  <a:lnTo>
                    <a:pt x="83" y="303"/>
                  </a:lnTo>
                  <a:lnTo>
                    <a:pt x="127" y="313"/>
                  </a:lnTo>
                  <a:lnTo>
                    <a:pt x="172" y="323"/>
                  </a:lnTo>
                  <a:lnTo>
                    <a:pt x="219" y="330"/>
                  </a:lnTo>
                  <a:lnTo>
                    <a:pt x="267" y="337"/>
                  </a:lnTo>
                  <a:lnTo>
                    <a:pt x="316" y="342"/>
                  </a:lnTo>
                  <a:lnTo>
                    <a:pt x="366" y="347"/>
                  </a:lnTo>
                  <a:lnTo>
                    <a:pt x="416" y="352"/>
                  </a:lnTo>
                  <a:lnTo>
                    <a:pt x="467" y="354"/>
                  </a:lnTo>
                  <a:lnTo>
                    <a:pt x="519" y="356"/>
                  </a:lnTo>
                  <a:lnTo>
                    <a:pt x="570" y="357"/>
                  </a:lnTo>
                  <a:lnTo>
                    <a:pt x="621" y="356"/>
                  </a:lnTo>
                  <a:lnTo>
                    <a:pt x="671" y="355"/>
                  </a:lnTo>
                  <a:lnTo>
                    <a:pt x="721" y="352"/>
                  </a:lnTo>
                  <a:lnTo>
                    <a:pt x="771" y="348"/>
                  </a:lnTo>
                  <a:lnTo>
                    <a:pt x="820" y="343"/>
                  </a:lnTo>
                  <a:lnTo>
                    <a:pt x="866" y="338"/>
                  </a:lnTo>
                  <a:lnTo>
                    <a:pt x="912" y="331"/>
                  </a:lnTo>
                  <a:lnTo>
                    <a:pt x="956" y="323"/>
                  </a:lnTo>
                  <a:lnTo>
                    <a:pt x="999" y="315"/>
                  </a:lnTo>
                  <a:lnTo>
                    <a:pt x="1040" y="305"/>
                  </a:lnTo>
                  <a:lnTo>
                    <a:pt x="1079" y="295"/>
                  </a:lnTo>
                  <a:lnTo>
                    <a:pt x="1115" y="283"/>
                  </a:lnTo>
                  <a:lnTo>
                    <a:pt x="562" y="0"/>
                  </a:lnTo>
                  <a:lnTo>
                    <a:pt x="0" y="282"/>
                  </a:lnTo>
                </a:path>
              </a:pathLst>
            </a:custGeom>
            <a:solidFill>
              <a:srgbClr val="FFFFFF"/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5763" name="Rectangle 19"/>
            <p:cNvSpPr>
              <a:spLocks noChangeArrowheads="1"/>
            </p:cNvSpPr>
            <p:nvPr/>
          </p:nvSpPr>
          <p:spPr bwMode="gray">
            <a:xfrm>
              <a:off x="2543" y="2204"/>
              <a:ext cx="666" cy="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5764" name="Rectangle 20"/>
            <p:cNvSpPr>
              <a:spLocks noChangeArrowheads="1"/>
            </p:cNvSpPr>
            <p:nvPr/>
          </p:nvSpPr>
          <p:spPr bwMode="gray">
            <a:xfrm>
              <a:off x="2543" y="1558"/>
              <a:ext cx="666" cy="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5765" name="Rectangle 21"/>
            <p:cNvSpPr>
              <a:spLocks noChangeArrowheads="1"/>
            </p:cNvSpPr>
            <p:nvPr/>
          </p:nvSpPr>
          <p:spPr bwMode="gray">
            <a:xfrm>
              <a:off x="1811" y="1900"/>
              <a:ext cx="667" cy="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5766" name="Rectangle 22"/>
            <p:cNvSpPr>
              <a:spLocks noChangeArrowheads="1"/>
            </p:cNvSpPr>
            <p:nvPr/>
          </p:nvSpPr>
          <p:spPr bwMode="gray">
            <a:xfrm>
              <a:off x="3228" y="1900"/>
              <a:ext cx="667" cy="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5767" name="Rectangle 23"/>
            <p:cNvSpPr>
              <a:spLocks noChangeArrowheads="1"/>
            </p:cNvSpPr>
            <p:nvPr/>
          </p:nvSpPr>
          <p:spPr bwMode="gray">
            <a:xfrm>
              <a:off x="245" y="2420"/>
              <a:ext cx="1301" cy="925"/>
            </a:xfrm>
            <a:prstGeom prst="rect">
              <a:avLst/>
            </a:prstGeom>
            <a:solidFill>
              <a:srgbClr val="969696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45720" bIns="0"/>
            <a:lstStyle/>
            <a:p>
              <a:pPr defTabSz="912813"/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Clr>
                  <a:schemeClr val="bg1"/>
                </a:buClr>
                <a:buFont typeface="Wingdings" pitchFamily="2" charset="2"/>
                <a:buChar char="§"/>
              </a:pPr>
              <a:r>
                <a:rPr lang="en-US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5768" name="Rectangle 24"/>
            <p:cNvSpPr>
              <a:spLocks noChangeArrowheads="1"/>
            </p:cNvSpPr>
            <p:nvPr/>
          </p:nvSpPr>
          <p:spPr bwMode="gray">
            <a:xfrm>
              <a:off x="245" y="942"/>
              <a:ext cx="1301" cy="925"/>
            </a:xfrm>
            <a:prstGeom prst="rect">
              <a:avLst/>
            </a:prstGeom>
            <a:solidFill>
              <a:srgbClr val="969696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45720" bIns="0"/>
            <a:lstStyle/>
            <a:p>
              <a:pPr defTabSz="912813"/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Clr>
                  <a:schemeClr val="bg1"/>
                </a:buClr>
                <a:buFont typeface="Wingdings" pitchFamily="2" charset="2"/>
                <a:buChar char="§"/>
              </a:pPr>
              <a:r>
                <a:rPr lang="en-US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5769" name="Rectangle 25"/>
            <p:cNvSpPr>
              <a:spLocks noChangeArrowheads="1"/>
            </p:cNvSpPr>
            <p:nvPr/>
          </p:nvSpPr>
          <p:spPr bwMode="gray">
            <a:xfrm>
              <a:off x="4165" y="2420"/>
              <a:ext cx="1301" cy="925"/>
            </a:xfrm>
            <a:prstGeom prst="rect">
              <a:avLst/>
            </a:prstGeom>
            <a:solidFill>
              <a:srgbClr val="969696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45720" bIns="0"/>
            <a:lstStyle/>
            <a:p>
              <a:pPr defTabSz="912813"/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Clr>
                  <a:schemeClr val="bg1"/>
                </a:buClr>
                <a:buFont typeface="Wingdings" pitchFamily="2" charset="2"/>
                <a:buChar char="§"/>
              </a:pPr>
              <a:r>
                <a:rPr lang="en-US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5770" name="Rectangle 26"/>
            <p:cNvSpPr>
              <a:spLocks noChangeArrowheads="1"/>
            </p:cNvSpPr>
            <p:nvPr/>
          </p:nvSpPr>
          <p:spPr bwMode="gray">
            <a:xfrm>
              <a:off x="4165" y="942"/>
              <a:ext cx="1301" cy="925"/>
            </a:xfrm>
            <a:prstGeom prst="rect">
              <a:avLst/>
            </a:prstGeom>
            <a:solidFill>
              <a:srgbClr val="969696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45720" bIns="0"/>
            <a:lstStyle/>
            <a:p>
              <a:pPr defTabSz="912813"/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Clr>
                  <a:schemeClr val="bg1"/>
                </a:buClr>
                <a:buFont typeface="Wingdings" pitchFamily="2" charset="2"/>
                <a:buChar char="§"/>
              </a:pPr>
              <a:r>
                <a:rPr lang="en-US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057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7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ing</a:t>
            </a:r>
          </a:p>
        </p:txBody>
      </p:sp>
      <p:grpSp>
        <p:nvGrpSpPr>
          <p:cNvPr id="3007514" name="Group 26"/>
          <p:cNvGrpSpPr>
            <a:grpSpLocks/>
          </p:cNvGrpSpPr>
          <p:nvPr/>
        </p:nvGrpSpPr>
        <p:grpSpPr bwMode="auto">
          <a:xfrm>
            <a:off x="2422525" y="1622877"/>
            <a:ext cx="7321550" cy="4649788"/>
            <a:chOff x="566" y="940"/>
            <a:chExt cx="4612" cy="2929"/>
          </a:xfrm>
        </p:grpSpPr>
        <p:grpSp>
          <p:nvGrpSpPr>
            <p:cNvPr id="3007511" name="Group 23"/>
            <p:cNvGrpSpPr>
              <a:grpSpLocks/>
            </p:cNvGrpSpPr>
            <p:nvPr/>
          </p:nvGrpSpPr>
          <p:grpSpPr bwMode="auto">
            <a:xfrm>
              <a:off x="823" y="940"/>
              <a:ext cx="4355" cy="601"/>
              <a:chOff x="823" y="940"/>
              <a:chExt cx="4355" cy="601"/>
            </a:xfrm>
          </p:grpSpPr>
          <p:sp>
            <p:nvSpPr>
              <p:cNvPr id="3007493" name="Rectangle 5"/>
              <p:cNvSpPr>
                <a:spLocks noChangeArrowheads="1"/>
              </p:cNvSpPr>
              <p:nvPr/>
            </p:nvSpPr>
            <p:spPr bwMode="gray">
              <a:xfrm>
                <a:off x="823" y="940"/>
                <a:ext cx="4355" cy="60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07494" name="Rectangle 6"/>
              <p:cNvSpPr>
                <a:spLocks noChangeArrowheads="1"/>
              </p:cNvSpPr>
              <p:nvPr/>
            </p:nvSpPr>
            <p:spPr bwMode="gray">
              <a:xfrm>
                <a:off x="937" y="1152"/>
                <a:ext cx="4241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>
                  <a:spcBef>
                    <a:spcPct val="80000"/>
                  </a:spcBef>
                </a:pPr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</p:grpSp>
        <p:grpSp>
          <p:nvGrpSpPr>
            <p:cNvPr id="3007510" name="Group 22"/>
            <p:cNvGrpSpPr>
              <a:grpSpLocks/>
            </p:cNvGrpSpPr>
            <p:nvPr/>
          </p:nvGrpSpPr>
          <p:grpSpPr bwMode="auto">
            <a:xfrm>
              <a:off x="823" y="1716"/>
              <a:ext cx="4355" cy="601"/>
              <a:chOff x="823" y="1716"/>
              <a:chExt cx="4355" cy="601"/>
            </a:xfrm>
          </p:grpSpPr>
          <p:sp>
            <p:nvSpPr>
              <p:cNvPr id="3007496" name="Rectangle 8"/>
              <p:cNvSpPr>
                <a:spLocks noChangeArrowheads="1"/>
              </p:cNvSpPr>
              <p:nvPr/>
            </p:nvSpPr>
            <p:spPr bwMode="gray">
              <a:xfrm>
                <a:off x="823" y="1716"/>
                <a:ext cx="4355" cy="60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07497" name="Rectangle 9"/>
              <p:cNvSpPr>
                <a:spLocks noChangeArrowheads="1"/>
              </p:cNvSpPr>
              <p:nvPr/>
            </p:nvSpPr>
            <p:spPr bwMode="gray">
              <a:xfrm>
                <a:off x="937" y="1928"/>
                <a:ext cx="4241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>
                  <a:spcBef>
                    <a:spcPct val="80000"/>
                  </a:spcBef>
                </a:pPr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</p:grpSp>
        <p:grpSp>
          <p:nvGrpSpPr>
            <p:cNvPr id="3007509" name="Group 21"/>
            <p:cNvGrpSpPr>
              <a:grpSpLocks/>
            </p:cNvGrpSpPr>
            <p:nvPr/>
          </p:nvGrpSpPr>
          <p:grpSpPr bwMode="auto">
            <a:xfrm>
              <a:off x="823" y="2492"/>
              <a:ext cx="4355" cy="601"/>
              <a:chOff x="823" y="2492"/>
              <a:chExt cx="4355" cy="601"/>
            </a:xfrm>
          </p:grpSpPr>
          <p:sp>
            <p:nvSpPr>
              <p:cNvPr id="3007499" name="Rectangle 11"/>
              <p:cNvSpPr>
                <a:spLocks noChangeArrowheads="1"/>
              </p:cNvSpPr>
              <p:nvPr/>
            </p:nvSpPr>
            <p:spPr bwMode="gray">
              <a:xfrm>
                <a:off x="823" y="2492"/>
                <a:ext cx="4355" cy="60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07500" name="Rectangle 12"/>
              <p:cNvSpPr>
                <a:spLocks noChangeArrowheads="1"/>
              </p:cNvSpPr>
              <p:nvPr/>
            </p:nvSpPr>
            <p:spPr bwMode="gray">
              <a:xfrm>
                <a:off x="937" y="2704"/>
                <a:ext cx="4241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>
                  <a:spcBef>
                    <a:spcPct val="80000"/>
                  </a:spcBef>
                </a:pPr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</p:grpSp>
        <p:grpSp>
          <p:nvGrpSpPr>
            <p:cNvPr id="3007508" name="Group 20"/>
            <p:cNvGrpSpPr>
              <a:grpSpLocks/>
            </p:cNvGrpSpPr>
            <p:nvPr/>
          </p:nvGrpSpPr>
          <p:grpSpPr bwMode="auto">
            <a:xfrm>
              <a:off x="823" y="3268"/>
              <a:ext cx="4355" cy="601"/>
              <a:chOff x="823" y="3268"/>
              <a:chExt cx="4355" cy="601"/>
            </a:xfrm>
          </p:grpSpPr>
          <p:sp>
            <p:nvSpPr>
              <p:cNvPr id="3007502" name="Rectangle 14"/>
              <p:cNvSpPr>
                <a:spLocks noChangeArrowheads="1"/>
              </p:cNvSpPr>
              <p:nvPr/>
            </p:nvSpPr>
            <p:spPr bwMode="gray">
              <a:xfrm>
                <a:off x="823" y="3268"/>
                <a:ext cx="4355" cy="601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007503" name="Rectangle 15"/>
              <p:cNvSpPr>
                <a:spLocks noChangeArrowheads="1"/>
              </p:cNvSpPr>
              <p:nvPr/>
            </p:nvSpPr>
            <p:spPr bwMode="gray">
              <a:xfrm>
                <a:off x="937" y="3480"/>
                <a:ext cx="4241" cy="1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defTabSz="912813">
                  <a:spcBef>
                    <a:spcPct val="80000"/>
                  </a:spcBef>
                </a:pPr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</p:grpSp>
        <p:sp>
          <p:nvSpPr>
            <p:cNvPr id="3007504" name="AutoShape 16"/>
            <p:cNvSpPr>
              <a:spLocks noChangeArrowheads="1"/>
            </p:cNvSpPr>
            <p:nvPr/>
          </p:nvSpPr>
          <p:spPr bwMode="gray">
            <a:xfrm>
              <a:off x="566" y="1046"/>
              <a:ext cx="336" cy="388"/>
            </a:xfrm>
            <a:prstGeom prst="rightArrow">
              <a:avLst>
                <a:gd name="adj1" fmla="val 44528"/>
                <a:gd name="adj2" fmla="val 47458"/>
              </a:avLst>
            </a:prstGeom>
            <a:solidFill>
              <a:srgbClr val="969696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7505" name="AutoShape 17"/>
            <p:cNvSpPr>
              <a:spLocks noChangeArrowheads="1"/>
            </p:cNvSpPr>
            <p:nvPr/>
          </p:nvSpPr>
          <p:spPr bwMode="gray">
            <a:xfrm>
              <a:off x="566" y="1822"/>
              <a:ext cx="336" cy="388"/>
            </a:xfrm>
            <a:prstGeom prst="rightArrow">
              <a:avLst>
                <a:gd name="adj1" fmla="val 44528"/>
                <a:gd name="adj2" fmla="val 47458"/>
              </a:avLst>
            </a:prstGeom>
            <a:solidFill>
              <a:srgbClr val="969696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7506" name="AutoShape 18"/>
            <p:cNvSpPr>
              <a:spLocks noChangeArrowheads="1"/>
            </p:cNvSpPr>
            <p:nvPr/>
          </p:nvSpPr>
          <p:spPr bwMode="gray">
            <a:xfrm>
              <a:off x="566" y="2599"/>
              <a:ext cx="336" cy="388"/>
            </a:xfrm>
            <a:prstGeom prst="rightArrow">
              <a:avLst>
                <a:gd name="adj1" fmla="val 44528"/>
                <a:gd name="adj2" fmla="val 47458"/>
              </a:avLst>
            </a:prstGeom>
            <a:solidFill>
              <a:srgbClr val="969696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7507" name="AutoShape 19"/>
            <p:cNvSpPr>
              <a:spLocks noChangeArrowheads="1"/>
            </p:cNvSpPr>
            <p:nvPr/>
          </p:nvSpPr>
          <p:spPr bwMode="gray">
            <a:xfrm>
              <a:off x="566" y="3375"/>
              <a:ext cx="336" cy="388"/>
            </a:xfrm>
            <a:prstGeom prst="rightArrow">
              <a:avLst>
                <a:gd name="adj1" fmla="val 44528"/>
                <a:gd name="adj2" fmla="val 47458"/>
              </a:avLst>
            </a:prstGeom>
            <a:solidFill>
              <a:srgbClr val="969696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957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00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6 Factors</a:t>
            </a:r>
          </a:p>
        </p:txBody>
      </p:sp>
      <p:grpSp>
        <p:nvGrpSpPr>
          <p:cNvPr id="2350101" name="Group 21"/>
          <p:cNvGrpSpPr>
            <a:grpSpLocks/>
          </p:cNvGrpSpPr>
          <p:nvPr/>
        </p:nvGrpSpPr>
        <p:grpSpPr bwMode="auto">
          <a:xfrm>
            <a:off x="1900239" y="1869871"/>
            <a:ext cx="8320087" cy="4241800"/>
            <a:chOff x="369" y="937"/>
            <a:chExt cx="4998" cy="2548"/>
          </a:xfrm>
        </p:grpSpPr>
        <p:sp>
          <p:nvSpPr>
            <p:cNvPr id="2350084" name="Freeform 4"/>
            <p:cNvSpPr>
              <a:spLocks/>
            </p:cNvSpPr>
            <p:nvPr/>
          </p:nvSpPr>
          <p:spPr bwMode="gray">
            <a:xfrm flipV="1">
              <a:off x="369" y="2624"/>
              <a:ext cx="2293" cy="861"/>
            </a:xfrm>
            <a:custGeom>
              <a:avLst/>
              <a:gdLst>
                <a:gd name="T0" fmla="*/ 0 w 2236"/>
                <a:gd name="T1" fmla="*/ 0 h 841"/>
                <a:gd name="T2" fmla="*/ 1746 w 2236"/>
                <a:gd name="T3" fmla="*/ 0 h 841"/>
                <a:gd name="T4" fmla="*/ 2133 w 2236"/>
                <a:gd name="T5" fmla="*/ 391 h 841"/>
                <a:gd name="T6" fmla="*/ 2236 w 2236"/>
                <a:gd name="T7" fmla="*/ 305 h 841"/>
                <a:gd name="T8" fmla="*/ 2091 w 2236"/>
                <a:gd name="T9" fmla="*/ 709 h 841"/>
                <a:gd name="T10" fmla="*/ 1620 w 2236"/>
                <a:gd name="T11" fmla="*/ 841 h 841"/>
                <a:gd name="T12" fmla="*/ 1734 w 2236"/>
                <a:gd name="T13" fmla="*/ 745 h 841"/>
                <a:gd name="T14" fmla="*/ 1589 w 2236"/>
                <a:gd name="T15" fmla="*/ 598 h 841"/>
                <a:gd name="T16" fmla="*/ 1 w 2236"/>
                <a:gd name="T17" fmla="*/ 598 h 841"/>
                <a:gd name="T18" fmla="*/ 0 w 2236"/>
                <a:gd name="T19" fmla="*/ 0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36" h="841">
                  <a:moveTo>
                    <a:pt x="0" y="0"/>
                  </a:moveTo>
                  <a:lnTo>
                    <a:pt x="1746" y="0"/>
                  </a:lnTo>
                  <a:lnTo>
                    <a:pt x="2133" y="391"/>
                  </a:lnTo>
                  <a:lnTo>
                    <a:pt x="2236" y="305"/>
                  </a:lnTo>
                  <a:lnTo>
                    <a:pt x="2091" y="709"/>
                  </a:lnTo>
                  <a:lnTo>
                    <a:pt x="1620" y="841"/>
                  </a:lnTo>
                  <a:lnTo>
                    <a:pt x="1734" y="745"/>
                  </a:lnTo>
                  <a:lnTo>
                    <a:pt x="1589" y="598"/>
                  </a:lnTo>
                  <a:lnTo>
                    <a:pt x="1" y="598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0085" name="Rectangle 5"/>
            <p:cNvSpPr>
              <a:spLocks noChangeArrowheads="1"/>
            </p:cNvSpPr>
            <p:nvPr/>
          </p:nvSpPr>
          <p:spPr bwMode="gray">
            <a:xfrm>
              <a:off x="443" y="3112"/>
              <a:ext cx="1479" cy="1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0086" name="AutoShape 6"/>
            <p:cNvSpPr>
              <a:spLocks noChangeArrowheads="1"/>
            </p:cNvSpPr>
            <p:nvPr/>
          </p:nvSpPr>
          <p:spPr bwMode="gray">
            <a:xfrm>
              <a:off x="374" y="1863"/>
              <a:ext cx="1836" cy="710"/>
            </a:xfrm>
            <a:prstGeom prst="rightArrow">
              <a:avLst>
                <a:gd name="adj1" fmla="val 63380"/>
                <a:gd name="adj2" fmla="val 46115"/>
              </a:avLst>
            </a:prstGeom>
            <a:solidFill>
              <a:srgbClr val="EAEAEA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tIns="0" rIns="0" bIns="0" anchor="ctr"/>
            <a:lstStyle/>
            <a:p>
              <a:pPr defTabSz="912813"/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0087" name="Rectangle 7"/>
            <p:cNvSpPr>
              <a:spLocks noChangeArrowheads="1"/>
            </p:cNvSpPr>
            <p:nvPr/>
          </p:nvSpPr>
          <p:spPr bwMode="gray">
            <a:xfrm>
              <a:off x="443" y="1109"/>
              <a:ext cx="1479" cy="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>
                <a:lnSpc>
                  <a:spcPct val="85000"/>
                </a:lnSpc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0088" name="Freeform 8"/>
            <p:cNvSpPr>
              <a:spLocks/>
            </p:cNvSpPr>
            <p:nvPr/>
          </p:nvSpPr>
          <p:spPr bwMode="gray">
            <a:xfrm flipH="1" flipV="1">
              <a:off x="3074" y="2624"/>
              <a:ext cx="2293" cy="861"/>
            </a:xfrm>
            <a:custGeom>
              <a:avLst/>
              <a:gdLst>
                <a:gd name="T0" fmla="*/ 0 w 2236"/>
                <a:gd name="T1" fmla="*/ 0 h 841"/>
                <a:gd name="T2" fmla="*/ 1746 w 2236"/>
                <a:gd name="T3" fmla="*/ 0 h 841"/>
                <a:gd name="T4" fmla="*/ 2133 w 2236"/>
                <a:gd name="T5" fmla="*/ 391 h 841"/>
                <a:gd name="T6" fmla="*/ 2236 w 2236"/>
                <a:gd name="T7" fmla="*/ 305 h 841"/>
                <a:gd name="T8" fmla="*/ 2091 w 2236"/>
                <a:gd name="T9" fmla="*/ 709 h 841"/>
                <a:gd name="T10" fmla="*/ 1620 w 2236"/>
                <a:gd name="T11" fmla="*/ 841 h 841"/>
                <a:gd name="T12" fmla="*/ 1734 w 2236"/>
                <a:gd name="T13" fmla="*/ 745 h 841"/>
                <a:gd name="T14" fmla="*/ 1589 w 2236"/>
                <a:gd name="T15" fmla="*/ 598 h 841"/>
                <a:gd name="T16" fmla="*/ 1 w 2236"/>
                <a:gd name="T17" fmla="*/ 598 h 841"/>
                <a:gd name="T18" fmla="*/ 0 w 2236"/>
                <a:gd name="T19" fmla="*/ 0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36" h="841">
                  <a:moveTo>
                    <a:pt x="0" y="0"/>
                  </a:moveTo>
                  <a:lnTo>
                    <a:pt x="1746" y="0"/>
                  </a:lnTo>
                  <a:lnTo>
                    <a:pt x="2133" y="391"/>
                  </a:lnTo>
                  <a:lnTo>
                    <a:pt x="2236" y="305"/>
                  </a:lnTo>
                  <a:lnTo>
                    <a:pt x="2091" y="709"/>
                  </a:lnTo>
                  <a:lnTo>
                    <a:pt x="1620" y="841"/>
                  </a:lnTo>
                  <a:lnTo>
                    <a:pt x="1734" y="745"/>
                  </a:lnTo>
                  <a:lnTo>
                    <a:pt x="1589" y="598"/>
                  </a:lnTo>
                  <a:lnTo>
                    <a:pt x="1" y="598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0089" name="Rectangle 9"/>
            <p:cNvSpPr>
              <a:spLocks noChangeArrowheads="1"/>
            </p:cNvSpPr>
            <p:nvPr/>
          </p:nvSpPr>
          <p:spPr bwMode="gray">
            <a:xfrm>
              <a:off x="3812" y="3112"/>
              <a:ext cx="1479" cy="1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0090" name="Rectangle 10"/>
            <p:cNvSpPr>
              <a:spLocks noChangeArrowheads="1"/>
            </p:cNvSpPr>
            <p:nvPr/>
          </p:nvSpPr>
          <p:spPr bwMode="gray">
            <a:xfrm>
              <a:off x="3812" y="1109"/>
              <a:ext cx="1479" cy="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>
                <a:lnSpc>
                  <a:spcPct val="85000"/>
                </a:lnSpc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0091" name="Freeform 11"/>
            <p:cNvSpPr>
              <a:spLocks/>
            </p:cNvSpPr>
            <p:nvPr/>
          </p:nvSpPr>
          <p:spPr bwMode="gray">
            <a:xfrm>
              <a:off x="2306" y="1756"/>
              <a:ext cx="1122" cy="940"/>
            </a:xfrm>
            <a:custGeom>
              <a:avLst/>
              <a:gdLst>
                <a:gd name="T0" fmla="*/ 320 w 1339"/>
                <a:gd name="T1" fmla="*/ 0 h 805"/>
                <a:gd name="T2" fmla="*/ 1019 w 1339"/>
                <a:gd name="T3" fmla="*/ 0 h 805"/>
                <a:gd name="T4" fmla="*/ 1339 w 1339"/>
                <a:gd name="T5" fmla="*/ 403 h 805"/>
                <a:gd name="T6" fmla="*/ 1019 w 1339"/>
                <a:gd name="T7" fmla="*/ 805 h 805"/>
                <a:gd name="T8" fmla="*/ 328 w 1339"/>
                <a:gd name="T9" fmla="*/ 805 h 805"/>
                <a:gd name="T10" fmla="*/ 0 w 1339"/>
                <a:gd name="T11" fmla="*/ 394 h 805"/>
                <a:gd name="T12" fmla="*/ 320 w 1339"/>
                <a:gd name="T13" fmla="*/ 0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9" h="805">
                  <a:moveTo>
                    <a:pt x="320" y="0"/>
                  </a:moveTo>
                  <a:lnTo>
                    <a:pt x="1019" y="0"/>
                  </a:lnTo>
                  <a:lnTo>
                    <a:pt x="1339" y="403"/>
                  </a:lnTo>
                  <a:lnTo>
                    <a:pt x="1019" y="805"/>
                  </a:lnTo>
                  <a:lnTo>
                    <a:pt x="328" y="805"/>
                  </a:lnTo>
                  <a:lnTo>
                    <a:pt x="0" y="394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0092" name="AutoShape 12"/>
            <p:cNvSpPr>
              <a:spLocks noChangeArrowheads="1"/>
            </p:cNvSpPr>
            <p:nvPr/>
          </p:nvSpPr>
          <p:spPr bwMode="gray">
            <a:xfrm flipH="1">
              <a:off x="3531" y="1869"/>
              <a:ext cx="1836" cy="710"/>
            </a:xfrm>
            <a:prstGeom prst="rightArrow">
              <a:avLst>
                <a:gd name="adj1" fmla="val 63380"/>
                <a:gd name="adj2" fmla="val 46115"/>
              </a:avLst>
            </a:prstGeom>
            <a:solidFill>
              <a:srgbClr val="EAEAEA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tIns="0" rIns="0" bIns="0" anchor="ctr"/>
            <a:lstStyle/>
            <a:p>
              <a:pPr defTabSz="912813"/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0093" name="Freeform 13"/>
            <p:cNvSpPr>
              <a:spLocks/>
            </p:cNvSpPr>
            <p:nvPr/>
          </p:nvSpPr>
          <p:spPr bwMode="gray">
            <a:xfrm>
              <a:off x="369" y="937"/>
              <a:ext cx="2293" cy="861"/>
            </a:xfrm>
            <a:custGeom>
              <a:avLst/>
              <a:gdLst>
                <a:gd name="T0" fmla="*/ 0 w 2236"/>
                <a:gd name="T1" fmla="*/ 0 h 841"/>
                <a:gd name="T2" fmla="*/ 1746 w 2236"/>
                <a:gd name="T3" fmla="*/ 0 h 841"/>
                <a:gd name="T4" fmla="*/ 2133 w 2236"/>
                <a:gd name="T5" fmla="*/ 391 h 841"/>
                <a:gd name="T6" fmla="*/ 2236 w 2236"/>
                <a:gd name="T7" fmla="*/ 305 h 841"/>
                <a:gd name="T8" fmla="*/ 2091 w 2236"/>
                <a:gd name="T9" fmla="*/ 709 h 841"/>
                <a:gd name="T10" fmla="*/ 1620 w 2236"/>
                <a:gd name="T11" fmla="*/ 841 h 841"/>
                <a:gd name="T12" fmla="*/ 1734 w 2236"/>
                <a:gd name="T13" fmla="*/ 745 h 841"/>
                <a:gd name="T14" fmla="*/ 1589 w 2236"/>
                <a:gd name="T15" fmla="*/ 598 h 841"/>
                <a:gd name="T16" fmla="*/ 1 w 2236"/>
                <a:gd name="T17" fmla="*/ 598 h 841"/>
                <a:gd name="T18" fmla="*/ 0 w 2236"/>
                <a:gd name="T19" fmla="*/ 0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36" h="841">
                  <a:moveTo>
                    <a:pt x="0" y="0"/>
                  </a:moveTo>
                  <a:lnTo>
                    <a:pt x="1746" y="0"/>
                  </a:lnTo>
                  <a:lnTo>
                    <a:pt x="2133" y="391"/>
                  </a:lnTo>
                  <a:lnTo>
                    <a:pt x="2236" y="305"/>
                  </a:lnTo>
                  <a:lnTo>
                    <a:pt x="2091" y="709"/>
                  </a:lnTo>
                  <a:lnTo>
                    <a:pt x="1620" y="841"/>
                  </a:lnTo>
                  <a:lnTo>
                    <a:pt x="1734" y="745"/>
                  </a:lnTo>
                  <a:lnTo>
                    <a:pt x="1589" y="598"/>
                  </a:lnTo>
                  <a:lnTo>
                    <a:pt x="1" y="598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0094" name="Rectangle 14"/>
            <p:cNvSpPr>
              <a:spLocks noChangeArrowheads="1"/>
            </p:cNvSpPr>
            <p:nvPr/>
          </p:nvSpPr>
          <p:spPr bwMode="gray">
            <a:xfrm>
              <a:off x="443" y="1164"/>
              <a:ext cx="1479" cy="1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0095" name="Freeform 15"/>
            <p:cNvSpPr>
              <a:spLocks/>
            </p:cNvSpPr>
            <p:nvPr/>
          </p:nvSpPr>
          <p:spPr bwMode="gray">
            <a:xfrm flipH="1">
              <a:off x="3074" y="937"/>
              <a:ext cx="2293" cy="861"/>
            </a:xfrm>
            <a:custGeom>
              <a:avLst/>
              <a:gdLst>
                <a:gd name="T0" fmla="*/ 0 w 2236"/>
                <a:gd name="T1" fmla="*/ 0 h 841"/>
                <a:gd name="T2" fmla="*/ 1746 w 2236"/>
                <a:gd name="T3" fmla="*/ 0 h 841"/>
                <a:gd name="T4" fmla="*/ 2133 w 2236"/>
                <a:gd name="T5" fmla="*/ 391 h 841"/>
                <a:gd name="T6" fmla="*/ 2236 w 2236"/>
                <a:gd name="T7" fmla="*/ 305 h 841"/>
                <a:gd name="T8" fmla="*/ 2091 w 2236"/>
                <a:gd name="T9" fmla="*/ 709 h 841"/>
                <a:gd name="T10" fmla="*/ 1620 w 2236"/>
                <a:gd name="T11" fmla="*/ 841 h 841"/>
                <a:gd name="T12" fmla="*/ 1734 w 2236"/>
                <a:gd name="T13" fmla="*/ 745 h 841"/>
                <a:gd name="T14" fmla="*/ 1589 w 2236"/>
                <a:gd name="T15" fmla="*/ 598 h 841"/>
                <a:gd name="T16" fmla="*/ 1 w 2236"/>
                <a:gd name="T17" fmla="*/ 598 h 841"/>
                <a:gd name="T18" fmla="*/ 0 w 2236"/>
                <a:gd name="T19" fmla="*/ 0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36" h="841">
                  <a:moveTo>
                    <a:pt x="0" y="0"/>
                  </a:moveTo>
                  <a:lnTo>
                    <a:pt x="1746" y="0"/>
                  </a:lnTo>
                  <a:lnTo>
                    <a:pt x="2133" y="391"/>
                  </a:lnTo>
                  <a:lnTo>
                    <a:pt x="2236" y="305"/>
                  </a:lnTo>
                  <a:lnTo>
                    <a:pt x="2091" y="709"/>
                  </a:lnTo>
                  <a:lnTo>
                    <a:pt x="1620" y="841"/>
                  </a:lnTo>
                  <a:lnTo>
                    <a:pt x="1734" y="745"/>
                  </a:lnTo>
                  <a:lnTo>
                    <a:pt x="1589" y="598"/>
                  </a:lnTo>
                  <a:lnTo>
                    <a:pt x="1" y="598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0096" name="Rectangle 16"/>
            <p:cNvSpPr>
              <a:spLocks noChangeArrowheads="1"/>
            </p:cNvSpPr>
            <p:nvPr/>
          </p:nvSpPr>
          <p:spPr bwMode="gray">
            <a:xfrm>
              <a:off x="3812" y="1164"/>
              <a:ext cx="1479" cy="1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0097" name="Rectangle 17"/>
            <p:cNvSpPr>
              <a:spLocks noChangeArrowheads="1"/>
            </p:cNvSpPr>
            <p:nvPr/>
          </p:nvSpPr>
          <p:spPr bwMode="gray">
            <a:xfrm>
              <a:off x="2533" y="2088"/>
              <a:ext cx="668" cy="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0098" name="Rectangle 18"/>
            <p:cNvSpPr>
              <a:spLocks noChangeArrowheads="1"/>
            </p:cNvSpPr>
            <p:nvPr/>
          </p:nvSpPr>
          <p:spPr bwMode="gray">
            <a:xfrm>
              <a:off x="443" y="2130"/>
              <a:ext cx="1479" cy="1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0099" name="Rectangle 19"/>
            <p:cNvSpPr>
              <a:spLocks noChangeArrowheads="1"/>
            </p:cNvSpPr>
            <p:nvPr/>
          </p:nvSpPr>
          <p:spPr bwMode="gray">
            <a:xfrm>
              <a:off x="3812" y="2130"/>
              <a:ext cx="1479" cy="1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300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50114" name="Group 2"/>
          <p:cNvGrpSpPr>
            <a:grpSpLocks/>
          </p:cNvGrpSpPr>
          <p:nvPr/>
        </p:nvGrpSpPr>
        <p:grpSpPr bwMode="auto">
          <a:xfrm>
            <a:off x="2573338" y="2263368"/>
            <a:ext cx="7035800" cy="3411538"/>
            <a:chOff x="583" y="1022"/>
            <a:chExt cx="4432" cy="2149"/>
          </a:xfrm>
        </p:grpSpPr>
        <p:sp>
          <p:nvSpPr>
            <p:cNvPr id="2650115" name="AutoShape 3"/>
            <p:cNvSpPr>
              <a:spLocks noChangeArrowheads="1"/>
            </p:cNvSpPr>
            <p:nvPr/>
          </p:nvSpPr>
          <p:spPr bwMode="gray">
            <a:xfrm flipH="1">
              <a:off x="2717" y="1755"/>
              <a:ext cx="2298" cy="1416"/>
            </a:xfrm>
            <a:prstGeom prst="homePlate">
              <a:avLst>
                <a:gd name="adj" fmla="val 14854"/>
              </a:avLst>
            </a:prstGeom>
            <a:solidFill>
              <a:schemeClr val="bg1">
                <a:lumMod val="7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50116" name="AutoShape 4"/>
            <p:cNvSpPr>
              <a:spLocks noChangeArrowheads="1"/>
            </p:cNvSpPr>
            <p:nvPr/>
          </p:nvSpPr>
          <p:spPr bwMode="gray">
            <a:xfrm>
              <a:off x="583" y="1022"/>
              <a:ext cx="2298" cy="1416"/>
            </a:xfrm>
            <a:prstGeom prst="homePlate">
              <a:avLst>
                <a:gd name="adj" fmla="val 14854"/>
              </a:avLst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 dirty="0">
                  <a:latin typeface="Baskerville" charset="0"/>
                  <a:ea typeface="Baskerville" charset="0"/>
                  <a:cs typeface="Baskerville" charset="0"/>
                </a:rPr>
                <a:t> Text</a:t>
              </a:r>
            </a:p>
          </p:txBody>
        </p:sp>
      </p:grpSp>
      <p:sp>
        <p:nvSpPr>
          <p:cNvPr id="2650117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ction/Reacti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246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28642" name="Group 2"/>
          <p:cNvGrpSpPr>
            <a:grpSpLocks/>
          </p:cNvGrpSpPr>
          <p:nvPr/>
        </p:nvGrpSpPr>
        <p:grpSpPr bwMode="auto">
          <a:xfrm>
            <a:off x="2781301" y="2180240"/>
            <a:ext cx="6607175" cy="2797175"/>
            <a:chOff x="858" y="1268"/>
            <a:chExt cx="4509" cy="1762"/>
          </a:xfrm>
        </p:grpSpPr>
        <p:sp>
          <p:nvSpPr>
            <p:cNvPr id="2928643" name="Line 3"/>
            <p:cNvSpPr>
              <a:spLocks noChangeShapeType="1"/>
            </p:cNvSpPr>
            <p:nvPr/>
          </p:nvSpPr>
          <p:spPr bwMode="gray">
            <a:xfrm flipH="1">
              <a:off x="1171" y="1351"/>
              <a:ext cx="780" cy="89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28644" name="Oval 4"/>
            <p:cNvSpPr>
              <a:spLocks noChangeArrowheads="1"/>
            </p:cNvSpPr>
            <p:nvPr/>
          </p:nvSpPr>
          <p:spPr bwMode="gray">
            <a:xfrm>
              <a:off x="3705" y="2488"/>
              <a:ext cx="589" cy="542"/>
            </a:xfrm>
            <a:prstGeom prst="ellips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28645" name="Oval 5"/>
            <p:cNvSpPr>
              <a:spLocks noChangeArrowheads="1"/>
            </p:cNvSpPr>
            <p:nvPr/>
          </p:nvSpPr>
          <p:spPr bwMode="gray">
            <a:xfrm>
              <a:off x="2528" y="2488"/>
              <a:ext cx="580" cy="534"/>
            </a:xfrm>
            <a:prstGeom prst="ellips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28646" name="Oval 6"/>
            <p:cNvSpPr>
              <a:spLocks noChangeArrowheads="1"/>
            </p:cNvSpPr>
            <p:nvPr/>
          </p:nvSpPr>
          <p:spPr bwMode="gray">
            <a:xfrm>
              <a:off x="3116" y="2488"/>
              <a:ext cx="581" cy="534"/>
            </a:xfrm>
            <a:prstGeom prst="ellips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28647" name="Rectangle 7"/>
            <p:cNvSpPr>
              <a:spLocks noChangeArrowheads="1"/>
            </p:cNvSpPr>
            <p:nvPr/>
          </p:nvSpPr>
          <p:spPr bwMode="gray">
            <a:xfrm>
              <a:off x="1947" y="1268"/>
              <a:ext cx="2345" cy="80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28648" name="Line 8"/>
            <p:cNvSpPr>
              <a:spLocks noChangeShapeType="1"/>
            </p:cNvSpPr>
            <p:nvPr/>
          </p:nvSpPr>
          <p:spPr bwMode="gray">
            <a:xfrm flipV="1">
              <a:off x="2826" y="1344"/>
              <a:ext cx="0" cy="114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28649" name="Line 9"/>
            <p:cNvSpPr>
              <a:spLocks noChangeShapeType="1"/>
            </p:cNvSpPr>
            <p:nvPr/>
          </p:nvSpPr>
          <p:spPr bwMode="gray">
            <a:xfrm flipV="1">
              <a:off x="3416" y="1344"/>
              <a:ext cx="0" cy="114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28650" name="Oval 10"/>
            <p:cNvSpPr>
              <a:spLocks noChangeArrowheads="1"/>
            </p:cNvSpPr>
            <p:nvPr/>
          </p:nvSpPr>
          <p:spPr bwMode="gray">
            <a:xfrm>
              <a:off x="1940" y="2480"/>
              <a:ext cx="580" cy="534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28651" name="Oval 11"/>
            <p:cNvSpPr>
              <a:spLocks noChangeArrowheads="1"/>
            </p:cNvSpPr>
            <p:nvPr/>
          </p:nvSpPr>
          <p:spPr bwMode="gray">
            <a:xfrm>
              <a:off x="1940" y="2480"/>
              <a:ext cx="580" cy="534"/>
            </a:xfrm>
            <a:prstGeom prst="ellips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28652" name="Line 12"/>
            <p:cNvSpPr>
              <a:spLocks noChangeShapeType="1"/>
            </p:cNvSpPr>
            <p:nvPr/>
          </p:nvSpPr>
          <p:spPr bwMode="gray">
            <a:xfrm flipV="1">
              <a:off x="2238" y="1344"/>
              <a:ext cx="0" cy="114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2928653" name="Group 13"/>
            <p:cNvGrpSpPr>
              <a:grpSpLocks/>
            </p:cNvGrpSpPr>
            <p:nvPr/>
          </p:nvGrpSpPr>
          <p:grpSpPr bwMode="auto">
            <a:xfrm>
              <a:off x="1407" y="2560"/>
              <a:ext cx="461" cy="196"/>
              <a:chOff x="1407" y="2560"/>
              <a:chExt cx="461" cy="196"/>
            </a:xfrm>
          </p:grpSpPr>
          <p:sp>
            <p:nvSpPr>
              <p:cNvPr id="2928654" name="Freeform 14"/>
              <p:cNvSpPr>
                <a:spLocks/>
              </p:cNvSpPr>
              <p:nvPr/>
            </p:nvSpPr>
            <p:spPr bwMode="gray">
              <a:xfrm>
                <a:off x="1789" y="2667"/>
                <a:ext cx="79" cy="89"/>
              </a:xfrm>
              <a:custGeom>
                <a:avLst/>
                <a:gdLst>
                  <a:gd name="T0" fmla="*/ 78 w 79"/>
                  <a:gd name="T1" fmla="*/ 64 h 89"/>
                  <a:gd name="T2" fmla="*/ 0 w 79"/>
                  <a:gd name="T3" fmla="*/ 88 h 89"/>
                  <a:gd name="T4" fmla="*/ 26 w 79"/>
                  <a:gd name="T5" fmla="*/ 40 h 89"/>
                  <a:gd name="T6" fmla="*/ 43 w 79"/>
                  <a:gd name="T7" fmla="*/ 0 h 89"/>
                  <a:gd name="T8" fmla="*/ 78 w 79"/>
                  <a:gd name="T9" fmla="*/ 64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" h="89">
                    <a:moveTo>
                      <a:pt x="78" y="64"/>
                    </a:moveTo>
                    <a:lnTo>
                      <a:pt x="0" y="88"/>
                    </a:lnTo>
                    <a:lnTo>
                      <a:pt x="26" y="40"/>
                    </a:lnTo>
                    <a:lnTo>
                      <a:pt x="43" y="0"/>
                    </a:lnTo>
                    <a:lnTo>
                      <a:pt x="78" y="64"/>
                    </a:lnTo>
                  </a:path>
                </a:pathLst>
              </a:custGeom>
              <a:solidFill>
                <a:srgbClr val="000000"/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28655" name="Line 15"/>
              <p:cNvSpPr>
                <a:spLocks noChangeShapeType="1"/>
              </p:cNvSpPr>
              <p:nvPr/>
            </p:nvSpPr>
            <p:spPr bwMode="gray">
              <a:xfrm>
                <a:off x="1407" y="2560"/>
                <a:ext cx="416" cy="15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928656" name="Oval 16"/>
            <p:cNvSpPr>
              <a:spLocks noChangeArrowheads="1"/>
            </p:cNvSpPr>
            <p:nvPr/>
          </p:nvSpPr>
          <p:spPr bwMode="gray">
            <a:xfrm>
              <a:off x="4787" y="2057"/>
              <a:ext cx="580" cy="535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28657" name="Oval 17"/>
            <p:cNvSpPr>
              <a:spLocks noChangeArrowheads="1"/>
            </p:cNvSpPr>
            <p:nvPr/>
          </p:nvSpPr>
          <p:spPr bwMode="gray">
            <a:xfrm>
              <a:off x="4787" y="2057"/>
              <a:ext cx="580" cy="535"/>
            </a:xfrm>
            <a:prstGeom prst="ellips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2928658" name="Group 18"/>
            <p:cNvGrpSpPr>
              <a:grpSpLocks/>
            </p:cNvGrpSpPr>
            <p:nvPr/>
          </p:nvGrpSpPr>
          <p:grpSpPr bwMode="auto">
            <a:xfrm>
              <a:off x="4358" y="2548"/>
              <a:ext cx="461" cy="195"/>
              <a:chOff x="4358" y="2548"/>
              <a:chExt cx="461" cy="195"/>
            </a:xfrm>
          </p:grpSpPr>
          <p:sp>
            <p:nvSpPr>
              <p:cNvPr id="2928659" name="Freeform 19"/>
              <p:cNvSpPr>
                <a:spLocks/>
              </p:cNvSpPr>
              <p:nvPr/>
            </p:nvSpPr>
            <p:spPr bwMode="gray">
              <a:xfrm>
                <a:off x="4740" y="2548"/>
                <a:ext cx="79" cy="89"/>
              </a:xfrm>
              <a:custGeom>
                <a:avLst/>
                <a:gdLst>
                  <a:gd name="T0" fmla="*/ 78 w 79"/>
                  <a:gd name="T1" fmla="*/ 24 h 89"/>
                  <a:gd name="T2" fmla="*/ 43 w 79"/>
                  <a:gd name="T3" fmla="*/ 88 h 89"/>
                  <a:gd name="T4" fmla="*/ 26 w 79"/>
                  <a:gd name="T5" fmla="*/ 48 h 89"/>
                  <a:gd name="T6" fmla="*/ 0 w 79"/>
                  <a:gd name="T7" fmla="*/ 0 h 89"/>
                  <a:gd name="T8" fmla="*/ 78 w 79"/>
                  <a:gd name="T9" fmla="*/ 24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9" h="89">
                    <a:moveTo>
                      <a:pt x="78" y="24"/>
                    </a:moveTo>
                    <a:lnTo>
                      <a:pt x="43" y="88"/>
                    </a:lnTo>
                    <a:lnTo>
                      <a:pt x="26" y="48"/>
                    </a:lnTo>
                    <a:lnTo>
                      <a:pt x="0" y="0"/>
                    </a:lnTo>
                    <a:lnTo>
                      <a:pt x="78" y="24"/>
                    </a:lnTo>
                  </a:path>
                </a:pathLst>
              </a:custGeom>
              <a:solidFill>
                <a:srgbClr val="000000"/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28660" name="Line 20"/>
              <p:cNvSpPr>
                <a:spLocks noChangeShapeType="1"/>
              </p:cNvSpPr>
              <p:nvPr/>
            </p:nvSpPr>
            <p:spPr bwMode="gray">
              <a:xfrm flipV="1">
                <a:off x="4358" y="2593"/>
                <a:ext cx="416" cy="15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928661" name="Line 21"/>
            <p:cNvSpPr>
              <a:spLocks noChangeShapeType="1"/>
            </p:cNvSpPr>
            <p:nvPr/>
          </p:nvSpPr>
          <p:spPr bwMode="gray">
            <a:xfrm>
              <a:off x="3995" y="1352"/>
              <a:ext cx="892" cy="78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2928662" name="Group 22"/>
            <p:cNvGrpSpPr>
              <a:grpSpLocks/>
            </p:cNvGrpSpPr>
            <p:nvPr/>
          </p:nvGrpSpPr>
          <p:grpSpPr bwMode="auto">
            <a:xfrm>
              <a:off x="2411" y="2699"/>
              <a:ext cx="218" cy="97"/>
              <a:chOff x="2411" y="2699"/>
              <a:chExt cx="218" cy="97"/>
            </a:xfrm>
          </p:grpSpPr>
          <p:sp>
            <p:nvSpPr>
              <p:cNvPr id="2928663" name="Freeform 23"/>
              <p:cNvSpPr>
                <a:spLocks/>
              </p:cNvSpPr>
              <p:nvPr/>
            </p:nvSpPr>
            <p:spPr bwMode="gray">
              <a:xfrm>
                <a:off x="2567" y="2699"/>
                <a:ext cx="62" cy="97"/>
              </a:xfrm>
              <a:custGeom>
                <a:avLst/>
                <a:gdLst>
                  <a:gd name="T0" fmla="*/ 61 w 62"/>
                  <a:gd name="T1" fmla="*/ 48 h 97"/>
                  <a:gd name="T2" fmla="*/ 0 w 62"/>
                  <a:gd name="T3" fmla="*/ 96 h 97"/>
                  <a:gd name="T4" fmla="*/ 0 w 62"/>
                  <a:gd name="T5" fmla="*/ 48 h 97"/>
                  <a:gd name="T6" fmla="*/ 0 w 62"/>
                  <a:gd name="T7" fmla="*/ 0 h 97"/>
                  <a:gd name="T8" fmla="*/ 61 w 62"/>
                  <a:gd name="T9" fmla="*/ 48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97">
                    <a:moveTo>
                      <a:pt x="61" y="48"/>
                    </a:moveTo>
                    <a:lnTo>
                      <a:pt x="0" y="96"/>
                    </a:lnTo>
                    <a:lnTo>
                      <a:pt x="0" y="48"/>
                    </a:lnTo>
                    <a:lnTo>
                      <a:pt x="0" y="0"/>
                    </a:lnTo>
                    <a:lnTo>
                      <a:pt x="61" y="48"/>
                    </a:lnTo>
                  </a:path>
                </a:pathLst>
              </a:custGeom>
              <a:solidFill>
                <a:srgbClr val="000000"/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28664" name="Line 24"/>
              <p:cNvSpPr>
                <a:spLocks noChangeShapeType="1"/>
              </p:cNvSpPr>
              <p:nvPr/>
            </p:nvSpPr>
            <p:spPr bwMode="gray">
              <a:xfrm>
                <a:off x="2411" y="2747"/>
                <a:ext cx="16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928665" name="Group 25"/>
            <p:cNvGrpSpPr>
              <a:grpSpLocks/>
            </p:cNvGrpSpPr>
            <p:nvPr/>
          </p:nvGrpSpPr>
          <p:grpSpPr bwMode="auto">
            <a:xfrm>
              <a:off x="3008" y="2699"/>
              <a:ext cx="218" cy="97"/>
              <a:chOff x="3008" y="2699"/>
              <a:chExt cx="218" cy="97"/>
            </a:xfrm>
          </p:grpSpPr>
          <p:sp>
            <p:nvSpPr>
              <p:cNvPr id="2928666" name="Freeform 26"/>
              <p:cNvSpPr>
                <a:spLocks/>
              </p:cNvSpPr>
              <p:nvPr/>
            </p:nvSpPr>
            <p:spPr bwMode="gray">
              <a:xfrm>
                <a:off x="3164" y="2699"/>
                <a:ext cx="62" cy="97"/>
              </a:xfrm>
              <a:custGeom>
                <a:avLst/>
                <a:gdLst>
                  <a:gd name="T0" fmla="*/ 61 w 62"/>
                  <a:gd name="T1" fmla="*/ 48 h 97"/>
                  <a:gd name="T2" fmla="*/ 0 w 62"/>
                  <a:gd name="T3" fmla="*/ 96 h 97"/>
                  <a:gd name="T4" fmla="*/ 0 w 62"/>
                  <a:gd name="T5" fmla="*/ 48 h 97"/>
                  <a:gd name="T6" fmla="*/ 0 w 62"/>
                  <a:gd name="T7" fmla="*/ 0 h 97"/>
                  <a:gd name="T8" fmla="*/ 61 w 62"/>
                  <a:gd name="T9" fmla="*/ 48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97">
                    <a:moveTo>
                      <a:pt x="61" y="48"/>
                    </a:moveTo>
                    <a:lnTo>
                      <a:pt x="0" y="96"/>
                    </a:lnTo>
                    <a:lnTo>
                      <a:pt x="0" y="48"/>
                    </a:lnTo>
                    <a:lnTo>
                      <a:pt x="0" y="0"/>
                    </a:lnTo>
                    <a:lnTo>
                      <a:pt x="61" y="48"/>
                    </a:lnTo>
                  </a:path>
                </a:pathLst>
              </a:custGeom>
              <a:solidFill>
                <a:srgbClr val="000000"/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28667" name="Line 27"/>
              <p:cNvSpPr>
                <a:spLocks noChangeShapeType="1"/>
              </p:cNvSpPr>
              <p:nvPr/>
            </p:nvSpPr>
            <p:spPr bwMode="gray">
              <a:xfrm>
                <a:off x="3008" y="2747"/>
                <a:ext cx="16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928668" name="Group 28"/>
            <p:cNvGrpSpPr>
              <a:grpSpLocks/>
            </p:cNvGrpSpPr>
            <p:nvPr/>
          </p:nvGrpSpPr>
          <p:grpSpPr bwMode="auto">
            <a:xfrm>
              <a:off x="3605" y="2699"/>
              <a:ext cx="218" cy="97"/>
              <a:chOff x="3605" y="2699"/>
              <a:chExt cx="218" cy="97"/>
            </a:xfrm>
          </p:grpSpPr>
          <p:sp>
            <p:nvSpPr>
              <p:cNvPr id="2928669" name="Freeform 29"/>
              <p:cNvSpPr>
                <a:spLocks/>
              </p:cNvSpPr>
              <p:nvPr/>
            </p:nvSpPr>
            <p:spPr bwMode="gray">
              <a:xfrm>
                <a:off x="3761" y="2699"/>
                <a:ext cx="62" cy="97"/>
              </a:xfrm>
              <a:custGeom>
                <a:avLst/>
                <a:gdLst>
                  <a:gd name="T0" fmla="*/ 61 w 62"/>
                  <a:gd name="T1" fmla="*/ 48 h 97"/>
                  <a:gd name="T2" fmla="*/ 0 w 62"/>
                  <a:gd name="T3" fmla="*/ 96 h 97"/>
                  <a:gd name="T4" fmla="*/ 0 w 62"/>
                  <a:gd name="T5" fmla="*/ 48 h 97"/>
                  <a:gd name="T6" fmla="*/ 0 w 62"/>
                  <a:gd name="T7" fmla="*/ 0 h 97"/>
                  <a:gd name="T8" fmla="*/ 61 w 62"/>
                  <a:gd name="T9" fmla="*/ 48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97">
                    <a:moveTo>
                      <a:pt x="61" y="48"/>
                    </a:moveTo>
                    <a:lnTo>
                      <a:pt x="0" y="96"/>
                    </a:lnTo>
                    <a:lnTo>
                      <a:pt x="0" y="48"/>
                    </a:lnTo>
                    <a:lnTo>
                      <a:pt x="0" y="0"/>
                    </a:lnTo>
                    <a:lnTo>
                      <a:pt x="61" y="48"/>
                    </a:lnTo>
                  </a:path>
                </a:pathLst>
              </a:custGeom>
              <a:solidFill>
                <a:srgbClr val="000000"/>
              </a:solidFill>
              <a:ln w="9525" cap="rnd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28670" name="Line 30"/>
              <p:cNvSpPr>
                <a:spLocks noChangeShapeType="1"/>
              </p:cNvSpPr>
              <p:nvPr/>
            </p:nvSpPr>
            <p:spPr bwMode="gray">
              <a:xfrm>
                <a:off x="3605" y="2747"/>
                <a:ext cx="16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928671" name="Oval 31"/>
            <p:cNvSpPr>
              <a:spLocks noChangeArrowheads="1"/>
            </p:cNvSpPr>
            <p:nvPr/>
          </p:nvSpPr>
          <p:spPr bwMode="gray">
            <a:xfrm>
              <a:off x="858" y="2049"/>
              <a:ext cx="589" cy="543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928672" name="Line 32"/>
            <p:cNvSpPr>
              <a:spLocks noChangeShapeType="1"/>
            </p:cNvSpPr>
            <p:nvPr/>
          </p:nvSpPr>
          <p:spPr bwMode="gray">
            <a:xfrm flipV="1">
              <a:off x="3992" y="1344"/>
              <a:ext cx="0" cy="114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928673" name="Rectangle 3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acti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26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0916" name="Oval 4"/>
          <p:cNvSpPr>
            <a:spLocks noChangeArrowheads="1"/>
          </p:cNvSpPr>
          <p:nvPr/>
        </p:nvSpPr>
        <p:spPr bwMode="gray">
          <a:xfrm>
            <a:off x="605655" y="541713"/>
            <a:ext cx="3818489" cy="86558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4000" b="1" dirty="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  <a:t>Interacti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912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60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action</a:t>
            </a:r>
          </a:p>
        </p:txBody>
      </p:sp>
      <p:grpSp>
        <p:nvGrpSpPr>
          <p:cNvPr id="2646024" name="Group 8"/>
          <p:cNvGrpSpPr>
            <a:grpSpLocks/>
          </p:cNvGrpSpPr>
          <p:nvPr/>
        </p:nvGrpSpPr>
        <p:grpSpPr bwMode="auto">
          <a:xfrm>
            <a:off x="1908175" y="1498601"/>
            <a:ext cx="8299450" cy="4646613"/>
            <a:chOff x="242" y="944"/>
            <a:chExt cx="5228" cy="2927"/>
          </a:xfrm>
        </p:grpSpPr>
        <p:sp>
          <p:nvSpPr>
            <p:cNvPr id="2646020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42" y="944"/>
              <a:ext cx="5228" cy="2421"/>
            </a:xfrm>
            <a:custGeom>
              <a:avLst/>
              <a:gdLst>
                <a:gd name="T0" fmla="*/ 839 w 2543"/>
                <a:gd name="T1" fmla="*/ 1015 h 1799"/>
                <a:gd name="T2" fmla="*/ 839 w 2543"/>
                <a:gd name="T3" fmla="*/ 1678 h 1799"/>
                <a:gd name="T4" fmla="*/ 943 w 2543"/>
                <a:gd name="T5" fmla="*/ 1678 h 1799"/>
                <a:gd name="T6" fmla="*/ 719 w 2543"/>
                <a:gd name="T7" fmla="*/ 1798 h 1799"/>
                <a:gd name="T8" fmla="*/ 496 w 2543"/>
                <a:gd name="T9" fmla="*/ 1678 h 1799"/>
                <a:gd name="T10" fmla="*/ 608 w 2543"/>
                <a:gd name="T11" fmla="*/ 1678 h 1799"/>
                <a:gd name="T12" fmla="*/ 608 w 2543"/>
                <a:gd name="T13" fmla="*/ 999 h 1799"/>
                <a:gd name="T14" fmla="*/ 0 w 2543"/>
                <a:gd name="T15" fmla="*/ 959 h 1799"/>
                <a:gd name="T16" fmla="*/ 0 w 2543"/>
                <a:gd name="T17" fmla="*/ 0 h 1799"/>
                <a:gd name="T18" fmla="*/ 2542 w 2543"/>
                <a:gd name="T19" fmla="*/ 0 h 1799"/>
                <a:gd name="T20" fmla="*/ 2542 w 2543"/>
                <a:gd name="T21" fmla="*/ 1127 h 1799"/>
                <a:gd name="T22" fmla="*/ 2086 w 2543"/>
                <a:gd name="T23" fmla="*/ 1103 h 1799"/>
                <a:gd name="T24" fmla="*/ 2086 w 2543"/>
                <a:gd name="T25" fmla="*/ 504 h 1799"/>
                <a:gd name="T26" fmla="*/ 2190 w 2543"/>
                <a:gd name="T27" fmla="*/ 504 h 1799"/>
                <a:gd name="T28" fmla="*/ 1974 w 2543"/>
                <a:gd name="T29" fmla="*/ 392 h 1799"/>
                <a:gd name="T30" fmla="*/ 1751 w 2543"/>
                <a:gd name="T31" fmla="*/ 504 h 1799"/>
                <a:gd name="T32" fmla="*/ 1855 w 2543"/>
                <a:gd name="T33" fmla="*/ 504 h 1799"/>
                <a:gd name="T34" fmla="*/ 1855 w 2543"/>
                <a:gd name="T35" fmla="*/ 1087 h 1799"/>
                <a:gd name="T36" fmla="*/ 839 w 2543"/>
                <a:gd name="T37" fmla="*/ 1015 h 1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3" h="1799">
                  <a:moveTo>
                    <a:pt x="839" y="1015"/>
                  </a:moveTo>
                  <a:lnTo>
                    <a:pt x="839" y="1678"/>
                  </a:lnTo>
                  <a:lnTo>
                    <a:pt x="943" y="1678"/>
                  </a:lnTo>
                  <a:lnTo>
                    <a:pt x="719" y="1798"/>
                  </a:lnTo>
                  <a:lnTo>
                    <a:pt x="496" y="1678"/>
                  </a:lnTo>
                  <a:lnTo>
                    <a:pt x="608" y="1678"/>
                  </a:lnTo>
                  <a:lnTo>
                    <a:pt x="608" y="999"/>
                  </a:lnTo>
                  <a:lnTo>
                    <a:pt x="0" y="959"/>
                  </a:lnTo>
                  <a:lnTo>
                    <a:pt x="0" y="0"/>
                  </a:lnTo>
                  <a:lnTo>
                    <a:pt x="2542" y="0"/>
                  </a:lnTo>
                  <a:lnTo>
                    <a:pt x="2542" y="1127"/>
                  </a:lnTo>
                  <a:lnTo>
                    <a:pt x="2086" y="1103"/>
                  </a:lnTo>
                  <a:lnTo>
                    <a:pt x="2086" y="504"/>
                  </a:lnTo>
                  <a:lnTo>
                    <a:pt x="2190" y="504"/>
                  </a:lnTo>
                  <a:lnTo>
                    <a:pt x="1974" y="392"/>
                  </a:lnTo>
                  <a:lnTo>
                    <a:pt x="1751" y="504"/>
                  </a:lnTo>
                  <a:lnTo>
                    <a:pt x="1855" y="504"/>
                  </a:lnTo>
                  <a:lnTo>
                    <a:pt x="1855" y="1087"/>
                  </a:lnTo>
                  <a:lnTo>
                    <a:pt x="839" y="1015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46021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42" y="1460"/>
              <a:ext cx="5228" cy="2411"/>
            </a:xfrm>
            <a:custGeom>
              <a:avLst/>
              <a:gdLst>
                <a:gd name="T0" fmla="*/ 1855 w 2543"/>
                <a:gd name="T1" fmla="*/ 783 h 1791"/>
                <a:gd name="T2" fmla="*/ 1855 w 2543"/>
                <a:gd name="T3" fmla="*/ 120 h 1791"/>
                <a:gd name="T4" fmla="*/ 1751 w 2543"/>
                <a:gd name="T5" fmla="*/ 120 h 1791"/>
                <a:gd name="T6" fmla="*/ 1974 w 2543"/>
                <a:gd name="T7" fmla="*/ 0 h 1791"/>
                <a:gd name="T8" fmla="*/ 2190 w 2543"/>
                <a:gd name="T9" fmla="*/ 120 h 1791"/>
                <a:gd name="T10" fmla="*/ 2086 w 2543"/>
                <a:gd name="T11" fmla="*/ 120 h 1791"/>
                <a:gd name="T12" fmla="*/ 2086 w 2543"/>
                <a:gd name="T13" fmla="*/ 799 h 1791"/>
                <a:gd name="T14" fmla="*/ 2542 w 2543"/>
                <a:gd name="T15" fmla="*/ 831 h 1791"/>
                <a:gd name="T16" fmla="*/ 2542 w 2543"/>
                <a:gd name="T17" fmla="*/ 1790 h 1791"/>
                <a:gd name="T18" fmla="*/ 0 w 2543"/>
                <a:gd name="T19" fmla="*/ 1790 h 1791"/>
                <a:gd name="T20" fmla="*/ 0 w 2543"/>
                <a:gd name="T21" fmla="*/ 663 h 1791"/>
                <a:gd name="T22" fmla="*/ 608 w 2543"/>
                <a:gd name="T23" fmla="*/ 703 h 1791"/>
                <a:gd name="T24" fmla="*/ 608 w 2543"/>
                <a:gd name="T25" fmla="*/ 1294 h 1791"/>
                <a:gd name="T26" fmla="*/ 496 w 2543"/>
                <a:gd name="T27" fmla="*/ 1294 h 1791"/>
                <a:gd name="T28" fmla="*/ 719 w 2543"/>
                <a:gd name="T29" fmla="*/ 1406 h 1791"/>
                <a:gd name="T30" fmla="*/ 943 w 2543"/>
                <a:gd name="T31" fmla="*/ 1294 h 1791"/>
                <a:gd name="T32" fmla="*/ 839 w 2543"/>
                <a:gd name="T33" fmla="*/ 1294 h 1791"/>
                <a:gd name="T34" fmla="*/ 839 w 2543"/>
                <a:gd name="T35" fmla="*/ 711 h 1791"/>
                <a:gd name="T36" fmla="*/ 1855 w 2543"/>
                <a:gd name="T37" fmla="*/ 783 h 17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43" h="1791">
                  <a:moveTo>
                    <a:pt x="1855" y="783"/>
                  </a:moveTo>
                  <a:lnTo>
                    <a:pt x="1855" y="120"/>
                  </a:lnTo>
                  <a:lnTo>
                    <a:pt x="1751" y="120"/>
                  </a:lnTo>
                  <a:lnTo>
                    <a:pt x="1974" y="0"/>
                  </a:lnTo>
                  <a:lnTo>
                    <a:pt x="2190" y="120"/>
                  </a:lnTo>
                  <a:lnTo>
                    <a:pt x="2086" y="120"/>
                  </a:lnTo>
                  <a:lnTo>
                    <a:pt x="2086" y="799"/>
                  </a:lnTo>
                  <a:lnTo>
                    <a:pt x="2542" y="831"/>
                  </a:lnTo>
                  <a:lnTo>
                    <a:pt x="2542" y="1790"/>
                  </a:lnTo>
                  <a:lnTo>
                    <a:pt x="0" y="1790"/>
                  </a:lnTo>
                  <a:lnTo>
                    <a:pt x="0" y="663"/>
                  </a:lnTo>
                  <a:lnTo>
                    <a:pt x="608" y="703"/>
                  </a:lnTo>
                  <a:lnTo>
                    <a:pt x="608" y="1294"/>
                  </a:lnTo>
                  <a:lnTo>
                    <a:pt x="496" y="1294"/>
                  </a:lnTo>
                  <a:lnTo>
                    <a:pt x="719" y="1406"/>
                  </a:lnTo>
                  <a:lnTo>
                    <a:pt x="943" y="1294"/>
                  </a:lnTo>
                  <a:lnTo>
                    <a:pt x="839" y="1294"/>
                  </a:lnTo>
                  <a:lnTo>
                    <a:pt x="839" y="711"/>
                  </a:lnTo>
                  <a:lnTo>
                    <a:pt x="1855" y="78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rnd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46022" name="Rectangle 6"/>
            <p:cNvSpPr>
              <a:spLocks noChangeArrowheads="1"/>
            </p:cNvSpPr>
            <p:nvPr/>
          </p:nvSpPr>
          <p:spPr bwMode="gray">
            <a:xfrm>
              <a:off x="322" y="1021"/>
              <a:ext cx="5003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de-DE" sz="2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46023" name="Rectangle 7"/>
            <p:cNvSpPr>
              <a:spLocks noChangeArrowheads="1"/>
            </p:cNvSpPr>
            <p:nvPr/>
          </p:nvSpPr>
          <p:spPr bwMode="gray">
            <a:xfrm>
              <a:off x="322" y="3590"/>
              <a:ext cx="5003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12813"/>
              <a:r>
                <a:rPr lang="de-DE" sz="24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sz="2400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269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62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action</a:t>
            </a:r>
          </a:p>
        </p:txBody>
      </p:sp>
      <p:grpSp>
        <p:nvGrpSpPr>
          <p:cNvPr id="3296259" name="Group 3"/>
          <p:cNvGrpSpPr>
            <a:grpSpLocks/>
          </p:cNvGrpSpPr>
          <p:nvPr/>
        </p:nvGrpSpPr>
        <p:grpSpPr bwMode="auto">
          <a:xfrm>
            <a:off x="1906588" y="1495425"/>
            <a:ext cx="8299450" cy="4656138"/>
            <a:chOff x="247" y="942"/>
            <a:chExt cx="5228" cy="2933"/>
          </a:xfrm>
        </p:grpSpPr>
        <p:sp>
          <p:nvSpPr>
            <p:cNvPr id="3296260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436" y="942"/>
              <a:ext cx="3039" cy="2933"/>
            </a:xfrm>
            <a:custGeom>
              <a:avLst/>
              <a:gdLst>
                <a:gd name="T0" fmla="*/ 658 w 3039"/>
                <a:gd name="T1" fmla="*/ 0 h 2951"/>
                <a:gd name="T2" fmla="*/ 3039 w 3039"/>
                <a:gd name="T3" fmla="*/ 0 h 2951"/>
                <a:gd name="T4" fmla="*/ 3039 w 3039"/>
                <a:gd name="T5" fmla="*/ 2951 h 2951"/>
                <a:gd name="T6" fmla="*/ 387 w 3039"/>
                <a:gd name="T7" fmla="*/ 2951 h 2951"/>
                <a:gd name="T8" fmla="*/ 455 w 3039"/>
                <a:gd name="T9" fmla="*/ 2151 h 2951"/>
                <a:gd name="T10" fmla="*/ 319 w 3039"/>
                <a:gd name="T11" fmla="*/ 2151 h 2951"/>
                <a:gd name="T12" fmla="*/ 319 w 3039"/>
                <a:gd name="T13" fmla="*/ 2524 h 2951"/>
                <a:gd name="T14" fmla="*/ 0 w 3039"/>
                <a:gd name="T15" fmla="*/ 1888 h 2951"/>
                <a:gd name="T16" fmla="*/ 319 w 3039"/>
                <a:gd name="T17" fmla="*/ 1295 h 2951"/>
                <a:gd name="T18" fmla="*/ 319 w 3039"/>
                <a:gd name="T19" fmla="*/ 1670 h 2951"/>
                <a:gd name="T20" fmla="*/ 495 w 3039"/>
                <a:gd name="T21" fmla="*/ 1670 h 2951"/>
                <a:gd name="T22" fmla="*/ 550 w 3039"/>
                <a:gd name="T23" fmla="*/ 1295 h 2951"/>
                <a:gd name="T24" fmla="*/ 536 w 3039"/>
                <a:gd name="T25" fmla="*/ 1643 h 2951"/>
                <a:gd name="T26" fmla="*/ 847 w 3039"/>
                <a:gd name="T27" fmla="*/ 1041 h 2951"/>
                <a:gd name="T28" fmla="*/ 604 w 3039"/>
                <a:gd name="T29" fmla="*/ 562 h 2951"/>
                <a:gd name="T30" fmla="*/ 658 w 3039"/>
                <a:gd name="T31" fmla="*/ 0 h 2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39" h="2951">
                  <a:moveTo>
                    <a:pt x="658" y="0"/>
                  </a:moveTo>
                  <a:lnTo>
                    <a:pt x="3039" y="0"/>
                  </a:lnTo>
                  <a:lnTo>
                    <a:pt x="3039" y="2951"/>
                  </a:lnTo>
                  <a:lnTo>
                    <a:pt x="387" y="2951"/>
                  </a:lnTo>
                  <a:lnTo>
                    <a:pt x="455" y="2151"/>
                  </a:lnTo>
                  <a:lnTo>
                    <a:pt x="319" y="2151"/>
                  </a:lnTo>
                  <a:lnTo>
                    <a:pt x="319" y="2524"/>
                  </a:lnTo>
                  <a:lnTo>
                    <a:pt x="0" y="1888"/>
                  </a:lnTo>
                  <a:lnTo>
                    <a:pt x="319" y="1295"/>
                  </a:lnTo>
                  <a:lnTo>
                    <a:pt x="319" y="1670"/>
                  </a:lnTo>
                  <a:lnTo>
                    <a:pt x="495" y="1670"/>
                  </a:lnTo>
                  <a:lnTo>
                    <a:pt x="550" y="1295"/>
                  </a:lnTo>
                  <a:lnTo>
                    <a:pt x="536" y="1643"/>
                  </a:lnTo>
                  <a:lnTo>
                    <a:pt x="847" y="1041"/>
                  </a:lnTo>
                  <a:lnTo>
                    <a:pt x="604" y="562"/>
                  </a:lnTo>
                  <a:lnTo>
                    <a:pt x="658" y="0"/>
                  </a:lnTo>
                </a:path>
              </a:pathLst>
            </a:custGeom>
            <a:solidFill>
              <a:srgbClr val="C0C0C0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8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96261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47" y="942"/>
              <a:ext cx="3036" cy="2933"/>
            </a:xfrm>
            <a:custGeom>
              <a:avLst/>
              <a:gdLst>
                <a:gd name="T0" fmla="*/ 2381 w 3036"/>
                <a:gd name="T1" fmla="*/ 2951 h 2951"/>
                <a:gd name="T2" fmla="*/ 0 w 3036"/>
                <a:gd name="T3" fmla="*/ 2951 h 2951"/>
                <a:gd name="T4" fmla="*/ 0 w 3036"/>
                <a:gd name="T5" fmla="*/ 0 h 2951"/>
                <a:gd name="T6" fmla="*/ 2666 w 3036"/>
                <a:gd name="T7" fmla="*/ 0 h 2951"/>
                <a:gd name="T8" fmla="*/ 2584 w 3036"/>
                <a:gd name="T9" fmla="*/ 787 h 2951"/>
                <a:gd name="T10" fmla="*/ 2720 w 3036"/>
                <a:gd name="T11" fmla="*/ 787 h 2951"/>
                <a:gd name="T12" fmla="*/ 2720 w 3036"/>
                <a:gd name="T13" fmla="*/ 414 h 2951"/>
                <a:gd name="T14" fmla="*/ 3036 w 3036"/>
                <a:gd name="T15" fmla="*/ 1047 h 2951"/>
                <a:gd name="T16" fmla="*/ 2725 w 3036"/>
                <a:gd name="T17" fmla="*/ 1634 h 2951"/>
                <a:gd name="T18" fmla="*/ 2720 w 3036"/>
                <a:gd name="T19" fmla="*/ 1282 h 2951"/>
                <a:gd name="T20" fmla="*/ 2544 w 3036"/>
                <a:gd name="T21" fmla="*/ 1282 h 2951"/>
                <a:gd name="T22" fmla="*/ 2503 w 3036"/>
                <a:gd name="T23" fmla="*/ 1656 h 2951"/>
                <a:gd name="T24" fmla="*/ 2503 w 3036"/>
                <a:gd name="T25" fmla="*/ 1295 h 2951"/>
                <a:gd name="T26" fmla="*/ 2192 w 3036"/>
                <a:gd name="T27" fmla="*/ 1883 h 2951"/>
                <a:gd name="T28" fmla="*/ 2441 w 3036"/>
                <a:gd name="T29" fmla="*/ 2395 h 2951"/>
                <a:gd name="T30" fmla="*/ 2381 w 3036"/>
                <a:gd name="T31" fmla="*/ 2951 h 2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36" h="2951">
                  <a:moveTo>
                    <a:pt x="2381" y="2951"/>
                  </a:moveTo>
                  <a:lnTo>
                    <a:pt x="0" y="2951"/>
                  </a:lnTo>
                  <a:lnTo>
                    <a:pt x="0" y="0"/>
                  </a:lnTo>
                  <a:lnTo>
                    <a:pt x="2666" y="0"/>
                  </a:lnTo>
                  <a:lnTo>
                    <a:pt x="2584" y="787"/>
                  </a:lnTo>
                  <a:lnTo>
                    <a:pt x="2720" y="787"/>
                  </a:lnTo>
                  <a:lnTo>
                    <a:pt x="2720" y="414"/>
                  </a:lnTo>
                  <a:lnTo>
                    <a:pt x="3036" y="1047"/>
                  </a:lnTo>
                  <a:lnTo>
                    <a:pt x="2725" y="1634"/>
                  </a:lnTo>
                  <a:lnTo>
                    <a:pt x="2720" y="1282"/>
                  </a:lnTo>
                  <a:lnTo>
                    <a:pt x="2544" y="1282"/>
                  </a:lnTo>
                  <a:lnTo>
                    <a:pt x="2503" y="1656"/>
                  </a:lnTo>
                  <a:lnTo>
                    <a:pt x="2503" y="1295"/>
                  </a:lnTo>
                  <a:lnTo>
                    <a:pt x="2192" y="1883"/>
                  </a:lnTo>
                  <a:lnTo>
                    <a:pt x="2441" y="2395"/>
                  </a:lnTo>
                  <a:lnTo>
                    <a:pt x="2381" y="2951"/>
                  </a:lnTo>
                </a:path>
              </a:pathLst>
            </a:custGeom>
            <a:solidFill>
              <a:srgbClr val="EAEAEA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8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296262" name="Rectangle 6"/>
            <p:cNvSpPr>
              <a:spLocks noChangeArrowheads="1"/>
            </p:cNvSpPr>
            <p:nvPr/>
          </p:nvSpPr>
          <p:spPr bwMode="gray">
            <a:xfrm>
              <a:off x="3353" y="973"/>
              <a:ext cx="2054" cy="28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defTabSz="912813"/>
              <a:r>
                <a:rPr lang="en-US" sz="2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296263" name="Rectangle 7"/>
            <p:cNvSpPr>
              <a:spLocks noChangeArrowheads="1"/>
            </p:cNvSpPr>
            <p:nvPr/>
          </p:nvSpPr>
          <p:spPr bwMode="gray">
            <a:xfrm>
              <a:off x="275" y="973"/>
              <a:ext cx="2168" cy="28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defTabSz="912813"/>
              <a:r>
                <a:rPr lang="en-US" sz="24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960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80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action 2 Areas</a:t>
            </a:r>
          </a:p>
        </p:txBody>
      </p:sp>
      <p:grpSp>
        <p:nvGrpSpPr>
          <p:cNvPr id="2648075" name="Group 11"/>
          <p:cNvGrpSpPr>
            <a:grpSpLocks/>
          </p:cNvGrpSpPr>
          <p:nvPr/>
        </p:nvGrpSpPr>
        <p:grpSpPr bwMode="auto">
          <a:xfrm>
            <a:off x="1906588" y="1492251"/>
            <a:ext cx="8299450" cy="4652963"/>
            <a:chOff x="241" y="940"/>
            <a:chExt cx="5228" cy="2931"/>
          </a:xfrm>
        </p:grpSpPr>
        <p:sp>
          <p:nvSpPr>
            <p:cNvPr id="2648068" name="Rectangle 4"/>
            <p:cNvSpPr>
              <a:spLocks noChangeArrowheads="1"/>
            </p:cNvSpPr>
            <p:nvPr/>
          </p:nvSpPr>
          <p:spPr bwMode="gray">
            <a:xfrm>
              <a:off x="241" y="940"/>
              <a:ext cx="2248" cy="3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48069" name="Rectangle 5"/>
            <p:cNvSpPr>
              <a:spLocks noChangeArrowheads="1"/>
            </p:cNvSpPr>
            <p:nvPr/>
          </p:nvSpPr>
          <p:spPr bwMode="gray">
            <a:xfrm>
              <a:off x="3221" y="1370"/>
              <a:ext cx="2248" cy="250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tIns="108000" rIns="72000" bIns="7200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48070" name="Rectangle 6"/>
            <p:cNvSpPr>
              <a:spLocks noChangeArrowheads="1"/>
            </p:cNvSpPr>
            <p:nvPr/>
          </p:nvSpPr>
          <p:spPr bwMode="gray">
            <a:xfrm>
              <a:off x="241" y="1370"/>
              <a:ext cx="2248" cy="250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8000" tIns="108000" rIns="72000" bIns="7200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 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48071" name="Rectangle 7"/>
            <p:cNvSpPr>
              <a:spLocks noChangeArrowheads="1"/>
            </p:cNvSpPr>
            <p:nvPr/>
          </p:nvSpPr>
          <p:spPr bwMode="gray">
            <a:xfrm>
              <a:off x="3221" y="940"/>
              <a:ext cx="2248" cy="35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48072" name="AutoShape 8"/>
            <p:cNvSpPr>
              <a:spLocks noChangeArrowheads="1"/>
            </p:cNvSpPr>
            <p:nvPr/>
          </p:nvSpPr>
          <p:spPr bwMode="gray">
            <a:xfrm>
              <a:off x="2331" y="2112"/>
              <a:ext cx="1060" cy="402"/>
            </a:xfrm>
            <a:prstGeom prst="homePlate">
              <a:avLst>
                <a:gd name="adj" fmla="val 24134"/>
              </a:avLst>
            </a:prstGeom>
            <a:solidFill>
              <a:srgbClr val="7030A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48073" name="AutoShape 9"/>
            <p:cNvSpPr>
              <a:spLocks noChangeArrowheads="1"/>
            </p:cNvSpPr>
            <p:nvPr/>
          </p:nvSpPr>
          <p:spPr bwMode="gray">
            <a:xfrm flipH="1">
              <a:off x="2331" y="2868"/>
              <a:ext cx="1060" cy="402"/>
            </a:xfrm>
            <a:prstGeom prst="homePlate">
              <a:avLst>
                <a:gd name="adj" fmla="val 24134"/>
              </a:avLst>
            </a:prstGeom>
            <a:solidFill>
              <a:srgbClr val="7030A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91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1940" name="Oval 4"/>
          <p:cNvSpPr>
            <a:spLocks noChangeArrowheads="1"/>
          </p:cNvSpPr>
          <p:nvPr/>
        </p:nvSpPr>
        <p:spPr bwMode="gray">
          <a:xfrm>
            <a:off x="545869" y="609146"/>
            <a:ext cx="4874029" cy="86558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4000" b="1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  <a:t>Relationship</a:t>
            </a:r>
            <a:endParaRPr lang="en-US" sz="4000" b="1" dirty="0">
              <a:solidFill>
                <a:schemeClr val="folHlink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9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80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5 Factors</a:t>
            </a:r>
          </a:p>
        </p:txBody>
      </p:sp>
      <p:grpSp>
        <p:nvGrpSpPr>
          <p:cNvPr id="2348042" name="Group 10"/>
          <p:cNvGrpSpPr>
            <a:grpSpLocks/>
          </p:cNvGrpSpPr>
          <p:nvPr/>
        </p:nvGrpSpPr>
        <p:grpSpPr bwMode="auto">
          <a:xfrm>
            <a:off x="2332039" y="1493838"/>
            <a:ext cx="7508875" cy="4654550"/>
            <a:chOff x="509" y="941"/>
            <a:chExt cx="4730" cy="2480"/>
          </a:xfrm>
        </p:grpSpPr>
        <p:sp>
          <p:nvSpPr>
            <p:cNvPr id="2348036" name="Oval 4"/>
            <p:cNvSpPr>
              <a:spLocks noChangeArrowheads="1"/>
            </p:cNvSpPr>
            <p:nvPr/>
          </p:nvSpPr>
          <p:spPr bwMode="gray">
            <a:xfrm>
              <a:off x="1249" y="1266"/>
              <a:ext cx="3286" cy="2014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hlink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>
                <a:spcAft>
                  <a:spcPct val="0"/>
                </a:spcAft>
                <a:buSzTx/>
              </a:pPr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 </a:t>
              </a:r>
            </a:p>
          </p:txBody>
        </p:sp>
        <p:sp>
          <p:nvSpPr>
            <p:cNvPr id="2348037" name="Oval 5"/>
            <p:cNvSpPr>
              <a:spLocks noChangeArrowheads="1"/>
            </p:cNvSpPr>
            <p:nvPr/>
          </p:nvSpPr>
          <p:spPr bwMode="gray">
            <a:xfrm>
              <a:off x="509" y="1627"/>
              <a:ext cx="1340" cy="6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48038" name="Oval 6"/>
            <p:cNvSpPr>
              <a:spLocks noChangeArrowheads="1"/>
            </p:cNvSpPr>
            <p:nvPr/>
          </p:nvSpPr>
          <p:spPr bwMode="gray">
            <a:xfrm>
              <a:off x="2222" y="941"/>
              <a:ext cx="1340" cy="6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48039" name="Oval 7"/>
            <p:cNvSpPr>
              <a:spLocks noChangeArrowheads="1"/>
            </p:cNvSpPr>
            <p:nvPr/>
          </p:nvSpPr>
          <p:spPr bwMode="gray">
            <a:xfrm>
              <a:off x="1330" y="2761"/>
              <a:ext cx="1340" cy="6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48040" name="Oval 8"/>
            <p:cNvSpPr>
              <a:spLocks noChangeArrowheads="1"/>
            </p:cNvSpPr>
            <p:nvPr/>
          </p:nvSpPr>
          <p:spPr bwMode="gray">
            <a:xfrm>
              <a:off x="3899" y="1627"/>
              <a:ext cx="1340" cy="6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48041" name="Oval 9"/>
            <p:cNvSpPr>
              <a:spLocks noChangeArrowheads="1"/>
            </p:cNvSpPr>
            <p:nvPr/>
          </p:nvSpPr>
          <p:spPr bwMode="gray">
            <a:xfrm>
              <a:off x="3079" y="2761"/>
              <a:ext cx="1340" cy="66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51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46006" name="Group 22"/>
          <p:cNvGrpSpPr>
            <a:grpSpLocks/>
          </p:cNvGrpSpPr>
          <p:nvPr/>
        </p:nvGrpSpPr>
        <p:grpSpPr bwMode="auto">
          <a:xfrm>
            <a:off x="3757614" y="1490663"/>
            <a:ext cx="4657725" cy="4660900"/>
            <a:chOff x="1506" y="943"/>
            <a:chExt cx="2736" cy="2737"/>
          </a:xfrm>
        </p:grpSpPr>
        <p:sp>
          <p:nvSpPr>
            <p:cNvPr id="2345987" name="Oval 3"/>
            <p:cNvSpPr>
              <a:spLocks noChangeArrowheads="1"/>
            </p:cNvSpPr>
            <p:nvPr/>
          </p:nvSpPr>
          <p:spPr bwMode="gray">
            <a:xfrm>
              <a:off x="1548" y="943"/>
              <a:ext cx="2642" cy="264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de-DE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45988" name="Line 4"/>
            <p:cNvSpPr>
              <a:spLocks noChangeShapeType="1"/>
            </p:cNvSpPr>
            <p:nvPr/>
          </p:nvSpPr>
          <p:spPr bwMode="gray">
            <a:xfrm flipV="1">
              <a:off x="2877" y="946"/>
              <a:ext cx="0" cy="919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45989" name="Line 5"/>
            <p:cNvSpPr>
              <a:spLocks noChangeShapeType="1"/>
            </p:cNvSpPr>
            <p:nvPr/>
          </p:nvSpPr>
          <p:spPr bwMode="gray">
            <a:xfrm flipV="1">
              <a:off x="3272" y="1844"/>
              <a:ext cx="845" cy="2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45990" name="Line 6"/>
            <p:cNvSpPr>
              <a:spLocks noChangeShapeType="1"/>
            </p:cNvSpPr>
            <p:nvPr/>
          </p:nvSpPr>
          <p:spPr bwMode="gray">
            <a:xfrm flipH="1" flipV="1">
              <a:off x="1615" y="1844"/>
              <a:ext cx="863" cy="2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45991" name="Line 7"/>
            <p:cNvSpPr>
              <a:spLocks noChangeShapeType="1"/>
            </p:cNvSpPr>
            <p:nvPr/>
          </p:nvSpPr>
          <p:spPr bwMode="gray">
            <a:xfrm flipH="1">
              <a:off x="2120" y="2620"/>
              <a:ext cx="506" cy="73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45992" name="Line 8"/>
            <p:cNvSpPr>
              <a:spLocks noChangeShapeType="1"/>
            </p:cNvSpPr>
            <p:nvPr/>
          </p:nvSpPr>
          <p:spPr bwMode="gray">
            <a:xfrm>
              <a:off x="3107" y="2616"/>
              <a:ext cx="508" cy="739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45993" name="Oval 9"/>
            <p:cNvSpPr>
              <a:spLocks noChangeArrowheads="1"/>
            </p:cNvSpPr>
            <p:nvPr/>
          </p:nvSpPr>
          <p:spPr bwMode="gray">
            <a:xfrm>
              <a:off x="1973" y="1139"/>
              <a:ext cx="170" cy="170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5</a:t>
              </a:r>
            </a:p>
          </p:txBody>
        </p:sp>
        <p:sp>
          <p:nvSpPr>
            <p:cNvPr id="2345994" name="Oval 10"/>
            <p:cNvSpPr>
              <a:spLocks noChangeArrowheads="1"/>
            </p:cNvSpPr>
            <p:nvPr/>
          </p:nvSpPr>
          <p:spPr bwMode="gray">
            <a:xfrm>
              <a:off x="2791" y="3510"/>
              <a:ext cx="170" cy="170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3</a:t>
              </a:r>
            </a:p>
          </p:txBody>
        </p:sp>
        <p:sp>
          <p:nvSpPr>
            <p:cNvPr id="2345995" name="Oval 11"/>
            <p:cNvSpPr>
              <a:spLocks noChangeArrowheads="1"/>
            </p:cNvSpPr>
            <p:nvPr/>
          </p:nvSpPr>
          <p:spPr bwMode="gray">
            <a:xfrm>
              <a:off x="1506" y="2515"/>
              <a:ext cx="170" cy="170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4</a:t>
              </a:r>
            </a:p>
          </p:txBody>
        </p:sp>
        <p:sp>
          <p:nvSpPr>
            <p:cNvPr id="2345996" name="Oval 12"/>
            <p:cNvSpPr>
              <a:spLocks noChangeArrowheads="1"/>
            </p:cNvSpPr>
            <p:nvPr/>
          </p:nvSpPr>
          <p:spPr bwMode="gray">
            <a:xfrm>
              <a:off x="3610" y="1139"/>
              <a:ext cx="170" cy="170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1</a:t>
              </a:r>
            </a:p>
          </p:txBody>
        </p:sp>
        <p:sp>
          <p:nvSpPr>
            <p:cNvPr id="2345997" name="Oval 13"/>
            <p:cNvSpPr>
              <a:spLocks noChangeArrowheads="1"/>
            </p:cNvSpPr>
            <p:nvPr/>
          </p:nvSpPr>
          <p:spPr bwMode="gray">
            <a:xfrm>
              <a:off x="4072" y="2515"/>
              <a:ext cx="170" cy="170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2</a:t>
              </a:r>
            </a:p>
          </p:txBody>
        </p:sp>
        <p:sp>
          <p:nvSpPr>
            <p:cNvPr id="2345998" name="Rectangle 14"/>
            <p:cNvSpPr>
              <a:spLocks noChangeArrowheads="1"/>
            </p:cNvSpPr>
            <p:nvPr/>
          </p:nvSpPr>
          <p:spPr bwMode="gray">
            <a:xfrm>
              <a:off x="1717" y="2356"/>
              <a:ext cx="714" cy="2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45999" name="Rectangle 15"/>
            <p:cNvSpPr>
              <a:spLocks noChangeArrowheads="1"/>
            </p:cNvSpPr>
            <p:nvPr/>
          </p:nvSpPr>
          <p:spPr bwMode="gray">
            <a:xfrm>
              <a:off x="3328" y="2356"/>
              <a:ext cx="714" cy="2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46000" name="Rectangle 16"/>
            <p:cNvSpPr>
              <a:spLocks noChangeArrowheads="1"/>
            </p:cNvSpPr>
            <p:nvPr/>
          </p:nvSpPr>
          <p:spPr bwMode="gray">
            <a:xfrm>
              <a:off x="2955" y="1367"/>
              <a:ext cx="714" cy="2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46001" name="Rectangle 17"/>
            <p:cNvSpPr>
              <a:spLocks noChangeArrowheads="1"/>
            </p:cNvSpPr>
            <p:nvPr/>
          </p:nvSpPr>
          <p:spPr bwMode="gray">
            <a:xfrm>
              <a:off x="2078" y="1367"/>
              <a:ext cx="714" cy="2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46002" name="Rectangle 18"/>
            <p:cNvSpPr>
              <a:spLocks noChangeArrowheads="1"/>
            </p:cNvSpPr>
            <p:nvPr/>
          </p:nvSpPr>
          <p:spPr bwMode="gray">
            <a:xfrm>
              <a:off x="2495" y="3089"/>
              <a:ext cx="714" cy="2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46003" name="Oval 19"/>
            <p:cNvSpPr>
              <a:spLocks noChangeArrowheads="1"/>
            </p:cNvSpPr>
            <p:nvPr/>
          </p:nvSpPr>
          <p:spPr bwMode="gray">
            <a:xfrm>
              <a:off x="2446" y="1859"/>
              <a:ext cx="859" cy="86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346004" name="Rectangle 2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5 Factor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509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95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st/Numeration</a:t>
            </a:r>
          </a:p>
        </p:txBody>
      </p:sp>
      <p:grpSp>
        <p:nvGrpSpPr>
          <p:cNvPr id="3009552" name="Group 16"/>
          <p:cNvGrpSpPr>
            <a:grpSpLocks/>
          </p:cNvGrpSpPr>
          <p:nvPr/>
        </p:nvGrpSpPr>
        <p:grpSpPr bwMode="auto">
          <a:xfrm>
            <a:off x="2520950" y="1633601"/>
            <a:ext cx="7702550" cy="4678362"/>
            <a:chOff x="628" y="935"/>
            <a:chExt cx="4852" cy="2947"/>
          </a:xfrm>
        </p:grpSpPr>
        <p:sp>
          <p:nvSpPr>
            <p:cNvPr id="3009540" name="Rectangle 4"/>
            <p:cNvSpPr>
              <a:spLocks noChangeArrowheads="1"/>
            </p:cNvSpPr>
            <p:nvPr/>
          </p:nvSpPr>
          <p:spPr bwMode="gray">
            <a:xfrm>
              <a:off x="628" y="935"/>
              <a:ext cx="213" cy="212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1</a:t>
              </a:r>
            </a:p>
          </p:txBody>
        </p:sp>
        <p:sp>
          <p:nvSpPr>
            <p:cNvPr id="3009541" name="Line 5"/>
            <p:cNvSpPr>
              <a:spLocks noChangeShapeType="1"/>
            </p:cNvSpPr>
            <p:nvPr/>
          </p:nvSpPr>
          <p:spPr bwMode="gray">
            <a:xfrm>
              <a:off x="977" y="935"/>
              <a:ext cx="0" cy="549"/>
            </a:xfrm>
            <a:prstGeom prst="line">
              <a:avLst/>
            </a:prstGeom>
            <a:noFill/>
            <a:ln w="57150">
              <a:solidFill>
                <a:srgbClr val="B2B2B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9542" name="Rectangle 6"/>
            <p:cNvSpPr>
              <a:spLocks noChangeArrowheads="1"/>
            </p:cNvSpPr>
            <p:nvPr/>
          </p:nvSpPr>
          <p:spPr bwMode="gray">
            <a:xfrm>
              <a:off x="628" y="1734"/>
              <a:ext cx="213" cy="212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2</a:t>
              </a:r>
            </a:p>
          </p:txBody>
        </p:sp>
        <p:sp>
          <p:nvSpPr>
            <p:cNvPr id="3009543" name="Line 7"/>
            <p:cNvSpPr>
              <a:spLocks noChangeShapeType="1"/>
            </p:cNvSpPr>
            <p:nvPr/>
          </p:nvSpPr>
          <p:spPr bwMode="gray">
            <a:xfrm>
              <a:off x="977" y="1734"/>
              <a:ext cx="0" cy="549"/>
            </a:xfrm>
            <a:prstGeom prst="line">
              <a:avLst/>
            </a:prstGeom>
            <a:noFill/>
            <a:ln w="57150">
              <a:solidFill>
                <a:srgbClr val="B2B2B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9544" name="Rectangle 8"/>
            <p:cNvSpPr>
              <a:spLocks noChangeArrowheads="1"/>
            </p:cNvSpPr>
            <p:nvPr/>
          </p:nvSpPr>
          <p:spPr bwMode="gray">
            <a:xfrm>
              <a:off x="628" y="2534"/>
              <a:ext cx="213" cy="212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3</a:t>
              </a:r>
            </a:p>
          </p:txBody>
        </p:sp>
        <p:sp>
          <p:nvSpPr>
            <p:cNvPr id="3009545" name="Line 9"/>
            <p:cNvSpPr>
              <a:spLocks noChangeShapeType="1"/>
            </p:cNvSpPr>
            <p:nvPr/>
          </p:nvSpPr>
          <p:spPr bwMode="gray">
            <a:xfrm>
              <a:off x="977" y="2534"/>
              <a:ext cx="0" cy="549"/>
            </a:xfrm>
            <a:prstGeom prst="line">
              <a:avLst/>
            </a:prstGeom>
            <a:noFill/>
            <a:ln w="57150">
              <a:solidFill>
                <a:srgbClr val="B2B2B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9546" name="Rectangle 10"/>
            <p:cNvSpPr>
              <a:spLocks noChangeArrowheads="1"/>
            </p:cNvSpPr>
            <p:nvPr/>
          </p:nvSpPr>
          <p:spPr bwMode="gray">
            <a:xfrm>
              <a:off x="628" y="3333"/>
              <a:ext cx="213" cy="212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4</a:t>
              </a:r>
            </a:p>
          </p:txBody>
        </p:sp>
        <p:sp>
          <p:nvSpPr>
            <p:cNvPr id="3009547" name="Line 11"/>
            <p:cNvSpPr>
              <a:spLocks noChangeShapeType="1"/>
            </p:cNvSpPr>
            <p:nvPr/>
          </p:nvSpPr>
          <p:spPr bwMode="gray">
            <a:xfrm>
              <a:off x="977" y="3333"/>
              <a:ext cx="0" cy="549"/>
            </a:xfrm>
            <a:prstGeom prst="line">
              <a:avLst/>
            </a:prstGeom>
            <a:noFill/>
            <a:ln w="57150">
              <a:solidFill>
                <a:srgbClr val="B2B2B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9548" name="Rectangle 12"/>
            <p:cNvSpPr>
              <a:spLocks noChangeArrowheads="1"/>
            </p:cNvSpPr>
            <p:nvPr/>
          </p:nvSpPr>
          <p:spPr bwMode="gray">
            <a:xfrm>
              <a:off x="1049" y="935"/>
              <a:ext cx="443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dirty="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9549" name="Rectangle 13"/>
            <p:cNvSpPr>
              <a:spLocks noChangeArrowheads="1"/>
            </p:cNvSpPr>
            <p:nvPr/>
          </p:nvSpPr>
          <p:spPr bwMode="gray">
            <a:xfrm>
              <a:off x="1049" y="1734"/>
              <a:ext cx="443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9550" name="Rectangle 14"/>
            <p:cNvSpPr>
              <a:spLocks noChangeArrowheads="1"/>
            </p:cNvSpPr>
            <p:nvPr/>
          </p:nvSpPr>
          <p:spPr bwMode="gray">
            <a:xfrm>
              <a:off x="1049" y="2534"/>
              <a:ext cx="443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009551" name="Rectangle 15"/>
            <p:cNvSpPr>
              <a:spLocks noChangeArrowheads="1"/>
            </p:cNvSpPr>
            <p:nvPr/>
          </p:nvSpPr>
          <p:spPr bwMode="gray">
            <a:xfrm>
              <a:off x="1049" y="3333"/>
              <a:ext cx="4431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802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21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6 Factors</a:t>
            </a:r>
          </a:p>
        </p:txBody>
      </p:sp>
      <p:grpSp>
        <p:nvGrpSpPr>
          <p:cNvPr id="2352147" name="Group 19"/>
          <p:cNvGrpSpPr>
            <a:grpSpLocks/>
          </p:cNvGrpSpPr>
          <p:nvPr/>
        </p:nvGrpSpPr>
        <p:grpSpPr bwMode="auto">
          <a:xfrm>
            <a:off x="3300413" y="1492251"/>
            <a:ext cx="5580062" cy="4657725"/>
            <a:chOff x="1245" y="940"/>
            <a:chExt cx="3248" cy="2711"/>
          </a:xfrm>
        </p:grpSpPr>
        <p:sp>
          <p:nvSpPr>
            <p:cNvPr id="2352132" name="Freeform 4"/>
            <p:cNvSpPr>
              <a:spLocks/>
            </p:cNvSpPr>
            <p:nvPr/>
          </p:nvSpPr>
          <p:spPr bwMode="gray">
            <a:xfrm>
              <a:off x="2072" y="2833"/>
              <a:ext cx="1596" cy="818"/>
            </a:xfrm>
            <a:custGeom>
              <a:avLst/>
              <a:gdLst>
                <a:gd name="T0" fmla="*/ 600 w 1907"/>
                <a:gd name="T1" fmla="*/ 0 h 699"/>
                <a:gd name="T2" fmla="*/ 1307 w 1907"/>
                <a:gd name="T3" fmla="*/ 0 h 699"/>
                <a:gd name="T4" fmla="*/ 1907 w 1907"/>
                <a:gd name="T5" fmla="*/ 699 h 699"/>
                <a:gd name="T6" fmla="*/ 0 w 1907"/>
                <a:gd name="T7" fmla="*/ 699 h 699"/>
                <a:gd name="T8" fmla="*/ 600 w 1907"/>
                <a:gd name="T9" fmla="*/ 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7" h="699">
                  <a:moveTo>
                    <a:pt x="600" y="0"/>
                  </a:moveTo>
                  <a:lnTo>
                    <a:pt x="1307" y="0"/>
                  </a:lnTo>
                  <a:lnTo>
                    <a:pt x="1907" y="699"/>
                  </a:lnTo>
                  <a:lnTo>
                    <a:pt x="0" y="699"/>
                  </a:lnTo>
                  <a:lnTo>
                    <a:pt x="600" y="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2133" name="Freeform 5"/>
            <p:cNvSpPr>
              <a:spLocks/>
            </p:cNvSpPr>
            <p:nvPr/>
          </p:nvSpPr>
          <p:spPr bwMode="gray">
            <a:xfrm flipV="1">
              <a:off x="2072" y="940"/>
              <a:ext cx="1596" cy="818"/>
            </a:xfrm>
            <a:custGeom>
              <a:avLst/>
              <a:gdLst>
                <a:gd name="T0" fmla="*/ 600 w 1907"/>
                <a:gd name="T1" fmla="*/ 0 h 699"/>
                <a:gd name="T2" fmla="*/ 1307 w 1907"/>
                <a:gd name="T3" fmla="*/ 0 h 699"/>
                <a:gd name="T4" fmla="*/ 1907 w 1907"/>
                <a:gd name="T5" fmla="*/ 699 h 699"/>
                <a:gd name="T6" fmla="*/ 0 w 1907"/>
                <a:gd name="T7" fmla="*/ 699 h 699"/>
                <a:gd name="T8" fmla="*/ 600 w 1907"/>
                <a:gd name="T9" fmla="*/ 0 h 6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7" h="699">
                  <a:moveTo>
                    <a:pt x="600" y="0"/>
                  </a:moveTo>
                  <a:lnTo>
                    <a:pt x="1307" y="0"/>
                  </a:lnTo>
                  <a:lnTo>
                    <a:pt x="1907" y="699"/>
                  </a:lnTo>
                  <a:lnTo>
                    <a:pt x="0" y="699"/>
                  </a:lnTo>
                  <a:lnTo>
                    <a:pt x="600" y="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2134" name="Freeform 6"/>
            <p:cNvSpPr>
              <a:spLocks/>
            </p:cNvSpPr>
            <p:nvPr/>
          </p:nvSpPr>
          <p:spPr bwMode="gray">
            <a:xfrm>
              <a:off x="1245" y="978"/>
              <a:ext cx="1288" cy="1297"/>
            </a:xfrm>
            <a:custGeom>
              <a:avLst/>
              <a:gdLst>
                <a:gd name="T0" fmla="*/ 1200 w 1538"/>
                <a:gd name="T1" fmla="*/ 1109 h 1109"/>
                <a:gd name="T2" fmla="*/ 1538 w 1538"/>
                <a:gd name="T3" fmla="*/ 690 h 1109"/>
                <a:gd name="T4" fmla="*/ 937 w 1538"/>
                <a:gd name="T5" fmla="*/ 0 h 1109"/>
                <a:gd name="T6" fmla="*/ 0 w 1538"/>
                <a:gd name="T7" fmla="*/ 1109 h 1109"/>
                <a:gd name="T8" fmla="*/ 1200 w 1538"/>
                <a:gd name="T9" fmla="*/ 1109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8" h="1109">
                  <a:moveTo>
                    <a:pt x="1200" y="1109"/>
                  </a:moveTo>
                  <a:lnTo>
                    <a:pt x="1538" y="690"/>
                  </a:lnTo>
                  <a:lnTo>
                    <a:pt x="937" y="0"/>
                  </a:lnTo>
                  <a:lnTo>
                    <a:pt x="0" y="1109"/>
                  </a:lnTo>
                  <a:lnTo>
                    <a:pt x="1200" y="1109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2135" name="Freeform 7"/>
            <p:cNvSpPr>
              <a:spLocks/>
            </p:cNvSpPr>
            <p:nvPr/>
          </p:nvSpPr>
          <p:spPr bwMode="gray">
            <a:xfrm>
              <a:off x="1247" y="2325"/>
              <a:ext cx="1280" cy="1306"/>
            </a:xfrm>
            <a:custGeom>
              <a:avLst/>
              <a:gdLst>
                <a:gd name="T0" fmla="*/ 1200 w 1529"/>
                <a:gd name="T1" fmla="*/ 0 h 1117"/>
                <a:gd name="T2" fmla="*/ 1529 w 1529"/>
                <a:gd name="T3" fmla="*/ 410 h 1117"/>
                <a:gd name="T4" fmla="*/ 929 w 1529"/>
                <a:gd name="T5" fmla="*/ 1117 h 1117"/>
                <a:gd name="T6" fmla="*/ 0 w 1529"/>
                <a:gd name="T7" fmla="*/ 0 h 1117"/>
                <a:gd name="T8" fmla="*/ 1200 w 1529"/>
                <a:gd name="T9" fmla="*/ 0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9" h="1117">
                  <a:moveTo>
                    <a:pt x="1200" y="0"/>
                  </a:moveTo>
                  <a:lnTo>
                    <a:pt x="1529" y="410"/>
                  </a:lnTo>
                  <a:lnTo>
                    <a:pt x="929" y="1117"/>
                  </a:lnTo>
                  <a:lnTo>
                    <a:pt x="0" y="0"/>
                  </a:lnTo>
                  <a:lnTo>
                    <a:pt x="1200" y="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2136" name="Freeform 8"/>
            <p:cNvSpPr>
              <a:spLocks/>
            </p:cNvSpPr>
            <p:nvPr/>
          </p:nvSpPr>
          <p:spPr bwMode="gray">
            <a:xfrm flipH="1">
              <a:off x="3207" y="978"/>
              <a:ext cx="1286" cy="1297"/>
            </a:xfrm>
            <a:custGeom>
              <a:avLst/>
              <a:gdLst>
                <a:gd name="T0" fmla="*/ 1200 w 1538"/>
                <a:gd name="T1" fmla="*/ 1109 h 1109"/>
                <a:gd name="T2" fmla="*/ 1538 w 1538"/>
                <a:gd name="T3" fmla="*/ 690 h 1109"/>
                <a:gd name="T4" fmla="*/ 937 w 1538"/>
                <a:gd name="T5" fmla="*/ 0 h 1109"/>
                <a:gd name="T6" fmla="*/ 0 w 1538"/>
                <a:gd name="T7" fmla="*/ 1109 h 1109"/>
                <a:gd name="T8" fmla="*/ 1200 w 1538"/>
                <a:gd name="T9" fmla="*/ 1109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8" h="1109">
                  <a:moveTo>
                    <a:pt x="1200" y="1109"/>
                  </a:moveTo>
                  <a:lnTo>
                    <a:pt x="1538" y="690"/>
                  </a:lnTo>
                  <a:lnTo>
                    <a:pt x="937" y="0"/>
                  </a:lnTo>
                  <a:lnTo>
                    <a:pt x="0" y="1109"/>
                  </a:lnTo>
                  <a:lnTo>
                    <a:pt x="1200" y="1109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2137" name="Freeform 9"/>
            <p:cNvSpPr>
              <a:spLocks/>
            </p:cNvSpPr>
            <p:nvPr/>
          </p:nvSpPr>
          <p:spPr bwMode="gray">
            <a:xfrm flipH="1">
              <a:off x="3207" y="2325"/>
              <a:ext cx="1280" cy="1306"/>
            </a:xfrm>
            <a:custGeom>
              <a:avLst/>
              <a:gdLst>
                <a:gd name="T0" fmla="*/ 1200 w 1529"/>
                <a:gd name="T1" fmla="*/ 0 h 1117"/>
                <a:gd name="T2" fmla="*/ 1529 w 1529"/>
                <a:gd name="T3" fmla="*/ 410 h 1117"/>
                <a:gd name="T4" fmla="*/ 929 w 1529"/>
                <a:gd name="T5" fmla="*/ 1117 h 1117"/>
                <a:gd name="T6" fmla="*/ 0 w 1529"/>
                <a:gd name="T7" fmla="*/ 0 h 1117"/>
                <a:gd name="T8" fmla="*/ 1200 w 1529"/>
                <a:gd name="T9" fmla="*/ 0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9" h="1117">
                  <a:moveTo>
                    <a:pt x="1200" y="0"/>
                  </a:moveTo>
                  <a:lnTo>
                    <a:pt x="1529" y="410"/>
                  </a:lnTo>
                  <a:lnTo>
                    <a:pt x="929" y="1117"/>
                  </a:lnTo>
                  <a:lnTo>
                    <a:pt x="0" y="0"/>
                  </a:lnTo>
                  <a:lnTo>
                    <a:pt x="1200" y="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2138" name="Rectangle 10"/>
            <p:cNvSpPr>
              <a:spLocks noChangeArrowheads="1"/>
            </p:cNvSpPr>
            <p:nvPr/>
          </p:nvSpPr>
          <p:spPr bwMode="gray">
            <a:xfrm>
              <a:off x="2537" y="2982"/>
              <a:ext cx="668" cy="1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2139" name="Rectangle 11"/>
            <p:cNvSpPr>
              <a:spLocks noChangeArrowheads="1"/>
            </p:cNvSpPr>
            <p:nvPr/>
          </p:nvSpPr>
          <p:spPr bwMode="gray">
            <a:xfrm>
              <a:off x="2537" y="1459"/>
              <a:ext cx="668" cy="1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2140" name="Freeform 12"/>
            <p:cNvSpPr>
              <a:spLocks/>
            </p:cNvSpPr>
            <p:nvPr/>
          </p:nvSpPr>
          <p:spPr bwMode="gray">
            <a:xfrm>
              <a:off x="2309" y="1822"/>
              <a:ext cx="1122" cy="949"/>
            </a:xfrm>
            <a:custGeom>
              <a:avLst/>
              <a:gdLst>
                <a:gd name="T0" fmla="*/ 320 w 1339"/>
                <a:gd name="T1" fmla="*/ 0 h 805"/>
                <a:gd name="T2" fmla="*/ 1019 w 1339"/>
                <a:gd name="T3" fmla="*/ 0 h 805"/>
                <a:gd name="T4" fmla="*/ 1339 w 1339"/>
                <a:gd name="T5" fmla="*/ 403 h 805"/>
                <a:gd name="T6" fmla="*/ 1019 w 1339"/>
                <a:gd name="T7" fmla="*/ 805 h 805"/>
                <a:gd name="T8" fmla="*/ 328 w 1339"/>
                <a:gd name="T9" fmla="*/ 805 h 805"/>
                <a:gd name="T10" fmla="*/ 0 w 1339"/>
                <a:gd name="T11" fmla="*/ 394 h 805"/>
                <a:gd name="T12" fmla="*/ 320 w 1339"/>
                <a:gd name="T13" fmla="*/ 0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9" h="805">
                  <a:moveTo>
                    <a:pt x="320" y="0"/>
                  </a:moveTo>
                  <a:lnTo>
                    <a:pt x="1019" y="0"/>
                  </a:lnTo>
                  <a:lnTo>
                    <a:pt x="1339" y="403"/>
                  </a:lnTo>
                  <a:lnTo>
                    <a:pt x="1019" y="805"/>
                  </a:lnTo>
                  <a:lnTo>
                    <a:pt x="328" y="805"/>
                  </a:lnTo>
                  <a:lnTo>
                    <a:pt x="0" y="394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2141" name="Rectangle 13"/>
            <p:cNvSpPr>
              <a:spLocks noChangeArrowheads="1"/>
            </p:cNvSpPr>
            <p:nvPr/>
          </p:nvSpPr>
          <p:spPr bwMode="gray">
            <a:xfrm>
              <a:off x="2540" y="2179"/>
              <a:ext cx="668" cy="2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2142" name="Rectangle 14"/>
            <p:cNvSpPr>
              <a:spLocks noChangeArrowheads="1"/>
            </p:cNvSpPr>
            <p:nvPr/>
          </p:nvSpPr>
          <p:spPr bwMode="gray">
            <a:xfrm>
              <a:off x="1661" y="2706"/>
              <a:ext cx="668" cy="1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2143" name="Rectangle 15"/>
            <p:cNvSpPr>
              <a:spLocks noChangeArrowheads="1"/>
            </p:cNvSpPr>
            <p:nvPr/>
          </p:nvSpPr>
          <p:spPr bwMode="gray">
            <a:xfrm>
              <a:off x="1661" y="1776"/>
              <a:ext cx="668" cy="1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2144" name="Rectangle 16"/>
            <p:cNvSpPr>
              <a:spLocks noChangeArrowheads="1"/>
            </p:cNvSpPr>
            <p:nvPr/>
          </p:nvSpPr>
          <p:spPr bwMode="gray">
            <a:xfrm>
              <a:off x="3401" y="2706"/>
              <a:ext cx="668" cy="1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2145" name="Rectangle 17"/>
            <p:cNvSpPr>
              <a:spLocks noChangeArrowheads="1"/>
            </p:cNvSpPr>
            <p:nvPr/>
          </p:nvSpPr>
          <p:spPr bwMode="gray">
            <a:xfrm>
              <a:off x="3401" y="1776"/>
              <a:ext cx="668" cy="1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389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62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8 Factors</a:t>
            </a:r>
          </a:p>
        </p:txBody>
      </p:sp>
      <p:grpSp>
        <p:nvGrpSpPr>
          <p:cNvPr id="2356274" name="Group 50"/>
          <p:cNvGrpSpPr>
            <a:grpSpLocks/>
          </p:cNvGrpSpPr>
          <p:nvPr/>
        </p:nvGrpSpPr>
        <p:grpSpPr bwMode="auto">
          <a:xfrm>
            <a:off x="3494089" y="1492251"/>
            <a:ext cx="5176837" cy="4664075"/>
            <a:chOff x="1241" y="940"/>
            <a:chExt cx="3261" cy="2938"/>
          </a:xfrm>
        </p:grpSpPr>
        <p:sp>
          <p:nvSpPr>
            <p:cNvPr id="2356228" name="Freeform 4"/>
            <p:cNvSpPr>
              <a:spLocks/>
            </p:cNvSpPr>
            <p:nvPr/>
          </p:nvSpPr>
          <p:spPr bwMode="gray">
            <a:xfrm flipH="1">
              <a:off x="3199" y="2656"/>
              <a:ext cx="1297" cy="1220"/>
            </a:xfrm>
            <a:custGeom>
              <a:avLst/>
              <a:gdLst>
                <a:gd name="T0" fmla="*/ 987 w 1297"/>
                <a:gd name="T1" fmla="*/ 0 h 1155"/>
                <a:gd name="T2" fmla="*/ 1297 w 1297"/>
                <a:gd name="T3" fmla="*/ 308 h 1155"/>
                <a:gd name="T4" fmla="*/ 983 w 1297"/>
                <a:gd name="T5" fmla="*/ 1155 h 1155"/>
                <a:gd name="T6" fmla="*/ 0 w 1297"/>
                <a:gd name="T7" fmla="*/ 323 h 1155"/>
                <a:gd name="T8" fmla="*/ 987 w 1297"/>
                <a:gd name="T9" fmla="*/ 0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7" h="1155">
                  <a:moveTo>
                    <a:pt x="987" y="0"/>
                  </a:moveTo>
                  <a:lnTo>
                    <a:pt x="1297" y="308"/>
                  </a:lnTo>
                  <a:lnTo>
                    <a:pt x="983" y="1155"/>
                  </a:lnTo>
                  <a:lnTo>
                    <a:pt x="0" y="323"/>
                  </a:lnTo>
                  <a:lnTo>
                    <a:pt x="987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6229" name="Freeform 5"/>
            <p:cNvSpPr>
              <a:spLocks/>
            </p:cNvSpPr>
            <p:nvPr/>
          </p:nvSpPr>
          <p:spPr bwMode="gray">
            <a:xfrm flipV="1">
              <a:off x="1247" y="940"/>
              <a:ext cx="1297" cy="1220"/>
            </a:xfrm>
            <a:custGeom>
              <a:avLst/>
              <a:gdLst>
                <a:gd name="T0" fmla="*/ 987 w 1297"/>
                <a:gd name="T1" fmla="*/ 0 h 1155"/>
                <a:gd name="T2" fmla="*/ 1297 w 1297"/>
                <a:gd name="T3" fmla="*/ 308 h 1155"/>
                <a:gd name="T4" fmla="*/ 983 w 1297"/>
                <a:gd name="T5" fmla="*/ 1155 h 1155"/>
                <a:gd name="T6" fmla="*/ 0 w 1297"/>
                <a:gd name="T7" fmla="*/ 323 h 1155"/>
                <a:gd name="T8" fmla="*/ 987 w 1297"/>
                <a:gd name="T9" fmla="*/ 0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7" h="1155">
                  <a:moveTo>
                    <a:pt x="987" y="0"/>
                  </a:moveTo>
                  <a:lnTo>
                    <a:pt x="1297" y="308"/>
                  </a:lnTo>
                  <a:lnTo>
                    <a:pt x="983" y="1155"/>
                  </a:lnTo>
                  <a:lnTo>
                    <a:pt x="0" y="323"/>
                  </a:lnTo>
                  <a:lnTo>
                    <a:pt x="987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6230" name="Freeform 6"/>
            <p:cNvSpPr>
              <a:spLocks/>
            </p:cNvSpPr>
            <p:nvPr/>
          </p:nvSpPr>
          <p:spPr bwMode="gray">
            <a:xfrm flipH="1" flipV="1">
              <a:off x="3199" y="940"/>
              <a:ext cx="1297" cy="1220"/>
            </a:xfrm>
            <a:custGeom>
              <a:avLst/>
              <a:gdLst>
                <a:gd name="T0" fmla="*/ 987 w 1297"/>
                <a:gd name="T1" fmla="*/ 0 h 1155"/>
                <a:gd name="T2" fmla="*/ 1297 w 1297"/>
                <a:gd name="T3" fmla="*/ 308 h 1155"/>
                <a:gd name="T4" fmla="*/ 983 w 1297"/>
                <a:gd name="T5" fmla="*/ 1155 h 1155"/>
                <a:gd name="T6" fmla="*/ 0 w 1297"/>
                <a:gd name="T7" fmla="*/ 323 h 1155"/>
                <a:gd name="T8" fmla="*/ 987 w 1297"/>
                <a:gd name="T9" fmla="*/ 0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7" h="1155">
                  <a:moveTo>
                    <a:pt x="987" y="0"/>
                  </a:moveTo>
                  <a:lnTo>
                    <a:pt x="1297" y="308"/>
                  </a:lnTo>
                  <a:lnTo>
                    <a:pt x="983" y="1155"/>
                  </a:lnTo>
                  <a:lnTo>
                    <a:pt x="0" y="323"/>
                  </a:lnTo>
                  <a:lnTo>
                    <a:pt x="987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6231" name="Freeform 7"/>
            <p:cNvSpPr>
              <a:spLocks/>
            </p:cNvSpPr>
            <p:nvPr/>
          </p:nvSpPr>
          <p:spPr bwMode="gray">
            <a:xfrm flipV="1">
              <a:off x="2277" y="940"/>
              <a:ext cx="1183" cy="879"/>
            </a:xfrm>
            <a:custGeom>
              <a:avLst/>
              <a:gdLst>
                <a:gd name="T0" fmla="*/ 448 w 1736"/>
                <a:gd name="T1" fmla="*/ 0 h 856"/>
                <a:gd name="T2" fmla="*/ 1292 w 1736"/>
                <a:gd name="T3" fmla="*/ 0 h 856"/>
                <a:gd name="T4" fmla="*/ 1736 w 1736"/>
                <a:gd name="T5" fmla="*/ 856 h 856"/>
                <a:gd name="T6" fmla="*/ 0 w 1736"/>
                <a:gd name="T7" fmla="*/ 856 h 856"/>
                <a:gd name="T8" fmla="*/ 448 w 1736"/>
                <a:gd name="T9" fmla="*/ 0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6" h="856">
                  <a:moveTo>
                    <a:pt x="448" y="0"/>
                  </a:moveTo>
                  <a:lnTo>
                    <a:pt x="1292" y="0"/>
                  </a:lnTo>
                  <a:lnTo>
                    <a:pt x="1736" y="856"/>
                  </a:lnTo>
                  <a:lnTo>
                    <a:pt x="0" y="856"/>
                  </a:lnTo>
                  <a:lnTo>
                    <a:pt x="44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6232" name="Freeform 8"/>
            <p:cNvSpPr>
              <a:spLocks/>
            </p:cNvSpPr>
            <p:nvPr/>
          </p:nvSpPr>
          <p:spPr bwMode="gray">
            <a:xfrm flipH="1">
              <a:off x="3521" y="1859"/>
              <a:ext cx="981" cy="1089"/>
            </a:xfrm>
            <a:custGeom>
              <a:avLst/>
              <a:gdLst>
                <a:gd name="T0" fmla="*/ 0 w 1196"/>
                <a:gd name="T1" fmla="*/ 0 h 1104"/>
                <a:gd name="T2" fmla="*/ 1196 w 1196"/>
                <a:gd name="T3" fmla="*/ 348 h 1104"/>
                <a:gd name="T4" fmla="*/ 1196 w 1196"/>
                <a:gd name="T5" fmla="*/ 764 h 1104"/>
                <a:gd name="T6" fmla="*/ 0 w 1196"/>
                <a:gd name="T7" fmla="*/ 1104 h 1104"/>
                <a:gd name="T8" fmla="*/ 0 w 1196"/>
                <a:gd name="T9" fmla="*/ 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6" h="1104">
                  <a:moveTo>
                    <a:pt x="0" y="0"/>
                  </a:moveTo>
                  <a:lnTo>
                    <a:pt x="1196" y="348"/>
                  </a:lnTo>
                  <a:lnTo>
                    <a:pt x="1196" y="764"/>
                  </a:lnTo>
                  <a:lnTo>
                    <a:pt x="0" y="1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6233" name="Freeform 9"/>
            <p:cNvSpPr>
              <a:spLocks/>
            </p:cNvSpPr>
            <p:nvPr/>
          </p:nvSpPr>
          <p:spPr bwMode="gray">
            <a:xfrm>
              <a:off x="1241" y="1859"/>
              <a:ext cx="981" cy="1089"/>
            </a:xfrm>
            <a:custGeom>
              <a:avLst/>
              <a:gdLst>
                <a:gd name="T0" fmla="*/ 0 w 1196"/>
                <a:gd name="T1" fmla="*/ 0 h 1104"/>
                <a:gd name="T2" fmla="*/ 1196 w 1196"/>
                <a:gd name="T3" fmla="*/ 348 h 1104"/>
                <a:gd name="T4" fmla="*/ 1196 w 1196"/>
                <a:gd name="T5" fmla="*/ 764 h 1104"/>
                <a:gd name="T6" fmla="*/ 0 w 1196"/>
                <a:gd name="T7" fmla="*/ 1104 h 1104"/>
                <a:gd name="T8" fmla="*/ 0 w 1196"/>
                <a:gd name="T9" fmla="*/ 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6" h="1104">
                  <a:moveTo>
                    <a:pt x="0" y="0"/>
                  </a:moveTo>
                  <a:lnTo>
                    <a:pt x="1196" y="348"/>
                  </a:lnTo>
                  <a:lnTo>
                    <a:pt x="1196" y="764"/>
                  </a:lnTo>
                  <a:lnTo>
                    <a:pt x="0" y="1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6234" name="Freeform 10"/>
            <p:cNvSpPr>
              <a:spLocks/>
            </p:cNvSpPr>
            <p:nvPr/>
          </p:nvSpPr>
          <p:spPr bwMode="gray">
            <a:xfrm>
              <a:off x="1247" y="2656"/>
              <a:ext cx="1297" cy="1220"/>
            </a:xfrm>
            <a:custGeom>
              <a:avLst/>
              <a:gdLst>
                <a:gd name="T0" fmla="*/ 987 w 1297"/>
                <a:gd name="T1" fmla="*/ 0 h 1155"/>
                <a:gd name="T2" fmla="*/ 1297 w 1297"/>
                <a:gd name="T3" fmla="*/ 308 h 1155"/>
                <a:gd name="T4" fmla="*/ 983 w 1297"/>
                <a:gd name="T5" fmla="*/ 1155 h 1155"/>
                <a:gd name="T6" fmla="*/ 0 w 1297"/>
                <a:gd name="T7" fmla="*/ 323 h 1155"/>
                <a:gd name="T8" fmla="*/ 987 w 1297"/>
                <a:gd name="T9" fmla="*/ 0 h 1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7" h="1155">
                  <a:moveTo>
                    <a:pt x="987" y="0"/>
                  </a:moveTo>
                  <a:lnTo>
                    <a:pt x="1297" y="308"/>
                  </a:lnTo>
                  <a:lnTo>
                    <a:pt x="983" y="1155"/>
                  </a:lnTo>
                  <a:lnTo>
                    <a:pt x="0" y="323"/>
                  </a:lnTo>
                  <a:lnTo>
                    <a:pt x="987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6235" name="Freeform 11"/>
            <p:cNvSpPr>
              <a:spLocks/>
            </p:cNvSpPr>
            <p:nvPr/>
          </p:nvSpPr>
          <p:spPr bwMode="gray">
            <a:xfrm>
              <a:off x="2277" y="2999"/>
              <a:ext cx="1183" cy="879"/>
            </a:xfrm>
            <a:custGeom>
              <a:avLst/>
              <a:gdLst>
                <a:gd name="T0" fmla="*/ 448 w 1736"/>
                <a:gd name="T1" fmla="*/ 0 h 856"/>
                <a:gd name="T2" fmla="*/ 1292 w 1736"/>
                <a:gd name="T3" fmla="*/ 0 h 856"/>
                <a:gd name="T4" fmla="*/ 1736 w 1736"/>
                <a:gd name="T5" fmla="*/ 856 h 856"/>
                <a:gd name="T6" fmla="*/ 0 w 1736"/>
                <a:gd name="T7" fmla="*/ 856 h 856"/>
                <a:gd name="T8" fmla="*/ 448 w 1736"/>
                <a:gd name="T9" fmla="*/ 0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6" h="856">
                  <a:moveTo>
                    <a:pt x="448" y="0"/>
                  </a:moveTo>
                  <a:lnTo>
                    <a:pt x="1292" y="0"/>
                  </a:lnTo>
                  <a:lnTo>
                    <a:pt x="1736" y="856"/>
                  </a:lnTo>
                  <a:lnTo>
                    <a:pt x="0" y="856"/>
                  </a:lnTo>
                  <a:lnTo>
                    <a:pt x="44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6236" name="AutoShape 12"/>
            <p:cNvSpPr>
              <a:spLocks noChangeArrowheads="1"/>
            </p:cNvSpPr>
            <p:nvPr/>
          </p:nvSpPr>
          <p:spPr bwMode="gray">
            <a:xfrm>
              <a:off x="2307" y="1901"/>
              <a:ext cx="1124" cy="1015"/>
            </a:xfrm>
            <a:prstGeom prst="octagon">
              <a:avLst>
                <a:gd name="adj" fmla="val 29287"/>
              </a:avLst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endParaRPr lang="de-DE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56237" name="Rectangle 13"/>
            <p:cNvSpPr>
              <a:spLocks noChangeArrowheads="1"/>
            </p:cNvSpPr>
            <p:nvPr/>
          </p:nvSpPr>
          <p:spPr bwMode="gray">
            <a:xfrm>
              <a:off x="2538" y="3381"/>
              <a:ext cx="668" cy="1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6238" name="Rectangle 14"/>
            <p:cNvSpPr>
              <a:spLocks noChangeArrowheads="1"/>
            </p:cNvSpPr>
            <p:nvPr/>
          </p:nvSpPr>
          <p:spPr bwMode="gray">
            <a:xfrm>
              <a:off x="2538" y="1296"/>
              <a:ext cx="668" cy="1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6239" name="Rectangle 15"/>
            <p:cNvSpPr>
              <a:spLocks noChangeArrowheads="1"/>
            </p:cNvSpPr>
            <p:nvPr/>
          </p:nvSpPr>
          <p:spPr bwMode="gray">
            <a:xfrm>
              <a:off x="1450" y="2332"/>
              <a:ext cx="668" cy="1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6240" name="Rectangle 16"/>
            <p:cNvSpPr>
              <a:spLocks noChangeArrowheads="1"/>
            </p:cNvSpPr>
            <p:nvPr/>
          </p:nvSpPr>
          <p:spPr bwMode="gray">
            <a:xfrm>
              <a:off x="3610" y="2332"/>
              <a:ext cx="668" cy="1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6241" name="Rectangle 17"/>
            <p:cNvSpPr>
              <a:spLocks noChangeArrowheads="1"/>
            </p:cNvSpPr>
            <p:nvPr/>
          </p:nvSpPr>
          <p:spPr bwMode="gray">
            <a:xfrm>
              <a:off x="3394" y="1752"/>
              <a:ext cx="668" cy="1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6242" name="Rectangle 18"/>
            <p:cNvSpPr>
              <a:spLocks noChangeArrowheads="1"/>
            </p:cNvSpPr>
            <p:nvPr/>
          </p:nvSpPr>
          <p:spPr bwMode="gray">
            <a:xfrm>
              <a:off x="1606" y="1752"/>
              <a:ext cx="668" cy="1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6243" name="Rectangle 19"/>
            <p:cNvSpPr>
              <a:spLocks noChangeArrowheads="1"/>
            </p:cNvSpPr>
            <p:nvPr/>
          </p:nvSpPr>
          <p:spPr bwMode="gray">
            <a:xfrm>
              <a:off x="3394" y="2937"/>
              <a:ext cx="668" cy="1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6244" name="Rectangle 20"/>
            <p:cNvSpPr>
              <a:spLocks noChangeArrowheads="1"/>
            </p:cNvSpPr>
            <p:nvPr/>
          </p:nvSpPr>
          <p:spPr bwMode="gray">
            <a:xfrm>
              <a:off x="1606" y="2937"/>
              <a:ext cx="668" cy="1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algn="r"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56245" name="Rectangle 21"/>
            <p:cNvSpPr>
              <a:spLocks noChangeArrowheads="1"/>
            </p:cNvSpPr>
            <p:nvPr/>
          </p:nvSpPr>
          <p:spPr bwMode="gray">
            <a:xfrm>
              <a:off x="2546" y="2248"/>
              <a:ext cx="668" cy="2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728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91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7 Segments</a:t>
            </a:r>
          </a:p>
        </p:txBody>
      </p:sp>
      <p:grpSp>
        <p:nvGrpSpPr>
          <p:cNvPr id="2609155" name="Group 3"/>
          <p:cNvGrpSpPr>
            <a:grpSpLocks/>
          </p:cNvGrpSpPr>
          <p:nvPr/>
        </p:nvGrpSpPr>
        <p:grpSpPr bwMode="auto">
          <a:xfrm>
            <a:off x="3676650" y="1489075"/>
            <a:ext cx="4775200" cy="4654550"/>
            <a:chOff x="1416" y="938"/>
            <a:chExt cx="2912" cy="2838"/>
          </a:xfrm>
        </p:grpSpPr>
        <p:sp>
          <p:nvSpPr>
            <p:cNvPr id="2609156" name="AutoShape 4"/>
            <p:cNvSpPr>
              <a:spLocks noChangeArrowheads="1"/>
            </p:cNvSpPr>
            <p:nvPr/>
          </p:nvSpPr>
          <p:spPr bwMode="gray">
            <a:xfrm>
              <a:off x="2306" y="938"/>
              <a:ext cx="1108" cy="846"/>
            </a:xfrm>
            <a:prstGeom prst="hexagon">
              <a:avLst>
                <a:gd name="adj" fmla="val 32742"/>
                <a:gd name="vf" fmla="val 115470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9157" name="AutoShape 5"/>
            <p:cNvSpPr>
              <a:spLocks noChangeArrowheads="1"/>
            </p:cNvSpPr>
            <p:nvPr/>
          </p:nvSpPr>
          <p:spPr bwMode="gray">
            <a:xfrm>
              <a:off x="2318" y="1934"/>
              <a:ext cx="1108" cy="846"/>
            </a:xfrm>
            <a:prstGeom prst="hexagon">
              <a:avLst>
                <a:gd name="adj" fmla="val 32742"/>
                <a:gd name="vf" fmla="val 115470"/>
              </a:avLst>
            </a:prstGeom>
            <a:solidFill>
              <a:schemeClr val="bg1">
                <a:lumMod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sz="20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9158" name="AutoShape 6"/>
            <p:cNvSpPr>
              <a:spLocks noChangeArrowheads="1"/>
            </p:cNvSpPr>
            <p:nvPr/>
          </p:nvSpPr>
          <p:spPr bwMode="gray">
            <a:xfrm>
              <a:off x="2306" y="2930"/>
              <a:ext cx="1108" cy="846"/>
            </a:xfrm>
            <a:prstGeom prst="hexagon">
              <a:avLst>
                <a:gd name="adj" fmla="val 32742"/>
                <a:gd name="vf" fmla="val 115470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9159" name="AutoShape 7"/>
            <p:cNvSpPr>
              <a:spLocks noChangeArrowheads="1"/>
            </p:cNvSpPr>
            <p:nvPr/>
          </p:nvSpPr>
          <p:spPr bwMode="gray">
            <a:xfrm>
              <a:off x="3220" y="2433"/>
              <a:ext cx="1108" cy="845"/>
            </a:xfrm>
            <a:prstGeom prst="hexagon">
              <a:avLst>
                <a:gd name="adj" fmla="val 32781"/>
                <a:gd name="vf" fmla="val 115470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9160" name="AutoShape 8"/>
            <p:cNvSpPr>
              <a:spLocks noChangeArrowheads="1"/>
            </p:cNvSpPr>
            <p:nvPr/>
          </p:nvSpPr>
          <p:spPr bwMode="gray">
            <a:xfrm>
              <a:off x="3220" y="1437"/>
              <a:ext cx="1108" cy="845"/>
            </a:xfrm>
            <a:prstGeom prst="hexagon">
              <a:avLst>
                <a:gd name="adj" fmla="val 32781"/>
                <a:gd name="vf" fmla="val 115470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9161" name="AutoShape 9"/>
            <p:cNvSpPr>
              <a:spLocks noChangeArrowheads="1"/>
            </p:cNvSpPr>
            <p:nvPr/>
          </p:nvSpPr>
          <p:spPr bwMode="gray">
            <a:xfrm>
              <a:off x="1416" y="2433"/>
              <a:ext cx="1108" cy="845"/>
            </a:xfrm>
            <a:prstGeom prst="hexagon">
              <a:avLst>
                <a:gd name="adj" fmla="val 32781"/>
                <a:gd name="vf" fmla="val 115470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09162" name="AutoShape 10"/>
            <p:cNvSpPr>
              <a:spLocks noChangeArrowheads="1"/>
            </p:cNvSpPr>
            <p:nvPr/>
          </p:nvSpPr>
          <p:spPr bwMode="gray">
            <a:xfrm>
              <a:off x="1416" y="1437"/>
              <a:ext cx="1108" cy="845"/>
            </a:xfrm>
            <a:prstGeom prst="hexagon">
              <a:avLst>
                <a:gd name="adj" fmla="val 32781"/>
                <a:gd name="vf" fmla="val 115470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089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52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7 Segments</a:t>
            </a:r>
          </a:p>
        </p:txBody>
      </p:sp>
      <p:grpSp>
        <p:nvGrpSpPr>
          <p:cNvPr id="2615299" name="Group 3"/>
          <p:cNvGrpSpPr>
            <a:grpSpLocks/>
          </p:cNvGrpSpPr>
          <p:nvPr/>
        </p:nvGrpSpPr>
        <p:grpSpPr bwMode="auto">
          <a:xfrm>
            <a:off x="3540125" y="1495425"/>
            <a:ext cx="5132388" cy="4451350"/>
            <a:chOff x="1270" y="942"/>
            <a:chExt cx="3233" cy="2804"/>
          </a:xfrm>
        </p:grpSpPr>
        <p:sp>
          <p:nvSpPr>
            <p:cNvPr id="2615300" name="AutoShape 4"/>
            <p:cNvSpPr>
              <a:spLocks noChangeArrowheads="1"/>
            </p:cNvSpPr>
            <p:nvPr/>
          </p:nvSpPr>
          <p:spPr bwMode="gray">
            <a:xfrm>
              <a:off x="2269" y="942"/>
              <a:ext cx="1235" cy="890"/>
            </a:xfrm>
            <a:prstGeom prst="hexagon">
              <a:avLst>
                <a:gd name="adj" fmla="val 34691"/>
                <a:gd name="vf" fmla="val 115470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15301" name="AutoShape 5"/>
            <p:cNvSpPr>
              <a:spLocks noChangeArrowheads="1"/>
            </p:cNvSpPr>
            <p:nvPr/>
          </p:nvSpPr>
          <p:spPr bwMode="gray">
            <a:xfrm>
              <a:off x="2269" y="2856"/>
              <a:ext cx="1235" cy="890"/>
            </a:xfrm>
            <a:prstGeom prst="hexagon">
              <a:avLst>
                <a:gd name="adj" fmla="val 34691"/>
                <a:gd name="vf" fmla="val 115470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15302" name="AutoShape 6"/>
            <p:cNvSpPr>
              <a:spLocks noChangeArrowheads="1"/>
            </p:cNvSpPr>
            <p:nvPr/>
          </p:nvSpPr>
          <p:spPr bwMode="gray">
            <a:xfrm>
              <a:off x="1270" y="2390"/>
              <a:ext cx="1235" cy="890"/>
            </a:xfrm>
            <a:prstGeom prst="hexagon">
              <a:avLst>
                <a:gd name="adj" fmla="val 34691"/>
                <a:gd name="vf" fmla="val 115470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15303" name="AutoShape 7"/>
            <p:cNvSpPr>
              <a:spLocks noChangeArrowheads="1"/>
            </p:cNvSpPr>
            <p:nvPr/>
          </p:nvSpPr>
          <p:spPr bwMode="gray">
            <a:xfrm>
              <a:off x="3268" y="1421"/>
              <a:ext cx="1235" cy="890"/>
            </a:xfrm>
            <a:prstGeom prst="hexagon">
              <a:avLst>
                <a:gd name="adj" fmla="val 34691"/>
                <a:gd name="vf" fmla="val 115470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15304" name="AutoShape 8"/>
            <p:cNvSpPr>
              <a:spLocks noChangeArrowheads="1"/>
            </p:cNvSpPr>
            <p:nvPr/>
          </p:nvSpPr>
          <p:spPr bwMode="gray">
            <a:xfrm>
              <a:off x="1270" y="1421"/>
              <a:ext cx="1235" cy="890"/>
            </a:xfrm>
            <a:prstGeom prst="hexagon">
              <a:avLst>
                <a:gd name="adj" fmla="val 34691"/>
                <a:gd name="vf" fmla="val 115470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15305" name="AutoShape 9"/>
            <p:cNvSpPr>
              <a:spLocks noChangeArrowheads="1"/>
            </p:cNvSpPr>
            <p:nvPr/>
          </p:nvSpPr>
          <p:spPr bwMode="gray">
            <a:xfrm>
              <a:off x="2269" y="1899"/>
              <a:ext cx="1235" cy="890"/>
            </a:xfrm>
            <a:prstGeom prst="hexagon">
              <a:avLst>
                <a:gd name="adj" fmla="val 34691"/>
                <a:gd name="vf" fmla="val 115470"/>
              </a:avLst>
            </a:prstGeom>
            <a:solidFill>
              <a:schemeClr val="bg1">
                <a:lumMod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sz="2000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15306" name="AutoShape 10"/>
            <p:cNvSpPr>
              <a:spLocks noChangeArrowheads="1"/>
            </p:cNvSpPr>
            <p:nvPr/>
          </p:nvSpPr>
          <p:spPr bwMode="gray">
            <a:xfrm>
              <a:off x="3268" y="2390"/>
              <a:ext cx="1235" cy="890"/>
            </a:xfrm>
            <a:prstGeom prst="hexagon">
              <a:avLst>
                <a:gd name="adj" fmla="val 34691"/>
                <a:gd name="vf" fmla="val 115470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31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3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3 Relations</a:t>
            </a:r>
          </a:p>
        </p:txBody>
      </p:sp>
      <p:grpSp>
        <p:nvGrpSpPr>
          <p:cNvPr id="2623491" name="Group 3"/>
          <p:cNvGrpSpPr>
            <a:grpSpLocks/>
          </p:cNvGrpSpPr>
          <p:nvPr/>
        </p:nvGrpSpPr>
        <p:grpSpPr bwMode="auto">
          <a:xfrm>
            <a:off x="3786188" y="1495425"/>
            <a:ext cx="4603750" cy="4222750"/>
            <a:chOff x="1455" y="948"/>
            <a:chExt cx="2900" cy="2660"/>
          </a:xfrm>
        </p:grpSpPr>
        <p:sp>
          <p:nvSpPr>
            <p:cNvPr id="2623495" name="Oval 7"/>
            <p:cNvSpPr>
              <a:spLocks noChangeArrowheads="1"/>
            </p:cNvSpPr>
            <p:nvPr/>
          </p:nvSpPr>
          <p:spPr bwMode="gray">
            <a:xfrm>
              <a:off x="2804" y="948"/>
              <a:ext cx="1551" cy="1520"/>
            </a:xfrm>
            <a:prstGeom prst="ellips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23496" name="Oval 8"/>
            <p:cNvSpPr>
              <a:spLocks noChangeArrowheads="1"/>
            </p:cNvSpPr>
            <p:nvPr/>
          </p:nvSpPr>
          <p:spPr bwMode="gray">
            <a:xfrm>
              <a:off x="1455" y="948"/>
              <a:ext cx="1551" cy="1520"/>
            </a:xfrm>
            <a:prstGeom prst="ellips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23497" name="Oval 9"/>
            <p:cNvSpPr>
              <a:spLocks noChangeArrowheads="1"/>
            </p:cNvSpPr>
            <p:nvPr/>
          </p:nvSpPr>
          <p:spPr bwMode="gray">
            <a:xfrm>
              <a:off x="2130" y="2088"/>
              <a:ext cx="1551" cy="1520"/>
            </a:xfrm>
            <a:prstGeom prst="ellips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010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55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4 Relations</a:t>
            </a:r>
          </a:p>
        </p:txBody>
      </p:sp>
      <p:grpSp>
        <p:nvGrpSpPr>
          <p:cNvPr id="2625539" name="Group 3"/>
          <p:cNvGrpSpPr>
            <a:grpSpLocks/>
          </p:cNvGrpSpPr>
          <p:nvPr/>
        </p:nvGrpSpPr>
        <p:grpSpPr bwMode="auto">
          <a:xfrm>
            <a:off x="3786188" y="1495426"/>
            <a:ext cx="4603750" cy="4518025"/>
            <a:chOff x="1455" y="948"/>
            <a:chExt cx="2900" cy="2846"/>
          </a:xfrm>
        </p:grpSpPr>
        <p:sp>
          <p:nvSpPr>
            <p:cNvPr id="2625540" name="Freeform 4"/>
            <p:cNvSpPr>
              <a:spLocks/>
            </p:cNvSpPr>
            <p:nvPr/>
          </p:nvSpPr>
          <p:spPr bwMode="gray">
            <a:xfrm rot="5400000">
              <a:off x="3481" y="2253"/>
              <a:ext cx="197" cy="233"/>
            </a:xfrm>
            <a:custGeom>
              <a:avLst/>
              <a:gdLst>
                <a:gd name="T0" fmla="*/ 139 w 325"/>
                <a:gd name="T1" fmla="*/ 37 h 973"/>
                <a:gd name="T2" fmla="*/ 155 w 325"/>
                <a:gd name="T3" fmla="*/ 12 h 973"/>
                <a:gd name="T4" fmla="*/ 162 w 325"/>
                <a:gd name="T5" fmla="*/ 1 h 973"/>
                <a:gd name="T6" fmla="*/ 164 w 325"/>
                <a:gd name="T7" fmla="*/ 2 h 973"/>
                <a:gd name="T8" fmla="*/ 174 w 325"/>
                <a:gd name="T9" fmla="*/ 17 h 973"/>
                <a:gd name="T10" fmla="*/ 192 w 325"/>
                <a:gd name="T11" fmla="*/ 46 h 973"/>
                <a:gd name="T12" fmla="*/ 217 w 325"/>
                <a:gd name="T13" fmla="*/ 87 h 973"/>
                <a:gd name="T14" fmla="*/ 242 w 325"/>
                <a:gd name="T15" fmla="*/ 134 h 973"/>
                <a:gd name="T16" fmla="*/ 264 w 325"/>
                <a:gd name="T17" fmla="*/ 183 h 973"/>
                <a:gd name="T18" fmla="*/ 283 w 325"/>
                <a:gd name="T19" fmla="*/ 234 h 973"/>
                <a:gd name="T20" fmla="*/ 299 w 325"/>
                <a:gd name="T21" fmla="*/ 288 h 973"/>
                <a:gd name="T22" fmla="*/ 311 w 325"/>
                <a:gd name="T23" fmla="*/ 342 h 973"/>
                <a:gd name="T24" fmla="*/ 319 w 325"/>
                <a:gd name="T25" fmla="*/ 397 h 973"/>
                <a:gd name="T26" fmla="*/ 324 w 325"/>
                <a:gd name="T27" fmla="*/ 452 h 973"/>
                <a:gd name="T28" fmla="*/ 324 w 325"/>
                <a:gd name="T29" fmla="*/ 507 h 973"/>
                <a:gd name="T30" fmla="*/ 321 w 325"/>
                <a:gd name="T31" fmla="*/ 562 h 973"/>
                <a:gd name="T32" fmla="*/ 315 w 325"/>
                <a:gd name="T33" fmla="*/ 615 h 973"/>
                <a:gd name="T34" fmla="*/ 305 w 325"/>
                <a:gd name="T35" fmla="*/ 665 h 973"/>
                <a:gd name="T36" fmla="*/ 293 w 325"/>
                <a:gd name="T37" fmla="*/ 713 h 973"/>
                <a:gd name="T38" fmla="*/ 279 w 325"/>
                <a:gd name="T39" fmla="*/ 757 h 973"/>
                <a:gd name="T40" fmla="*/ 263 w 325"/>
                <a:gd name="T41" fmla="*/ 798 h 973"/>
                <a:gd name="T42" fmla="*/ 247 w 325"/>
                <a:gd name="T43" fmla="*/ 834 h 973"/>
                <a:gd name="T44" fmla="*/ 230 w 325"/>
                <a:gd name="T45" fmla="*/ 866 h 973"/>
                <a:gd name="T46" fmla="*/ 214 w 325"/>
                <a:gd name="T47" fmla="*/ 895 h 973"/>
                <a:gd name="T48" fmla="*/ 198 w 325"/>
                <a:gd name="T49" fmla="*/ 920 h 973"/>
                <a:gd name="T50" fmla="*/ 184 w 325"/>
                <a:gd name="T51" fmla="*/ 942 h 973"/>
                <a:gd name="T52" fmla="*/ 172 w 325"/>
                <a:gd name="T53" fmla="*/ 959 h 973"/>
                <a:gd name="T54" fmla="*/ 165 w 325"/>
                <a:gd name="T55" fmla="*/ 969 h 973"/>
                <a:gd name="T56" fmla="*/ 163 w 325"/>
                <a:gd name="T57" fmla="*/ 972 h 973"/>
                <a:gd name="T58" fmla="*/ 160 w 325"/>
                <a:gd name="T59" fmla="*/ 969 h 973"/>
                <a:gd name="T60" fmla="*/ 153 w 325"/>
                <a:gd name="T61" fmla="*/ 958 h 973"/>
                <a:gd name="T62" fmla="*/ 140 w 325"/>
                <a:gd name="T63" fmla="*/ 941 h 973"/>
                <a:gd name="T64" fmla="*/ 124 w 325"/>
                <a:gd name="T65" fmla="*/ 918 h 973"/>
                <a:gd name="T66" fmla="*/ 108 w 325"/>
                <a:gd name="T67" fmla="*/ 893 h 973"/>
                <a:gd name="T68" fmla="*/ 93 w 325"/>
                <a:gd name="T69" fmla="*/ 865 h 973"/>
                <a:gd name="T70" fmla="*/ 79 w 325"/>
                <a:gd name="T71" fmla="*/ 834 h 973"/>
                <a:gd name="T72" fmla="*/ 64 w 325"/>
                <a:gd name="T73" fmla="*/ 799 h 973"/>
                <a:gd name="T74" fmla="*/ 49 w 325"/>
                <a:gd name="T75" fmla="*/ 759 h 973"/>
                <a:gd name="T76" fmla="*/ 34 w 325"/>
                <a:gd name="T77" fmla="*/ 714 h 973"/>
                <a:gd name="T78" fmla="*/ 22 w 325"/>
                <a:gd name="T79" fmla="*/ 666 h 973"/>
                <a:gd name="T80" fmla="*/ 12 w 325"/>
                <a:gd name="T81" fmla="*/ 615 h 973"/>
                <a:gd name="T82" fmla="*/ 4 w 325"/>
                <a:gd name="T83" fmla="*/ 562 h 973"/>
                <a:gd name="T84" fmla="*/ 0 w 325"/>
                <a:gd name="T85" fmla="*/ 506 h 973"/>
                <a:gd name="T86" fmla="*/ 1 w 325"/>
                <a:gd name="T87" fmla="*/ 448 h 973"/>
                <a:gd name="T88" fmla="*/ 8 w 325"/>
                <a:gd name="T89" fmla="*/ 387 h 973"/>
                <a:gd name="T90" fmla="*/ 17 w 325"/>
                <a:gd name="T91" fmla="*/ 327 h 973"/>
                <a:gd name="T92" fmla="*/ 31 w 325"/>
                <a:gd name="T93" fmla="*/ 271 h 973"/>
                <a:gd name="T94" fmla="*/ 47 w 325"/>
                <a:gd name="T95" fmla="*/ 219 h 973"/>
                <a:gd name="T96" fmla="*/ 66 w 325"/>
                <a:gd name="T97" fmla="*/ 171 h 973"/>
                <a:gd name="T98" fmla="*/ 87 w 325"/>
                <a:gd name="T99" fmla="*/ 125 h 973"/>
                <a:gd name="T100" fmla="*/ 111 w 325"/>
                <a:gd name="T101" fmla="*/ 82 h 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5" h="973">
                  <a:moveTo>
                    <a:pt x="121" y="65"/>
                  </a:moveTo>
                  <a:lnTo>
                    <a:pt x="126" y="57"/>
                  </a:lnTo>
                  <a:lnTo>
                    <a:pt x="131" y="50"/>
                  </a:lnTo>
                  <a:lnTo>
                    <a:pt x="135" y="43"/>
                  </a:lnTo>
                  <a:lnTo>
                    <a:pt x="139" y="37"/>
                  </a:lnTo>
                  <a:lnTo>
                    <a:pt x="143" y="31"/>
                  </a:lnTo>
                  <a:lnTo>
                    <a:pt x="146" y="25"/>
                  </a:lnTo>
                  <a:lnTo>
                    <a:pt x="150" y="21"/>
                  </a:lnTo>
                  <a:lnTo>
                    <a:pt x="152" y="16"/>
                  </a:lnTo>
                  <a:lnTo>
                    <a:pt x="155" y="12"/>
                  </a:lnTo>
                  <a:lnTo>
                    <a:pt x="157" y="9"/>
                  </a:lnTo>
                  <a:lnTo>
                    <a:pt x="159" y="6"/>
                  </a:lnTo>
                  <a:lnTo>
                    <a:pt x="160" y="4"/>
                  </a:lnTo>
                  <a:lnTo>
                    <a:pt x="161" y="2"/>
                  </a:lnTo>
                  <a:lnTo>
                    <a:pt x="162" y="1"/>
                  </a:lnTo>
                  <a:lnTo>
                    <a:pt x="163" y="0"/>
                  </a:lnTo>
                  <a:lnTo>
                    <a:pt x="163" y="1"/>
                  </a:lnTo>
                  <a:lnTo>
                    <a:pt x="164" y="2"/>
                  </a:lnTo>
                  <a:lnTo>
                    <a:pt x="165" y="4"/>
                  </a:lnTo>
                  <a:lnTo>
                    <a:pt x="167" y="7"/>
                  </a:lnTo>
                  <a:lnTo>
                    <a:pt x="169" y="10"/>
                  </a:lnTo>
                  <a:lnTo>
                    <a:pt x="171" y="13"/>
                  </a:lnTo>
                  <a:lnTo>
                    <a:pt x="174" y="17"/>
                  </a:lnTo>
                  <a:lnTo>
                    <a:pt x="177" y="22"/>
                  </a:lnTo>
                  <a:lnTo>
                    <a:pt x="180" y="27"/>
                  </a:lnTo>
                  <a:lnTo>
                    <a:pt x="183" y="33"/>
                  </a:lnTo>
                  <a:lnTo>
                    <a:pt x="187" y="39"/>
                  </a:lnTo>
                  <a:lnTo>
                    <a:pt x="192" y="46"/>
                  </a:lnTo>
                  <a:lnTo>
                    <a:pt x="196" y="53"/>
                  </a:lnTo>
                  <a:lnTo>
                    <a:pt x="201" y="61"/>
                  </a:lnTo>
                  <a:lnTo>
                    <a:pt x="207" y="70"/>
                  </a:lnTo>
                  <a:lnTo>
                    <a:pt x="212" y="79"/>
                  </a:lnTo>
                  <a:lnTo>
                    <a:pt x="217" y="87"/>
                  </a:lnTo>
                  <a:lnTo>
                    <a:pt x="223" y="96"/>
                  </a:lnTo>
                  <a:lnTo>
                    <a:pt x="228" y="106"/>
                  </a:lnTo>
                  <a:lnTo>
                    <a:pt x="233" y="115"/>
                  </a:lnTo>
                  <a:lnTo>
                    <a:pt x="237" y="124"/>
                  </a:lnTo>
                  <a:lnTo>
                    <a:pt x="242" y="134"/>
                  </a:lnTo>
                  <a:lnTo>
                    <a:pt x="247" y="143"/>
                  </a:lnTo>
                  <a:lnTo>
                    <a:pt x="251" y="153"/>
                  </a:lnTo>
                  <a:lnTo>
                    <a:pt x="256" y="163"/>
                  </a:lnTo>
                  <a:lnTo>
                    <a:pt x="260" y="173"/>
                  </a:lnTo>
                  <a:lnTo>
                    <a:pt x="264" y="183"/>
                  </a:lnTo>
                  <a:lnTo>
                    <a:pt x="268" y="193"/>
                  </a:lnTo>
                  <a:lnTo>
                    <a:pt x="272" y="203"/>
                  </a:lnTo>
                  <a:lnTo>
                    <a:pt x="276" y="213"/>
                  </a:lnTo>
                  <a:lnTo>
                    <a:pt x="280" y="224"/>
                  </a:lnTo>
                  <a:lnTo>
                    <a:pt x="283" y="234"/>
                  </a:lnTo>
                  <a:lnTo>
                    <a:pt x="287" y="245"/>
                  </a:lnTo>
                  <a:lnTo>
                    <a:pt x="290" y="256"/>
                  </a:lnTo>
                  <a:lnTo>
                    <a:pt x="293" y="266"/>
                  </a:lnTo>
                  <a:lnTo>
                    <a:pt x="296" y="277"/>
                  </a:lnTo>
                  <a:lnTo>
                    <a:pt x="299" y="288"/>
                  </a:lnTo>
                  <a:lnTo>
                    <a:pt x="302" y="299"/>
                  </a:lnTo>
                  <a:lnTo>
                    <a:pt x="304" y="309"/>
                  </a:lnTo>
                  <a:lnTo>
                    <a:pt x="307" y="320"/>
                  </a:lnTo>
                  <a:lnTo>
                    <a:pt x="309" y="331"/>
                  </a:lnTo>
                  <a:lnTo>
                    <a:pt x="311" y="342"/>
                  </a:lnTo>
                  <a:lnTo>
                    <a:pt x="313" y="353"/>
                  </a:lnTo>
                  <a:lnTo>
                    <a:pt x="315" y="364"/>
                  </a:lnTo>
                  <a:lnTo>
                    <a:pt x="316" y="375"/>
                  </a:lnTo>
                  <a:lnTo>
                    <a:pt x="318" y="386"/>
                  </a:lnTo>
                  <a:lnTo>
                    <a:pt x="319" y="397"/>
                  </a:lnTo>
                  <a:lnTo>
                    <a:pt x="320" y="408"/>
                  </a:lnTo>
                  <a:lnTo>
                    <a:pt x="321" y="419"/>
                  </a:lnTo>
                  <a:lnTo>
                    <a:pt x="322" y="430"/>
                  </a:lnTo>
                  <a:lnTo>
                    <a:pt x="323" y="441"/>
                  </a:lnTo>
                  <a:lnTo>
                    <a:pt x="324" y="452"/>
                  </a:lnTo>
                  <a:lnTo>
                    <a:pt x="324" y="463"/>
                  </a:lnTo>
                  <a:lnTo>
                    <a:pt x="324" y="474"/>
                  </a:lnTo>
                  <a:lnTo>
                    <a:pt x="324" y="485"/>
                  </a:lnTo>
                  <a:lnTo>
                    <a:pt x="324" y="496"/>
                  </a:lnTo>
                  <a:lnTo>
                    <a:pt x="324" y="507"/>
                  </a:lnTo>
                  <a:lnTo>
                    <a:pt x="324" y="518"/>
                  </a:lnTo>
                  <a:lnTo>
                    <a:pt x="324" y="529"/>
                  </a:lnTo>
                  <a:lnTo>
                    <a:pt x="323" y="540"/>
                  </a:lnTo>
                  <a:lnTo>
                    <a:pt x="322" y="551"/>
                  </a:lnTo>
                  <a:lnTo>
                    <a:pt x="321" y="562"/>
                  </a:lnTo>
                  <a:lnTo>
                    <a:pt x="320" y="573"/>
                  </a:lnTo>
                  <a:lnTo>
                    <a:pt x="319" y="583"/>
                  </a:lnTo>
                  <a:lnTo>
                    <a:pt x="318" y="594"/>
                  </a:lnTo>
                  <a:lnTo>
                    <a:pt x="316" y="605"/>
                  </a:lnTo>
                  <a:lnTo>
                    <a:pt x="315" y="615"/>
                  </a:lnTo>
                  <a:lnTo>
                    <a:pt x="313" y="625"/>
                  </a:lnTo>
                  <a:lnTo>
                    <a:pt x="311" y="636"/>
                  </a:lnTo>
                  <a:lnTo>
                    <a:pt x="310" y="646"/>
                  </a:lnTo>
                  <a:lnTo>
                    <a:pt x="308" y="656"/>
                  </a:lnTo>
                  <a:lnTo>
                    <a:pt x="305" y="665"/>
                  </a:lnTo>
                  <a:lnTo>
                    <a:pt x="303" y="675"/>
                  </a:lnTo>
                  <a:lnTo>
                    <a:pt x="301" y="685"/>
                  </a:lnTo>
                  <a:lnTo>
                    <a:pt x="299" y="694"/>
                  </a:lnTo>
                  <a:lnTo>
                    <a:pt x="296" y="704"/>
                  </a:lnTo>
                  <a:lnTo>
                    <a:pt x="293" y="713"/>
                  </a:lnTo>
                  <a:lnTo>
                    <a:pt x="291" y="722"/>
                  </a:lnTo>
                  <a:lnTo>
                    <a:pt x="288" y="731"/>
                  </a:lnTo>
                  <a:lnTo>
                    <a:pt x="285" y="740"/>
                  </a:lnTo>
                  <a:lnTo>
                    <a:pt x="282" y="749"/>
                  </a:lnTo>
                  <a:lnTo>
                    <a:pt x="279" y="757"/>
                  </a:lnTo>
                  <a:lnTo>
                    <a:pt x="276" y="766"/>
                  </a:lnTo>
                  <a:lnTo>
                    <a:pt x="273" y="774"/>
                  </a:lnTo>
                  <a:lnTo>
                    <a:pt x="269" y="782"/>
                  </a:lnTo>
                  <a:lnTo>
                    <a:pt x="266" y="790"/>
                  </a:lnTo>
                  <a:lnTo>
                    <a:pt x="263" y="798"/>
                  </a:lnTo>
                  <a:lnTo>
                    <a:pt x="260" y="805"/>
                  </a:lnTo>
                  <a:lnTo>
                    <a:pt x="257" y="813"/>
                  </a:lnTo>
                  <a:lnTo>
                    <a:pt x="254" y="820"/>
                  </a:lnTo>
                  <a:lnTo>
                    <a:pt x="250" y="827"/>
                  </a:lnTo>
                  <a:lnTo>
                    <a:pt x="247" y="834"/>
                  </a:lnTo>
                  <a:lnTo>
                    <a:pt x="244" y="841"/>
                  </a:lnTo>
                  <a:lnTo>
                    <a:pt x="240" y="847"/>
                  </a:lnTo>
                  <a:lnTo>
                    <a:pt x="237" y="854"/>
                  </a:lnTo>
                  <a:lnTo>
                    <a:pt x="234" y="860"/>
                  </a:lnTo>
                  <a:lnTo>
                    <a:pt x="230" y="866"/>
                  </a:lnTo>
                  <a:lnTo>
                    <a:pt x="227" y="872"/>
                  </a:lnTo>
                  <a:lnTo>
                    <a:pt x="224" y="878"/>
                  </a:lnTo>
                  <a:lnTo>
                    <a:pt x="220" y="884"/>
                  </a:lnTo>
                  <a:lnTo>
                    <a:pt x="217" y="889"/>
                  </a:lnTo>
                  <a:lnTo>
                    <a:pt x="214" y="895"/>
                  </a:lnTo>
                  <a:lnTo>
                    <a:pt x="211" y="900"/>
                  </a:lnTo>
                  <a:lnTo>
                    <a:pt x="208" y="905"/>
                  </a:lnTo>
                  <a:lnTo>
                    <a:pt x="205" y="911"/>
                  </a:lnTo>
                  <a:lnTo>
                    <a:pt x="201" y="915"/>
                  </a:lnTo>
                  <a:lnTo>
                    <a:pt x="198" y="920"/>
                  </a:lnTo>
                  <a:lnTo>
                    <a:pt x="195" y="925"/>
                  </a:lnTo>
                  <a:lnTo>
                    <a:pt x="192" y="930"/>
                  </a:lnTo>
                  <a:lnTo>
                    <a:pt x="189" y="934"/>
                  </a:lnTo>
                  <a:lnTo>
                    <a:pt x="186" y="938"/>
                  </a:lnTo>
                  <a:lnTo>
                    <a:pt x="184" y="942"/>
                  </a:lnTo>
                  <a:lnTo>
                    <a:pt x="181" y="946"/>
                  </a:lnTo>
                  <a:lnTo>
                    <a:pt x="178" y="950"/>
                  </a:lnTo>
                  <a:lnTo>
                    <a:pt x="176" y="953"/>
                  </a:lnTo>
                  <a:lnTo>
                    <a:pt x="174" y="956"/>
                  </a:lnTo>
                  <a:lnTo>
                    <a:pt x="172" y="959"/>
                  </a:lnTo>
                  <a:lnTo>
                    <a:pt x="170" y="961"/>
                  </a:lnTo>
                  <a:lnTo>
                    <a:pt x="169" y="964"/>
                  </a:lnTo>
                  <a:lnTo>
                    <a:pt x="167" y="966"/>
                  </a:lnTo>
                  <a:lnTo>
                    <a:pt x="166" y="967"/>
                  </a:lnTo>
                  <a:lnTo>
                    <a:pt x="165" y="969"/>
                  </a:lnTo>
                  <a:lnTo>
                    <a:pt x="164" y="970"/>
                  </a:lnTo>
                  <a:lnTo>
                    <a:pt x="164" y="971"/>
                  </a:lnTo>
                  <a:lnTo>
                    <a:pt x="163" y="971"/>
                  </a:lnTo>
                  <a:lnTo>
                    <a:pt x="163" y="972"/>
                  </a:lnTo>
                  <a:lnTo>
                    <a:pt x="162" y="971"/>
                  </a:lnTo>
                  <a:lnTo>
                    <a:pt x="161" y="970"/>
                  </a:lnTo>
                  <a:lnTo>
                    <a:pt x="160" y="969"/>
                  </a:lnTo>
                  <a:lnTo>
                    <a:pt x="159" y="967"/>
                  </a:lnTo>
                  <a:lnTo>
                    <a:pt x="158" y="965"/>
                  </a:lnTo>
                  <a:lnTo>
                    <a:pt x="156" y="963"/>
                  </a:lnTo>
                  <a:lnTo>
                    <a:pt x="155" y="961"/>
                  </a:lnTo>
                  <a:lnTo>
                    <a:pt x="153" y="958"/>
                  </a:lnTo>
                  <a:lnTo>
                    <a:pt x="151" y="955"/>
                  </a:lnTo>
                  <a:lnTo>
                    <a:pt x="148" y="952"/>
                  </a:lnTo>
                  <a:lnTo>
                    <a:pt x="146" y="949"/>
                  </a:lnTo>
                  <a:lnTo>
                    <a:pt x="143" y="945"/>
                  </a:lnTo>
                  <a:lnTo>
                    <a:pt x="140" y="941"/>
                  </a:lnTo>
                  <a:lnTo>
                    <a:pt x="137" y="937"/>
                  </a:lnTo>
                  <a:lnTo>
                    <a:pt x="134" y="932"/>
                  </a:lnTo>
                  <a:lnTo>
                    <a:pt x="130" y="927"/>
                  </a:lnTo>
                  <a:lnTo>
                    <a:pt x="127" y="923"/>
                  </a:lnTo>
                  <a:lnTo>
                    <a:pt x="124" y="918"/>
                  </a:lnTo>
                  <a:lnTo>
                    <a:pt x="121" y="913"/>
                  </a:lnTo>
                  <a:lnTo>
                    <a:pt x="118" y="908"/>
                  </a:lnTo>
                  <a:lnTo>
                    <a:pt x="115" y="903"/>
                  </a:lnTo>
                  <a:lnTo>
                    <a:pt x="112" y="898"/>
                  </a:lnTo>
                  <a:lnTo>
                    <a:pt x="108" y="893"/>
                  </a:lnTo>
                  <a:lnTo>
                    <a:pt x="105" y="887"/>
                  </a:lnTo>
                  <a:lnTo>
                    <a:pt x="102" y="882"/>
                  </a:lnTo>
                  <a:lnTo>
                    <a:pt x="99" y="876"/>
                  </a:lnTo>
                  <a:lnTo>
                    <a:pt x="96" y="871"/>
                  </a:lnTo>
                  <a:lnTo>
                    <a:pt x="93" y="865"/>
                  </a:lnTo>
                  <a:lnTo>
                    <a:pt x="90" y="859"/>
                  </a:lnTo>
                  <a:lnTo>
                    <a:pt x="87" y="853"/>
                  </a:lnTo>
                  <a:lnTo>
                    <a:pt x="84" y="847"/>
                  </a:lnTo>
                  <a:lnTo>
                    <a:pt x="81" y="841"/>
                  </a:lnTo>
                  <a:lnTo>
                    <a:pt x="79" y="834"/>
                  </a:lnTo>
                  <a:lnTo>
                    <a:pt x="76" y="828"/>
                  </a:lnTo>
                  <a:lnTo>
                    <a:pt x="73" y="821"/>
                  </a:lnTo>
                  <a:lnTo>
                    <a:pt x="70" y="814"/>
                  </a:lnTo>
                  <a:lnTo>
                    <a:pt x="67" y="807"/>
                  </a:lnTo>
                  <a:lnTo>
                    <a:pt x="64" y="799"/>
                  </a:lnTo>
                  <a:lnTo>
                    <a:pt x="61" y="791"/>
                  </a:lnTo>
                  <a:lnTo>
                    <a:pt x="58" y="784"/>
                  </a:lnTo>
                  <a:lnTo>
                    <a:pt x="55" y="776"/>
                  </a:lnTo>
                  <a:lnTo>
                    <a:pt x="52" y="767"/>
                  </a:lnTo>
                  <a:lnTo>
                    <a:pt x="49" y="759"/>
                  </a:lnTo>
                  <a:lnTo>
                    <a:pt x="46" y="750"/>
                  </a:lnTo>
                  <a:lnTo>
                    <a:pt x="43" y="741"/>
                  </a:lnTo>
                  <a:lnTo>
                    <a:pt x="40" y="732"/>
                  </a:lnTo>
                  <a:lnTo>
                    <a:pt x="37" y="723"/>
                  </a:lnTo>
                  <a:lnTo>
                    <a:pt x="34" y="714"/>
                  </a:lnTo>
                  <a:lnTo>
                    <a:pt x="32" y="704"/>
                  </a:lnTo>
                  <a:lnTo>
                    <a:pt x="29" y="695"/>
                  </a:lnTo>
                  <a:lnTo>
                    <a:pt x="27" y="685"/>
                  </a:lnTo>
                  <a:lnTo>
                    <a:pt x="24" y="676"/>
                  </a:lnTo>
                  <a:lnTo>
                    <a:pt x="22" y="666"/>
                  </a:lnTo>
                  <a:lnTo>
                    <a:pt x="20" y="656"/>
                  </a:lnTo>
                  <a:lnTo>
                    <a:pt x="17" y="646"/>
                  </a:lnTo>
                  <a:lnTo>
                    <a:pt x="15" y="636"/>
                  </a:lnTo>
                  <a:lnTo>
                    <a:pt x="13" y="625"/>
                  </a:lnTo>
                  <a:lnTo>
                    <a:pt x="12" y="615"/>
                  </a:lnTo>
                  <a:lnTo>
                    <a:pt x="10" y="605"/>
                  </a:lnTo>
                  <a:lnTo>
                    <a:pt x="8" y="594"/>
                  </a:lnTo>
                  <a:lnTo>
                    <a:pt x="7" y="583"/>
                  </a:lnTo>
                  <a:lnTo>
                    <a:pt x="5" y="573"/>
                  </a:lnTo>
                  <a:lnTo>
                    <a:pt x="4" y="562"/>
                  </a:lnTo>
                  <a:lnTo>
                    <a:pt x="3" y="551"/>
                  </a:lnTo>
                  <a:lnTo>
                    <a:pt x="2" y="540"/>
                  </a:lnTo>
                  <a:lnTo>
                    <a:pt x="1" y="529"/>
                  </a:lnTo>
                  <a:lnTo>
                    <a:pt x="1" y="517"/>
                  </a:lnTo>
                  <a:lnTo>
                    <a:pt x="0" y="506"/>
                  </a:lnTo>
                  <a:lnTo>
                    <a:pt x="0" y="494"/>
                  </a:lnTo>
                  <a:lnTo>
                    <a:pt x="0" y="483"/>
                  </a:lnTo>
                  <a:lnTo>
                    <a:pt x="0" y="471"/>
                  </a:lnTo>
                  <a:lnTo>
                    <a:pt x="1" y="459"/>
                  </a:lnTo>
                  <a:lnTo>
                    <a:pt x="1" y="448"/>
                  </a:lnTo>
                  <a:lnTo>
                    <a:pt x="2" y="436"/>
                  </a:lnTo>
                  <a:lnTo>
                    <a:pt x="3" y="424"/>
                  </a:lnTo>
                  <a:lnTo>
                    <a:pt x="5" y="412"/>
                  </a:lnTo>
                  <a:lnTo>
                    <a:pt x="6" y="399"/>
                  </a:lnTo>
                  <a:lnTo>
                    <a:pt x="8" y="387"/>
                  </a:lnTo>
                  <a:lnTo>
                    <a:pt x="9" y="375"/>
                  </a:lnTo>
                  <a:lnTo>
                    <a:pt x="11" y="363"/>
                  </a:lnTo>
                  <a:lnTo>
                    <a:pt x="13" y="351"/>
                  </a:lnTo>
                  <a:lnTo>
                    <a:pt x="15" y="339"/>
                  </a:lnTo>
                  <a:lnTo>
                    <a:pt x="17" y="327"/>
                  </a:lnTo>
                  <a:lnTo>
                    <a:pt x="20" y="316"/>
                  </a:lnTo>
                  <a:lnTo>
                    <a:pt x="22" y="304"/>
                  </a:lnTo>
                  <a:lnTo>
                    <a:pt x="25" y="293"/>
                  </a:lnTo>
                  <a:lnTo>
                    <a:pt x="28" y="282"/>
                  </a:lnTo>
                  <a:lnTo>
                    <a:pt x="31" y="271"/>
                  </a:lnTo>
                  <a:lnTo>
                    <a:pt x="34" y="260"/>
                  </a:lnTo>
                  <a:lnTo>
                    <a:pt x="37" y="250"/>
                  </a:lnTo>
                  <a:lnTo>
                    <a:pt x="40" y="239"/>
                  </a:lnTo>
                  <a:lnTo>
                    <a:pt x="43" y="229"/>
                  </a:lnTo>
                  <a:lnTo>
                    <a:pt x="47" y="219"/>
                  </a:lnTo>
                  <a:lnTo>
                    <a:pt x="50" y="209"/>
                  </a:lnTo>
                  <a:lnTo>
                    <a:pt x="54" y="199"/>
                  </a:lnTo>
                  <a:lnTo>
                    <a:pt x="58" y="190"/>
                  </a:lnTo>
                  <a:lnTo>
                    <a:pt x="62" y="180"/>
                  </a:lnTo>
                  <a:lnTo>
                    <a:pt x="66" y="171"/>
                  </a:lnTo>
                  <a:lnTo>
                    <a:pt x="70" y="161"/>
                  </a:lnTo>
                  <a:lnTo>
                    <a:pt x="74" y="152"/>
                  </a:lnTo>
                  <a:lnTo>
                    <a:pt x="78" y="143"/>
                  </a:lnTo>
                  <a:lnTo>
                    <a:pt x="83" y="134"/>
                  </a:lnTo>
                  <a:lnTo>
                    <a:pt x="87" y="125"/>
                  </a:lnTo>
                  <a:lnTo>
                    <a:pt x="92" y="116"/>
                  </a:lnTo>
                  <a:lnTo>
                    <a:pt x="96" y="107"/>
                  </a:lnTo>
                  <a:lnTo>
                    <a:pt x="101" y="99"/>
                  </a:lnTo>
                  <a:lnTo>
                    <a:pt x="106" y="90"/>
                  </a:lnTo>
                  <a:lnTo>
                    <a:pt x="111" y="82"/>
                  </a:lnTo>
                  <a:lnTo>
                    <a:pt x="116" y="73"/>
                  </a:lnTo>
                  <a:lnTo>
                    <a:pt x="121" y="65"/>
                  </a:lnTo>
                  <a:close/>
                </a:path>
              </a:pathLst>
            </a:custGeom>
            <a:solidFill>
              <a:srgbClr val="BBBBB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25541" name="Freeform 5"/>
            <p:cNvSpPr>
              <a:spLocks/>
            </p:cNvSpPr>
            <p:nvPr/>
          </p:nvSpPr>
          <p:spPr bwMode="gray">
            <a:xfrm rot="5400000">
              <a:off x="2131" y="2251"/>
              <a:ext cx="200" cy="233"/>
            </a:xfrm>
            <a:custGeom>
              <a:avLst/>
              <a:gdLst>
                <a:gd name="T0" fmla="*/ 139 w 325"/>
                <a:gd name="T1" fmla="*/ 37 h 973"/>
                <a:gd name="T2" fmla="*/ 155 w 325"/>
                <a:gd name="T3" fmla="*/ 12 h 973"/>
                <a:gd name="T4" fmla="*/ 162 w 325"/>
                <a:gd name="T5" fmla="*/ 1 h 973"/>
                <a:gd name="T6" fmla="*/ 164 w 325"/>
                <a:gd name="T7" fmla="*/ 2 h 973"/>
                <a:gd name="T8" fmla="*/ 174 w 325"/>
                <a:gd name="T9" fmla="*/ 17 h 973"/>
                <a:gd name="T10" fmla="*/ 192 w 325"/>
                <a:gd name="T11" fmla="*/ 46 h 973"/>
                <a:gd name="T12" fmla="*/ 217 w 325"/>
                <a:gd name="T13" fmla="*/ 87 h 973"/>
                <a:gd name="T14" fmla="*/ 242 w 325"/>
                <a:gd name="T15" fmla="*/ 134 h 973"/>
                <a:gd name="T16" fmla="*/ 264 w 325"/>
                <a:gd name="T17" fmla="*/ 183 h 973"/>
                <a:gd name="T18" fmla="*/ 283 w 325"/>
                <a:gd name="T19" fmla="*/ 234 h 973"/>
                <a:gd name="T20" fmla="*/ 299 w 325"/>
                <a:gd name="T21" fmla="*/ 288 h 973"/>
                <a:gd name="T22" fmla="*/ 311 w 325"/>
                <a:gd name="T23" fmla="*/ 342 h 973"/>
                <a:gd name="T24" fmla="*/ 319 w 325"/>
                <a:gd name="T25" fmla="*/ 397 h 973"/>
                <a:gd name="T26" fmla="*/ 324 w 325"/>
                <a:gd name="T27" fmla="*/ 452 h 973"/>
                <a:gd name="T28" fmla="*/ 324 w 325"/>
                <a:gd name="T29" fmla="*/ 507 h 973"/>
                <a:gd name="T30" fmla="*/ 321 w 325"/>
                <a:gd name="T31" fmla="*/ 562 h 973"/>
                <a:gd name="T32" fmla="*/ 315 w 325"/>
                <a:gd name="T33" fmla="*/ 615 h 973"/>
                <a:gd name="T34" fmla="*/ 305 w 325"/>
                <a:gd name="T35" fmla="*/ 665 h 973"/>
                <a:gd name="T36" fmla="*/ 293 w 325"/>
                <a:gd name="T37" fmla="*/ 713 h 973"/>
                <a:gd name="T38" fmla="*/ 279 w 325"/>
                <a:gd name="T39" fmla="*/ 757 h 973"/>
                <a:gd name="T40" fmla="*/ 263 w 325"/>
                <a:gd name="T41" fmla="*/ 798 h 973"/>
                <a:gd name="T42" fmla="*/ 247 w 325"/>
                <a:gd name="T43" fmla="*/ 834 h 973"/>
                <a:gd name="T44" fmla="*/ 230 w 325"/>
                <a:gd name="T45" fmla="*/ 866 h 973"/>
                <a:gd name="T46" fmla="*/ 214 w 325"/>
                <a:gd name="T47" fmla="*/ 895 h 973"/>
                <a:gd name="T48" fmla="*/ 198 w 325"/>
                <a:gd name="T49" fmla="*/ 920 h 973"/>
                <a:gd name="T50" fmla="*/ 184 w 325"/>
                <a:gd name="T51" fmla="*/ 942 h 973"/>
                <a:gd name="T52" fmla="*/ 172 w 325"/>
                <a:gd name="T53" fmla="*/ 959 h 973"/>
                <a:gd name="T54" fmla="*/ 165 w 325"/>
                <a:gd name="T55" fmla="*/ 969 h 973"/>
                <a:gd name="T56" fmla="*/ 163 w 325"/>
                <a:gd name="T57" fmla="*/ 972 h 973"/>
                <a:gd name="T58" fmla="*/ 160 w 325"/>
                <a:gd name="T59" fmla="*/ 969 h 973"/>
                <a:gd name="T60" fmla="*/ 153 w 325"/>
                <a:gd name="T61" fmla="*/ 958 h 973"/>
                <a:gd name="T62" fmla="*/ 140 w 325"/>
                <a:gd name="T63" fmla="*/ 941 h 973"/>
                <a:gd name="T64" fmla="*/ 124 w 325"/>
                <a:gd name="T65" fmla="*/ 918 h 973"/>
                <a:gd name="T66" fmla="*/ 108 w 325"/>
                <a:gd name="T67" fmla="*/ 893 h 973"/>
                <a:gd name="T68" fmla="*/ 93 w 325"/>
                <a:gd name="T69" fmla="*/ 865 h 973"/>
                <a:gd name="T70" fmla="*/ 79 w 325"/>
                <a:gd name="T71" fmla="*/ 834 h 973"/>
                <a:gd name="T72" fmla="*/ 64 w 325"/>
                <a:gd name="T73" fmla="*/ 799 h 973"/>
                <a:gd name="T74" fmla="*/ 49 w 325"/>
                <a:gd name="T75" fmla="*/ 759 h 973"/>
                <a:gd name="T76" fmla="*/ 34 w 325"/>
                <a:gd name="T77" fmla="*/ 714 h 973"/>
                <a:gd name="T78" fmla="*/ 22 w 325"/>
                <a:gd name="T79" fmla="*/ 666 h 973"/>
                <a:gd name="T80" fmla="*/ 12 w 325"/>
                <a:gd name="T81" fmla="*/ 615 h 973"/>
                <a:gd name="T82" fmla="*/ 4 w 325"/>
                <a:gd name="T83" fmla="*/ 562 h 973"/>
                <a:gd name="T84" fmla="*/ 0 w 325"/>
                <a:gd name="T85" fmla="*/ 506 h 973"/>
                <a:gd name="T86" fmla="*/ 1 w 325"/>
                <a:gd name="T87" fmla="*/ 448 h 973"/>
                <a:gd name="T88" fmla="*/ 8 w 325"/>
                <a:gd name="T89" fmla="*/ 387 h 973"/>
                <a:gd name="T90" fmla="*/ 17 w 325"/>
                <a:gd name="T91" fmla="*/ 327 h 973"/>
                <a:gd name="T92" fmla="*/ 31 w 325"/>
                <a:gd name="T93" fmla="*/ 271 h 973"/>
                <a:gd name="T94" fmla="*/ 47 w 325"/>
                <a:gd name="T95" fmla="*/ 219 h 973"/>
                <a:gd name="T96" fmla="*/ 66 w 325"/>
                <a:gd name="T97" fmla="*/ 171 h 973"/>
                <a:gd name="T98" fmla="*/ 87 w 325"/>
                <a:gd name="T99" fmla="*/ 125 h 973"/>
                <a:gd name="T100" fmla="*/ 111 w 325"/>
                <a:gd name="T101" fmla="*/ 82 h 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5" h="973">
                  <a:moveTo>
                    <a:pt x="121" y="65"/>
                  </a:moveTo>
                  <a:lnTo>
                    <a:pt x="126" y="57"/>
                  </a:lnTo>
                  <a:lnTo>
                    <a:pt x="131" y="50"/>
                  </a:lnTo>
                  <a:lnTo>
                    <a:pt x="135" y="43"/>
                  </a:lnTo>
                  <a:lnTo>
                    <a:pt x="139" y="37"/>
                  </a:lnTo>
                  <a:lnTo>
                    <a:pt x="143" y="31"/>
                  </a:lnTo>
                  <a:lnTo>
                    <a:pt x="146" y="25"/>
                  </a:lnTo>
                  <a:lnTo>
                    <a:pt x="150" y="21"/>
                  </a:lnTo>
                  <a:lnTo>
                    <a:pt x="152" y="16"/>
                  </a:lnTo>
                  <a:lnTo>
                    <a:pt x="155" y="12"/>
                  </a:lnTo>
                  <a:lnTo>
                    <a:pt x="157" y="9"/>
                  </a:lnTo>
                  <a:lnTo>
                    <a:pt x="159" y="6"/>
                  </a:lnTo>
                  <a:lnTo>
                    <a:pt x="160" y="4"/>
                  </a:lnTo>
                  <a:lnTo>
                    <a:pt x="161" y="2"/>
                  </a:lnTo>
                  <a:lnTo>
                    <a:pt x="162" y="1"/>
                  </a:lnTo>
                  <a:lnTo>
                    <a:pt x="163" y="0"/>
                  </a:lnTo>
                  <a:lnTo>
                    <a:pt x="163" y="1"/>
                  </a:lnTo>
                  <a:lnTo>
                    <a:pt x="164" y="2"/>
                  </a:lnTo>
                  <a:lnTo>
                    <a:pt x="165" y="4"/>
                  </a:lnTo>
                  <a:lnTo>
                    <a:pt x="167" y="7"/>
                  </a:lnTo>
                  <a:lnTo>
                    <a:pt x="169" y="10"/>
                  </a:lnTo>
                  <a:lnTo>
                    <a:pt x="171" y="13"/>
                  </a:lnTo>
                  <a:lnTo>
                    <a:pt x="174" y="17"/>
                  </a:lnTo>
                  <a:lnTo>
                    <a:pt x="177" y="22"/>
                  </a:lnTo>
                  <a:lnTo>
                    <a:pt x="180" y="27"/>
                  </a:lnTo>
                  <a:lnTo>
                    <a:pt x="183" y="33"/>
                  </a:lnTo>
                  <a:lnTo>
                    <a:pt x="187" y="39"/>
                  </a:lnTo>
                  <a:lnTo>
                    <a:pt x="192" y="46"/>
                  </a:lnTo>
                  <a:lnTo>
                    <a:pt x="196" y="53"/>
                  </a:lnTo>
                  <a:lnTo>
                    <a:pt x="201" y="61"/>
                  </a:lnTo>
                  <a:lnTo>
                    <a:pt x="207" y="70"/>
                  </a:lnTo>
                  <a:lnTo>
                    <a:pt x="212" y="79"/>
                  </a:lnTo>
                  <a:lnTo>
                    <a:pt x="217" y="87"/>
                  </a:lnTo>
                  <a:lnTo>
                    <a:pt x="223" y="96"/>
                  </a:lnTo>
                  <a:lnTo>
                    <a:pt x="228" y="106"/>
                  </a:lnTo>
                  <a:lnTo>
                    <a:pt x="233" y="115"/>
                  </a:lnTo>
                  <a:lnTo>
                    <a:pt x="237" y="124"/>
                  </a:lnTo>
                  <a:lnTo>
                    <a:pt x="242" y="134"/>
                  </a:lnTo>
                  <a:lnTo>
                    <a:pt x="247" y="143"/>
                  </a:lnTo>
                  <a:lnTo>
                    <a:pt x="251" y="153"/>
                  </a:lnTo>
                  <a:lnTo>
                    <a:pt x="256" y="163"/>
                  </a:lnTo>
                  <a:lnTo>
                    <a:pt x="260" y="173"/>
                  </a:lnTo>
                  <a:lnTo>
                    <a:pt x="264" y="183"/>
                  </a:lnTo>
                  <a:lnTo>
                    <a:pt x="268" y="193"/>
                  </a:lnTo>
                  <a:lnTo>
                    <a:pt x="272" y="203"/>
                  </a:lnTo>
                  <a:lnTo>
                    <a:pt x="276" y="213"/>
                  </a:lnTo>
                  <a:lnTo>
                    <a:pt x="280" y="224"/>
                  </a:lnTo>
                  <a:lnTo>
                    <a:pt x="283" y="234"/>
                  </a:lnTo>
                  <a:lnTo>
                    <a:pt x="287" y="245"/>
                  </a:lnTo>
                  <a:lnTo>
                    <a:pt x="290" y="256"/>
                  </a:lnTo>
                  <a:lnTo>
                    <a:pt x="293" y="266"/>
                  </a:lnTo>
                  <a:lnTo>
                    <a:pt x="296" y="277"/>
                  </a:lnTo>
                  <a:lnTo>
                    <a:pt x="299" y="288"/>
                  </a:lnTo>
                  <a:lnTo>
                    <a:pt x="302" y="299"/>
                  </a:lnTo>
                  <a:lnTo>
                    <a:pt x="304" y="309"/>
                  </a:lnTo>
                  <a:lnTo>
                    <a:pt x="307" y="320"/>
                  </a:lnTo>
                  <a:lnTo>
                    <a:pt x="309" y="331"/>
                  </a:lnTo>
                  <a:lnTo>
                    <a:pt x="311" y="342"/>
                  </a:lnTo>
                  <a:lnTo>
                    <a:pt x="313" y="353"/>
                  </a:lnTo>
                  <a:lnTo>
                    <a:pt x="315" y="364"/>
                  </a:lnTo>
                  <a:lnTo>
                    <a:pt x="316" y="375"/>
                  </a:lnTo>
                  <a:lnTo>
                    <a:pt x="318" y="386"/>
                  </a:lnTo>
                  <a:lnTo>
                    <a:pt x="319" y="397"/>
                  </a:lnTo>
                  <a:lnTo>
                    <a:pt x="320" y="408"/>
                  </a:lnTo>
                  <a:lnTo>
                    <a:pt x="321" y="419"/>
                  </a:lnTo>
                  <a:lnTo>
                    <a:pt x="322" y="430"/>
                  </a:lnTo>
                  <a:lnTo>
                    <a:pt x="323" y="441"/>
                  </a:lnTo>
                  <a:lnTo>
                    <a:pt x="324" y="452"/>
                  </a:lnTo>
                  <a:lnTo>
                    <a:pt x="324" y="463"/>
                  </a:lnTo>
                  <a:lnTo>
                    <a:pt x="324" y="474"/>
                  </a:lnTo>
                  <a:lnTo>
                    <a:pt x="324" y="485"/>
                  </a:lnTo>
                  <a:lnTo>
                    <a:pt x="324" y="496"/>
                  </a:lnTo>
                  <a:lnTo>
                    <a:pt x="324" y="507"/>
                  </a:lnTo>
                  <a:lnTo>
                    <a:pt x="324" y="518"/>
                  </a:lnTo>
                  <a:lnTo>
                    <a:pt x="324" y="529"/>
                  </a:lnTo>
                  <a:lnTo>
                    <a:pt x="323" y="540"/>
                  </a:lnTo>
                  <a:lnTo>
                    <a:pt x="322" y="551"/>
                  </a:lnTo>
                  <a:lnTo>
                    <a:pt x="321" y="562"/>
                  </a:lnTo>
                  <a:lnTo>
                    <a:pt x="320" y="573"/>
                  </a:lnTo>
                  <a:lnTo>
                    <a:pt x="319" y="583"/>
                  </a:lnTo>
                  <a:lnTo>
                    <a:pt x="318" y="594"/>
                  </a:lnTo>
                  <a:lnTo>
                    <a:pt x="316" y="605"/>
                  </a:lnTo>
                  <a:lnTo>
                    <a:pt x="315" y="615"/>
                  </a:lnTo>
                  <a:lnTo>
                    <a:pt x="313" y="625"/>
                  </a:lnTo>
                  <a:lnTo>
                    <a:pt x="311" y="636"/>
                  </a:lnTo>
                  <a:lnTo>
                    <a:pt x="310" y="646"/>
                  </a:lnTo>
                  <a:lnTo>
                    <a:pt x="308" y="656"/>
                  </a:lnTo>
                  <a:lnTo>
                    <a:pt x="305" y="665"/>
                  </a:lnTo>
                  <a:lnTo>
                    <a:pt x="303" y="675"/>
                  </a:lnTo>
                  <a:lnTo>
                    <a:pt x="301" y="685"/>
                  </a:lnTo>
                  <a:lnTo>
                    <a:pt x="299" y="694"/>
                  </a:lnTo>
                  <a:lnTo>
                    <a:pt x="296" y="704"/>
                  </a:lnTo>
                  <a:lnTo>
                    <a:pt x="293" y="713"/>
                  </a:lnTo>
                  <a:lnTo>
                    <a:pt x="291" y="722"/>
                  </a:lnTo>
                  <a:lnTo>
                    <a:pt x="288" y="731"/>
                  </a:lnTo>
                  <a:lnTo>
                    <a:pt x="285" y="740"/>
                  </a:lnTo>
                  <a:lnTo>
                    <a:pt x="282" y="749"/>
                  </a:lnTo>
                  <a:lnTo>
                    <a:pt x="279" y="757"/>
                  </a:lnTo>
                  <a:lnTo>
                    <a:pt x="276" y="766"/>
                  </a:lnTo>
                  <a:lnTo>
                    <a:pt x="273" y="774"/>
                  </a:lnTo>
                  <a:lnTo>
                    <a:pt x="269" y="782"/>
                  </a:lnTo>
                  <a:lnTo>
                    <a:pt x="266" y="790"/>
                  </a:lnTo>
                  <a:lnTo>
                    <a:pt x="263" y="798"/>
                  </a:lnTo>
                  <a:lnTo>
                    <a:pt x="260" y="805"/>
                  </a:lnTo>
                  <a:lnTo>
                    <a:pt x="257" y="813"/>
                  </a:lnTo>
                  <a:lnTo>
                    <a:pt x="254" y="820"/>
                  </a:lnTo>
                  <a:lnTo>
                    <a:pt x="250" y="827"/>
                  </a:lnTo>
                  <a:lnTo>
                    <a:pt x="247" y="834"/>
                  </a:lnTo>
                  <a:lnTo>
                    <a:pt x="244" y="841"/>
                  </a:lnTo>
                  <a:lnTo>
                    <a:pt x="240" y="847"/>
                  </a:lnTo>
                  <a:lnTo>
                    <a:pt x="237" y="854"/>
                  </a:lnTo>
                  <a:lnTo>
                    <a:pt x="234" y="860"/>
                  </a:lnTo>
                  <a:lnTo>
                    <a:pt x="230" y="866"/>
                  </a:lnTo>
                  <a:lnTo>
                    <a:pt x="227" y="872"/>
                  </a:lnTo>
                  <a:lnTo>
                    <a:pt x="224" y="878"/>
                  </a:lnTo>
                  <a:lnTo>
                    <a:pt x="220" y="884"/>
                  </a:lnTo>
                  <a:lnTo>
                    <a:pt x="217" y="889"/>
                  </a:lnTo>
                  <a:lnTo>
                    <a:pt x="214" y="895"/>
                  </a:lnTo>
                  <a:lnTo>
                    <a:pt x="211" y="900"/>
                  </a:lnTo>
                  <a:lnTo>
                    <a:pt x="208" y="905"/>
                  </a:lnTo>
                  <a:lnTo>
                    <a:pt x="205" y="911"/>
                  </a:lnTo>
                  <a:lnTo>
                    <a:pt x="201" y="915"/>
                  </a:lnTo>
                  <a:lnTo>
                    <a:pt x="198" y="920"/>
                  </a:lnTo>
                  <a:lnTo>
                    <a:pt x="195" y="925"/>
                  </a:lnTo>
                  <a:lnTo>
                    <a:pt x="192" y="930"/>
                  </a:lnTo>
                  <a:lnTo>
                    <a:pt x="189" y="934"/>
                  </a:lnTo>
                  <a:lnTo>
                    <a:pt x="186" y="938"/>
                  </a:lnTo>
                  <a:lnTo>
                    <a:pt x="184" y="942"/>
                  </a:lnTo>
                  <a:lnTo>
                    <a:pt x="181" y="946"/>
                  </a:lnTo>
                  <a:lnTo>
                    <a:pt x="178" y="950"/>
                  </a:lnTo>
                  <a:lnTo>
                    <a:pt x="176" y="953"/>
                  </a:lnTo>
                  <a:lnTo>
                    <a:pt x="174" y="956"/>
                  </a:lnTo>
                  <a:lnTo>
                    <a:pt x="172" y="959"/>
                  </a:lnTo>
                  <a:lnTo>
                    <a:pt x="170" y="961"/>
                  </a:lnTo>
                  <a:lnTo>
                    <a:pt x="169" y="964"/>
                  </a:lnTo>
                  <a:lnTo>
                    <a:pt x="167" y="966"/>
                  </a:lnTo>
                  <a:lnTo>
                    <a:pt x="166" y="967"/>
                  </a:lnTo>
                  <a:lnTo>
                    <a:pt x="165" y="969"/>
                  </a:lnTo>
                  <a:lnTo>
                    <a:pt x="164" y="970"/>
                  </a:lnTo>
                  <a:lnTo>
                    <a:pt x="164" y="971"/>
                  </a:lnTo>
                  <a:lnTo>
                    <a:pt x="163" y="971"/>
                  </a:lnTo>
                  <a:lnTo>
                    <a:pt x="163" y="972"/>
                  </a:lnTo>
                  <a:lnTo>
                    <a:pt x="162" y="971"/>
                  </a:lnTo>
                  <a:lnTo>
                    <a:pt x="161" y="970"/>
                  </a:lnTo>
                  <a:lnTo>
                    <a:pt x="160" y="969"/>
                  </a:lnTo>
                  <a:lnTo>
                    <a:pt x="159" y="967"/>
                  </a:lnTo>
                  <a:lnTo>
                    <a:pt x="158" y="965"/>
                  </a:lnTo>
                  <a:lnTo>
                    <a:pt x="156" y="963"/>
                  </a:lnTo>
                  <a:lnTo>
                    <a:pt x="155" y="961"/>
                  </a:lnTo>
                  <a:lnTo>
                    <a:pt x="153" y="958"/>
                  </a:lnTo>
                  <a:lnTo>
                    <a:pt x="151" y="955"/>
                  </a:lnTo>
                  <a:lnTo>
                    <a:pt x="148" y="952"/>
                  </a:lnTo>
                  <a:lnTo>
                    <a:pt x="146" y="949"/>
                  </a:lnTo>
                  <a:lnTo>
                    <a:pt x="143" y="945"/>
                  </a:lnTo>
                  <a:lnTo>
                    <a:pt x="140" y="941"/>
                  </a:lnTo>
                  <a:lnTo>
                    <a:pt x="137" y="937"/>
                  </a:lnTo>
                  <a:lnTo>
                    <a:pt x="134" y="932"/>
                  </a:lnTo>
                  <a:lnTo>
                    <a:pt x="130" y="927"/>
                  </a:lnTo>
                  <a:lnTo>
                    <a:pt x="127" y="923"/>
                  </a:lnTo>
                  <a:lnTo>
                    <a:pt x="124" y="918"/>
                  </a:lnTo>
                  <a:lnTo>
                    <a:pt x="121" y="913"/>
                  </a:lnTo>
                  <a:lnTo>
                    <a:pt x="118" y="908"/>
                  </a:lnTo>
                  <a:lnTo>
                    <a:pt x="115" y="903"/>
                  </a:lnTo>
                  <a:lnTo>
                    <a:pt x="112" y="898"/>
                  </a:lnTo>
                  <a:lnTo>
                    <a:pt x="108" y="893"/>
                  </a:lnTo>
                  <a:lnTo>
                    <a:pt x="105" y="887"/>
                  </a:lnTo>
                  <a:lnTo>
                    <a:pt x="102" y="882"/>
                  </a:lnTo>
                  <a:lnTo>
                    <a:pt x="99" y="876"/>
                  </a:lnTo>
                  <a:lnTo>
                    <a:pt x="96" y="871"/>
                  </a:lnTo>
                  <a:lnTo>
                    <a:pt x="93" y="865"/>
                  </a:lnTo>
                  <a:lnTo>
                    <a:pt x="90" y="859"/>
                  </a:lnTo>
                  <a:lnTo>
                    <a:pt x="87" y="853"/>
                  </a:lnTo>
                  <a:lnTo>
                    <a:pt x="84" y="847"/>
                  </a:lnTo>
                  <a:lnTo>
                    <a:pt x="81" y="841"/>
                  </a:lnTo>
                  <a:lnTo>
                    <a:pt x="79" y="834"/>
                  </a:lnTo>
                  <a:lnTo>
                    <a:pt x="76" y="828"/>
                  </a:lnTo>
                  <a:lnTo>
                    <a:pt x="73" y="821"/>
                  </a:lnTo>
                  <a:lnTo>
                    <a:pt x="70" y="814"/>
                  </a:lnTo>
                  <a:lnTo>
                    <a:pt x="67" y="807"/>
                  </a:lnTo>
                  <a:lnTo>
                    <a:pt x="64" y="799"/>
                  </a:lnTo>
                  <a:lnTo>
                    <a:pt x="61" y="791"/>
                  </a:lnTo>
                  <a:lnTo>
                    <a:pt x="58" y="784"/>
                  </a:lnTo>
                  <a:lnTo>
                    <a:pt x="55" y="776"/>
                  </a:lnTo>
                  <a:lnTo>
                    <a:pt x="52" y="767"/>
                  </a:lnTo>
                  <a:lnTo>
                    <a:pt x="49" y="759"/>
                  </a:lnTo>
                  <a:lnTo>
                    <a:pt x="46" y="750"/>
                  </a:lnTo>
                  <a:lnTo>
                    <a:pt x="43" y="741"/>
                  </a:lnTo>
                  <a:lnTo>
                    <a:pt x="40" y="732"/>
                  </a:lnTo>
                  <a:lnTo>
                    <a:pt x="37" y="723"/>
                  </a:lnTo>
                  <a:lnTo>
                    <a:pt x="34" y="714"/>
                  </a:lnTo>
                  <a:lnTo>
                    <a:pt x="32" y="704"/>
                  </a:lnTo>
                  <a:lnTo>
                    <a:pt x="29" y="695"/>
                  </a:lnTo>
                  <a:lnTo>
                    <a:pt x="27" y="685"/>
                  </a:lnTo>
                  <a:lnTo>
                    <a:pt x="24" y="676"/>
                  </a:lnTo>
                  <a:lnTo>
                    <a:pt x="22" y="666"/>
                  </a:lnTo>
                  <a:lnTo>
                    <a:pt x="20" y="656"/>
                  </a:lnTo>
                  <a:lnTo>
                    <a:pt x="17" y="646"/>
                  </a:lnTo>
                  <a:lnTo>
                    <a:pt x="15" y="636"/>
                  </a:lnTo>
                  <a:lnTo>
                    <a:pt x="13" y="625"/>
                  </a:lnTo>
                  <a:lnTo>
                    <a:pt x="12" y="615"/>
                  </a:lnTo>
                  <a:lnTo>
                    <a:pt x="10" y="605"/>
                  </a:lnTo>
                  <a:lnTo>
                    <a:pt x="8" y="594"/>
                  </a:lnTo>
                  <a:lnTo>
                    <a:pt x="7" y="583"/>
                  </a:lnTo>
                  <a:lnTo>
                    <a:pt x="5" y="573"/>
                  </a:lnTo>
                  <a:lnTo>
                    <a:pt x="4" y="562"/>
                  </a:lnTo>
                  <a:lnTo>
                    <a:pt x="3" y="551"/>
                  </a:lnTo>
                  <a:lnTo>
                    <a:pt x="2" y="540"/>
                  </a:lnTo>
                  <a:lnTo>
                    <a:pt x="1" y="529"/>
                  </a:lnTo>
                  <a:lnTo>
                    <a:pt x="1" y="517"/>
                  </a:lnTo>
                  <a:lnTo>
                    <a:pt x="0" y="506"/>
                  </a:lnTo>
                  <a:lnTo>
                    <a:pt x="0" y="494"/>
                  </a:lnTo>
                  <a:lnTo>
                    <a:pt x="0" y="483"/>
                  </a:lnTo>
                  <a:lnTo>
                    <a:pt x="0" y="471"/>
                  </a:lnTo>
                  <a:lnTo>
                    <a:pt x="1" y="459"/>
                  </a:lnTo>
                  <a:lnTo>
                    <a:pt x="1" y="448"/>
                  </a:lnTo>
                  <a:lnTo>
                    <a:pt x="2" y="436"/>
                  </a:lnTo>
                  <a:lnTo>
                    <a:pt x="3" y="424"/>
                  </a:lnTo>
                  <a:lnTo>
                    <a:pt x="5" y="412"/>
                  </a:lnTo>
                  <a:lnTo>
                    <a:pt x="6" y="399"/>
                  </a:lnTo>
                  <a:lnTo>
                    <a:pt x="8" y="387"/>
                  </a:lnTo>
                  <a:lnTo>
                    <a:pt x="9" y="375"/>
                  </a:lnTo>
                  <a:lnTo>
                    <a:pt x="11" y="363"/>
                  </a:lnTo>
                  <a:lnTo>
                    <a:pt x="13" y="351"/>
                  </a:lnTo>
                  <a:lnTo>
                    <a:pt x="15" y="339"/>
                  </a:lnTo>
                  <a:lnTo>
                    <a:pt x="17" y="327"/>
                  </a:lnTo>
                  <a:lnTo>
                    <a:pt x="20" y="316"/>
                  </a:lnTo>
                  <a:lnTo>
                    <a:pt x="22" y="304"/>
                  </a:lnTo>
                  <a:lnTo>
                    <a:pt x="25" y="293"/>
                  </a:lnTo>
                  <a:lnTo>
                    <a:pt x="28" y="282"/>
                  </a:lnTo>
                  <a:lnTo>
                    <a:pt x="31" y="271"/>
                  </a:lnTo>
                  <a:lnTo>
                    <a:pt x="34" y="260"/>
                  </a:lnTo>
                  <a:lnTo>
                    <a:pt x="37" y="250"/>
                  </a:lnTo>
                  <a:lnTo>
                    <a:pt x="40" y="239"/>
                  </a:lnTo>
                  <a:lnTo>
                    <a:pt x="43" y="229"/>
                  </a:lnTo>
                  <a:lnTo>
                    <a:pt x="47" y="219"/>
                  </a:lnTo>
                  <a:lnTo>
                    <a:pt x="50" y="209"/>
                  </a:lnTo>
                  <a:lnTo>
                    <a:pt x="54" y="199"/>
                  </a:lnTo>
                  <a:lnTo>
                    <a:pt x="58" y="190"/>
                  </a:lnTo>
                  <a:lnTo>
                    <a:pt x="62" y="180"/>
                  </a:lnTo>
                  <a:lnTo>
                    <a:pt x="66" y="171"/>
                  </a:lnTo>
                  <a:lnTo>
                    <a:pt x="70" y="161"/>
                  </a:lnTo>
                  <a:lnTo>
                    <a:pt x="74" y="152"/>
                  </a:lnTo>
                  <a:lnTo>
                    <a:pt x="78" y="143"/>
                  </a:lnTo>
                  <a:lnTo>
                    <a:pt x="83" y="134"/>
                  </a:lnTo>
                  <a:lnTo>
                    <a:pt x="87" y="125"/>
                  </a:lnTo>
                  <a:lnTo>
                    <a:pt x="92" y="116"/>
                  </a:lnTo>
                  <a:lnTo>
                    <a:pt x="96" y="107"/>
                  </a:lnTo>
                  <a:lnTo>
                    <a:pt x="101" y="99"/>
                  </a:lnTo>
                  <a:lnTo>
                    <a:pt x="106" y="90"/>
                  </a:lnTo>
                  <a:lnTo>
                    <a:pt x="111" y="82"/>
                  </a:lnTo>
                  <a:lnTo>
                    <a:pt x="116" y="73"/>
                  </a:lnTo>
                  <a:lnTo>
                    <a:pt x="121" y="65"/>
                  </a:lnTo>
                  <a:close/>
                </a:path>
              </a:pathLst>
            </a:custGeom>
            <a:solidFill>
              <a:srgbClr val="BBBBB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25542" name="Freeform 6"/>
            <p:cNvSpPr>
              <a:spLocks/>
            </p:cNvSpPr>
            <p:nvPr/>
          </p:nvSpPr>
          <p:spPr bwMode="gray">
            <a:xfrm>
              <a:off x="2806" y="1589"/>
              <a:ext cx="197" cy="233"/>
            </a:xfrm>
            <a:custGeom>
              <a:avLst/>
              <a:gdLst>
                <a:gd name="T0" fmla="*/ 139 w 325"/>
                <a:gd name="T1" fmla="*/ 37 h 973"/>
                <a:gd name="T2" fmla="*/ 155 w 325"/>
                <a:gd name="T3" fmla="*/ 12 h 973"/>
                <a:gd name="T4" fmla="*/ 162 w 325"/>
                <a:gd name="T5" fmla="*/ 1 h 973"/>
                <a:gd name="T6" fmla="*/ 164 w 325"/>
                <a:gd name="T7" fmla="*/ 2 h 973"/>
                <a:gd name="T8" fmla="*/ 174 w 325"/>
                <a:gd name="T9" fmla="*/ 17 h 973"/>
                <a:gd name="T10" fmla="*/ 192 w 325"/>
                <a:gd name="T11" fmla="*/ 46 h 973"/>
                <a:gd name="T12" fmla="*/ 217 w 325"/>
                <a:gd name="T13" fmla="*/ 87 h 973"/>
                <a:gd name="T14" fmla="*/ 242 w 325"/>
                <a:gd name="T15" fmla="*/ 134 h 973"/>
                <a:gd name="T16" fmla="*/ 264 w 325"/>
                <a:gd name="T17" fmla="*/ 183 h 973"/>
                <a:gd name="T18" fmla="*/ 283 w 325"/>
                <a:gd name="T19" fmla="*/ 234 h 973"/>
                <a:gd name="T20" fmla="*/ 299 w 325"/>
                <a:gd name="T21" fmla="*/ 288 h 973"/>
                <a:gd name="T22" fmla="*/ 311 w 325"/>
                <a:gd name="T23" fmla="*/ 342 h 973"/>
                <a:gd name="T24" fmla="*/ 319 w 325"/>
                <a:gd name="T25" fmla="*/ 397 h 973"/>
                <a:gd name="T26" fmla="*/ 324 w 325"/>
                <a:gd name="T27" fmla="*/ 452 h 973"/>
                <a:gd name="T28" fmla="*/ 324 w 325"/>
                <a:gd name="T29" fmla="*/ 507 h 973"/>
                <a:gd name="T30" fmla="*/ 321 w 325"/>
                <a:gd name="T31" fmla="*/ 562 h 973"/>
                <a:gd name="T32" fmla="*/ 315 w 325"/>
                <a:gd name="T33" fmla="*/ 615 h 973"/>
                <a:gd name="T34" fmla="*/ 305 w 325"/>
                <a:gd name="T35" fmla="*/ 665 h 973"/>
                <a:gd name="T36" fmla="*/ 293 w 325"/>
                <a:gd name="T37" fmla="*/ 713 h 973"/>
                <a:gd name="T38" fmla="*/ 279 w 325"/>
                <a:gd name="T39" fmla="*/ 757 h 973"/>
                <a:gd name="T40" fmla="*/ 263 w 325"/>
                <a:gd name="T41" fmla="*/ 798 h 973"/>
                <a:gd name="T42" fmla="*/ 247 w 325"/>
                <a:gd name="T43" fmla="*/ 834 h 973"/>
                <a:gd name="T44" fmla="*/ 230 w 325"/>
                <a:gd name="T45" fmla="*/ 866 h 973"/>
                <a:gd name="T46" fmla="*/ 214 w 325"/>
                <a:gd name="T47" fmla="*/ 895 h 973"/>
                <a:gd name="T48" fmla="*/ 198 w 325"/>
                <a:gd name="T49" fmla="*/ 920 h 973"/>
                <a:gd name="T50" fmla="*/ 184 w 325"/>
                <a:gd name="T51" fmla="*/ 942 h 973"/>
                <a:gd name="T52" fmla="*/ 172 w 325"/>
                <a:gd name="T53" fmla="*/ 959 h 973"/>
                <a:gd name="T54" fmla="*/ 165 w 325"/>
                <a:gd name="T55" fmla="*/ 969 h 973"/>
                <a:gd name="T56" fmla="*/ 163 w 325"/>
                <a:gd name="T57" fmla="*/ 972 h 973"/>
                <a:gd name="T58" fmla="*/ 160 w 325"/>
                <a:gd name="T59" fmla="*/ 969 h 973"/>
                <a:gd name="T60" fmla="*/ 153 w 325"/>
                <a:gd name="T61" fmla="*/ 958 h 973"/>
                <a:gd name="T62" fmla="*/ 140 w 325"/>
                <a:gd name="T63" fmla="*/ 941 h 973"/>
                <a:gd name="T64" fmla="*/ 124 w 325"/>
                <a:gd name="T65" fmla="*/ 918 h 973"/>
                <a:gd name="T66" fmla="*/ 108 w 325"/>
                <a:gd name="T67" fmla="*/ 893 h 973"/>
                <a:gd name="T68" fmla="*/ 93 w 325"/>
                <a:gd name="T69" fmla="*/ 865 h 973"/>
                <a:gd name="T70" fmla="*/ 79 w 325"/>
                <a:gd name="T71" fmla="*/ 834 h 973"/>
                <a:gd name="T72" fmla="*/ 64 w 325"/>
                <a:gd name="T73" fmla="*/ 799 h 973"/>
                <a:gd name="T74" fmla="*/ 49 w 325"/>
                <a:gd name="T75" fmla="*/ 759 h 973"/>
                <a:gd name="T76" fmla="*/ 34 w 325"/>
                <a:gd name="T77" fmla="*/ 714 h 973"/>
                <a:gd name="T78" fmla="*/ 22 w 325"/>
                <a:gd name="T79" fmla="*/ 666 h 973"/>
                <a:gd name="T80" fmla="*/ 12 w 325"/>
                <a:gd name="T81" fmla="*/ 615 h 973"/>
                <a:gd name="T82" fmla="*/ 4 w 325"/>
                <a:gd name="T83" fmla="*/ 562 h 973"/>
                <a:gd name="T84" fmla="*/ 0 w 325"/>
                <a:gd name="T85" fmla="*/ 506 h 973"/>
                <a:gd name="T86" fmla="*/ 1 w 325"/>
                <a:gd name="T87" fmla="*/ 448 h 973"/>
                <a:gd name="T88" fmla="*/ 8 w 325"/>
                <a:gd name="T89" fmla="*/ 387 h 973"/>
                <a:gd name="T90" fmla="*/ 17 w 325"/>
                <a:gd name="T91" fmla="*/ 327 h 973"/>
                <a:gd name="T92" fmla="*/ 31 w 325"/>
                <a:gd name="T93" fmla="*/ 271 h 973"/>
                <a:gd name="T94" fmla="*/ 47 w 325"/>
                <a:gd name="T95" fmla="*/ 219 h 973"/>
                <a:gd name="T96" fmla="*/ 66 w 325"/>
                <a:gd name="T97" fmla="*/ 171 h 973"/>
                <a:gd name="T98" fmla="*/ 87 w 325"/>
                <a:gd name="T99" fmla="*/ 125 h 973"/>
                <a:gd name="T100" fmla="*/ 111 w 325"/>
                <a:gd name="T101" fmla="*/ 82 h 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5" h="973">
                  <a:moveTo>
                    <a:pt x="121" y="65"/>
                  </a:moveTo>
                  <a:lnTo>
                    <a:pt x="126" y="57"/>
                  </a:lnTo>
                  <a:lnTo>
                    <a:pt x="131" y="50"/>
                  </a:lnTo>
                  <a:lnTo>
                    <a:pt x="135" y="43"/>
                  </a:lnTo>
                  <a:lnTo>
                    <a:pt x="139" y="37"/>
                  </a:lnTo>
                  <a:lnTo>
                    <a:pt x="143" y="31"/>
                  </a:lnTo>
                  <a:lnTo>
                    <a:pt x="146" y="25"/>
                  </a:lnTo>
                  <a:lnTo>
                    <a:pt x="150" y="21"/>
                  </a:lnTo>
                  <a:lnTo>
                    <a:pt x="152" y="16"/>
                  </a:lnTo>
                  <a:lnTo>
                    <a:pt x="155" y="12"/>
                  </a:lnTo>
                  <a:lnTo>
                    <a:pt x="157" y="9"/>
                  </a:lnTo>
                  <a:lnTo>
                    <a:pt x="159" y="6"/>
                  </a:lnTo>
                  <a:lnTo>
                    <a:pt x="160" y="4"/>
                  </a:lnTo>
                  <a:lnTo>
                    <a:pt x="161" y="2"/>
                  </a:lnTo>
                  <a:lnTo>
                    <a:pt x="162" y="1"/>
                  </a:lnTo>
                  <a:lnTo>
                    <a:pt x="163" y="0"/>
                  </a:lnTo>
                  <a:lnTo>
                    <a:pt x="163" y="1"/>
                  </a:lnTo>
                  <a:lnTo>
                    <a:pt x="164" y="2"/>
                  </a:lnTo>
                  <a:lnTo>
                    <a:pt x="165" y="4"/>
                  </a:lnTo>
                  <a:lnTo>
                    <a:pt x="167" y="7"/>
                  </a:lnTo>
                  <a:lnTo>
                    <a:pt x="169" y="10"/>
                  </a:lnTo>
                  <a:lnTo>
                    <a:pt x="171" y="13"/>
                  </a:lnTo>
                  <a:lnTo>
                    <a:pt x="174" y="17"/>
                  </a:lnTo>
                  <a:lnTo>
                    <a:pt x="177" y="22"/>
                  </a:lnTo>
                  <a:lnTo>
                    <a:pt x="180" y="27"/>
                  </a:lnTo>
                  <a:lnTo>
                    <a:pt x="183" y="33"/>
                  </a:lnTo>
                  <a:lnTo>
                    <a:pt x="187" y="39"/>
                  </a:lnTo>
                  <a:lnTo>
                    <a:pt x="192" y="46"/>
                  </a:lnTo>
                  <a:lnTo>
                    <a:pt x="196" y="53"/>
                  </a:lnTo>
                  <a:lnTo>
                    <a:pt x="201" y="61"/>
                  </a:lnTo>
                  <a:lnTo>
                    <a:pt x="207" y="70"/>
                  </a:lnTo>
                  <a:lnTo>
                    <a:pt x="212" y="79"/>
                  </a:lnTo>
                  <a:lnTo>
                    <a:pt x="217" y="87"/>
                  </a:lnTo>
                  <a:lnTo>
                    <a:pt x="223" y="96"/>
                  </a:lnTo>
                  <a:lnTo>
                    <a:pt x="228" y="106"/>
                  </a:lnTo>
                  <a:lnTo>
                    <a:pt x="233" y="115"/>
                  </a:lnTo>
                  <a:lnTo>
                    <a:pt x="237" y="124"/>
                  </a:lnTo>
                  <a:lnTo>
                    <a:pt x="242" y="134"/>
                  </a:lnTo>
                  <a:lnTo>
                    <a:pt x="247" y="143"/>
                  </a:lnTo>
                  <a:lnTo>
                    <a:pt x="251" y="153"/>
                  </a:lnTo>
                  <a:lnTo>
                    <a:pt x="256" y="163"/>
                  </a:lnTo>
                  <a:lnTo>
                    <a:pt x="260" y="173"/>
                  </a:lnTo>
                  <a:lnTo>
                    <a:pt x="264" y="183"/>
                  </a:lnTo>
                  <a:lnTo>
                    <a:pt x="268" y="193"/>
                  </a:lnTo>
                  <a:lnTo>
                    <a:pt x="272" y="203"/>
                  </a:lnTo>
                  <a:lnTo>
                    <a:pt x="276" y="213"/>
                  </a:lnTo>
                  <a:lnTo>
                    <a:pt x="280" y="224"/>
                  </a:lnTo>
                  <a:lnTo>
                    <a:pt x="283" y="234"/>
                  </a:lnTo>
                  <a:lnTo>
                    <a:pt x="287" y="245"/>
                  </a:lnTo>
                  <a:lnTo>
                    <a:pt x="290" y="256"/>
                  </a:lnTo>
                  <a:lnTo>
                    <a:pt x="293" y="266"/>
                  </a:lnTo>
                  <a:lnTo>
                    <a:pt x="296" y="277"/>
                  </a:lnTo>
                  <a:lnTo>
                    <a:pt x="299" y="288"/>
                  </a:lnTo>
                  <a:lnTo>
                    <a:pt x="302" y="299"/>
                  </a:lnTo>
                  <a:lnTo>
                    <a:pt x="304" y="309"/>
                  </a:lnTo>
                  <a:lnTo>
                    <a:pt x="307" y="320"/>
                  </a:lnTo>
                  <a:lnTo>
                    <a:pt x="309" y="331"/>
                  </a:lnTo>
                  <a:lnTo>
                    <a:pt x="311" y="342"/>
                  </a:lnTo>
                  <a:lnTo>
                    <a:pt x="313" y="353"/>
                  </a:lnTo>
                  <a:lnTo>
                    <a:pt x="315" y="364"/>
                  </a:lnTo>
                  <a:lnTo>
                    <a:pt x="316" y="375"/>
                  </a:lnTo>
                  <a:lnTo>
                    <a:pt x="318" y="386"/>
                  </a:lnTo>
                  <a:lnTo>
                    <a:pt x="319" y="397"/>
                  </a:lnTo>
                  <a:lnTo>
                    <a:pt x="320" y="408"/>
                  </a:lnTo>
                  <a:lnTo>
                    <a:pt x="321" y="419"/>
                  </a:lnTo>
                  <a:lnTo>
                    <a:pt x="322" y="430"/>
                  </a:lnTo>
                  <a:lnTo>
                    <a:pt x="323" y="441"/>
                  </a:lnTo>
                  <a:lnTo>
                    <a:pt x="324" y="452"/>
                  </a:lnTo>
                  <a:lnTo>
                    <a:pt x="324" y="463"/>
                  </a:lnTo>
                  <a:lnTo>
                    <a:pt x="324" y="474"/>
                  </a:lnTo>
                  <a:lnTo>
                    <a:pt x="324" y="485"/>
                  </a:lnTo>
                  <a:lnTo>
                    <a:pt x="324" y="496"/>
                  </a:lnTo>
                  <a:lnTo>
                    <a:pt x="324" y="507"/>
                  </a:lnTo>
                  <a:lnTo>
                    <a:pt x="324" y="518"/>
                  </a:lnTo>
                  <a:lnTo>
                    <a:pt x="324" y="529"/>
                  </a:lnTo>
                  <a:lnTo>
                    <a:pt x="323" y="540"/>
                  </a:lnTo>
                  <a:lnTo>
                    <a:pt x="322" y="551"/>
                  </a:lnTo>
                  <a:lnTo>
                    <a:pt x="321" y="562"/>
                  </a:lnTo>
                  <a:lnTo>
                    <a:pt x="320" y="573"/>
                  </a:lnTo>
                  <a:lnTo>
                    <a:pt x="319" y="583"/>
                  </a:lnTo>
                  <a:lnTo>
                    <a:pt x="318" y="594"/>
                  </a:lnTo>
                  <a:lnTo>
                    <a:pt x="316" y="605"/>
                  </a:lnTo>
                  <a:lnTo>
                    <a:pt x="315" y="615"/>
                  </a:lnTo>
                  <a:lnTo>
                    <a:pt x="313" y="625"/>
                  </a:lnTo>
                  <a:lnTo>
                    <a:pt x="311" y="636"/>
                  </a:lnTo>
                  <a:lnTo>
                    <a:pt x="310" y="646"/>
                  </a:lnTo>
                  <a:lnTo>
                    <a:pt x="308" y="656"/>
                  </a:lnTo>
                  <a:lnTo>
                    <a:pt x="305" y="665"/>
                  </a:lnTo>
                  <a:lnTo>
                    <a:pt x="303" y="675"/>
                  </a:lnTo>
                  <a:lnTo>
                    <a:pt x="301" y="685"/>
                  </a:lnTo>
                  <a:lnTo>
                    <a:pt x="299" y="694"/>
                  </a:lnTo>
                  <a:lnTo>
                    <a:pt x="296" y="704"/>
                  </a:lnTo>
                  <a:lnTo>
                    <a:pt x="293" y="713"/>
                  </a:lnTo>
                  <a:lnTo>
                    <a:pt x="291" y="722"/>
                  </a:lnTo>
                  <a:lnTo>
                    <a:pt x="288" y="731"/>
                  </a:lnTo>
                  <a:lnTo>
                    <a:pt x="285" y="740"/>
                  </a:lnTo>
                  <a:lnTo>
                    <a:pt x="282" y="749"/>
                  </a:lnTo>
                  <a:lnTo>
                    <a:pt x="279" y="757"/>
                  </a:lnTo>
                  <a:lnTo>
                    <a:pt x="276" y="766"/>
                  </a:lnTo>
                  <a:lnTo>
                    <a:pt x="273" y="774"/>
                  </a:lnTo>
                  <a:lnTo>
                    <a:pt x="269" y="782"/>
                  </a:lnTo>
                  <a:lnTo>
                    <a:pt x="266" y="790"/>
                  </a:lnTo>
                  <a:lnTo>
                    <a:pt x="263" y="798"/>
                  </a:lnTo>
                  <a:lnTo>
                    <a:pt x="260" y="805"/>
                  </a:lnTo>
                  <a:lnTo>
                    <a:pt x="257" y="813"/>
                  </a:lnTo>
                  <a:lnTo>
                    <a:pt x="254" y="820"/>
                  </a:lnTo>
                  <a:lnTo>
                    <a:pt x="250" y="827"/>
                  </a:lnTo>
                  <a:lnTo>
                    <a:pt x="247" y="834"/>
                  </a:lnTo>
                  <a:lnTo>
                    <a:pt x="244" y="841"/>
                  </a:lnTo>
                  <a:lnTo>
                    <a:pt x="240" y="847"/>
                  </a:lnTo>
                  <a:lnTo>
                    <a:pt x="237" y="854"/>
                  </a:lnTo>
                  <a:lnTo>
                    <a:pt x="234" y="860"/>
                  </a:lnTo>
                  <a:lnTo>
                    <a:pt x="230" y="866"/>
                  </a:lnTo>
                  <a:lnTo>
                    <a:pt x="227" y="872"/>
                  </a:lnTo>
                  <a:lnTo>
                    <a:pt x="224" y="878"/>
                  </a:lnTo>
                  <a:lnTo>
                    <a:pt x="220" y="884"/>
                  </a:lnTo>
                  <a:lnTo>
                    <a:pt x="217" y="889"/>
                  </a:lnTo>
                  <a:lnTo>
                    <a:pt x="214" y="895"/>
                  </a:lnTo>
                  <a:lnTo>
                    <a:pt x="211" y="900"/>
                  </a:lnTo>
                  <a:lnTo>
                    <a:pt x="208" y="905"/>
                  </a:lnTo>
                  <a:lnTo>
                    <a:pt x="205" y="911"/>
                  </a:lnTo>
                  <a:lnTo>
                    <a:pt x="201" y="915"/>
                  </a:lnTo>
                  <a:lnTo>
                    <a:pt x="198" y="920"/>
                  </a:lnTo>
                  <a:lnTo>
                    <a:pt x="195" y="925"/>
                  </a:lnTo>
                  <a:lnTo>
                    <a:pt x="192" y="930"/>
                  </a:lnTo>
                  <a:lnTo>
                    <a:pt x="189" y="934"/>
                  </a:lnTo>
                  <a:lnTo>
                    <a:pt x="186" y="938"/>
                  </a:lnTo>
                  <a:lnTo>
                    <a:pt x="184" y="942"/>
                  </a:lnTo>
                  <a:lnTo>
                    <a:pt x="181" y="946"/>
                  </a:lnTo>
                  <a:lnTo>
                    <a:pt x="178" y="950"/>
                  </a:lnTo>
                  <a:lnTo>
                    <a:pt x="176" y="953"/>
                  </a:lnTo>
                  <a:lnTo>
                    <a:pt x="174" y="956"/>
                  </a:lnTo>
                  <a:lnTo>
                    <a:pt x="172" y="959"/>
                  </a:lnTo>
                  <a:lnTo>
                    <a:pt x="170" y="961"/>
                  </a:lnTo>
                  <a:lnTo>
                    <a:pt x="169" y="964"/>
                  </a:lnTo>
                  <a:lnTo>
                    <a:pt x="167" y="966"/>
                  </a:lnTo>
                  <a:lnTo>
                    <a:pt x="166" y="967"/>
                  </a:lnTo>
                  <a:lnTo>
                    <a:pt x="165" y="969"/>
                  </a:lnTo>
                  <a:lnTo>
                    <a:pt x="164" y="970"/>
                  </a:lnTo>
                  <a:lnTo>
                    <a:pt x="164" y="971"/>
                  </a:lnTo>
                  <a:lnTo>
                    <a:pt x="163" y="971"/>
                  </a:lnTo>
                  <a:lnTo>
                    <a:pt x="163" y="972"/>
                  </a:lnTo>
                  <a:lnTo>
                    <a:pt x="162" y="971"/>
                  </a:lnTo>
                  <a:lnTo>
                    <a:pt x="161" y="970"/>
                  </a:lnTo>
                  <a:lnTo>
                    <a:pt x="160" y="969"/>
                  </a:lnTo>
                  <a:lnTo>
                    <a:pt x="159" y="967"/>
                  </a:lnTo>
                  <a:lnTo>
                    <a:pt x="158" y="965"/>
                  </a:lnTo>
                  <a:lnTo>
                    <a:pt x="156" y="963"/>
                  </a:lnTo>
                  <a:lnTo>
                    <a:pt x="155" y="961"/>
                  </a:lnTo>
                  <a:lnTo>
                    <a:pt x="153" y="958"/>
                  </a:lnTo>
                  <a:lnTo>
                    <a:pt x="151" y="955"/>
                  </a:lnTo>
                  <a:lnTo>
                    <a:pt x="148" y="952"/>
                  </a:lnTo>
                  <a:lnTo>
                    <a:pt x="146" y="949"/>
                  </a:lnTo>
                  <a:lnTo>
                    <a:pt x="143" y="945"/>
                  </a:lnTo>
                  <a:lnTo>
                    <a:pt x="140" y="941"/>
                  </a:lnTo>
                  <a:lnTo>
                    <a:pt x="137" y="937"/>
                  </a:lnTo>
                  <a:lnTo>
                    <a:pt x="134" y="932"/>
                  </a:lnTo>
                  <a:lnTo>
                    <a:pt x="130" y="927"/>
                  </a:lnTo>
                  <a:lnTo>
                    <a:pt x="127" y="923"/>
                  </a:lnTo>
                  <a:lnTo>
                    <a:pt x="124" y="918"/>
                  </a:lnTo>
                  <a:lnTo>
                    <a:pt x="121" y="913"/>
                  </a:lnTo>
                  <a:lnTo>
                    <a:pt x="118" y="908"/>
                  </a:lnTo>
                  <a:lnTo>
                    <a:pt x="115" y="903"/>
                  </a:lnTo>
                  <a:lnTo>
                    <a:pt x="112" y="898"/>
                  </a:lnTo>
                  <a:lnTo>
                    <a:pt x="108" y="893"/>
                  </a:lnTo>
                  <a:lnTo>
                    <a:pt x="105" y="887"/>
                  </a:lnTo>
                  <a:lnTo>
                    <a:pt x="102" y="882"/>
                  </a:lnTo>
                  <a:lnTo>
                    <a:pt x="99" y="876"/>
                  </a:lnTo>
                  <a:lnTo>
                    <a:pt x="96" y="871"/>
                  </a:lnTo>
                  <a:lnTo>
                    <a:pt x="93" y="865"/>
                  </a:lnTo>
                  <a:lnTo>
                    <a:pt x="90" y="859"/>
                  </a:lnTo>
                  <a:lnTo>
                    <a:pt x="87" y="853"/>
                  </a:lnTo>
                  <a:lnTo>
                    <a:pt x="84" y="847"/>
                  </a:lnTo>
                  <a:lnTo>
                    <a:pt x="81" y="841"/>
                  </a:lnTo>
                  <a:lnTo>
                    <a:pt x="79" y="834"/>
                  </a:lnTo>
                  <a:lnTo>
                    <a:pt x="76" y="828"/>
                  </a:lnTo>
                  <a:lnTo>
                    <a:pt x="73" y="821"/>
                  </a:lnTo>
                  <a:lnTo>
                    <a:pt x="70" y="814"/>
                  </a:lnTo>
                  <a:lnTo>
                    <a:pt x="67" y="807"/>
                  </a:lnTo>
                  <a:lnTo>
                    <a:pt x="64" y="799"/>
                  </a:lnTo>
                  <a:lnTo>
                    <a:pt x="61" y="791"/>
                  </a:lnTo>
                  <a:lnTo>
                    <a:pt x="58" y="784"/>
                  </a:lnTo>
                  <a:lnTo>
                    <a:pt x="55" y="776"/>
                  </a:lnTo>
                  <a:lnTo>
                    <a:pt x="52" y="767"/>
                  </a:lnTo>
                  <a:lnTo>
                    <a:pt x="49" y="759"/>
                  </a:lnTo>
                  <a:lnTo>
                    <a:pt x="46" y="750"/>
                  </a:lnTo>
                  <a:lnTo>
                    <a:pt x="43" y="741"/>
                  </a:lnTo>
                  <a:lnTo>
                    <a:pt x="40" y="732"/>
                  </a:lnTo>
                  <a:lnTo>
                    <a:pt x="37" y="723"/>
                  </a:lnTo>
                  <a:lnTo>
                    <a:pt x="34" y="714"/>
                  </a:lnTo>
                  <a:lnTo>
                    <a:pt x="32" y="704"/>
                  </a:lnTo>
                  <a:lnTo>
                    <a:pt x="29" y="695"/>
                  </a:lnTo>
                  <a:lnTo>
                    <a:pt x="27" y="685"/>
                  </a:lnTo>
                  <a:lnTo>
                    <a:pt x="24" y="676"/>
                  </a:lnTo>
                  <a:lnTo>
                    <a:pt x="22" y="666"/>
                  </a:lnTo>
                  <a:lnTo>
                    <a:pt x="20" y="656"/>
                  </a:lnTo>
                  <a:lnTo>
                    <a:pt x="17" y="646"/>
                  </a:lnTo>
                  <a:lnTo>
                    <a:pt x="15" y="636"/>
                  </a:lnTo>
                  <a:lnTo>
                    <a:pt x="13" y="625"/>
                  </a:lnTo>
                  <a:lnTo>
                    <a:pt x="12" y="615"/>
                  </a:lnTo>
                  <a:lnTo>
                    <a:pt x="10" y="605"/>
                  </a:lnTo>
                  <a:lnTo>
                    <a:pt x="8" y="594"/>
                  </a:lnTo>
                  <a:lnTo>
                    <a:pt x="7" y="583"/>
                  </a:lnTo>
                  <a:lnTo>
                    <a:pt x="5" y="573"/>
                  </a:lnTo>
                  <a:lnTo>
                    <a:pt x="4" y="562"/>
                  </a:lnTo>
                  <a:lnTo>
                    <a:pt x="3" y="551"/>
                  </a:lnTo>
                  <a:lnTo>
                    <a:pt x="2" y="540"/>
                  </a:lnTo>
                  <a:lnTo>
                    <a:pt x="1" y="529"/>
                  </a:lnTo>
                  <a:lnTo>
                    <a:pt x="1" y="517"/>
                  </a:lnTo>
                  <a:lnTo>
                    <a:pt x="0" y="506"/>
                  </a:lnTo>
                  <a:lnTo>
                    <a:pt x="0" y="494"/>
                  </a:lnTo>
                  <a:lnTo>
                    <a:pt x="0" y="483"/>
                  </a:lnTo>
                  <a:lnTo>
                    <a:pt x="0" y="471"/>
                  </a:lnTo>
                  <a:lnTo>
                    <a:pt x="1" y="459"/>
                  </a:lnTo>
                  <a:lnTo>
                    <a:pt x="1" y="448"/>
                  </a:lnTo>
                  <a:lnTo>
                    <a:pt x="2" y="436"/>
                  </a:lnTo>
                  <a:lnTo>
                    <a:pt x="3" y="424"/>
                  </a:lnTo>
                  <a:lnTo>
                    <a:pt x="5" y="412"/>
                  </a:lnTo>
                  <a:lnTo>
                    <a:pt x="6" y="399"/>
                  </a:lnTo>
                  <a:lnTo>
                    <a:pt x="8" y="387"/>
                  </a:lnTo>
                  <a:lnTo>
                    <a:pt x="9" y="375"/>
                  </a:lnTo>
                  <a:lnTo>
                    <a:pt x="11" y="363"/>
                  </a:lnTo>
                  <a:lnTo>
                    <a:pt x="13" y="351"/>
                  </a:lnTo>
                  <a:lnTo>
                    <a:pt x="15" y="339"/>
                  </a:lnTo>
                  <a:lnTo>
                    <a:pt x="17" y="327"/>
                  </a:lnTo>
                  <a:lnTo>
                    <a:pt x="20" y="316"/>
                  </a:lnTo>
                  <a:lnTo>
                    <a:pt x="22" y="304"/>
                  </a:lnTo>
                  <a:lnTo>
                    <a:pt x="25" y="293"/>
                  </a:lnTo>
                  <a:lnTo>
                    <a:pt x="28" y="282"/>
                  </a:lnTo>
                  <a:lnTo>
                    <a:pt x="31" y="271"/>
                  </a:lnTo>
                  <a:lnTo>
                    <a:pt x="34" y="260"/>
                  </a:lnTo>
                  <a:lnTo>
                    <a:pt x="37" y="250"/>
                  </a:lnTo>
                  <a:lnTo>
                    <a:pt x="40" y="239"/>
                  </a:lnTo>
                  <a:lnTo>
                    <a:pt x="43" y="229"/>
                  </a:lnTo>
                  <a:lnTo>
                    <a:pt x="47" y="219"/>
                  </a:lnTo>
                  <a:lnTo>
                    <a:pt x="50" y="209"/>
                  </a:lnTo>
                  <a:lnTo>
                    <a:pt x="54" y="199"/>
                  </a:lnTo>
                  <a:lnTo>
                    <a:pt x="58" y="190"/>
                  </a:lnTo>
                  <a:lnTo>
                    <a:pt x="62" y="180"/>
                  </a:lnTo>
                  <a:lnTo>
                    <a:pt x="66" y="171"/>
                  </a:lnTo>
                  <a:lnTo>
                    <a:pt x="70" y="161"/>
                  </a:lnTo>
                  <a:lnTo>
                    <a:pt x="74" y="152"/>
                  </a:lnTo>
                  <a:lnTo>
                    <a:pt x="78" y="143"/>
                  </a:lnTo>
                  <a:lnTo>
                    <a:pt x="83" y="134"/>
                  </a:lnTo>
                  <a:lnTo>
                    <a:pt x="87" y="125"/>
                  </a:lnTo>
                  <a:lnTo>
                    <a:pt x="92" y="116"/>
                  </a:lnTo>
                  <a:lnTo>
                    <a:pt x="96" y="107"/>
                  </a:lnTo>
                  <a:lnTo>
                    <a:pt x="101" y="99"/>
                  </a:lnTo>
                  <a:lnTo>
                    <a:pt x="106" y="90"/>
                  </a:lnTo>
                  <a:lnTo>
                    <a:pt x="111" y="82"/>
                  </a:lnTo>
                  <a:lnTo>
                    <a:pt x="116" y="73"/>
                  </a:lnTo>
                  <a:lnTo>
                    <a:pt x="121" y="65"/>
                  </a:lnTo>
                  <a:close/>
                </a:path>
              </a:pathLst>
            </a:custGeom>
            <a:solidFill>
              <a:srgbClr val="BBBBB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25543" name="Oval 7"/>
            <p:cNvSpPr>
              <a:spLocks noChangeArrowheads="1"/>
            </p:cNvSpPr>
            <p:nvPr/>
          </p:nvSpPr>
          <p:spPr bwMode="gray">
            <a:xfrm>
              <a:off x="2804" y="948"/>
              <a:ext cx="1551" cy="1520"/>
            </a:xfrm>
            <a:prstGeom prst="ellips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25544" name="Oval 8"/>
            <p:cNvSpPr>
              <a:spLocks noChangeArrowheads="1"/>
            </p:cNvSpPr>
            <p:nvPr/>
          </p:nvSpPr>
          <p:spPr bwMode="gray">
            <a:xfrm>
              <a:off x="1455" y="948"/>
              <a:ext cx="1551" cy="1520"/>
            </a:xfrm>
            <a:prstGeom prst="ellips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25545" name="Freeform 9"/>
            <p:cNvSpPr>
              <a:spLocks/>
            </p:cNvSpPr>
            <p:nvPr/>
          </p:nvSpPr>
          <p:spPr bwMode="gray">
            <a:xfrm>
              <a:off x="2806" y="2911"/>
              <a:ext cx="197" cy="233"/>
            </a:xfrm>
            <a:custGeom>
              <a:avLst/>
              <a:gdLst>
                <a:gd name="T0" fmla="*/ 139 w 325"/>
                <a:gd name="T1" fmla="*/ 37 h 973"/>
                <a:gd name="T2" fmla="*/ 155 w 325"/>
                <a:gd name="T3" fmla="*/ 12 h 973"/>
                <a:gd name="T4" fmla="*/ 162 w 325"/>
                <a:gd name="T5" fmla="*/ 1 h 973"/>
                <a:gd name="T6" fmla="*/ 164 w 325"/>
                <a:gd name="T7" fmla="*/ 2 h 973"/>
                <a:gd name="T8" fmla="*/ 174 w 325"/>
                <a:gd name="T9" fmla="*/ 17 h 973"/>
                <a:gd name="T10" fmla="*/ 192 w 325"/>
                <a:gd name="T11" fmla="*/ 46 h 973"/>
                <a:gd name="T12" fmla="*/ 217 w 325"/>
                <a:gd name="T13" fmla="*/ 87 h 973"/>
                <a:gd name="T14" fmla="*/ 242 w 325"/>
                <a:gd name="T15" fmla="*/ 134 h 973"/>
                <a:gd name="T16" fmla="*/ 264 w 325"/>
                <a:gd name="T17" fmla="*/ 183 h 973"/>
                <a:gd name="T18" fmla="*/ 283 w 325"/>
                <a:gd name="T19" fmla="*/ 234 h 973"/>
                <a:gd name="T20" fmla="*/ 299 w 325"/>
                <a:gd name="T21" fmla="*/ 288 h 973"/>
                <a:gd name="T22" fmla="*/ 311 w 325"/>
                <a:gd name="T23" fmla="*/ 342 h 973"/>
                <a:gd name="T24" fmla="*/ 319 w 325"/>
                <a:gd name="T25" fmla="*/ 397 h 973"/>
                <a:gd name="T26" fmla="*/ 324 w 325"/>
                <a:gd name="T27" fmla="*/ 452 h 973"/>
                <a:gd name="T28" fmla="*/ 324 w 325"/>
                <a:gd name="T29" fmla="*/ 507 h 973"/>
                <a:gd name="T30" fmla="*/ 321 w 325"/>
                <a:gd name="T31" fmla="*/ 562 h 973"/>
                <a:gd name="T32" fmla="*/ 315 w 325"/>
                <a:gd name="T33" fmla="*/ 615 h 973"/>
                <a:gd name="T34" fmla="*/ 305 w 325"/>
                <a:gd name="T35" fmla="*/ 665 h 973"/>
                <a:gd name="T36" fmla="*/ 293 w 325"/>
                <a:gd name="T37" fmla="*/ 713 h 973"/>
                <a:gd name="T38" fmla="*/ 279 w 325"/>
                <a:gd name="T39" fmla="*/ 757 h 973"/>
                <a:gd name="T40" fmla="*/ 263 w 325"/>
                <a:gd name="T41" fmla="*/ 798 h 973"/>
                <a:gd name="T42" fmla="*/ 247 w 325"/>
                <a:gd name="T43" fmla="*/ 834 h 973"/>
                <a:gd name="T44" fmla="*/ 230 w 325"/>
                <a:gd name="T45" fmla="*/ 866 h 973"/>
                <a:gd name="T46" fmla="*/ 214 w 325"/>
                <a:gd name="T47" fmla="*/ 895 h 973"/>
                <a:gd name="T48" fmla="*/ 198 w 325"/>
                <a:gd name="T49" fmla="*/ 920 h 973"/>
                <a:gd name="T50" fmla="*/ 184 w 325"/>
                <a:gd name="T51" fmla="*/ 942 h 973"/>
                <a:gd name="T52" fmla="*/ 172 w 325"/>
                <a:gd name="T53" fmla="*/ 959 h 973"/>
                <a:gd name="T54" fmla="*/ 165 w 325"/>
                <a:gd name="T55" fmla="*/ 969 h 973"/>
                <a:gd name="T56" fmla="*/ 163 w 325"/>
                <a:gd name="T57" fmla="*/ 972 h 973"/>
                <a:gd name="T58" fmla="*/ 160 w 325"/>
                <a:gd name="T59" fmla="*/ 969 h 973"/>
                <a:gd name="T60" fmla="*/ 153 w 325"/>
                <a:gd name="T61" fmla="*/ 958 h 973"/>
                <a:gd name="T62" fmla="*/ 140 w 325"/>
                <a:gd name="T63" fmla="*/ 941 h 973"/>
                <a:gd name="T64" fmla="*/ 124 w 325"/>
                <a:gd name="T65" fmla="*/ 918 h 973"/>
                <a:gd name="T66" fmla="*/ 108 w 325"/>
                <a:gd name="T67" fmla="*/ 893 h 973"/>
                <a:gd name="T68" fmla="*/ 93 w 325"/>
                <a:gd name="T69" fmla="*/ 865 h 973"/>
                <a:gd name="T70" fmla="*/ 79 w 325"/>
                <a:gd name="T71" fmla="*/ 834 h 973"/>
                <a:gd name="T72" fmla="*/ 64 w 325"/>
                <a:gd name="T73" fmla="*/ 799 h 973"/>
                <a:gd name="T74" fmla="*/ 49 w 325"/>
                <a:gd name="T75" fmla="*/ 759 h 973"/>
                <a:gd name="T76" fmla="*/ 34 w 325"/>
                <a:gd name="T77" fmla="*/ 714 h 973"/>
                <a:gd name="T78" fmla="*/ 22 w 325"/>
                <a:gd name="T79" fmla="*/ 666 h 973"/>
                <a:gd name="T80" fmla="*/ 12 w 325"/>
                <a:gd name="T81" fmla="*/ 615 h 973"/>
                <a:gd name="T82" fmla="*/ 4 w 325"/>
                <a:gd name="T83" fmla="*/ 562 h 973"/>
                <a:gd name="T84" fmla="*/ 0 w 325"/>
                <a:gd name="T85" fmla="*/ 506 h 973"/>
                <a:gd name="T86" fmla="*/ 1 w 325"/>
                <a:gd name="T87" fmla="*/ 448 h 973"/>
                <a:gd name="T88" fmla="*/ 8 w 325"/>
                <a:gd name="T89" fmla="*/ 387 h 973"/>
                <a:gd name="T90" fmla="*/ 17 w 325"/>
                <a:gd name="T91" fmla="*/ 327 h 973"/>
                <a:gd name="T92" fmla="*/ 31 w 325"/>
                <a:gd name="T93" fmla="*/ 271 h 973"/>
                <a:gd name="T94" fmla="*/ 47 w 325"/>
                <a:gd name="T95" fmla="*/ 219 h 973"/>
                <a:gd name="T96" fmla="*/ 66 w 325"/>
                <a:gd name="T97" fmla="*/ 171 h 973"/>
                <a:gd name="T98" fmla="*/ 87 w 325"/>
                <a:gd name="T99" fmla="*/ 125 h 973"/>
                <a:gd name="T100" fmla="*/ 111 w 325"/>
                <a:gd name="T101" fmla="*/ 82 h 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5" h="973">
                  <a:moveTo>
                    <a:pt x="121" y="65"/>
                  </a:moveTo>
                  <a:lnTo>
                    <a:pt x="126" y="57"/>
                  </a:lnTo>
                  <a:lnTo>
                    <a:pt x="131" y="50"/>
                  </a:lnTo>
                  <a:lnTo>
                    <a:pt x="135" y="43"/>
                  </a:lnTo>
                  <a:lnTo>
                    <a:pt x="139" y="37"/>
                  </a:lnTo>
                  <a:lnTo>
                    <a:pt x="143" y="31"/>
                  </a:lnTo>
                  <a:lnTo>
                    <a:pt x="146" y="25"/>
                  </a:lnTo>
                  <a:lnTo>
                    <a:pt x="150" y="21"/>
                  </a:lnTo>
                  <a:lnTo>
                    <a:pt x="152" y="16"/>
                  </a:lnTo>
                  <a:lnTo>
                    <a:pt x="155" y="12"/>
                  </a:lnTo>
                  <a:lnTo>
                    <a:pt x="157" y="9"/>
                  </a:lnTo>
                  <a:lnTo>
                    <a:pt x="159" y="6"/>
                  </a:lnTo>
                  <a:lnTo>
                    <a:pt x="160" y="4"/>
                  </a:lnTo>
                  <a:lnTo>
                    <a:pt x="161" y="2"/>
                  </a:lnTo>
                  <a:lnTo>
                    <a:pt x="162" y="1"/>
                  </a:lnTo>
                  <a:lnTo>
                    <a:pt x="163" y="0"/>
                  </a:lnTo>
                  <a:lnTo>
                    <a:pt x="163" y="1"/>
                  </a:lnTo>
                  <a:lnTo>
                    <a:pt x="164" y="2"/>
                  </a:lnTo>
                  <a:lnTo>
                    <a:pt x="165" y="4"/>
                  </a:lnTo>
                  <a:lnTo>
                    <a:pt x="167" y="7"/>
                  </a:lnTo>
                  <a:lnTo>
                    <a:pt x="169" y="10"/>
                  </a:lnTo>
                  <a:lnTo>
                    <a:pt x="171" y="13"/>
                  </a:lnTo>
                  <a:lnTo>
                    <a:pt x="174" y="17"/>
                  </a:lnTo>
                  <a:lnTo>
                    <a:pt x="177" y="22"/>
                  </a:lnTo>
                  <a:lnTo>
                    <a:pt x="180" y="27"/>
                  </a:lnTo>
                  <a:lnTo>
                    <a:pt x="183" y="33"/>
                  </a:lnTo>
                  <a:lnTo>
                    <a:pt x="187" y="39"/>
                  </a:lnTo>
                  <a:lnTo>
                    <a:pt x="192" y="46"/>
                  </a:lnTo>
                  <a:lnTo>
                    <a:pt x="196" y="53"/>
                  </a:lnTo>
                  <a:lnTo>
                    <a:pt x="201" y="61"/>
                  </a:lnTo>
                  <a:lnTo>
                    <a:pt x="207" y="70"/>
                  </a:lnTo>
                  <a:lnTo>
                    <a:pt x="212" y="79"/>
                  </a:lnTo>
                  <a:lnTo>
                    <a:pt x="217" y="87"/>
                  </a:lnTo>
                  <a:lnTo>
                    <a:pt x="223" y="96"/>
                  </a:lnTo>
                  <a:lnTo>
                    <a:pt x="228" y="106"/>
                  </a:lnTo>
                  <a:lnTo>
                    <a:pt x="233" y="115"/>
                  </a:lnTo>
                  <a:lnTo>
                    <a:pt x="237" y="124"/>
                  </a:lnTo>
                  <a:lnTo>
                    <a:pt x="242" y="134"/>
                  </a:lnTo>
                  <a:lnTo>
                    <a:pt x="247" y="143"/>
                  </a:lnTo>
                  <a:lnTo>
                    <a:pt x="251" y="153"/>
                  </a:lnTo>
                  <a:lnTo>
                    <a:pt x="256" y="163"/>
                  </a:lnTo>
                  <a:lnTo>
                    <a:pt x="260" y="173"/>
                  </a:lnTo>
                  <a:lnTo>
                    <a:pt x="264" y="183"/>
                  </a:lnTo>
                  <a:lnTo>
                    <a:pt x="268" y="193"/>
                  </a:lnTo>
                  <a:lnTo>
                    <a:pt x="272" y="203"/>
                  </a:lnTo>
                  <a:lnTo>
                    <a:pt x="276" y="213"/>
                  </a:lnTo>
                  <a:lnTo>
                    <a:pt x="280" y="224"/>
                  </a:lnTo>
                  <a:lnTo>
                    <a:pt x="283" y="234"/>
                  </a:lnTo>
                  <a:lnTo>
                    <a:pt x="287" y="245"/>
                  </a:lnTo>
                  <a:lnTo>
                    <a:pt x="290" y="256"/>
                  </a:lnTo>
                  <a:lnTo>
                    <a:pt x="293" y="266"/>
                  </a:lnTo>
                  <a:lnTo>
                    <a:pt x="296" y="277"/>
                  </a:lnTo>
                  <a:lnTo>
                    <a:pt x="299" y="288"/>
                  </a:lnTo>
                  <a:lnTo>
                    <a:pt x="302" y="299"/>
                  </a:lnTo>
                  <a:lnTo>
                    <a:pt x="304" y="309"/>
                  </a:lnTo>
                  <a:lnTo>
                    <a:pt x="307" y="320"/>
                  </a:lnTo>
                  <a:lnTo>
                    <a:pt x="309" y="331"/>
                  </a:lnTo>
                  <a:lnTo>
                    <a:pt x="311" y="342"/>
                  </a:lnTo>
                  <a:lnTo>
                    <a:pt x="313" y="353"/>
                  </a:lnTo>
                  <a:lnTo>
                    <a:pt x="315" y="364"/>
                  </a:lnTo>
                  <a:lnTo>
                    <a:pt x="316" y="375"/>
                  </a:lnTo>
                  <a:lnTo>
                    <a:pt x="318" y="386"/>
                  </a:lnTo>
                  <a:lnTo>
                    <a:pt x="319" y="397"/>
                  </a:lnTo>
                  <a:lnTo>
                    <a:pt x="320" y="408"/>
                  </a:lnTo>
                  <a:lnTo>
                    <a:pt x="321" y="419"/>
                  </a:lnTo>
                  <a:lnTo>
                    <a:pt x="322" y="430"/>
                  </a:lnTo>
                  <a:lnTo>
                    <a:pt x="323" y="441"/>
                  </a:lnTo>
                  <a:lnTo>
                    <a:pt x="324" y="452"/>
                  </a:lnTo>
                  <a:lnTo>
                    <a:pt x="324" y="463"/>
                  </a:lnTo>
                  <a:lnTo>
                    <a:pt x="324" y="474"/>
                  </a:lnTo>
                  <a:lnTo>
                    <a:pt x="324" y="485"/>
                  </a:lnTo>
                  <a:lnTo>
                    <a:pt x="324" y="496"/>
                  </a:lnTo>
                  <a:lnTo>
                    <a:pt x="324" y="507"/>
                  </a:lnTo>
                  <a:lnTo>
                    <a:pt x="324" y="518"/>
                  </a:lnTo>
                  <a:lnTo>
                    <a:pt x="324" y="529"/>
                  </a:lnTo>
                  <a:lnTo>
                    <a:pt x="323" y="540"/>
                  </a:lnTo>
                  <a:lnTo>
                    <a:pt x="322" y="551"/>
                  </a:lnTo>
                  <a:lnTo>
                    <a:pt x="321" y="562"/>
                  </a:lnTo>
                  <a:lnTo>
                    <a:pt x="320" y="573"/>
                  </a:lnTo>
                  <a:lnTo>
                    <a:pt x="319" y="583"/>
                  </a:lnTo>
                  <a:lnTo>
                    <a:pt x="318" y="594"/>
                  </a:lnTo>
                  <a:lnTo>
                    <a:pt x="316" y="605"/>
                  </a:lnTo>
                  <a:lnTo>
                    <a:pt x="315" y="615"/>
                  </a:lnTo>
                  <a:lnTo>
                    <a:pt x="313" y="625"/>
                  </a:lnTo>
                  <a:lnTo>
                    <a:pt x="311" y="636"/>
                  </a:lnTo>
                  <a:lnTo>
                    <a:pt x="310" y="646"/>
                  </a:lnTo>
                  <a:lnTo>
                    <a:pt x="308" y="656"/>
                  </a:lnTo>
                  <a:lnTo>
                    <a:pt x="305" y="665"/>
                  </a:lnTo>
                  <a:lnTo>
                    <a:pt x="303" y="675"/>
                  </a:lnTo>
                  <a:lnTo>
                    <a:pt x="301" y="685"/>
                  </a:lnTo>
                  <a:lnTo>
                    <a:pt x="299" y="694"/>
                  </a:lnTo>
                  <a:lnTo>
                    <a:pt x="296" y="704"/>
                  </a:lnTo>
                  <a:lnTo>
                    <a:pt x="293" y="713"/>
                  </a:lnTo>
                  <a:lnTo>
                    <a:pt x="291" y="722"/>
                  </a:lnTo>
                  <a:lnTo>
                    <a:pt x="288" y="731"/>
                  </a:lnTo>
                  <a:lnTo>
                    <a:pt x="285" y="740"/>
                  </a:lnTo>
                  <a:lnTo>
                    <a:pt x="282" y="749"/>
                  </a:lnTo>
                  <a:lnTo>
                    <a:pt x="279" y="757"/>
                  </a:lnTo>
                  <a:lnTo>
                    <a:pt x="276" y="766"/>
                  </a:lnTo>
                  <a:lnTo>
                    <a:pt x="273" y="774"/>
                  </a:lnTo>
                  <a:lnTo>
                    <a:pt x="269" y="782"/>
                  </a:lnTo>
                  <a:lnTo>
                    <a:pt x="266" y="790"/>
                  </a:lnTo>
                  <a:lnTo>
                    <a:pt x="263" y="798"/>
                  </a:lnTo>
                  <a:lnTo>
                    <a:pt x="260" y="805"/>
                  </a:lnTo>
                  <a:lnTo>
                    <a:pt x="257" y="813"/>
                  </a:lnTo>
                  <a:lnTo>
                    <a:pt x="254" y="820"/>
                  </a:lnTo>
                  <a:lnTo>
                    <a:pt x="250" y="827"/>
                  </a:lnTo>
                  <a:lnTo>
                    <a:pt x="247" y="834"/>
                  </a:lnTo>
                  <a:lnTo>
                    <a:pt x="244" y="841"/>
                  </a:lnTo>
                  <a:lnTo>
                    <a:pt x="240" y="847"/>
                  </a:lnTo>
                  <a:lnTo>
                    <a:pt x="237" y="854"/>
                  </a:lnTo>
                  <a:lnTo>
                    <a:pt x="234" y="860"/>
                  </a:lnTo>
                  <a:lnTo>
                    <a:pt x="230" y="866"/>
                  </a:lnTo>
                  <a:lnTo>
                    <a:pt x="227" y="872"/>
                  </a:lnTo>
                  <a:lnTo>
                    <a:pt x="224" y="878"/>
                  </a:lnTo>
                  <a:lnTo>
                    <a:pt x="220" y="884"/>
                  </a:lnTo>
                  <a:lnTo>
                    <a:pt x="217" y="889"/>
                  </a:lnTo>
                  <a:lnTo>
                    <a:pt x="214" y="895"/>
                  </a:lnTo>
                  <a:lnTo>
                    <a:pt x="211" y="900"/>
                  </a:lnTo>
                  <a:lnTo>
                    <a:pt x="208" y="905"/>
                  </a:lnTo>
                  <a:lnTo>
                    <a:pt x="205" y="911"/>
                  </a:lnTo>
                  <a:lnTo>
                    <a:pt x="201" y="915"/>
                  </a:lnTo>
                  <a:lnTo>
                    <a:pt x="198" y="920"/>
                  </a:lnTo>
                  <a:lnTo>
                    <a:pt x="195" y="925"/>
                  </a:lnTo>
                  <a:lnTo>
                    <a:pt x="192" y="930"/>
                  </a:lnTo>
                  <a:lnTo>
                    <a:pt x="189" y="934"/>
                  </a:lnTo>
                  <a:lnTo>
                    <a:pt x="186" y="938"/>
                  </a:lnTo>
                  <a:lnTo>
                    <a:pt x="184" y="942"/>
                  </a:lnTo>
                  <a:lnTo>
                    <a:pt x="181" y="946"/>
                  </a:lnTo>
                  <a:lnTo>
                    <a:pt x="178" y="950"/>
                  </a:lnTo>
                  <a:lnTo>
                    <a:pt x="176" y="953"/>
                  </a:lnTo>
                  <a:lnTo>
                    <a:pt x="174" y="956"/>
                  </a:lnTo>
                  <a:lnTo>
                    <a:pt x="172" y="959"/>
                  </a:lnTo>
                  <a:lnTo>
                    <a:pt x="170" y="961"/>
                  </a:lnTo>
                  <a:lnTo>
                    <a:pt x="169" y="964"/>
                  </a:lnTo>
                  <a:lnTo>
                    <a:pt x="167" y="966"/>
                  </a:lnTo>
                  <a:lnTo>
                    <a:pt x="166" y="967"/>
                  </a:lnTo>
                  <a:lnTo>
                    <a:pt x="165" y="969"/>
                  </a:lnTo>
                  <a:lnTo>
                    <a:pt x="164" y="970"/>
                  </a:lnTo>
                  <a:lnTo>
                    <a:pt x="164" y="971"/>
                  </a:lnTo>
                  <a:lnTo>
                    <a:pt x="163" y="971"/>
                  </a:lnTo>
                  <a:lnTo>
                    <a:pt x="163" y="972"/>
                  </a:lnTo>
                  <a:lnTo>
                    <a:pt x="162" y="971"/>
                  </a:lnTo>
                  <a:lnTo>
                    <a:pt x="161" y="970"/>
                  </a:lnTo>
                  <a:lnTo>
                    <a:pt x="160" y="969"/>
                  </a:lnTo>
                  <a:lnTo>
                    <a:pt x="159" y="967"/>
                  </a:lnTo>
                  <a:lnTo>
                    <a:pt x="158" y="965"/>
                  </a:lnTo>
                  <a:lnTo>
                    <a:pt x="156" y="963"/>
                  </a:lnTo>
                  <a:lnTo>
                    <a:pt x="155" y="961"/>
                  </a:lnTo>
                  <a:lnTo>
                    <a:pt x="153" y="958"/>
                  </a:lnTo>
                  <a:lnTo>
                    <a:pt x="151" y="955"/>
                  </a:lnTo>
                  <a:lnTo>
                    <a:pt x="148" y="952"/>
                  </a:lnTo>
                  <a:lnTo>
                    <a:pt x="146" y="949"/>
                  </a:lnTo>
                  <a:lnTo>
                    <a:pt x="143" y="945"/>
                  </a:lnTo>
                  <a:lnTo>
                    <a:pt x="140" y="941"/>
                  </a:lnTo>
                  <a:lnTo>
                    <a:pt x="137" y="937"/>
                  </a:lnTo>
                  <a:lnTo>
                    <a:pt x="134" y="932"/>
                  </a:lnTo>
                  <a:lnTo>
                    <a:pt x="130" y="927"/>
                  </a:lnTo>
                  <a:lnTo>
                    <a:pt x="127" y="923"/>
                  </a:lnTo>
                  <a:lnTo>
                    <a:pt x="124" y="918"/>
                  </a:lnTo>
                  <a:lnTo>
                    <a:pt x="121" y="913"/>
                  </a:lnTo>
                  <a:lnTo>
                    <a:pt x="118" y="908"/>
                  </a:lnTo>
                  <a:lnTo>
                    <a:pt x="115" y="903"/>
                  </a:lnTo>
                  <a:lnTo>
                    <a:pt x="112" y="898"/>
                  </a:lnTo>
                  <a:lnTo>
                    <a:pt x="108" y="893"/>
                  </a:lnTo>
                  <a:lnTo>
                    <a:pt x="105" y="887"/>
                  </a:lnTo>
                  <a:lnTo>
                    <a:pt x="102" y="882"/>
                  </a:lnTo>
                  <a:lnTo>
                    <a:pt x="99" y="876"/>
                  </a:lnTo>
                  <a:lnTo>
                    <a:pt x="96" y="871"/>
                  </a:lnTo>
                  <a:lnTo>
                    <a:pt x="93" y="865"/>
                  </a:lnTo>
                  <a:lnTo>
                    <a:pt x="90" y="859"/>
                  </a:lnTo>
                  <a:lnTo>
                    <a:pt x="87" y="853"/>
                  </a:lnTo>
                  <a:lnTo>
                    <a:pt x="84" y="847"/>
                  </a:lnTo>
                  <a:lnTo>
                    <a:pt x="81" y="841"/>
                  </a:lnTo>
                  <a:lnTo>
                    <a:pt x="79" y="834"/>
                  </a:lnTo>
                  <a:lnTo>
                    <a:pt x="76" y="828"/>
                  </a:lnTo>
                  <a:lnTo>
                    <a:pt x="73" y="821"/>
                  </a:lnTo>
                  <a:lnTo>
                    <a:pt x="70" y="814"/>
                  </a:lnTo>
                  <a:lnTo>
                    <a:pt x="67" y="807"/>
                  </a:lnTo>
                  <a:lnTo>
                    <a:pt x="64" y="799"/>
                  </a:lnTo>
                  <a:lnTo>
                    <a:pt x="61" y="791"/>
                  </a:lnTo>
                  <a:lnTo>
                    <a:pt x="58" y="784"/>
                  </a:lnTo>
                  <a:lnTo>
                    <a:pt x="55" y="776"/>
                  </a:lnTo>
                  <a:lnTo>
                    <a:pt x="52" y="767"/>
                  </a:lnTo>
                  <a:lnTo>
                    <a:pt x="49" y="759"/>
                  </a:lnTo>
                  <a:lnTo>
                    <a:pt x="46" y="750"/>
                  </a:lnTo>
                  <a:lnTo>
                    <a:pt x="43" y="741"/>
                  </a:lnTo>
                  <a:lnTo>
                    <a:pt x="40" y="732"/>
                  </a:lnTo>
                  <a:lnTo>
                    <a:pt x="37" y="723"/>
                  </a:lnTo>
                  <a:lnTo>
                    <a:pt x="34" y="714"/>
                  </a:lnTo>
                  <a:lnTo>
                    <a:pt x="32" y="704"/>
                  </a:lnTo>
                  <a:lnTo>
                    <a:pt x="29" y="695"/>
                  </a:lnTo>
                  <a:lnTo>
                    <a:pt x="27" y="685"/>
                  </a:lnTo>
                  <a:lnTo>
                    <a:pt x="24" y="676"/>
                  </a:lnTo>
                  <a:lnTo>
                    <a:pt x="22" y="666"/>
                  </a:lnTo>
                  <a:lnTo>
                    <a:pt x="20" y="656"/>
                  </a:lnTo>
                  <a:lnTo>
                    <a:pt x="17" y="646"/>
                  </a:lnTo>
                  <a:lnTo>
                    <a:pt x="15" y="636"/>
                  </a:lnTo>
                  <a:lnTo>
                    <a:pt x="13" y="625"/>
                  </a:lnTo>
                  <a:lnTo>
                    <a:pt x="12" y="615"/>
                  </a:lnTo>
                  <a:lnTo>
                    <a:pt x="10" y="605"/>
                  </a:lnTo>
                  <a:lnTo>
                    <a:pt x="8" y="594"/>
                  </a:lnTo>
                  <a:lnTo>
                    <a:pt x="7" y="583"/>
                  </a:lnTo>
                  <a:lnTo>
                    <a:pt x="5" y="573"/>
                  </a:lnTo>
                  <a:lnTo>
                    <a:pt x="4" y="562"/>
                  </a:lnTo>
                  <a:lnTo>
                    <a:pt x="3" y="551"/>
                  </a:lnTo>
                  <a:lnTo>
                    <a:pt x="2" y="540"/>
                  </a:lnTo>
                  <a:lnTo>
                    <a:pt x="1" y="529"/>
                  </a:lnTo>
                  <a:lnTo>
                    <a:pt x="1" y="517"/>
                  </a:lnTo>
                  <a:lnTo>
                    <a:pt x="0" y="506"/>
                  </a:lnTo>
                  <a:lnTo>
                    <a:pt x="0" y="494"/>
                  </a:lnTo>
                  <a:lnTo>
                    <a:pt x="0" y="483"/>
                  </a:lnTo>
                  <a:lnTo>
                    <a:pt x="0" y="471"/>
                  </a:lnTo>
                  <a:lnTo>
                    <a:pt x="1" y="459"/>
                  </a:lnTo>
                  <a:lnTo>
                    <a:pt x="1" y="448"/>
                  </a:lnTo>
                  <a:lnTo>
                    <a:pt x="2" y="436"/>
                  </a:lnTo>
                  <a:lnTo>
                    <a:pt x="3" y="424"/>
                  </a:lnTo>
                  <a:lnTo>
                    <a:pt x="5" y="412"/>
                  </a:lnTo>
                  <a:lnTo>
                    <a:pt x="6" y="399"/>
                  </a:lnTo>
                  <a:lnTo>
                    <a:pt x="8" y="387"/>
                  </a:lnTo>
                  <a:lnTo>
                    <a:pt x="9" y="375"/>
                  </a:lnTo>
                  <a:lnTo>
                    <a:pt x="11" y="363"/>
                  </a:lnTo>
                  <a:lnTo>
                    <a:pt x="13" y="351"/>
                  </a:lnTo>
                  <a:lnTo>
                    <a:pt x="15" y="339"/>
                  </a:lnTo>
                  <a:lnTo>
                    <a:pt x="17" y="327"/>
                  </a:lnTo>
                  <a:lnTo>
                    <a:pt x="20" y="316"/>
                  </a:lnTo>
                  <a:lnTo>
                    <a:pt x="22" y="304"/>
                  </a:lnTo>
                  <a:lnTo>
                    <a:pt x="25" y="293"/>
                  </a:lnTo>
                  <a:lnTo>
                    <a:pt x="28" y="282"/>
                  </a:lnTo>
                  <a:lnTo>
                    <a:pt x="31" y="271"/>
                  </a:lnTo>
                  <a:lnTo>
                    <a:pt x="34" y="260"/>
                  </a:lnTo>
                  <a:lnTo>
                    <a:pt x="37" y="250"/>
                  </a:lnTo>
                  <a:lnTo>
                    <a:pt x="40" y="239"/>
                  </a:lnTo>
                  <a:lnTo>
                    <a:pt x="43" y="229"/>
                  </a:lnTo>
                  <a:lnTo>
                    <a:pt x="47" y="219"/>
                  </a:lnTo>
                  <a:lnTo>
                    <a:pt x="50" y="209"/>
                  </a:lnTo>
                  <a:lnTo>
                    <a:pt x="54" y="199"/>
                  </a:lnTo>
                  <a:lnTo>
                    <a:pt x="58" y="190"/>
                  </a:lnTo>
                  <a:lnTo>
                    <a:pt x="62" y="180"/>
                  </a:lnTo>
                  <a:lnTo>
                    <a:pt x="66" y="171"/>
                  </a:lnTo>
                  <a:lnTo>
                    <a:pt x="70" y="161"/>
                  </a:lnTo>
                  <a:lnTo>
                    <a:pt x="74" y="152"/>
                  </a:lnTo>
                  <a:lnTo>
                    <a:pt x="78" y="143"/>
                  </a:lnTo>
                  <a:lnTo>
                    <a:pt x="83" y="134"/>
                  </a:lnTo>
                  <a:lnTo>
                    <a:pt x="87" y="125"/>
                  </a:lnTo>
                  <a:lnTo>
                    <a:pt x="92" y="116"/>
                  </a:lnTo>
                  <a:lnTo>
                    <a:pt x="96" y="107"/>
                  </a:lnTo>
                  <a:lnTo>
                    <a:pt x="101" y="99"/>
                  </a:lnTo>
                  <a:lnTo>
                    <a:pt x="106" y="90"/>
                  </a:lnTo>
                  <a:lnTo>
                    <a:pt x="111" y="82"/>
                  </a:lnTo>
                  <a:lnTo>
                    <a:pt x="116" y="73"/>
                  </a:lnTo>
                  <a:lnTo>
                    <a:pt x="121" y="65"/>
                  </a:lnTo>
                  <a:close/>
                </a:path>
              </a:pathLst>
            </a:custGeom>
            <a:solidFill>
              <a:srgbClr val="BBBBB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25546" name="Oval 10"/>
            <p:cNvSpPr>
              <a:spLocks noChangeArrowheads="1"/>
            </p:cNvSpPr>
            <p:nvPr/>
          </p:nvSpPr>
          <p:spPr bwMode="gray">
            <a:xfrm>
              <a:off x="2804" y="2274"/>
              <a:ext cx="1551" cy="1520"/>
            </a:xfrm>
            <a:prstGeom prst="ellips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25547" name="Oval 11"/>
            <p:cNvSpPr>
              <a:spLocks noChangeArrowheads="1"/>
            </p:cNvSpPr>
            <p:nvPr/>
          </p:nvSpPr>
          <p:spPr bwMode="gray">
            <a:xfrm>
              <a:off x="1455" y="2266"/>
              <a:ext cx="1551" cy="1520"/>
            </a:xfrm>
            <a:prstGeom prst="ellips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36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051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32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8 Segments</a:t>
            </a:r>
          </a:p>
        </p:txBody>
      </p:sp>
      <p:grpSp>
        <p:nvGrpSpPr>
          <p:cNvPr id="2613269" name="Group 21"/>
          <p:cNvGrpSpPr>
            <a:grpSpLocks/>
          </p:cNvGrpSpPr>
          <p:nvPr/>
        </p:nvGrpSpPr>
        <p:grpSpPr bwMode="auto">
          <a:xfrm>
            <a:off x="3703638" y="1235076"/>
            <a:ext cx="4762500" cy="4232275"/>
            <a:chOff x="1367" y="778"/>
            <a:chExt cx="3000" cy="2666"/>
          </a:xfrm>
        </p:grpSpPr>
        <p:grpSp>
          <p:nvGrpSpPr>
            <p:cNvPr id="2613252" name="Group 4"/>
            <p:cNvGrpSpPr>
              <a:grpSpLocks/>
            </p:cNvGrpSpPr>
            <p:nvPr/>
          </p:nvGrpSpPr>
          <p:grpSpPr bwMode="auto">
            <a:xfrm rot="-1365518">
              <a:off x="1367" y="778"/>
              <a:ext cx="3000" cy="2666"/>
              <a:chOff x="149" y="1254"/>
              <a:chExt cx="2424" cy="2154"/>
            </a:xfrm>
          </p:grpSpPr>
          <p:sp>
            <p:nvSpPr>
              <p:cNvPr id="2613253" name="Freeform 5"/>
              <p:cNvSpPr>
                <a:spLocks/>
              </p:cNvSpPr>
              <p:nvPr/>
            </p:nvSpPr>
            <p:spPr bwMode="gray">
              <a:xfrm>
                <a:off x="469" y="1254"/>
                <a:ext cx="761" cy="1085"/>
              </a:xfrm>
              <a:custGeom>
                <a:avLst/>
                <a:gdLst>
                  <a:gd name="T0" fmla="*/ 0 w 816"/>
                  <a:gd name="T1" fmla="*/ 342 h 1164"/>
                  <a:gd name="T2" fmla="*/ 816 w 816"/>
                  <a:gd name="T3" fmla="*/ 1164 h 1164"/>
                  <a:gd name="T4" fmla="*/ 816 w 816"/>
                  <a:gd name="T5" fmla="*/ 0 h 1164"/>
                  <a:gd name="T6" fmla="*/ 0 w 816"/>
                  <a:gd name="T7" fmla="*/ 342 h 1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16" h="1164">
                    <a:moveTo>
                      <a:pt x="0" y="342"/>
                    </a:moveTo>
                    <a:lnTo>
                      <a:pt x="816" y="1164"/>
                    </a:lnTo>
                    <a:lnTo>
                      <a:pt x="816" y="0"/>
                    </a:lnTo>
                    <a:lnTo>
                      <a:pt x="0" y="342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8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613254" name="Freeform 6"/>
              <p:cNvSpPr>
                <a:spLocks/>
              </p:cNvSpPr>
              <p:nvPr/>
            </p:nvSpPr>
            <p:spPr bwMode="gray">
              <a:xfrm>
                <a:off x="156" y="1573"/>
                <a:ext cx="1074" cy="760"/>
              </a:xfrm>
              <a:custGeom>
                <a:avLst/>
                <a:gdLst>
                  <a:gd name="T0" fmla="*/ 0 w 1152"/>
                  <a:gd name="T1" fmla="*/ 816 h 816"/>
                  <a:gd name="T2" fmla="*/ 1152 w 1152"/>
                  <a:gd name="T3" fmla="*/ 816 h 816"/>
                  <a:gd name="T4" fmla="*/ 336 w 1152"/>
                  <a:gd name="T5" fmla="*/ 0 h 816"/>
                  <a:gd name="T6" fmla="*/ 0 w 1152"/>
                  <a:gd name="T7" fmla="*/ 816 h 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52" h="816">
                    <a:moveTo>
                      <a:pt x="0" y="816"/>
                    </a:moveTo>
                    <a:lnTo>
                      <a:pt x="1152" y="816"/>
                    </a:lnTo>
                    <a:lnTo>
                      <a:pt x="336" y="0"/>
                    </a:lnTo>
                    <a:lnTo>
                      <a:pt x="0" y="816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8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613255" name="Freeform 7"/>
              <p:cNvSpPr>
                <a:spLocks/>
              </p:cNvSpPr>
              <p:nvPr/>
            </p:nvSpPr>
            <p:spPr bwMode="gray">
              <a:xfrm rot="16200000">
                <a:off x="311" y="2171"/>
                <a:ext cx="761" cy="1086"/>
              </a:xfrm>
              <a:custGeom>
                <a:avLst/>
                <a:gdLst>
                  <a:gd name="T0" fmla="*/ 0 w 816"/>
                  <a:gd name="T1" fmla="*/ 342 h 1164"/>
                  <a:gd name="T2" fmla="*/ 816 w 816"/>
                  <a:gd name="T3" fmla="*/ 1164 h 1164"/>
                  <a:gd name="T4" fmla="*/ 816 w 816"/>
                  <a:gd name="T5" fmla="*/ 0 h 1164"/>
                  <a:gd name="T6" fmla="*/ 0 w 816"/>
                  <a:gd name="T7" fmla="*/ 342 h 1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16" h="1164">
                    <a:moveTo>
                      <a:pt x="0" y="342"/>
                    </a:moveTo>
                    <a:lnTo>
                      <a:pt x="816" y="1164"/>
                    </a:lnTo>
                    <a:lnTo>
                      <a:pt x="816" y="0"/>
                    </a:lnTo>
                    <a:lnTo>
                      <a:pt x="0" y="342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8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613256" name="Freeform 8"/>
              <p:cNvSpPr>
                <a:spLocks/>
              </p:cNvSpPr>
              <p:nvPr/>
            </p:nvSpPr>
            <p:spPr bwMode="gray">
              <a:xfrm rot="16200000">
                <a:off x="312" y="2490"/>
                <a:ext cx="1074" cy="761"/>
              </a:xfrm>
              <a:custGeom>
                <a:avLst/>
                <a:gdLst>
                  <a:gd name="T0" fmla="*/ 0 w 1152"/>
                  <a:gd name="T1" fmla="*/ 816 h 816"/>
                  <a:gd name="T2" fmla="*/ 1152 w 1152"/>
                  <a:gd name="T3" fmla="*/ 816 h 816"/>
                  <a:gd name="T4" fmla="*/ 336 w 1152"/>
                  <a:gd name="T5" fmla="*/ 0 h 816"/>
                  <a:gd name="T6" fmla="*/ 0 w 1152"/>
                  <a:gd name="T7" fmla="*/ 816 h 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52" h="816">
                    <a:moveTo>
                      <a:pt x="0" y="816"/>
                    </a:moveTo>
                    <a:lnTo>
                      <a:pt x="1152" y="816"/>
                    </a:lnTo>
                    <a:lnTo>
                      <a:pt x="336" y="0"/>
                    </a:lnTo>
                    <a:lnTo>
                      <a:pt x="0" y="816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8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613257" name="Freeform 9"/>
              <p:cNvSpPr>
                <a:spLocks/>
              </p:cNvSpPr>
              <p:nvPr/>
            </p:nvSpPr>
            <p:spPr bwMode="gray">
              <a:xfrm flipH="1">
                <a:off x="1230" y="1254"/>
                <a:ext cx="761" cy="1085"/>
              </a:xfrm>
              <a:custGeom>
                <a:avLst/>
                <a:gdLst>
                  <a:gd name="T0" fmla="*/ 0 w 816"/>
                  <a:gd name="T1" fmla="*/ 342 h 1164"/>
                  <a:gd name="T2" fmla="*/ 816 w 816"/>
                  <a:gd name="T3" fmla="*/ 1164 h 1164"/>
                  <a:gd name="T4" fmla="*/ 816 w 816"/>
                  <a:gd name="T5" fmla="*/ 0 h 1164"/>
                  <a:gd name="T6" fmla="*/ 0 w 816"/>
                  <a:gd name="T7" fmla="*/ 342 h 1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16" h="1164">
                    <a:moveTo>
                      <a:pt x="0" y="342"/>
                    </a:moveTo>
                    <a:lnTo>
                      <a:pt x="816" y="1164"/>
                    </a:lnTo>
                    <a:lnTo>
                      <a:pt x="816" y="0"/>
                    </a:lnTo>
                    <a:lnTo>
                      <a:pt x="0" y="342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8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613258" name="Freeform 10"/>
              <p:cNvSpPr>
                <a:spLocks/>
              </p:cNvSpPr>
              <p:nvPr/>
            </p:nvSpPr>
            <p:spPr bwMode="gray">
              <a:xfrm flipH="1">
                <a:off x="1230" y="1573"/>
                <a:ext cx="1074" cy="760"/>
              </a:xfrm>
              <a:custGeom>
                <a:avLst/>
                <a:gdLst>
                  <a:gd name="T0" fmla="*/ 0 w 1152"/>
                  <a:gd name="T1" fmla="*/ 816 h 816"/>
                  <a:gd name="T2" fmla="*/ 1152 w 1152"/>
                  <a:gd name="T3" fmla="*/ 816 h 816"/>
                  <a:gd name="T4" fmla="*/ 336 w 1152"/>
                  <a:gd name="T5" fmla="*/ 0 h 816"/>
                  <a:gd name="T6" fmla="*/ 0 w 1152"/>
                  <a:gd name="T7" fmla="*/ 816 h 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52" h="816">
                    <a:moveTo>
                      <a:pt x="0" y="816"/>
                    </a:moveTo>
                    <a:lnTo>
                      <a:pt x="1152" y="816"/>
                    </a:lnTo>
                    <a:lnTo>
                      <a:pt x="336" y="0"/>
                    </a:lnTo>
                    <a:lnTo>
                      <a:pt x="0" y="816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8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613259" name="Freeform 11"/>
              <p:cNvSpPr>
                <a:spLocks/>
              </p:cNvSpPr>
              <p:nvPr/>
            </p:nvSpPr>
            <p:spPr bwMode="gray">
              <a:xfrm rot="5400000" flipH="1">
                <a:off x="1649" y="2268"/>
                <a:ext cx="761" cy="1086"/>
              </a:xfrm>
              <a:custGeom>
                <a:avLst/>
                <a:gdLst>
                  <a:gd name="T0" fmla="*/ 0 w 816"/>
                  <a:gd name="T1" fmla="*/ 342 h 1164"/>
                  <a:gd name="T2" fmla="*/ 816 w 816"/>
                  <a:gd name="T3" fmla="*/ 1164 h 1164"/>
                  <a:gd name="T4" fmla="*/ 816 w 816"/>
                  <a:gd name="T5" fmla="*/ 0 h 1164"/>
                  <a:gd name="T6" fmla="*/ 0 w 816"/>
                  <a:gd name="T7" fmla="*/ 342 h 1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16" h="1164">
                    <a:moveTo>
                      <a:pt x="0" y="342"/>
                    </a:moveTo>
                    <a:lnTo>
                      <a:pt x="816" y="1164"/>
                    </a:lnTo>
                    <a:lnTo>
                      <a:pt x="816" y="0"/>
                    </a:lnTo>
                    <a:lnTo>
                      <a:pt x="0" y="342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8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2613260" name="Freeform 12"/>
              <p:cNvSpPr>
                <a:spLocks/>
              </p:cNvSpPr>
              <p:nvPr/>
            </p:nvSpPr>
            <p:spPr bwMode="gray">
              <a:xfrm rot="5400000" flipH="1">
                <a:off x="1072" y="2490"/>
                <a:ext cx="1074" cy="761"/>
              </a:xfrm>
              <a:custGeom>
                <a:avLst/>
                <a:gdLst>
                  <a:gd name="T0" fmla="*/ 0 w 1152"/>
                  <a:gd name="T1" fmla="*/ 816 h 816"/>
                  <a:gd name="T2" fmla="*/ 1152 w 1152"/>
                  <a:gd name="T3" fmla="*/ 816 h 816"/>
                  <a:gd name="T4" fmla="*/ 336 w 1152"/>
                  <a:gd name="T5" fmla="*/ 0 h 816"/>
                  <a:gd name="T6" fmla="*/ 0 w 1152"/>
                  <a:gd name="T7" fmla="*/ 816 h 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52" h="816">
                    <a:moveTo>
                      <a:pt x="0" y="816"/>
                    </a:moveTo>
                    <a:lnTo>
                      <a:pt x="1152" y="816"/>
                    </a:lnTo>
                    <a:lnTo>
                      <a:pt x="336" y="0"/>
                    </a:lnTo>
                    <a:lnTo>
                      <a:pt x="0" y="816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US" sz="28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sp>
          <p:nvSpPr>
            <p:cNvPr id="2613261" name="Rectangle 13"/>
            <p:cNvSpPr>
              <a:spLocks noChangeArrowheads="1"/>
            </p:cNvSpPr>
            <p:nvPr/>
          </p:nvSpPr>
          <p:spPr bwMode="gray">
            <a:xfrm>
              <a:off x="2627" y="961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13262" name="Rectangle 14"/>
            <p:cNvSpPr>
              <a:spLocks noChangeArrowheads="1"/>
            </p:cNvSpPr>
            <p:nvPr/>
          </p:nvSpPr>
          <p:spPr bwMode="gray">
            <a:xfrm>
              <a:off x="2627" y="3160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13263" name="Rectangle 15"/>
            <p:cNvSpPr>
              <a:spLocks noChangeArrowheads="1"/>
            </p:cNvSpPr>
            <p:nvPr/>
          </p:nvSpPr>
          <p:spPr bwMode="gray">
            <a:xfrm>
              <a:off x="1930" y="2593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13264" name="Rectangle 16"/>
            <p:cNvSpPr>
              <a:spLocks noChangeArrowheads="1"/>
            </p:cNvSpPr>
            <p:nvPr/>
          </p:nvSpPr>
          <p:spPr bwMode="gray">
            <a:xfrm>
              <a:off x="1930" y="1427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13265" name="Rectangle 17"/>
            <p:cNvSpPr>
              <a:spLocks noChangeArrowheads="1"/>
            </p:cNvSpPr>
            <p:nvPr/>
          </p:nvSpPr>
          <p:spPr bwMode="gray">
            <a:xfrm>
              <a:off x="3232" y="2593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13266" name="Rectangle 18"/>
            <p:cNvSpPr>
              <a:spLocks noChangeArrowheads="1"/>
            </p:cNvSpPr>
            <p:nvPr/>
          </p:nvSpPr>
          <p:spPr bwMode="gray">
            <a:xfrm>
              <a:off x="3232" y="1427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13267" name="Rectangle 19"/>
            <p:cNvSpPr>
              <a:spLocks noChangeArrowheads="1"/>
            </p:cNvSpPr>
            <p:nvPr/>
          </p:nvSpPr>
          <p:spPr bwMode="gray">
            <a:xfrm>
              <a:off x="1930" y="2054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13268" name="Rectangle 20"/>
            <p:cNvSpPr>
              <a:spLocks noChangeArrowheads="1"/>
            </p:cNvSpPr>
            <p:nvPr/>
          </p:nvSpPr>
          <p:spPr bwMode="gray">
            <a:xfrm>
              <a:off x="3779" y="2054"/>
              <a:ext cx="29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022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36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4 Factors</a:t>
            </a:r>
          </a:p>
        </p:txBody>
      </p:sp>
      <p:grpSp>
        <p:nvGrpSpPr>
          <p:cNvPr id="2333710" name="Group 14"/>
          <p:cNvGrpSpPr>
            <a:grpSpLocks/>
          </p:cNvGrpSpPr>
          <p:nvPr/>
        </p:nvGrpSpPr>
        <p:grpSpPr bwMode="auto">
          <a:xfrm>
            <a:off x="1914525" y="1492251"/>
            <a:ext cx="8294688" cy="4652963"/>
            <a:chOff x="663" y="936"/>
            <a:chExt cx="4432" cy="2509"/>
          </a:xfrm>
        </p:grpSpPr>
        <p:sp>
          <p:nvSpPr>
            <p:cNvPr id="2333700" name="Freeform 4"/>
            <p:cNvSpPr>
              <a:spLocks/>
            </p:cNvSpPr>
            <p:nvPr/>
          </p:nvSpPr>
          <p:spPr bwMode="gray">
            <a:xfrm>
              <a:off x="2916" y="2231"/>
              <a:ext cx="2179" cy="1214"/>
            </a:xfrm>
            <a:custGeom>
              <a:avLst/>
              <a:gdLst>
                <a:gd name="T0" fmla="*/ 0 w 2712"/>
                <a:gd name="T1" fmla="*/ 386 h 1241"/>
                <a:gd name="T2" fmla="*/ 0 w 2712"/>
                <a:gd name="T3" fmla="*/ 1241 h 1241"/>
                <a:gd name="T4" fmla="*/ 2712 w 2712"/>
                <a:gd name="T5" fmla="*/ 1241 h 1241"/>
                <a:gd name="T6" fmla="*/ 2712 w 2712"/>
                <a:gd name="T7" fmla="*/ 0 h 1241"/>
                <a:gd name="T8" fmla="*/ 1027 w 2712"/>
                <a:gd name="T9" fmla="*/ 0 h 1241"/>
                <a:gd name="T10" fmla="*/ 1027 w 2712"/>
                <a:gd name="T11" fmla="*/ 386 h 1241"/>
                <a:gd name="T12" fmla="*/ 0 w 2712"/>
                <a:gd name="T13" fmla="*/ 386 h 1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12" h="1241">
                  <a:moveTo>
                    <a:pt x="0" y="386"/>
                  </a:moveTo>
                  <a:lnTo>
                    <a:pt x="0" y="1241"/>
                  </a:lnTo>
                  <a:lnTo>
                    <a:pt x="2712" y="1241"/>
                  </a:lnTo>
                  <a:lnTo>
                    <a:pt x="2712" y="0"/>
                  </a:lnTo>
                  <a:lnTo>
                    <a:pt x="1027" y="0"/>
                  </a:lnTo>
                  <a:lnTo>
                    <a:pt x="1027" y="386"/>
                  </a:lnTo>
                  <a:lnTo>
                    <a:pt x="0" y="38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3701" name="Freeform 5"/>
            <p:cNvSpPr>
              <a:spLocks/>
            </p:cNvSpPr>
            <p:nvPr/>
          </p:nvSpPr>
          <p:spPr bwMode="gray">
            <a:xfrm flipV="1">
              <a:off x="2916" y="936"/>
              <a:ext cx="2179" cy="1214"/>
            </a:xfrm>
            <a:custGeom>
              <a:avLst/>
              <a:gdLst>
                <a:gd name="T0" fmla="*/ 0 w 2712"/>
                <a:gd name="T1" fmla="*/ 386 h 1241"/>
                <a:gd name="T2" fmla="*/ 0 w 2712"/>
                <a:gd name="T3" fmla="*/ 1241 h 1241"/>
                <a:gd name="T4" fmla="*/ 2712 w 2712"/>
                <a:gd name="T5" fmla="*/ 1241 h 1241"/>
                <a:gd name="T6" fmla="*/ 2712 w 2712"/>
                <a:gd name="T7" fmla="*/ 0 h 1241"/>
                <a:gd name="T8" fmla="*/ 1027 w 2712"/>
                <a:gd name="T9" fmla="*/ 0 h 1241"/>
                <a:gd name="T10" fmla="*/ 1027 w 2712"/>
                <a:gd name="T11" fmla="*/ 386 h 1241"/>
                <a:gd name="T12" fmla="*/ 0 w 2712"/>
                <a:gd name="T13" fmla="*/ 386 h 1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12" h="1241">
                  <a:moveTo>
                    <a:pt x="0" y="386"/>
                  </a:moveTo>
                  <a:lnTo>
                    <a:pt x="0" y="1241"/>
                  </a:lnTo>
                  <a:lnTo>
                    <a:pt x="2712" y="1241"/>
                  </a:lnTo>
                  <a:lnTo>
                    <a:pt x="2712" y="0"/>
                  </a:lnTo>
                  <a:lnTo>
                    <a:pt x="1027" y="0"/>
                  </a:lnTo>
                  <a:lnTo>
                    <a:pt x="1027" y="386"/>
                  </a:lnTo>
                  <a:lnTo>
                    <a:pt x="0" y="38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3702" name="Freeform 6"/>
            <p:cNvSpPr>
              <a:spLocks/>
            </p:cNvSpPr>
            <p:nvPr/>
          </p:nvSpPr>
          <p:spPr bwMode="gray">
            <a:xfrm flipH="1">
              <a:off x="663" y="2231"/>
              <a:ext cx="2179" cy="1214"/>
            </a:xfrm>
            <a:custGeom>
              <a:avLst/>
              <a:gdLst>
                <a:gd name="T0" fmla="*/ 0 w 2712"/>
                <a:gd name="T1" fmla="*/ 386 h 1241"/>
                <a:gd name="T2" fmla="*/ 0 w 2712"/>
                <a:gd name="T3" fmla="*/ 1241 h 1241"/>
                <a:gd name="T4" fmla="*/ 2712 w 2712"/>
                <a:gd name="T5" fmla="*/ 1241 h 1241"/>
                <a:gd name="T6" fmla="*/ 2712 w 2712"/>
                <a:gd name="T7" fmla="*/ 0 h 1241"/>
                <a:gd name="T8" fmla="*/ 1027 w 2712"/>
                <a:gd name="T9" fmla="*/ 0 h 1241"/>
                <a:gd name="T10" fmla="*/ 1027 w 2712"/>
                <a:gd name="T11" fmla="*/ 386 h 1241"/>
                <a:gd name="T12" fmla="*/ 0 w 2712"/>
                <a:gd name="T13" fmla="*/ 386 h 1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12" h="1241">
                  <a:moveTo>
                    <a:pt x="0" y="386"/>
                  </a:moveTo>
                  <a:lnTo>
                    <a:pt x="0" y="1241"/>
                  </a:lnTo>
                  <a:lnTo>
                    <a:pt x="2712" y="1241"/>
                  </a:lnTo>
                  <a:lnTo>
                    <a:pt x="2712" y="0"/>
                  </a:lnTo>
                  <a:lnTo>
                    <a:pt x="1027" y="0"/>
                  </a:lnTo>
                  <a:lnTo>
                    <a:pt x="1027" y="386"/>
                  </a:lnTo>
                  <a:lnTo>
                    <a:pt x="0" y="38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3703" name="Freeform 7"/>
            <p:cNvSpPr>
              <a:spLocks/>
            </p:cNvSpPr>
            <p:nvPr/>
          </p:nvSpPr>
          <p:spPr bwMode="gray">
            <a:xfrm flipH="1" flipV="1">
              <a:off x="663" y="936"/>
              <a:ext cx="2179" cy="1214"/>
            </a:xfrm>
            <a:custGeom>
              <a:avLst/>
              <a:gdLst>
                <a:gd name="T0" fmla="*/ 0 w 2712"/>
                <a:gd name="T1" fmla="*/ 386 h 1241"/>
                <a:gd name="T2" fmla="*/ 0 w 2712"/>
                <a:gd name="T3" fmla="*/ 1241 h 1241"/>
                <a:gd name="T4" fmla="*/ 2712 w 2712"/>
                <a:gd name="T5" fmla="*/ 1241 h 1241"/>
                <a:gd name="T6" fmla="*/ 2712 w 2712"/>
                <a:gd name="T7" fmla="*/ 0 h 1241"/>
                <a:gd name="T8" fmla="*/ 1027 w 2712"/>
                <a:gd name="T9" fmla="*/ 0 h 1241"/>
                <a:gd name="T10" fmla="*/ 1027 w 2712"/>
                <a:gd name="T11" fmla="*/ 386 h 1241"/>
                <a:gd name="T12" fmla="*/ 0 w 2712"/>
                <a:gd name="T13" fmla="*/ 386 h 1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12" h="1241">
                  <a:moveTo>
                    <a:pt x="0" y="386"/>
                  </a:moveTo>
                  <a:lnTo>
                    <a:pt x="0" y="1241"/>
                  </a:lnTo>
                  <a:lnTo>
                    <a:pt x="2712" y="1241"/>
                  </a:lnTo>
                  <a:lnTo>
                    <a:pt x="2712" y="0"/>
                  </a:lnTo>
                  <a:lnTo>
                    <a:pt x="1027" y="0"/>
                  </a:lnTo>
                  <a:lnTo>
                    <a:pt x="1027" y="386"/>
                  </a:lnTo>
                  <a:lnTo>
                    <a:pt x="0" y="38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333704" name="Rectangle 8"/>
            <p:cNvSpPr>
              <a:spLocks noChangeArrowheads="1"/>
            </p:cNvSpPr>
            <p:nvPr/>
          </p:nvSpPr>
          <p:spPr bwMode="gray">
            <a:xfrm>
              <a:off x="718" y="966"/>
              <a:ext cx="2086" cy="7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3705" name="Rectangle 9"/>
            <p:cNvSpPr>
              <a:spLocks noChangeArrowheads="1"/>
            </p:cNvSpPr>
            <p:nvPr/>
          </p:nvSpPr>
          <p:spPr bwMode="gray">
            <a:xfrm>
              <a:off x="718" y="2635"/>
              <a:ext cx="2080" cy="8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3706" name="Rectangle 10"/>
            <p:cNvSpPr>
              <a:spLocks noChangeArrowheads="1"/>
            </p:cNvSpPr>
            <p:nvPr/>
          </p:nvSpPr>
          <p:spPr bwMode="gray">
            <a:xfrm>
              <a:off x="2970" y="966"/>
              <a:ext cx="2079" cy="7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3707" name="Rectangle 11"/>
            <p:cNvSpPr>
              <a:spLocks noChangeArrowheads="1"/>
            </p:cNvSpPr>
            <p:nvPr/>
          </p:nvSpPr>
          <p:spPr bwMode="gray">
            <a:xfrm>
              <a:off x="2970" y="2647"/>
              <a:ext cx="2079" cy="7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333708" name="Rectangle 12"/>
            <p:cNvSpPr>
              <a:spLocks noChangeArrowheads="1"/>
            </p:cNvSpPr>
            <p:nvPr/>
          </p:nvSpPr>
          <p:spPr bwMode="gray">
            <a:xfrm>
              <a:off x="2102" y="1855"/>
              <a:ext cx="1556" cy="67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466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73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4 Segments</a:t>
            </a:r>
          </a:p>
        </p:txBody>
      </p:sp>
      <p:grpSp>
        <p:nvGrpSpPr>
          <p:cNvPr id="2617347" name="Group 3"/>
          <p:cNvGrpSpPr>
            <a:grpSpLocks/>
          </p:cNvGrpSpPr>
          <p:nvPr/>
        </p:nvGrpSpPr>
        <p:grpSpPr bwMode="auto">
          <a:xfrm>
            <a:off x="3432175" y="1492250"/>
            <a:ext cx="5303838" cy="3994150"/>
            <a:chOff x="1196" y="940"/>
            <a:chExt cx="3341" cy="2516"/>
          </a:xfrm>
        </p:grpSpPr>
        <p:sp>
          <p:nvSpPr>
            <p:cNvPr id="2617348" name="AutoShape 4"/>
            <p:cNvSpPr>
              <a:spLocks noChangeArrowheads="1"/>
            </p:cNvSpPr>
            <p:nvPr/>
          </p:nvSpPr>
          <p:spPr bwMode="gray">
            <a:xfrm>
              <a:off x="2054" y="940"/>
              <a:ext cx="1625" cy="1166"/>
            </a:xfrm>
            <a:prstGeom prst="triangle">
              <a:avLst>
                <a:gd name="adj" fmla="val 50000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17349" name="AutoShape 5"/>
            <p:cNvSpPr>
              <a:spLocks noChangeArrowheads="1"/>
            </p:cNvSpPr>
            <p:nvPr/>
          </p:nvSpPr>
          <p:spPr bwMode="gray">
            <a:xfrm>
              <a:off x="1196" y="2290"/>
              <a:ext cx="1625" cy="1166"/>
            </a:xfrm>
            <a:prstGeom prst="triangle">
              <a:avLst>
                <a:gd name="adj" fmla="val 50000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17350" name="AutoShape 6"/>
            <p:cNvSpPr>
              <a:spLocks noChangeArrowheads="1"/>
            </p:cNvSpPr>
            <p:nvPr/>
          </p:nvSpPr>
          <p:spPr bwMode="gray">
            <a:xfrm flipV="1">
              <a:off x="2060" y="2194"/>
              <a:ext cx="1625" cy="1166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 </a:t>
              </a:r>
            </a:p>
          </p:txBody>
        </p:sp>
        <p:sp>
          <p:nvSpPr>
            <p:cNvPr id="2617351" name="Rectangle 7"/>
            <p:cNvSpPr>
              <a:spLocks noChangeArrowheads="1"/>
            </p:cNvSpPr>
            <p:nvPr/>
          </p:nvSpPr>
          <p:spPr bwMode="gray">
            <a:xfrm>
              <a:off x="2758" y="2497"/>
              <a:ext cx="22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>
                <a:buClr>
                  <a:schemeClr val="bg1"/>
                </a:buClr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17352" name="AutoShape 8"/>
            <p:cNvSpPr>
              <a:spLocks noChangeArrowheads="1"/>
            </p:cNvSpPr>
            <p:nvPr/>
          </p:nvSpPr>
          <p:spPr bwMode="gray">
            <a:xfrm>
              <a:off x="2912" y="2290"/>
              <a:ext cx="1625" cy="1166"/>
            </a:xfrm>
            <a:prstGeom prst="triangle">
              <a:avLst>
                <a:gd name="adj" fmla="val 50000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10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39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/>
              <a:t>Relation</a:t>
            </a:r>
          </a:p>
        </p:txBody>
      </p:sp>
      <p:grpSp>
        <p:nvGrpSpPr>
          <p:cNvPr id="2643987" name="Group 19"/>
          <p:cNvGrpSpPr>
            <a:grpSpLocks/>
          </p:cNvGrpSpPr>
          <p:nvPr/>
        </p:nvGrpSpPr>
        <p:grpSpPr bwMode="auto">
          <a:xfrm>
            <a:off x="1916114" y="1500188"/>
            <a:ext cx="8296275" cy="4648200"/>
            <a:chOff x="247" y="945"/>
            <a:chExt cx="5226" cy="2928"/>
          </a:xfrm>
        </p:grpSpPr>
        <p:sp>
          <p:nvSpPr>
            <p:cNvPr id="2643972" name="Rectangle 4"/>
            <p:cNvSpPr>
              <a:spLocks noChangeArrowheads="1"/>
            </p:cNvSpPr>
            <p:nvPr/>
          </p:nvSpPr>
          <p:spPr bwMode="gray">
            <a:xfrm>
              <a:off x="247" y="3642"/>
              <a:ext cx="5220" cy="23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43973" name="Rectangle 5"/>
            <p:cNvSpPr>
              <a:spLocks noChangeArrowheads="1"/>
            </p:cNvSpPr>
            <p:nvPr/>
          </p:nvSpPr>
          <p:spPr bwMode="gray">
            <a:xfrm>
              <a:off x="247" y="945"/>
              <a:ext cx="2549" cy="23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DDDDD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43974" name="Freeform 6"/>
            <p:cNvSpPr>
              <a:spLocks/>
            </p:cNvSpPr>
            <p:nvPr/>
          </p:nvSpPr>
          <p:spPr bwMode="gray">
            <a:xfrm>
              <a:off x="247" y="2364"/>
              <a:ext cx="5226" cy="1206"/>
            </a:xfrm>
            <a:custGeom>
              <a:avLst/>
              <a:gdLst>
                <a:gd name="T0" fmla="*/ 0 w 5002"/>
                <a:gd name="T1" fmla="*/ 960 h 960"/>
                <a:gd name="T2" fmla="*/ 0 w 5002"/>
                <a:gd name="T3" fmla="*/ 850 h 960"/>
                <a:gd name="T4" fmla="*/ 2501 w 5002"/>
                <a:gd name="T5" fmla="*/ 0 h 960"/>
                <a:gd name="T6" fmla="*/ 5002 w 5002"/>
                <a:gd name="T7" fmla="*/ 850 h 960"/>
                <a:gd name="T8" fmla="*/ 5002 w 5002"/>
                <a:gd name="T9" fmla="*/ 960 h 960"/>
                <a:gd name="T10" fmla="*/ 0 w 5002"/>
                <a:gd name="T11" fmla="*/ 960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02" h="960">
                  <a:moveTo>
                    <a:pt x="0" y="960"/>
                  </a:moveTo>
                  <a:lnTo>
                    <a:pt x="0" y="850"/>
                  </a:lnTo>
                  <a:lnTo>
                    <a:pt x="2501" y="0"/>
                  </a:lnTo>
                  <a:lnTo>
                    <a:pt x="5002" y="850"/>
                  </a:lnTo>
                  <a:lnTo>
                    <a:pt x="5002" y="960"/>
                  </a:lnTo>
                  <a:lnTo>
                    <a:pt x="0" y="96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43975" name="Freeform 7"/>
            <p:cNvSpPr>
              <a:spLocks/>
            </p:cNvSpPr>
            <p:nvPr/>
          </p:nvSpPr>
          <p:spPr bwMode="gray">
            <a:xfrm>
              <a:off x="247" y="1250"/>
              <a:ext cx="2553" cy="2090"/>
            </a:xfrm>
            <a:custGeom>
              <a:avLst/>
              <a:gdLst>
                <a:gd name="T0" fmla="*/ 0 w 2444"/>
                <a:gd name="T1" fmla="*/ 0 h 1664"/>
                <a:gd name="T2" fmla="*/ 2444 w 2444"/>
                <a:gd name="T3" fmla="*/ 0 h 1664"/>
                <a:gd name="T4" fmla="*/ 2444 w 2444"/>
                <a:gd name="T5" fmla="*/ 835 h 1664"/>
                <a:gd name="T6" fmla="*/ 0 w 2444"/>
                <a:gd name="T7" fmla="*/ 1664 h 1664"/>
                <a:gd name="T8" fmla="*/ 0 w 2444"/>
                <a:gd name="T9" fmla="*/ 0 h 1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44" h="1664">
                  <a:moveTo>
                    <a:pt x="0" y="0"/>
                  </a:moveTo>
                  <a:lnTo>
                    <a:pt x="2444" y="0"/>
                  </a:lnTo>
                  <a:lnTo>
                    <a:pt x="2444" y="835"/>
                  </a:lnTo>
                  <a:lnTo>
                    <a:pt x="0" y="1664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43976" name="Freeform 8"/>
            <p:cNvSpPr>
              <a:spLocks/>
            </p:cNvSpPr>
            <p:nvPr/>
          </p:nvSpPr>
          <p:spPr bwMode="gray">
            <a:xfrm>
              <a:off x="2910" y="1250"/>
              <a:ext cx="2563" cy="2090"/>
            </a:xfrm>
            <a:custGeom>
              <a:avLst/>
              <a:gdLst>
                <a:gd name="T0" fmla="*/ 0 w 2453"/>
                <a:gd name="T1" fmla="*/ 0 h 1664"/>
                <a:gd name="T2" fmla="*/ 2453 w 2453"/>
                <a:gd name="T3" fmla="*/ 0 h 1664"/>
                <a:gd name="T4" fmla="*/ 2453 w 2453"/>
                <a:gd name="T5" fmla="*/ 1664 h 1664"/>
                <a:gd name="T6" fmla="*/ 0 w 2453"/>
                <a:gd name="T7" fmla="*/ 835 h 1664"/>
                <a:gd name="T8" fmla="*/ 0 w 2453"/>
                <a:gd name="T9" fmla="*/ 0 h 1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3" h="1664">
                  <a:moveTo>
                    <a:pt x="0" y="0"/>
                  </a:moveTo>
                  <a:lnTo>
                    <a:pt x="2453" y="0"/>
                  </a:lnTo>
                  <a:lnTo>
                    <a:pt x="2453" y="1664"/>
                  </a:lnTo>
                  <a:lnTo>
                    <a:pt x="0" y="835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43977" name="Rectangle 9"/>
            <p:cNvSpPr>
              <a:spLocks noChangeArrowheads="1"/>
            </p:cNvSpPr>
            <p:nvPr/>
          </p:nvSpPr>
          <p:spPr bwMode="gray">
            <a:xfrm>
              <a:off x="322" y="1354"/>
              <a:ext cx="2345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43978" name="Rectangle 10"/>
            <p:cNvSpPr>
              <a:spLocks noChangeArrowheads="1"/>
            </p:cNvSpPr>
            <p:nvPr/>
          </p:nvSpPr>
          <p:spPr bwMode="gray">
            <a:xfrm>
              <a:off x="3034" y="1354"/>
              <a:ext cx="2345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43979" name="Rectangle 11"/>
            <p:cNvSpPr>
              <a:spLocks noChangeArrowheads="1"/>
            </p:cNvSpPr>
            <p:nvPr/>
          </p:nvSpPr>
          <p:spPr bwMode="gray">
            <a:xfrm>
              <a:off x="1706" y="3129"/>
              <a:ext cx="2345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12813"/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643980" name="Rectangle 12"/>
            <p:cNvSpPr>
              <a:spLocks noChangeArrowheads="1"/>
            </p:cNvSpPr>
            <p:nvPr/>
          </p:nvSpPr>
          <p:spPr bwMode="gray">
            <a:xfrm>
              <a:off x="2918" y="945"/>
              <a:ext cx="2549" cy="23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DDDDD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643981" name="Rectangle 13"/>
            <p:cNvSpPr>
              <a:spLocks noChangeArrowheads="1"/>
            </p:cNvSpPr>
            <p:nvPr/>
          </p:nvSpPr>
          <p:spPr bwMode="gray">
            <a:xfrm>
              <a:off x="2273" y="2161"/>
              <a:ext cx="1222" cy="54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561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0019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  <p:sp>
        <p:nvSpPr>
          <p:cNvPr id="3030020" name="DPIC_Message_Title"/>
          <p:cNvSpPr txBox="1">
            <a:spLocks noChangeArrowheads="1"/>
          </p:cNvSpPr>
          <p:nvPr/>
        </p:nvSpPr>
        <p:spPr bwMode="gray">
          <a:xfrm>
            <a:off x="1668463" y="377826"/>
            <a:ext cx="6972300" cy="24447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anchor="b"/>
          <a:lstStyle>
            <a:lvl1pPr algn="l" defTabSz="873125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434975" algn="l" defTabSz="873125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873125" algn="l" defTabSz="873125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308100" algn="l" defTabSz="873125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746250" algn="l" defTabSz="873125"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203450" defTabSz="8731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660650" defTabSz="8731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117850" defTabSz="8731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575050" defTabSz="87312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buClrTx/>
              <a:buSzTx/>
              <a:buFontTx/>
              <a:buNone/>
            </a:pPr>
            <a:endParaRPr lang="en-US" sz="1600" dirty="0">
              <a:latin typeface="Arial" pitchFamily="34" charset="0"/>
            </a:endParaRPr>
          </a:p>
        </p:txBody>
      </p:sp>
      <p:sp>
        <p:nvSpPr>
          <p:cNvPr id="3030021" name="AutoShape 5"/>
          <p:cNvSpPr>
            <a:spLocks noChangeArrowheads="1"/>
          </p:cNvSpPr>
          <p:nvPr/>
        </p:nvSpPr>
        <p:spPr bwMode="gray">
          <a:xfrm flipH="1">
            <a:off x="2074863" y="1639952"/>
            <a:ext cx="7997825" cy="4676775"/>
          </a:xfrm>
          <a:prstGeom prst="homePlate">
            <a:avLst>
              <a:gd name="adj" fmla="val 13103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Aft>
                <a:spcPct val="0"/>
              </a:spcAft>
              <a:buClrTx/>
              <a:buSzTx/>
              <a:buFontTx/>
              <a:buNone/>
            </a:pPr>
            <a:endParaRPr lang="de-DE" sz="200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030022" name="Oval 6"/>
          <p:cNvSpPr>
            <a:spLocks noChangeArrowheads="1"/>
          </p:cNvSpPr>
          <p:nvPr/>
        </p:nvSpPr>
        <p:spPr bwMode="gray">
          <a:xfrm>
            <a:off x="1779588" y="3556065"/>
            <a:ext cx="855663" cy="841375"/>
          </a:xfrm>
          <a:prstGeom prst="ellipse">
            <a:avLst/>
          </a:prstGeom>
          <a:solidFill>
            <a:srgbClr val="7030A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Aft>
                <a:spcPct val="0"/>
              </a:spcAft>
              <a:buClrTx/>
              <a:buSzTx/>
              <a:buFontTx/>
              <a:buNone/>
            </a:pPr>
            <a:endParaRPr lang="de-DE" sz="2000" b="1">
              <a:solidFill>
                <a:schemeClr val="accent1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030023" name="AutoShape 7"/>
          <p:cNvSpPr>
            <a:spLocks noChangeArrowheads="1"/>
          </p:cNvSpPr>
          <p:nvPr/>
        </p:nvSpPr>
        <p:spPr bwMode="gray">
          <a:xfrm>
            <a:off x="1963738" y="3841815"/>
            <a:ext cx="488950" cy="320675"/>
          </a:xfrm>
          <a:prstGeom prst="rightArrow">
            <a:avLst>
              <a:gd name="adj1" fmla="val 50000"/>
              <a:gd name="adj2" fmla="val 38119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Aft>
                <a:spcPct val="0"/>
              </a:spcAft>
              <a:buClrTx/>
              <a:buSzTx/>
              <a:buFontTx/>
              <a:buNone/>
            </a:pPr>
            <a:endParaRPr lang="de-DE" sz="2000">
              <a:solidFill>
                <a:schemeClr val="accent1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030024" name="Rectangle 8"/>
          <p:cNvSpPr>
            <a:spLocks noChangeArrowheads="1"/>
          </p:cNvSpPr>
          <p:nvPr/>
        </p:nvSpPr>
        <p:spPr bwMode="gray">
          <a:xfrm>
            <a:off x="2767013" y="1901890"/>
            <a:ext cx="7177088" cy="415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574675" indent="-574675" defTabSz="895350">
              <a:spcBef>
                <a:spcPct val="20000"/>
              </a:spcBef>
              <a:spcAft>
                <a:spcPct val="0"/>
              </a:spcAft>
              <a:tabLst>
                <a:tab pos="533400" algn="r"/>
              </a:tabLst>
            </a:pPr>
            <a:endParaRPr lang="de-DE" sz="2000">
              <a:solidFill>
                <a:srgbClr val="000000"/>
              </a:solidFill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030025" name="Rectangle 9"/>
          <p:cNvSpPr>
            <a:spLocks noChangeArrowheads="1"/>
          </p:cNvSpPr>
          <p:nvPr/>
        </p:nvSpPr>
        <p:spPr bwMode="gray">
          <a:xfrm>
            <a:off x="2924176" y="1878077"/>
            <a:ext cx="1257300" cy="307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5350"/>
            <a:r>
              <a:rPr lang="en-US" sz="2000" b="1" dirty="0">
                <a:latin typeface="Baskerville" charset="0"/>
                <a:ea typeface="Baskerville" charset="0"/>
                <a:cs typeface="Baskerville" charset="0"/>
              </a:rPr>
              <a:t>Next steps</a:t>
            </a:r>
          </a:p>
        </p:txBody>
      </p:sp>
      <p:sp>
        <p:nvSpPr>
          <p:cNvPr id="3030026" name="Line 10"/>
          <p:cNvSpPr>
            <a:spLocks noChangeShapeType="1"/>
          </p:cNvSpPr>
          <p:nvPr/>
        </p:nvSpPr>
        <p:spPr bwMode="gray">
          <a:xfrm flipV="1">
            <a:off x="2932113" y="2190815"/>
            <a:ext cx="693578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en-US" sz="200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030027" name="Oval 11"/>
          <p:cNvSpPr>
            <a:spLocks noChangeArrowheads="1"/>
          </p:cNvSpPr>
          <p:nvPr/>
        </p:nvSpPr>
        <p:spPr bwMode="gray">
          <a:xfrm>
            <a:off x="2932113" y="2576577"/>
            <a:ext cx="247650" cy="242888"/>
          </a:xfrm>
          <a:prstGeom prst="ellipse">
            <a:avLst/>
          </a:prstGeom>
          <a:solidFill>
            <a:srgbClr val="7030A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 anchorCtr="1"/>
          <a:lstStyle/>
          <a:p>
            <a:r>
              <a:rPr lang="en-US" sz="2000" b="1" dirty="0">
                <a:solidFill>
                  <a:schemeClr val="bg1"/>
                </a:solidFill>
                <a:latin typeface="Baskerville" charset="0"/>
                <a:ea typeface="Baskerville" charset="0"/>
                <a:cs typeface="Baskerville" charset="0"/>
              </a:rPr>
              <a:t>1</a:t>
            </a:r>
          </a:p>
        </p:txBody>
      </p:sp>
      <p:sp>
        <p:nvSpPr>
          <p:cNvPr id="3030028" name="Rectangle 12"/>
          <p:cNvSpPr>
            <a:spLocks noChangeArrowheads="1"/>
          </p:cNvSpPr>
          <p:nvPr/>
        </p:nvSpPr>
        <p:spPr bwMode="gray">
          <a:xfrm>
            <a:off x="3252788" y="2535302"/>
            <a:ext cx="6535738" cy="307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587" lvl="1" defTabSz="912813"/>
            <a:r>
              <a:rPr lang="de-DE" sz="2000" dirty="0">
                <a:latin typeface="Baskerville" charset="0"/>
                <a:ea typeface="Baskerville" charset="0"/>
                <a:cs typeface="Baskerville" charset="0"/>
              </a:rPr>
              <a:t>Text</a:t>
            </a:r>
          </a:p>
        </p:txBody>
      </p:sp>
      <p:sp>
        <p:nvSpPr>
          <p:cNvPr id="3030029" name="Oval 13"/>
          <p:cNvSpPr>
            <a:spLocks noChangeArrowheads="1"/>
          </p:cNvSpPr>
          <p:nvPr/>
        </p:nvSpPr>
        <p:spPr bwMode="gray">
          <a:xfrm>
            <a:off x="2932113" y="3144902"/>
            <a:ext cx="247650" cy="242888"/>
          </a:xfrm>
          <a:prstGeom prst="ellipse">
            <a:avLst/>
          </a:prstGeom>
          <a:solidFill>
            <a:srgbClr val="7030A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 anchorCtr="1"/>
          <a:lstStyle/>
          <a:p>
            <a:r>
              <a:rPr lang="en-US" sz="2000" b="1">
                <a:solidFill>
                  <a:schemeClr val="bg1"/>
                </a:solidFill>
                <a:latin typeface="Baskerville" charset="0"/>
                <a:ea typeface="Baskerville" charset="0"/>
                <a:cs typeface="Baskerville" charset="0"/>
              </a:rPr>
              <a:t>2</a:t>
            </a:r>
          </a:p>
        </p:txBody>
      </p:sp>
      <p:sp>
        <p:nvSpPr>
          <p:cNvPr id="3030031" name="Oval 15"/>
          <p:cNvSpPr>
            <a:spLocks noChangeArrowheads="1"/>
          </p:cNvSpPr>
          <p:nvPr/>
        </p:nvSpPr>
        <p:spPr bwMode="gray">
          <a:xfrm>
            <a:off x="2932113" y="3714815"/>
            <a:ext cx="247650" cy="242888"/>
          </a:xfrm>
          <a:prstGeom prst="ellipse">
            <a:avLst/>
          </a:prstGeom>
          <a:solidFill>
            <a:srgbClr val="7030A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 anchorCtr="1"/>
          <a:lstStyle/>
          <a:p>
            <a:r>
              <a:rPr lang="en-US" sz="2000" b="1">
                <a:solidFill>
                  <a:schemeClr val="bg1"/>
                </a:solidFill>
                <a:latin typeface="Baskerville" charset="0"/>
                <a:ea typeface="Baskerville" charset="0"/>
                <a:cs typeface="Baskerville" charset="0"/>
              </a:rPr>
              <a:t>3</a:t>
            </a:r>
          </a:p>
        </p:txBody>
      </p:sp>
      <p:sp>
        <p:nvSpPr>
          <p:cNvPr id="3030033" name="Oval 17"/>
          <p:cNvSpPr>
            <a:spLocks noChangeArrowheads="1"/>
          </p:cNvSpPr>
          <p:nvPr/>
        </p:nvSpPr>
        <p:spPr bwMode="gray">
          <a:xfrm>
            <a:off x="2932113" y="4284727"/>
            <a:ext cx="247650" cy="242888"/>
          </a:xfrm>
          <a:prstGeom prst="ellipse">
            <a:avLst/>
          </a:prstGeom>
          <a:solidFill>
            <a:srgbClr val="7030A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 anchorCtr="1"/>
          <a:lstStyle/>
          <a:p>
            <a:r>
              <a:rPr lang="en-US" sz="2000" b="1">
                <a:solidFill>
                  <a:schemeClr val="bg1"/>
                </a:solidFill>
                <a:latin typeface="Baskerville" charset="0"/>
                <a:ea typeface="Baskerville" charset="0"/>
                <a:cs typeface="Baskerville" charset="0"/>
              </a:rPr>
              <a:t>4</a:t>
            </a:r>
          </a:p>
        </p:txBody>
      </p:sp>
      <p:sp>
        <p:nvSpPr>
          <p:cNvPr id="3030035" name="Oval 19"/>
          <p:cNvSpPr>
            <a:spLocks noChangeArrowheads="1"/>
          </p:cNvSpPr>
          <p:nvPr/>
        </p:nvSpPr>
        <p:spPr bwMode="gray">
          <a:xfrm>
            <a:off x="2932113" y="4854640"/>
            <a:ext cx="247650" cy="242888"/>
          </a:xfrm>
          <a:prstGeom prst="ellipse">
            <a:avLst/>
          </a:prstGeom>
          <a:solidFill>
            <a:srgbClr val="7030A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 anchorCtr="1"/>
          <a:lstStyle/>
          <a:p>
            <a:r>
              <a:rPr lang="en-US" sz="2000" b="1">
                <a:solidFill>
                  <a:schemeClr val="bg1"/>
                </a:solidFill>
                <a:latin typeface="Baskerville" charset="0"/>
                <a:ea typeface="Baskerville" charset="0"/>
                <a:cs typeface="Baskerville" charset="0"/>
              </a:rPr>
              <a:t>5</a:t>
            </a:r>
          </a:p>
        </p:txBody>
      </p:sp>
      <p:sp>
        <p:nvSpPr>
          <p:cNvPr id="24" name="Rectangle 12"/>
          <p:cNvSpPr>
            <a:spLocks noChangeArrowheads="1"/>
          </p:cNvSpPr>
          <p:nvPr/>
        </p:nvSpPr>
        <p:spPr bwMode="gray">
          <a:xfrm>
            <a:off x="3274203" y="3141663"/>
            <a:ext cx="6535738" cy="307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587" lvl="1" defTabSz="912813"/>
            <a:r>
              <a:rPr lang="de-DE" sz="2000" dirty="0">
                <a:latin typeface="Baskerville" charset="0"/>
                <a:ea typeface="Baskerville" charset="0"/>
                <a:cs typeface="Baskerville" charset="0"/>
              </a:rPr>
              <a:t>Text</a:t>
            </a:r>
          </a:p>
        </p:txBody>
      </p:sp>
      <p:sp>
        <p:nvSpPr>
          <p:cNvPr id="25" name="Rectangle 12"/>
          <p:cNvSpPr>
            <a:spLocks noChangeArrowheads="1"/>
          </p:cNvSpPr>
          <p:nvPr/>
        </p:nvSpPr>
        <p:spPr bwMode="gray">
          <a:xfrm>
            <a:off x="3294841" y="3662427"/>
            <a:ext cx="6535738" cy="307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587" lvl="1" defTabSz="912813"/>
            <a:r>
              <a:rPr lang="de-DE" sz="2000" dirty="0">
                <a:latin typeface="Baskerville" charset="0"/>
                <a:ea typeface="Baskerville" charset="0"/>
                <a:cs typeface="Baskerville" charset="0"/>
              </a:rPr>
              <a:t>Text</a:t>
            </a:r>
          </a:p>
        </p:txBody>
      </p:sp>
      <p:sp>
        <p:nvSpPr>
          <p:cNvPr id="26" name="Rectangle 12"/>
          <p:cNvSpPr>
            <a:spLocks noChangeArrowheads="1"/>
          </p:cNvSpPr>
          <p:nvPr/>
        </p:nvSpPr>
        <p:spPr bwMode="gray">
          <a:xfrm>
            <a:off x="3291245" y="4238233"/>
            <a:ext cx="6535738" cy="307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587" lvl="1" defTabSz="912813"/>
            <a:r>
              <a:rPr lang="de-DE" sz="2000" dirty="0">
                <a:latin typeface="Baskerville" charset="0"/>
                <a:ea typeface="Baskerville" charset="0"/>
                <a:cs typeface="Baskerville" charset="0"/>
              </a:rPr>
              <a:t>Text</a:t>
            </a:r>
          </a:p>
        </p:txBody>
      </p:sp>
      <p:sp>
        <p:nvSpPr>
          <p:cNvPr id="27" name="Rectangle 12"/>
          <p:cNvSpPr>
            <a:spLocks noChangeArrowheads="1"/>
          </p:cNvSpPr>
          <p:nvPr/>
        </p:nvSpPr>
        <p:spPr bwMode="gray">
          <a:xfrm>
            <a:off x="3290888" y="4815659"/>
            <a:ext cx="6535738" cy="307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587" lvl="1" defTabSz="912813"/>
            <a:r>
              <a:rPr lang="de-DE" sz="2000" dirty="0">
                <a:latin typeface="Baskerville" charset="0"/>
                <a:ea typeface="Baskerville" charset="0"/>
                <a:cs typeface="Baskerville" charset="0"/>
              </a:rPr>
              <a:t>Tex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515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4228" name="Oval 4"/>
          <p:cNvSpPr>
            <a:spLocks noChangeArrowheads="1"/>
          </p:cNvSpPr>
          <p:nvPr/>
        </p:nvSpPr>
        <p:spPr bwMode="gray">
          <a:xfrm>
            <a:off x="315885" y="215313"/>
            <a:ext cx="5685904" cy="1731169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r>
              <a:rPr lang="en-US" sz="4000" b="1" dirty="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  <a:t>Consequences/</a:t>
            </a:r>
            <a:br>
              <a:rPr lang="en-US" sz="4000" b="1" dirty="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</a:br>
            <a:r>
              <a:rPr lang="en-US" sz="4000" b="1" dirty="0">
                <a:solidFill>
                  <a:schemeClr val="folHlink"/>
                </a:solidFill>
                <a:latin typeface="Baskerville" charset="0"/>
                <a:ea typeface="Baskerville" charset="0"/>
                <a:cs typeface="Baskerville" charset="0"/>
              </a:rPr>
              <a:t>Process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195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52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ction – 1 Factor</a:t>
            </a:r>
          </a:p>
        </p:txBody>
      </p:sp>
      <p:grpSp>
        <p:nvGrpSpPr>
          <p:cNvPr id="3125251" name="Group 3"/>
          <p:cNvGrpSpPr>
            <a:grpSpLocks/>
          </p:cNvGrpSpPr>
          <p:nvPr/>
        </p:nvGrpSpPr>
        <p:grpSpPr bwMode="auto">
          <a:xfrm>
            <a:off x="1911351" y="4676776"/>
            <a:ext cx="8310563" cy="1482725"/>
            <a:chOff x="244" y="2946"/>
            <a:chExt cx="5235" cy="934"/>
          </a:xfrm>
        </p:grpSpPr>
        <p:sp>
          <p:nvSpPr>
            <p:cNvPr id="3125252" name="Rectangle 4"/>
            <p:cNvSpPr>
              <a:spLocks noChangeArrowheads="1"/>
            </p:cNvSpPr>
            <p:nvPr/>
          </p:nvSpPr>
          <p:spPr bwMode="gray">
            <a:xfrm>
              <a:off x="244" y="2946"/>
              <a:ext cx="5235" cy="93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hlink"/>
                    </a:outerShdw>
                  </a:effectLst>
                </a14:hiddenEffects>
              </a:ext>
            </a:extLst>
          </p:spPr>
          <p:txBody>
            <a:bodyPr lIns="0" tIns="648000" rIns="0" bIns="180000"/>
            <a:lstStyle/>
            <a:p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 </a:t>
              </a:r>
              <a:endParaRPr lang="en-US" sz="20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25253" name="Rectangle 5"/>
            <p:cNvSpPr>
              <a:spLocks noChangeArrowheads="1"/>
            </p:cNvSpPr>
            <p:nvPr/>
          </p:nvSpPr>
          <p:spPr bwMode="gray">
            <a:xfrm>
              <a:off x="356" y="3408"/>
              <a:ext cx="4998" cy="4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3125254" name="AutoShape 6"/>
          <p:cNvSpPr>
            <a:spLocks noGrp="1" noChangeArrowheads="1"/>
          </p:cNvSpPr>
          <p:nvPr>
            <p:ph type="body" idx="4294967295"/>
          </p:nvPr>
        </p:nvSpPr>
        <p:spPr>
          <a:xfrm rot="5400000">
            <a:off x="4325145" y="-594518"/>
            <a:ext cx="3513137" cy="7689850"/>
          </a:xfrm>
          <a:prstGeom prst="homePlate">
            <a:avLst>
              <a:gd name="adj" fmla="val 19569"/>
            </a:avLst>
          </a:prstGeom>
          <a:solidFill>
            <a:schemeClr val="bg1">
              <a:lumMod val="95000"/>
            </a:schemeClr>
          </a:solidFill>
          <a:ln algn="ctr">
            <a:solidFill>
              <a:schemeClr val="tx1"/>
            </a:solidFill>
            <a:miter lim="800000"/>
            <a:headEnd/>
            <a:tailEnd/>
          </a:ln>
        </p:spPr>
        <p:txBody>
          <a:bodyPr rot="10800000" vert="eaVert" lIns="182880" tIns="182880" rIns="182880" bIns="182880" rtlCol="0">
            <a:normAutofit/>
          </a:bodyPr>
          <a:lstStyle/>
          <a:p>
            <a:r>
              <a:rPr lang="en-US" sz="2000" b="1"/>
              <a:t>Text</a:t>
            </a:r>
          </a:p>
          <a:p>
            <a:pPr lvl="1"/>
            <a:r>
              <a:rPr lang="de-DE" sz="2000"/>
              <a:t>Text</a:t>
            </a:r>
          </a:p>
          <a:p>
            <a:pPr lvl="2"/>
            <a:r>
              <a:rPr lang="de-DE"/>
              <a:t>Text</a:t>
            </a:r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953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7298" name="Rectangle 2"/>
          <p:cNvSpPr>
            <a:spLocks noChangeArrowheads="1"/>
          </p:cNvSpPr>
          <p:nvPr/>
        </p:nvSpPr>
        <p:spPr bwMode="gray">
          <a:xfrm>
            <a:off x="1911351" y="4676776"/>
            <a:ext cx="8310563" cy="14827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lIns="0" tIns="648000" rIns="0" bIns="180000"/>
          <a:lstStyle/>
          <a:p>
            <a:r>
              <a:rPr lang="en-US" sz="2000" b="1">
                <a:latin typeface="Baskerville" charset="0"/>
                <a:ea typeface="Baskerville" charset="0"/>
                <a:cs typeface="Baskerville" charset="0"/>
              </a:rPr>
              <a:t> </a:t>
            </a:r>
            <a:endParaRPr lang="en-US" sz="2000">
              <a:latin typeface="Baskerville" charset="0"/>
              <a:ea typeface="Baskerville" charset="0"/>
              <a:cs typeface="Baskerville" charset="0"/>
            </a:endParaRPr>
          </a:p>
        </p:txBody>
      </p:sp>
      <p:sp>
        <p:nvSpPr>
          <p:cNvPr id="3127299" name="AutoShape 3"/>
          <p:cNvSpPr>
            <a:spLocks noGrp="1" noChangeArrowheads="1"/>
          </p:cNvSpPr>
          <p:nvPr>
            <p:ph type="body" idx="4294967295"/>
          </p:nvPr>
        </p:nvSpPr>
        <p:spPr>
          <a:xfrm rot="5400000">
            <a:off x="6161883" y="1594645"/>
            <a:ext cx="3849687" cy="3648075"/>
          </a:xfrm>
          <a:prstGeom prst="homePlate">
            <a:avLst>
              <a:gd name="adj" fmla="val 20651"/>
            </a:avLst>
          </a:prstGeom>
          <a:solidFill>
            <a:schemeClr val="bg1">
              <a:lumMod val="95000"/>
            </a:schemeClr>
          </a:solidFill>
          <a:ln algn="ctr">
            <a:solidFill>
              <a:schemeClr val="tx1"/>
            </a:solidFill>
            <a:miter lim="800000"/>
            <a:headEnd/>
            <a:tailEnd/>
          </a:ln>
        </p:spPr>
        <p:txBody>
          <a:bodyPr rot="10800000" vert="eaVert" lIns="182880" tIns="182880" rIns="182880" bIns="182880" rtlCol="0">
            <a:normAutofit/>
          </a:bodyPr>
          <a:lstStyle/>
          <a:p>
            <a:r>
              <a:rPr lang="en-US" sz="2000" b="1"/>
              <a:t>Text</a:t>
            </a:r>
          </a:p>
          <a:p>
            <a:pPr lvl="1"/>
            <a:r>
              <a:rPr lang="de-DE" sz="2000"/>
              <a:t>Text</a:t>
            </a:r>
          </a:p>
          <a:p>
            <a:pPr lvl="2"/>
            <a:r>
              <a:rPr lang="de-DE"/>
              <a:t>Text</a:t>
            </a:r>
            <a:endParaRPr lang="en-US"/>
          </a:p>
        </p:txBody>
      </p:sp>
      <p:sp>
        <p:nvSpPr>
          <p:cNvPr id="3127300" name="AutoShape 4"/>
          <p:cNvSpPr>
            <a:spLocks noGrp="1" noChangeArrowheads="1"/>
          </p:cNvSpPr>
          <p:nvPr>
            <p:ph type="body" idx="4294967295"/>
          </p:nvPr>
        </p:nvSpPr>
        <p:spPr>
          <a:xfrm rot="5400000">
            <a:off x="2116933" y="1594645"/>
            <a:ext cx="3849687" cy="3648075"/>
          </a:xfrm>
          <a:prstGeom prst="homePlate">
            <a:avLst>
              <a:gd name="adj" fmla="val 20651"/>
            </a:avLst>
          </a:prstGeom>
          <a:solidFill>
            <a:schemeClr val="bg1">
              <a:lumMod val="95000"/>
            </a:schemeClr>
          </a:solidFill>
          <a:ln algn="ctr">
            <a:solidFill>
              <a:schemeClr val="tx1"/>
            </a:solidFill>
            <a:miter lim="800000"/>
            <a:headEnd/>
            <a:tailEnd/>
          </a:ln>
        </p:spPr>
        <p:txBody>
          <a:bodyPr rot="10800000" vert="eaVert" lIns="182880" tIns="182880" rIns="182880" bIns="182880" rtlCol="0">
            <a:normAutofit/>
          </a:bodyPr>
          <a:lstStyle/>
          <a:p>
            <a:r>
              <a:rPr lang="en-US" sz="2000" b="1"/>
              <a:t>Text</a:t>
            </a:r>
          </a:p>
          <a:p>
            <a:pPr lvl="1"/>
            <a:r>
              <a:rPr lang="de-DE" sz="2000"/>
              <a:t>Text</a:t>
            </a:r>
          </a:p>
          <a:p>
            <a:pPr lvl="2"/>
            <a:r>
              <a:rPr lang="de-DE"/>
              <a:t>Text</a:t>
            </a:r>
            <a:endParaRPr lang="en-US"/>
          </a:p>
        </p:txBody>
      </p:sp>
      <p:sp>
        <p:nvSpPr>
          <p:cNvPr id="3127301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ction – 2 Factors</a:t>
            </a:r>
          </a:p>
        </p:txBody>
      </p:sp>
      <p:sp>
        <p:nvSpPr>
          <p:cNvPr id="3127302" name="Rectangle 6"/>
          <p:cNvSpPr>
            <a:spLocks noGrp="1" noChangeArrowheads="1"/>
          </p:cNvSpPr>
          <p:nvPr>
            <p:ph type="body" idx="4294967295"/>
          </p:nvPr>
        </p:nvSpPr>
        <p:spPr>
          <a:xfrm>
            <a:off x="2089151" y="5410201"/>
            <a:ext cx="7934325" cy="638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/>
          </a:bodyPr>
          <a:lstStyle/>
          <a:p>
            <a:pPr algn="ctr"/>
            <a:r>
              <a:rPr lang="en-US" sz="2000" b="1"/>
              <a:t>Tex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7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663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93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ction – 3 Factors</a:t>
            </a:r>
          </a:p>
        </p:txBody>
      </p:sp>
      <p:sp>
        <p:nvSpPr>
          <p:cNvPr id="312934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089151" y="5410201"/>
            <a:ext cx="7934325" cy="638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r>
              <a:rPr lang="en-US" b="1"/>
              <a:t>Text</a:t>
            </a:r>
          </a:p>
        </p:txBody>
      </p:sp>
      <p:grpSp>
        <p:nvGrpSpPr>
          <p:cNvPr id="3129348" name="Group 4"/>
          <p:cNvGrpSpPr>
            <a:grpSpLocks/>
          </p:cNvGrpSpPr>
          <p:nvPr/>
        </p:nvGrpSpPr>
        <p:grpSpPr bwMode="auto">
          <a:xfrm>
            <a:off x="1911351" y="1493838"/>
            <a:ext cx="8310563" cy="4665662"/>
            <a:chOff x="244" y="941"/>
            <a:chExt cx="5235" cy="2939"/>
          </a:xfrm>
        </p:grpSpPr>
        <p:sp>
          <p:nvSpPr>
            <p:cNvPr id="3129349" name="Rectangle 5"/>
            <p:cNvSpPr>
              <a:spLocks noChangeArrowheads="1"/>
            </p:cNvSpPr>
            <p:nvPr/>
          </p:nvSpPr>
          <p:spPr bwMode="gray">
            <a:xfrm>
              <a:off x="244" y="2946"/>
              <a:ext cx="5235" cy="93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hlink"/>
                    </a:outerShdw>
                  </a:effectLst>
                </a14:hiddenEffects>
              </a:ext>
            </a:extLst>
          </p:spPr>
          <p:txBody>
            <a:bodyPr lIns="0" tIns="648000" rIns="0" bIns="180000"/>
            <a:lstStyle/>
            <a:p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 </a:t>
              </a:r>
              <a:endParaRPr lang="en-US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29350" name="AutoShape 6"/>
            <p:cNvSpPr>
              <a:spLocks noChangeArrowheads="1"/>
            </p:cNvSpPr>
            <p:nvPr/>
          </p:nvSpPr>
          <p:spPr bwMode="gray">
            <a:xfrm rot="5400000">
              <a:off x="-32" y="1300"/>
              <a:ext cx="2306" cy="1587"/>
            </a:xfrm>
            <a:prstGeom prst="homePlate">
              <a:avLst>
                <a:gd name="adj" fmla="val 28436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lIns="182880" tIns="182880" rIns="182880" bIns="18288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29351" name="AutoShape 7"/>
            <p:cNvSpPr>
              <a:spLocks noChangeArrowheads="1"/>
            </p:cNvSpPr>
            <p:nvPr/>
          </p:nvSpPr>
          <p:spPr bwMode="gray">
            <a:xfrm rot="5400000">
              <a:off x="1707" y="1300"/>
              <a:ext cx="2306" cy="1587"/>
            </a:xfrm>
            <a:prstGeom prst="homePlate">
              <a:avLst>
                <a:gd name="adj" fmla="val 28436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lIns="182880" tIns="182880" rIns="182880" bIns="18288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29352" name="AutoShape 8"/>
            <p:cNvSpPr>
              <a:spLocks noChangeArrowheads="1"/>
            </p:cNvSpPr>
            <p:nvPr/>
          </p:nvSpPr>
          <p:spPr bwMode="gray">
            <a:xfrm rot="5400000">
              <a:off x="3447" y="1300"/>
              <a:ext cx="2306" cy="1587"/>
            </a:xfrm>
            <a:prstGeom prst="homePlate">
              <a:avLst>
                <a:gd name="adj" fmla="val 28436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lIns="182880" tIns="182880" rIns="182880" bIns="182880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de-DE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4323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13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ction – 4 Factors</a:t>
            </a:r>
          </a:p>
        </p:txBody>
      </p:sp>
      <p:sp>
        <p:nvSpPr>
          <p:cNvPr id="313139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089151" y="5410201"/>
            <a:ext cx="7934325" cy="638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r>
              <a:rPr lang="en-US" b="1"/>
              <a:t>Text</a:t>
            </a:r>
          </a:p>
        </p:txBody>
      </p:sp>
      <p:grpSp>
        <p:nvGrpSpPr>
          <p:cNvPr id="3131396" name="Group 4"/>
          <p:cNvGrpSpPr>
            <a:grpSpLocks/>
          </p:cNvGrpSpPr>
          <p:nvPr/>
        </p:nvGrpSpPr>
        <p:grpSpPr bwMode="auto">
          <a:xfrm>
            <a:off x="1911351" y="1493838"/>
            <a:ext cx="8310563" cy="4665662"/>
            <a:chOff x="244" y="941"/>
            <a:chExt cx="5235" cy="2939"/>
          </a:xfrm>
        </p:grpSpPr>
        <p:sp>
          <p:nvSpPr>
            <p:cNvPr id="3131397" name="Rectangle 5"/>
            <p:cNvSpPr>
              <a:spLocks noChangeArrowheads="1"/>
            </p:cNvSpPr>
            <p:nvPr/>
          </p:nvSpPr>
          <p:spPr bwMode="gray">
            <a:xfrm>
              <a:off x="244" y="2946"/>
              <a:ext cx="5235" cy="93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hlink"/>
                    </a:outerShdw>
                  </a:effectLst>
                </a14:hiddenEffects>
              </a:ext>
            </a:extLst>
          </p:spPr>
          <p:txBody>
            <a:bodyPr lIns="0" tIns="648000" rIns="0" bIns="180000"/>
            <a:lstStyle/>
            <a:p>
              <a:r>
                <a:rPr lang="en-US" sz="1200" b="1">
                  <a:latin typeface="Baskerville" charset="0"/>
                  <a:ea typeface="Baskerville" charset="0"/>
                  <a:cs typeface="Baskerville" charset="0"/>
                </a:rPr>
                <a:t> </a:t>
              </a:r>
              <a:endParaRPr lang="en-US" sz="12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3131398" name="Group 6"/>
            <p:cNvGrpSpPr>
              <a:grpSpLocks/>
            </p:cNvGrpSpPr>
            <p:nvPr/>
          </p:nvGrpSpPr>
          <p:grpSpPr bwMode="auto">
            <a:xfrm>
              <a:off x="334" y="941"/>
              <a:ext cx="5054" cy="2306"/>
              <a:chOff x="334" y="941"/>
              <a:chExt cx="5054" cy="2306"/>
            </a:xfrm>
          </p:grpSpPr>
          <p:sp>
            <p:nvSpPr>
              <p:cNvPr id="3131399" name="AutoShape 7"/>
              <p:cNvSpPr>
                <a:spLocks noChangeArrowheads="1"/>
              </p:cNvSpPr>
              <p:nvPr/>
            </p:nvSpPr>
            <p:spPr bwMode="gray">
              <a:xfrm rot="5400000">
                <a:off x="-234" y="1509"/>
                <a:ext cx="2306" cy="1169"/>
              </a:xfrm>
              <a:prstGeom prst="homePlate">
                <a:avLst>
                  <a:gd name="adj" fmla="val 38603"/>
                </a:avLst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lIns="182880" tIns="182880" rIns="182880" bIns="182880"/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342900" lvl="2" indent="-166688" defTabSz="912813">
                  <a:buFontTx/>
                  <a:buChar char="–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1400" name="AutoShape 8"/>
              <p:cNvSpPr>
                <a:spLocks noChangeArrowheads="1"/>
              </p:cNvSpPr>
              <p:nvPr/>
            </p:nvSpPr>
            <p:spPr bwMode="gray">
              <a:xfrm rot="5400000">
                <a:off x="1060" y="1509"/>
                <a:ext cx="2306" cy="1169"/>
              </a:xfrm>
              <a:prstGeom prst="homePlate">
                <a:avLst>
                  <a:gd name="adj" fmla="val 38603"/>
                </a:avLst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lIns="182880" tIns="182880" rIns="182880" bIns="182880"/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342900" lvl="2" indent="-166688" defTabSz="912813">
                  <a:buFontTx/>
                  <a:buChar char="–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1401" name="AutoShape 9"/>
              <p:cNvSpPr>
                <a:spLocks noChangeArrowheads="1"/>
              </p:cNvSpPr>
              <p:nvPr/>
            </p:nvSpPr>
            <p:spPr bwMode="gray">
              <a:xfrm rot="5400000">
                <a:off x="2356" y="1509"/>
                <a:ext cx="2306" cy="1169"/>
              </a:xfrm>
              <a:prstGeom prst="homePlate">
                <a:avLst>
                  <a:gd name="adj" fmla="val 38603"/>
                </a:avLst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lIns="182880" tIns="182880" rIns="182880" bIns="182880"/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342900" lvl="2" indent="-166688" defTabSz="912813">
                  <a:buFontTx/>
                  <a:buChar char="–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1402" name="AutoShape 10"/>
              <p:cNvSpPr>
                <a:spLocks noChangeArrowheads="1"/>
              </p:cNvSpPr>
              <p:nvPr/>
            </p:nvSpPr>
            <p:spPr bwMode="gray">
              <a:xfrm rot="5400000">
                <a:off x="3651" y="1509"/>
                <a:ext cx="2306" cy="1169"/>
              </a:xfrm>
              <a:prstGeom prst="homePlate">
                <a:avLst>
                  <a:gd name="adj" fmla="val 38603"/>
                </a:avLst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lIns="182880" tIns="182880" rIns="182880" bIns="182880"/>
              <a:lstStyle/>
              <a:p>
                <a:pPr defTabSz="912813"/>
                <a:r>
                  <a:rPr lang="en-US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342900" lvl="2" indent="-166688" defTabSz="912813">
                  <a:buFontTx/>
                  <a:buChar char="–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7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1273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34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sequences 2</a:t>
            </a:r>
          </a:p>
        </p:txBody>
      </p:sp>
      <p:grpSp>
        <p:nvGrpSpPr>
          <p:cNvPr id="3133443" name="Group 3"/>
          <p:cNvGrpSpPr>
            <a:grpSpLocks/>
          </p:cNvGrpSpPr>
          <p:nvPr/>
        </p:nvGrpSpPr>
        <p:grpSpPr bwMode="auto">
          <a:xfrm>
            <a:off x="1911350" y="1492250"/>
            <a:ext cx="8301038" cy="4667250"/>
            <a:chOff x="244" y="940"/>
            <a:chExt cx="5229" cy="2940"/>
          </a:xfrm>
        </p:grpSpPr>
        <p:grpSp>
          <p:nvGrpSpPr>
            <p:cNvPr id="3133444" name="Group 4"/>
            <p:cNvGrpSpPr>
              <a:grpSpLocks/>
            </p:cNvGrpSpPr>
            <p:nvPr/>
          </p:nvGrpSpPr>
          <p:grpSpPr bwMode="auto">
            <a:xfrm>
              <a:off x="3006" y="940"/>
              <a:ext cx="2467" cy="2940"/>
              <a:chOff x="3006" y="940"/>
              <a:chExt cx="2467" cy="2940"/>
            </a:xfrm>
          </p:grpSpPr>
          <p:grpSp>
            <p:nvGrpSpPr>
              <p:cNvPr id="3133445" name="Group 5"/>
              <p:cNvGrpSpPr>
                <a:grpSpLocks/>
              </p:cNvGrpSpPr>
              <p:nvPr/>
            </p:nvGrpSpPr>
            <p:grpSpPr bwMode="auto">
              <a:xfrm>
                <a:off x="3006" y="1356"/>
                <a:ext cx="2465" cy="2524"/>
                <a:chOff x="3006" y="1347"/>
                <a:chExt cx="2465" cy="2467"/>
              </a:xfrm>
            </p:grpSpPr>
            <p:sp>
              <p:nvSpPr>
                <p:cNvPr id="3133446" name="Freeform 6"/>
                <p:cNvSpPr>
                  <a:spLocks/>
                </p:cNvSpPr>
                <p:nvPr/>
              </p:nvSpPr>
              <p:spPr bwMode="gray">
                <a:xfrm>
                  <a:off x="3006" y="1347"/>
                  <a:ext cx="2465" cy="2467"/>
                </a:xfrm>
                <a:custGeom>
                  <a:avLst/>
                  <a:gdLst>
                    <a:gd name="T0" fmla="*/ 2551 w 2551"/>
                    <a:gd name="T1" fmla="*/ 2008 h 2008"/>
                    <a:gd name="T2" fmla="*/ 2551 w 2551"/>
                    <a:gd name="T3" fmla="*/ 0 h 2008"/>
                    <a:gd name="T4" fmla="*/ 1274 w 2551"/>
                    <a:gd name="T5" fmla="*/ 97 h 2008"/>
                    <a:gd name="T6" fmla="*/ 0 w 2551"/>
                    <a:gd name="T7" fmla="*/ 0 h 2008"/>
                    <a:gd name="T8" fmla="*/ 0 w 2551"/>
                    <a:gd name="T9" fmla="*/ 2008 h 2008"/>
                    <a:gd name="T10" fmla="*/ 2551 w 2551"/>
                    <a:gd name="T11" fmla="*/ 2008 h 20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51" h="2008">
                      <a:moveTo>
                        <a:pt x="2551" y="2008"/>
                      </a:moveTo>
                      <a:lnTo>
                        <a:pt x="2551" y="0"/>
                      </a:lnTo>
                      <a:lnTo>
                        <a:pt x="1274" y="97"/>
                      </a:lnTo>
                      <a:lnTo>
                        <a:pt x="0" y="0"/>
                      </a:lnTo>
                      <a:lnTo>
                        <a:pt x="0" y="2008"/>
                      </a:lnTo>
                      <a:lnTo>
                        <a:pt x="2551" y="2008"/>
                      </a:lnTo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9525" cmpd="sng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000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sp>
              <p:nvSpPr>
                <p:cNvPr id="3133447" name="Rectangle 7"/>
                <p:cNvSpPr>
                  <a:spLocks noChangeArrowheads="1"/>
                </p:cNvSpPr>
                <p:nvPr/>
              </p:nvSpPr>
              <p:spPr bwMode="gray">
                <a:xfrm>
                  <a:off x="3076" y="1554"/>
                  <a:ext cx="2313" cy="18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8383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74625" lvl="1" indent="-173038" defTabSz="912813">
                    <a:buFont typeface="Wingdings" pitchFamily="2" charset="2"/>
                    <a:buChar char="§"/>
                  </a:pPr>
                  <a:r>
                    <a:rPr lang="de-DE" sz="2000">
                      <a:latin typeface="Baskerville" charset="0"/>
                      <a:ea typeface="Baskerville" charset="0"/>
                      <a:cs typeface="Baskerville" charset="0"/>
                    </a:rPr>
                    <a:t>Text</a:t>
                  </a:r>
                  <a:endParaRPr lang="en-US" sz="2000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</p:grpSp>
          <p:sp>
            <p:nvSpPr>
              <p:cNvPr id="3133448" name="AutoShape 8"/>
              <p:cNvSpPr>
                <a:spLocks noChangeArrowheads="1"/>
              </p:cNvSpPr>
              <p:nvPr/>
            </p:nvSpPr>
            <p:spPr bwMode="gray">
              <a:xfrm rot="5400000" flipV="1">
                <a:off x="4005" y="-59"/>
                <a:ext cx="469" cy="2467"/>
              </a:xfrm>
              <a:prstGeom prst="homePlate">
                <a:avLst>
                  <a:gd name="adj" fmla="val 25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lIns="0" tIns="0" rIns="0" bIns="0" anchor="ctr"/>
              <a:lstStyle/>
              <a:p>
                <a:pPr defTabSz="912813"/>
                <a:r>
                  <a:rPr lang="de-DE" sz="2000" b="1" dirty="0">
                    <a:latin typeface="Baskerville" charset="0"/>
                    <a:ea typeface="Baskerville" charset="0"/>
                    <a:cs typeface="Baskerville" charset="0"/>
                  </a:rPr>
                  <a:t>  Text</a:t>
                </a:r>
                <a:endParaRPr lang="en-US" sz="2000" b="1" dirty="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pSp>
          <p:nvGrpSpPr>
            <p:cNvPr id="3133449" name="Group 9"/>
            <p:cNvGrpSpPr>
              <a:grpSpLocks/>
            </p:cNvGrpSpPr>
            <p:nvPr/>
          </p:nvGrpSpPr>
          <p:grpSpPr bwMode="auto">
            <a:xfrm>
              <a:off x="244" y="940"/>
              <a:ext cx="2467" cy="2940"/>
              <a:chOff x="244" y="940"/>
              <a:chExt cx="2467" cy="2940"/>
            </a:xfrm>
          </p:grpSpPr>
          <p:sp>
            <p:nvSpPr>
              <p:cNvPr id="3133450" name="AutoShape 10"/>
              <p:cNvSpPr>
                <a:spLocks noChangeArrowheads="1"/>
              </p:cNvSpPr>
              <p:nvPr/>
            </p:nvSpPr>
            <p:spPr bwMode="gray">
              <a:xfrm rot="5400000" flipV="1">
                <a:off x="1243" y="-59"/>
                <a:ext cx="469" cy="2467"/>
              </a:xfrm>
              <a:prstGeom prst="homePlate">
                <a:avLst>
                  <a:gd name="adj" fmla="val 25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lIns="0" tIns="0" rIns="0" bIns="0" anchor="ctr"/>
              <a:lstStyle/>
              <a:p>
                <a:pPr defTabSz="912813"/>
                <a:r>
                  <a:rPr lang="de-DE" sz="2000" b="1" dirty="0">
                    <a:latin typeface="Baskerville" charset="0"/>
                    <a:ea typeface="Baskerville" charset="0"/>
                    <a:cs typeface="Baskerville" charset="0"/>
                  </a:rPr>
                  <a:t>  Text</a:t>
                </a:r>
                <a:endParaRPr lang="en-US" sz="2000" b="1" dirty="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grpSp>
            <p:nvGrpSpPr>
              <p:cNvPr id="3133451" name="Group 11"/>
              <p:cNvGrpSpPr>
                <a:grpSpLocks/>
              </p:cNvGrpSpPr>
              <p:nvPr/>
            </p:nvGrpSpPr>
            <p:grpSpPr bwMode="auto">
              <a:xfrm>
                <a:off x="244" y="1356"/>
                <a:ext cx="2465" cy="2524"/>
                <a:chOff x="244" y="1356"/>
                <a:chExt cx="2465" cy="2524"/>
              </a:xfrm>
            </p:grpSpPr>
            <p:sp>
              <p:nvSpPr>
                <p:cNvPr id="3133452" name="Freeform 12"/>
                <p:cNvSpPr>
                  <a:spLocks/>
                </p:cNvSpPr>
                <p:nvPr/>
              </p:nvSpPr>
              <p:spPr bwMode="gray">
                <a:xfrm>
                  <a:off x="244" y="1356"/>
                  <a:ext cx="2465" cy="2524"/>
                </a:xfrm>
                <a:custGeom>
                  <a:avLst/>
                  <a:gdLst>
                    <a:gd name="T0" fmla="*/ 2551 w 2551"/>
                    <a:gd name="T1" fmla="*/ 2008 h 2008"/>
                    <a:gd name="T2" fmla="*/ 2551 w 2551"/>
                    <a:gd name="T3" fmla="*/ 0 h 2008"/>
                    <a:gd name="T4" fmla="*/ 1274 w 2551"/>
                    <a:gd name="T5" fmla="*/ 97 h 2008"/>
                    <a:gd name="T6" fmla="*/ 0 w 2551"/>
                    <a:gd name="T7" fmla="*/ 0 h 2008"/>
                    <a:gd name="T8" fmla="*/ 0 w 2551"/>
                    <a:gd name="T9" fmla="*/ 2008 h 2008"/>
                    <a:gd name="T10" fmla="*/ 2551 w 2551"/>
                    <a:gd name="T11" fmla="*/ 2008 h 20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51" h="2008">
                      <a:moveTo>
                        <a:pt x="2551" y="2008"/>
                      </a:moveTo>
                      <a:lnTo>
                        <a:pt x="2551" y="0"/>
                      </a:lnTo>
                      <a:lnTo>
                        <a:pt x="1274" y="97"/>
                      </a:lnTo>
                      <a:lnTo>
                        <a:pt x="0" y="0"/>
                      </a:lnTo>
                      <a:lnTo>
                        <a:pt x="0" y="2008"/>
                      </a:lnTo>
                      <a:lnTo>
                        <a:pt x="2551" y="2008"/>
                      </a:lnTo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9525" cmpd="sng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000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sp>
              <p:nvSpPr>
                <p:cNvPr id="3133453" name="Rectangle 13"/>
                <p:cNvSpPr>
                  <a:spLocks noChangeArrowheads="1"/>
                </p:cNvSpPr>
                <p:nvPr/>
              </p:nvSpPr>
              <p:spPr bwMode="gray">
                <a:xfrm>
                  <a:off x="344" y="1568"/>
                  <a:ext cx="2313" cy="19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8383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/>
                <a:p>
                  <a:pPr marL="174625" lvl="1" indent="-173038" defTabSz="912813">
                    <a:buFont typeface="Wingdings" pitchFamily="2" charset="2"/>
                    <a:buChar char="§"/>
                  </a:pPr>
                  <a:r>
                    <a:rPr lang="de-DE" sz="2000">
                      <a:latin typeface="Baskerville" charset="0"/>
                      <a:ea typeface="Baskerville" charset="0"/>
                      <a:cs typeface="Baskerville" charset="0"/>
                    </a:rPr>
                    <a:t>Text</a:t>
                  </a:r>
                </a:p>
              </p:txBody>
            </p:sp>
          </p:grpSp>
        </p:grp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7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2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5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sequences 3</a:t>
            </a:r>
          </a:p>
        </p:txBody>
      </p:sp>
      <p:grpSp>
        <p:nvGrpSpPr>
          <p:cNvPr id="3135491" name="Group 3"/>
          <p:cNvGrpSpPr>
            <a:grpSpLocks/>
          </p:cNvGrpSpPr>
          <p:nvPr/>
        </p:nvGrpSpPr>
        <p:grpSpPr bwMode="auto">
          <a:xfrm>
            <a:off x="1908175" y="1487488"/>
            <a:ext cx="8301038" cy="4654550"/>
            <a:chOff x="242" y="937"/>
            <a:chExt cx="5229" cy="2932"/>
          </a:xfrm>
        </p:grpSpPr>
        <p:grpSp>
          <p:nvGrpSpPr>
            <p:cNvPr id="3135492" name="Group 4"/>
            <p:cNvGrpSpPr>
              <a:grpSpLocks/>
            </p:cNvGrpSpPr>
            <p:nvPr/>
          </p:nvGrpSpPr>
          <p:grpSpPr bwMode="auto">
            <a:xfrm>
              <a:off x="3791" y="1345"/>
              <a:ext cx="1680" cy="2524"/>
              <a:chOff x="3791" y="1345"/>
              <a:chExt cx="1680" cy="2524"/>
            </a:xfrm>
          </p:grpSpPr>
          <p:sp>
            <p:nvSpPr>
              <p:cNvPr id="3135493" name="Freeform 5"/>
              <p:cNvSpPr>
                <a:spLocks/>
              </p:cNvSpPr>
              <p:nvPr/>
            </p:nvSpPr>
            <p:spPr bwMode="gray">
              <a:xfrm>
                <a:off x="3791" y="1345"/>
                <a:ext cx="1680" cy="2524"/>
              </a:xfrm>
              <a:custGeom>
                <a:avLst/>
                <a:gdLst>
                  <a:gd name="T0" fmla="*/ 2551 w 2551"/>
                  <a:gd name="T1" fmla="*/ 2008 h 2008"/>
                  <a:gd name="T2" fmla="*/ 2551 w 2551"/>
                  <a:gd name="T3" fmla="*/ 0 h 2008"/>
                  <a:gd name="T4" fmla="*/ 1274 w 2551"/>
                  <a:gd name="T5" fmla="*/ 97 h 2008"/>
                  <a:gd name="T6" fmla="*/ 0 w 2551"/>
                  <a:gd name="T7" fmla="*/ 0 h 2008"/>
                  <a:gd name="T8" fmla="*/ 0 w 2551"/>
                  <a:gd name="T9" fmla="*/ 2008 h 2008"/>
                  <a:gd name="T10" fmla="*/ 2551 w 2551"/>
                  <a:gd name="T11" fmla="*/ 2008 h 2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51" h="2008">
                    <a:moveTo>
                      <a:pt x="2551" y="2008"/>
                    </a:moveTo>
                    <a:lnTo>
                      <a:pt x="2551" y="0"/>
                    </a:lnTo>
                    <a:lnTo>
                      <a:pt x="1274" y="97"/>
                    </a:lnTo>
                    <a:lnTo>
                      <a:pt x="0" y="0"/>
                    </a:lnTo>
                    <a:lnTo>
                      <a:pt x="0" y="2008"/>
                    </a:lnTo>
                    <a:lnTo>
                      <a:pt x="2551" y="2008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0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5494" name="Rectangle 6"/>
              <p:cNvSpPr>
                <a:spLocks noChangeArrowheads="1"/>
              </p:cNvSpPr>
              <p:nvPr/>
            </p:nvSpPr>
            <p:spPr bwMode="gray">
              <a:xfrm>
                <a:off x="3860" y="1548"/>
                <a:ext cx="1535" cy="19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383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 sz="20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 sz="20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sp>
          <p:nvSpPr>
            <p:cNvPr id="3135495" name="AutoShape 7"/>
            <p:cNvSpPr>
              <a:spLocks noChangeArrowheads="1"/>
            </p:cNvSpPr>
            <p:nvPr/>
          </p:nvSpPr>
          <p:spPr bwMode="gray">
            <a:xfrm rot="5400000" flipV="1">
              <a:off x="4404" y="324"/>
              <a:ext cx="453" cy="1680"/>
            </a:xfrm>
            <a:prstGeom prst="homePlate">
              <a:avLst>
                <a:gd name="adj" fmla="val 25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lIns="0" tIns="0" rIns="0" bIns="0" anchor="ctr"/>
            <a:lstStyle/>
            <a:p>
              <a:pPr defTabSz="912813"/>
              <a:r>
                <a:rPr lang="de-DE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sz="2000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3135496" name="Group 8"/>
            <p:cNvGrpSpPr>
              <a:grpSpLocks/>
            </p:cNvGrpSpPr>
            <p:nvPr/>
          </p:nvGrpSpPr>
          <p:grpSpPr bwMode="auto">
            <a:xfrm>
              <a:off x="2017" y="937"/>
              <a:ext cx="1682" cy="2932"/>
              <a:chOff x="2017" y="937"/>
              <a:chExt cx="1682" cy="2932"/>
            </a:xfrm>
          </p:grpSpPr>
          <p:grpSp>
            <p:nvGrpSpPr>
              <p:cNvPr id="3135497" name="Group 9"/>
              <p:cNvGrpSpPr>
                <a:grpSpLocks/>
              </p:cNvGrpSpPr>
              <p:nvPr/>
            </p:nvGrpSpPr>
            <p:grpSpPr bwMode="auto">
              <a:xfrm>
                <a:off x="2017" y="1345"/>
                <a:ext cx="1682" cy="2524"/>
                <a:chOff x="2023" y="1316"/>
                <a:chExt cx="1684" cy="2559"/>
              </a:xfrm>
            </p:grpSpPr>
            <p:sp>
              <p:nvSpPr>
                <p:cNvPr id="3135498" name="Freeform 10"/>
                <p:cNvSpPr>
                  <a:spLocks/>
                </p:cNvSpPr>
                <p:nvPr/>
              </p:nvSpPr>
              <p:spPr bwMode="gray">
                <a:xfrm>
                  <a:off x="2023" y="1316"/>
                  <a:ext cx="1684" cy="2559"/>
                </a:xfrm>
                <a:custGeom>
                  <a:avLst/>
                  <a:gdLst>
                    <a:gd name="T0" fmla="*/ 2551 w 2551"/>
                    <a:gd name="T1" fmla="*/ 2008 h 2008"/>
                    <a:gd name="T2" fmla="*/ 2551 w 2551"/>
                    <a:gd name="T3" fmla="*/ 0 h 2008"/>
                    <a:gd name="T4" fmla="*/ 1274 w 2551"/>
                    <a:gd name="T5" fmla="*/ 97 h 2008"/>
                    <a:gd name="T6" fmla="*/ 0 w 2551"/>
                    <a:gd name="T7" fmla="*/ 0 h 2008"/>
                    <a:gd name="T8" fmla="*/ 0 w 2551"/>
                    <a:gd name="T9" fmla="*/ 2008 h 2008"/>
                    <a:gd name="T10" fmla="*/ 2551 w 2551"/>
                    <a:gd name="T11" fmla="*/ 2008 h 20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51" h="2008">
                      <a:moveTo>
                        <a:pt x="2551" y="2008"/>
                      </a:moveTo>
                      <a:lnTo>
                        <a:pt x="2551" y="0"/>
                      </a:lnTo>
                      <a:lnTo>
                        <a:pt x="1274" y="97"/>
                      </a:lnTo>
                      <a:lnTo>
                        <a:pt x="0" y="0"/>
                      </a:lnTo>
                      <a:lnTo>
                        <a:pt x="0" y="2008"/>
                      </a:lnTo>
                      <a:lnTo>
                        <a:pt x="2551" y="2008"/>
                      </a:lnTo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9525" cmpd="sng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2000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  <p:sp>
              <p:nvSpPr>
                <p:cNvPr id="3135499" name="Rectangle 11"/>
                <p:cNvSpPr>
                  <a:spLocks noChangeArrowheads="1"/>
                </p:cNvSpPr>
                <p:nvPr/>
              </p:nvSpPr>
              <p:spPr bwMode="gray">
                <a:xfrm>
                  <a:off x="2104" y="1522"/>
                  <a:ext cx="1537" cy="13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8383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/>
                <a:lstStyle/>
                <a:p>
                  <a:pPr marL="174625" lvl="1" indent="-173038" defTabSz="912813">
                    <a:buFont typeface="Wingdings" pitchFamily="2" charset="2"/>
                    <a:buChar char="§"/>
                  </a:pPr>
                  <a:r>
                    <a:rPr lang="de-DE" sz="2000">
                      <a:latin typeface="Baskerville" charset="0"/>
                      <a:ea typeface="Baskerville" charset="0"/>
                      <a:cs typeface="Baskerville" charset="0"/>
                    </a:rPr>
                    <a:t>Text</a:t>
                  </a:r>
                  <a:endParaRPr lang="en-US" sz="2000">
                    <a:latin typeface="Baskerville" charset="0"/>
                    <a:ea typeface="Baskerville" charset="0"/>
                    <a:cs typeface="Baskerville" charset="0"/>
                  </a:endParaRPr>
                </a:p>
              </p:txBody>
            </p:sp>
          </p:grpSp>
          <p:sp>
            <p:nvSpPr>
              <p:cNvPr id="3135500" name="AutoShape 12"/>
              <p:cNvSpPr>
                <a:spLocks noChangeArrowheads="1"/>
              </p:cNvSpPr>
              <p:nvPr/>
            </p:nvSpPr>
            <p:spPr bwMode="gray">
              <a:xfrm rot="5400000" flipV="1">
                <a:off x="2630" y="324"/>
                <a:ext cx="453" cy="1680"/>
              </a:xfrm>
              <a:prstGeom prst="homePlate">
                <a:avLst>
                  <a:gd name="adj" fmla="val 25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lIns="0" tIns="0" rIns="0" bIns="0" anchor="ctr"/>
              <a:lstStyle/>
              <a:p>
                <a:pPr defTabSz="912813"/>
                <a:r>
                  <a:rPr lang="de-DE" sz="20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 sz="2000" b="1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sp>
          <p:nvSpPr>
            <p:cNvPr id="3135501" name="Freeform 13"/>
            <p:cNvSpPr>
              <a:spLocks/>
            </p:cNvSpPr>
            <p:nvPr/>
          </p:nvSpPr>
          <p:spPr bwMode="gray">
            <a:xfrm>
              <a:off x="242" y="1345"/>
              <a:ext cx="1681" cy="2524"/>
            </a:xfrm>
            <a:custGeom>
              <a:avLst/>
              <a:gdLst>
                <a:gd name="T0" fmla="*/ 2551 w 2551"/>
                <a:gd name="T1" fmla="*/ 2008 h 2008"/>
                <a:gd name="T2" fmla="*/ 2551 w 2551"/>
                <a:gd name="T3" fmla="*/ 0 h 2008"/>
                <a:gd name="T4" fmla="*/ 1274 w 2551"/>
                <a:gd name="T5" fmla="*/ 97 h 2008"/>
                <a:gd name="T6" fmla="*/ 0 w 2551"/>
                <a:gd name="T7" fmla="*/ 0 h 2008"/>
                <a:gd name="T8" fmla="*/ 0 w 2551"/>
                <a:gd name="T9" fmla="*/ 2008 h 2008"/>
                <a:gd name="T10" fmla="*/ 2551 w 2551"/>
                <a:gd name="T11" fmla="*/ 2008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51" h="2008">
                  <a:moveTo>
                    <a:pt x="2551" y="2008"/>
                  </a:moveTo>
                  <a:lnTo>
                    <a:pt x="2551" y="0"/>
                  </a:lnTo>
                  <a:lnTo>
                    <a:pt x="1274" y="97"/>
                  </a:lnTo>
                  <a:lnTo>
                    <a:pt x="0" y="0"/>
                  </a:lnTo>
                  <a:lnTo>
                    <a:pt x="0" y="2008"/>
                  </a:lnTo>
                  <a:lnTo>
                    <a:pt x="2551" y="200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35502" name="Rectangle 14"/>
            <p:cNvSpPr>
              <a:spLocks noChangeArrowheads="1"/>
            </p:cNvSpPr>
            <p:nvPr/>
          </p:nvSpPr>
          <p:spPr bwMode="gray">
            <a:xfrm>
              <a:off x="308" y="1548"/>
              <a:ext cx="1535" cy="1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2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35503" name="AutoShape 15"/>
            <p:cNvSpPr>
              <a:spLocks noChangeArrowheads="1"/>
            </p:cNvSpPr>
            <p:nvPr/>
          </p:nvSpPr>
          <p:spPr bwMode="gray">
            <a:xfrm rot="5400000" flipV="1">
              <a:off x="855" y="324"/>
              <a:ext cx="453" cy="1680"/>
            </a:xfrm>
            <a:prstGeom prst="homePlate">
              <a:avLst>
                <a:gd name="adj" fmla="val 25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lIns="0" tIns="0" rIns="0" bIns="0" anchor="ctr"/>
            <a:lstStyle/>
            <a:p>
              <a:pPr defTabSz="912813"/>
              <a:r>
                <a:rPr lang="en-US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7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200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75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sequences</a:t>
            </a:r>
          </a:p>
        </p:txBody>
      </p:sp>
      <p:grpSp>
        <p:nvGrpSpPr>
          <p:cNvPr id="3137539" name="Group 3"/>
          <p:cNvGrpSpPr>
            <a:grpSpLocks/>
          </p:cNvGrpSpPr>
          <p:nvPr/>
        </p:nvGrpSpPr>
        <p:grpSpPr bwMode="auto">
          <a:xfrm>
            <a:off x="1911351" y="1497014"/>
            <a:ext cx="8297863" cy="4651375"/>
            <a:chOff x="244" y="943"/>
            <a:chExt cx="5227" cy="2930"/>
          </a:xfrm>
        </p:grpSpPr>
        <p:grpSp>
          <p:nvGrpSpPr>
            <p:cNvPr id="3137540" name="Group 4"/>
            <p:cNvGrpSpPr>
              <a:grpSpLocks/>
            </p:cNvGrpSpPr>
            <p:nvPr/>
          </p:nvGrpSpPr>
          <p:grpSpPr bwMode="auto">
            <a:xfrm>
              <a:off x="244" y="943"/>
              <a:ext cx="1671" cy="2930"/>
              <a:chOff x="244" y="943"/>
              <a:chExt cx="1671" cy="2930"/>
            </a:xfrm>
          </p:grpSpPr>
          <p:sp>
            <p:nvSpPr>
              <p:cNvPr id="3137541" name="AutoShape 5"/>
              <p:cNvSpPr>
                <a:spLocks noChangeArrowheads="1"/>
              </p:cNvSpPr>
              <p:nvPr/>
            </p:nvSpPr>
            <p:spPr bwMode="gray">
              <a:xfrm rot="5400000">
                <a:off x="653" y="958"/>
                <a:ext cx="848" cy="1666"/>
              </a:xfrm>
              <a:prstGeom prst="homePlate">
                <a:avLst>
                  <a:gd name="adj" fmla="val 14741"/>
                </a:avLst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tIns="91440" bIns="91440"/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342900" lvl="2" indent="-166688" defTabSz="912813">
                  <a:buFontTx/>
                  <a:buChar char="–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7542" name="Freeform 6"/>
              <p:cNvSpPr>
                <a:spLocks/>
              </p:cNvSpPr>
              <p:nvPr/>
            </p:nvSpPr>
            <p:spPr bwMode="gray">
              <a:xfrm>
                <a:off x="244" y="2947"/>
                <a:ext cx="1662" cy="926"/>
              </a:xfrm>
              <a:custGeom>
                <a:avLst/>
                <a:gdLst>
                  <a:gd name="T0" fmla="*/ 0 w 1288"/>
                  <a:gd name="T1" fmla="*/ 0 h 699"/>
                  <a:gd name="T2" fmla="*/ 640 w 1288"/>
                  <a:gd name="T3" fmla="*/ 97 h 699"/>
                  <a:gd name="T4" fmla="*/ 1288 w 1288"/>
                  <a:gd name="T5" fmla="*/ 0 h 699"/>
                  <a:gd name="T6" fmla="*/ 1288 w 1288"/>
                  <a:gd name="T7" fmla="*/ 699 h 699"/>
                  <a:gd name="T8" fmla="*/ 0 w 1288"/>
                  <a:gd name="T9" fmla="*/ 699 h 699"/>
                  <a:gd name="T10" fmla="*/ 0 w 1288"/>
                  <a:gd name="T11" fmla="*/ 0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88" h="699">
                    <a:moveTo>
                      <a:pt x="0" y="0"/>
                    </a:moveTo>
                    <a:lnTo>
                      <a:pt x="640" y="97"/>
                    </a:lnTo>
                    <a:lnTo>
                      <a:pt x="1288" y="0"/>
                    </a:lnTo>
                    <a:lnTo>
                      <a:pt x="1288" y="699"/>
                    </a:lnTo>
                    <a:lnTo>
                      <a:pt x="0" y="69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7543" name="Rectangle 7"/>
              <p:cNvSpPr>
                <a:spLocks noChangeArrowheads="1"/>
              </p:cNvSpPr>
              <p:nvPr/>
            </p:nvSpPr>
            <p:spPr bwMode="gray">
              <a:xfrm>
                <a:off x="280" y="3114"/>
                <a:ext cx="1587" cy="52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383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342900" lvl="2" indent="-166688" defTabSz="912813">
                  <a:buFontTx/>
                  <a:buChar char="–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7544" name="Rectangle 8"/>
              <p:cNvSpPr>
                <a:spLocks noChangeArrowheads="1"/>
              </p:cNvSpPr>
              <p:nvPr/>
            </p:nvSpPr>
            <p:spPr bwMode="gray">
              <a:xfrm>
                <a:off x="244" y="943"/>
                <a:ext cx="1671" cy="35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en-US" sz="20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3137545" name="AutoShape 9"/>
              <p:cNvSpPr>
                <a:spLocks noChangeArrowheads="1"/>
              </p:cNvSpPr>
              <p:nvPr/>
            </p:nvSpPr>
            <p:spPr bwMode="gray">
              <a:xfrm rot="5400000">
                <a:off x="647" y="1749"/>
                <a:ext cx="859" cy="1666"/>
              </a:xfrm>
              <a:prstGeom prst="chevron">
                <a:avLst>
                  <a:gd name="adj" fmla="val 15949"/>
                </a:avLst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lIns="274320" tIns="182880" bIns="91440"/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342900" lvl="2" indent="-166688" defTabSz="912813">
                  <a:buFontTx/>
                  <a:buChar char="–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pSp>
          <p:nvGrpSpPr>
            <p:cNvPr id="3137546" name="Group 10"/>
            <p:cNvGrpSpPr>
              <a:grpSpLocks/>
            </p:cNvGrpSpPr>
            <p:nvPr/>
          </p:nvGrpSpPr>
          <p:grpSpPr bwMode="auto">
            <a:xfrm>
              <a:off x="2025" y="943"/>
              <a:ext cx="1671" cy="2930"/>
              <a:chOff x="2025" y="943"/>
              <a:chExt cx="1671" cy="2930"/>
            </a:xfrm>
          </p:grpSpPr>
          <p:sp>
            <p:nvSpPr>
              <p:cNvPr id="3137547" name="AutoShape 11"/>
              <p:cNvSpPr>
                <a:spLocks noChangeArrowheads="1"/>
              </p:cNvSpPr>
              <p:nvPr/>
            </p:nvSpPr>
            <p:spPr bwMode="gray">
              <a:xfrm rot="5400000">
                <a:off x="2434" y="958"/>
                <a:ext cx="848" cy="1666"/>
              </a:xfrm>
              <a:prstGeom prst="homePlate">
                <a:avLst>
                  <a:gd name="adj" fmla="val 14741"/>
                </a:avLst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tIns="91440" bIns="91440"/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342900" lvl="2" indent="-166688" defTabSz="912813">
                  <a:buFontTx/>
                  <a:buChar char="–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7548" name="Freeform 12"/>
              <p:cNvSpPr>
                <a:spLocks/>
              </p:cNvSpPr>
              <p:nvPr/>
            </p:nvSpPr>
            <p:spPr bwMode="gray">
              <a:xfrm>
                <a:off x="2025" y="2947"/>
                <a:ext cx="1662" cy="926"/>
              </a:xfrm>
              <a:custGeom>
                <a:avLst/>
                <a:gdLst>
                  <a:gd name="T0" fmla="*/ 0 w 1288"/>
                  <a:gd name="T1" fmla="*/ 0 h 699"/>
                  <a:gd name="T2" fmla="*/ 640 w 1288"/>
                  <a:gd name="T3" fmla="*/ 97 h 699"/>
                  <a:gd name="T4" fmla="*/ 1288 w 1288"/>
                  <a:gd name="T5" fmla="*/ 0 h 699"/>
                  <a:gd name="T6" fmla="*/ 1288 w 1288"/>
                  <a:gd name="T7" fmla="*/ 699 h 699"/>
                  <a:gd name="T8" fmla="*/ 0 w 1288"/>
                  <a:gd name="T9" fmla="*/ 699 h 699"/>
                  <a:gd name="T10" fmla="*/ 0 w 1288"/>
                  <a:gd name="T11" fmla="*/ 0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88" h="699">
                    <a:moveTo>
                      <a:pt x="0" y="0"/>
                    </a:moveTo>
                    <a:lnTo>
                      <a:pt x="640" y="97"/>
                    </a:lnTo>
                    <a:lnTo>
                      <a:pt x="1288" y="0"/>
                    </a:lnTo>
                    <a:lnTo>
                      <a:pt x="1288" y="699"/>
                    </a:lnTo>
                    <a:lnTo>
                      <a:pt x="0" y="69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7549" name="Rectangle 13"/>
              <p:cNvSpPr>
                <a:spLocks noChangeArrowheads="1"/>
              </p:cNvSpPr>
              <p:nvPr/>
            </p:nvSpPr>
            <p:spPr bwMode="gray">
              <a:xfrm>
                <a:off x="2061" y="3114"/>
                <a:ext cx="1587" cy="52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383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342900" lvl="2" indent="-166688" defTabSz="912813">
                  <a:buFontTx/>
                  <a:buChar char="–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7550" name="Rectangle 14"/>
              <p:cNvSpPr>
                <a:spLocks noChangeArrowheads="1"/>
              </p:cNvSpPr>
              <p:nvPr/>
            </p:nvSpPr>
            <p:spPr bwMode="gray">
              <a:xfrm>
                <a:off x="2025" y="943"/>
                <a:ext cx="1671" cy="35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en-US" sz="20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3137551" name="AutoShape 15"/>
              <p:cNvSpPr>
                <a:spLocks noChangeArrowheads="1"/>
              </p:cNvSpPr>
              <p:nvPr/>
            </p:nvSpPr>
            <p:spPr bwMode="gray">
              <a:xfrm rot="5400000">
                <a:off x="2428" y="1749"/>
                <a:ext cx="859" cy="1666"/>
              </a:xfrm>
              <a:prstGeom prst="chevron">
                <a:avLst>
                  <a:gd name="adj" fmla="val 15949"/>
                </a:avLst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lIns="274320" tIns="182880" bIns="91440"/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342900" lvl="2" indent="-166688" defTabSz="912813">
                  <a:buFontTx/>
                  <a:buChar char="–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pSp>
          <p:nvGrpSpPr>
            <p:cNvPr id="3137552" name="Group 16"/>
            <p:cNvGrpSpPr>
              <a:grpSpLocks/>
            </p:cNvGrpSpPr>
            <p:nvPr/>
          </p:nvGrpSpPr>
          <p:grpSpPr bwMode="auto">
            <a:xfrm>
              <a:off x="3800" y="943"/>
              <a:ext cx="1671" cy="2930"/>
              <a:chOff x="3800" y="943"/>
              <a:chExt cx="1671" cy="2930"/>
            </a:xfrm>
          </p:grpSpPr>
          <p:sp>
            <p:nvSpPr>
              <p:cNvPr id="3137553" name="AutoShape 17"/>
              <p:cNvSpPr>
                <a:spLocks noChangeArrowheads="1"/>
              </p:cNvSpPr>
              <p:nvPr/>
            </p:nvSpPr>
            <p:spPr bwMode="gray">
              <a:xfrm rot="5400000">
                <a:off x="4214" y="958"/>
                <a:ext cx="848" cy="1666"/>
              </a:xfrm>
              <a:prstGeom prst="homePlate">
                <a:avLst>
                  <a:gd name="adj" fmla="val 14741"/>
                </a:avLst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tIns="91440" bIns="91440"/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342900" lvl="2" indent="-166688" defTabSz="912813">
                  <a:buFontTx/>
                  <a:buChar char="–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7554" name="Freeform 18"/>
              <p:cNvSpPr>
                <a:spLocks/>
              </p:cNvSpPr>
              <p:nvPr/>
            </p:nvSpPr>
            <p:spPr bwMode="gray">
              <a:xfrm>
                <a:off x="3809" y="2947"/>
                <a:ext cx="1662" cy="926"/>
              </a:xfrm>
              <a:custGeom>
                <a:avLst/>
                <a:gdLst>
                  <a:gd name="T0" fmla="*/ 0 w 1288"/>
                  <a:gd name="T1" fmla="*/ 0 h 699"/>
                  <a:gd name="T2" fmla="*/ 640 w 1288"/>
                  <a:gd name="T3" fmla="*/ 97 h 699"/>
                  <a:gd name="T4" fmla="*/ 1288 w 1288"/>
                  <a:gd name="T5" fmla="*/ 0 h 699"/>
                  <a:gd name="T6" fmla="*/ 1288 w 1288"/>
                  <a:gd name="T7" fmla="*/ 699 h 699"/>
                  <a:gd name="T8" fmla="*/ 0 w 1288"/>
                  <a:gd name="T9" fmla="*/ 699 h 699"/>
                  <a:gd name="T10" fmla="*/ 0 w 1288"/>
                  <a:gd name="T11" fmla="*/ 0 h 6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88" h="699">
                    <a:moveTo>
                      <a:pt x="0" y="0"/>
                    </a:moveTo>
                    <a:lnTo>
                      <a:pt x="640" y="97"/>
                    </a:lnTo>
                    <a:lnTo>
                      <a:pt x="1288" y="0"/>
                    </a:lnTo>
                    <a:lnTo>
                      <a:pt x="1288" y="699"/>
                    </a:lnTo>
                    <a:lnTo>
                      <a:pt x="0" y="69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7555" name="Rectangle 19"/>
              <p:cNvSpPr>
                <a:spLocks noChangeArrowheads="1"/>
              </p:cNvSpPr>
              <p:nvPr/>
            </p:nvSpPr>
            <p:spPr bwMode="gray">
              <a:xfrm>
                <a:off x="3836" y="3114"/>
                <a:ext cx="1587" cy="52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383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342900" lvl="2" indent="-166688" defTabSz="912813">
                  <a:buFontTx/>
                  <a:buChar char="–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7556" name="Rectangle 20"/>
              <p:cNvSpPr>
                <a:spLocks noChangeArrowheads="1"/>
              </p:cNvSpPr>
              <p:nvPr/>
            </p:nvSpPr>
            <p:spPr bwMode="gray">
              <a:xfrm>
                <a:off x="3800" y="943"/>
                <a:ext cx="1671" cy="35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/>
              <a:p>
                <a:pPr defTabSz="912813"/>
                <a:r>
                  <a:rPr lang="en-US" sz="20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</p:txBody>
          </p:sp>
          <p:sp>
            <p:nvSpPr>
              <p:cNvPr id="3137557" name="AutoShape 21"/>
              <p:cNvSpPr>
                <a:spLocks noChangeArrowheads="1"/>
              </p:cNvSpPr>
              <p:nvPr/>
            </p:nvSpPr>
            <p:spPr bwMode="gray">
              <a:xfrm rot="5400000">
                <a:off x="4208" y="1749"/>
                <a:ext cx="859" cy="1666"/>
              </a:xfrm>
              <a:prstGeom prst="chevron">
                <a:avLst>
                  <a:gd name="adj" fmla="val 15949"/>
                </a:avLst>
              </a:prstGeom>
              <a:solidFill>
                <a:schemeClr val="bg1">
                  <a:lumMod val="95000"/>
                </a:schemeClr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lIns="274320" tIns="182880" bIns="91440"/>
              <a:lstStyle/>
              <a:p>
                <a:pPr defTabSz="912813"/>
                <a:r>
                  <a:rPr lang="en-US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</a:p>
              <a:p>
                <a:pPr marL="342900" lvl="2" indent="-166688" defTabSz="912813">
                  <a:buFontTx/>
                  <a:buChar char="–"/>
                </a:pPr>
                <a:r>
                  <a:rPr lang="de-DE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7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677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95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sequences 4</a:t>
            </a:r>
          </a:p>
        </p:txBody>
      </p:sp>
      <p:grpSp>
        <p:nvGrpSpPr>
          <p:cNvPr id="3139587" name="Group 3"/>
          <p:cNvGrpSpPr>
            <a:grpSpLocks/>
          </p:cNvGrpSpPr>
          <p:nvPr/>
        </p:nvGrpSpPr>
        <p:grpSpPr bwMode="auto">
          <a:xfrm>
            <a:off x="1911350" y="1493839"/>
            <a:ext cx="8301038" cy="4657725"/>
            <a:chOff x="244" y="941"/>
            <a:chExt cx="5223" cy="2916"/>
          </a:xfrm>
        </p:grpSpPr>
        <p:sp>
          <p:nvSpPr>
            <p:cNvPr id="3139588" name="Freeform 4"/>
            <p:cNvSpPr>
              <a:spLocks/>
            </p:cNvSpPr>
            <p:nvPr/>
          </p:nvSpPr>
          <p:spPr bwMode="gray">
            <a:xfrm>
              <a:off x="4232" y="1342"/>
              <a:ext cx="1235" cy="2515"/>
            </a:xfrm>
            <a:custGeom>
              <a:avLst/>
              <a:gdLst>
                <a:gd name="T0" fmla="*/ 2551 w 2551"/>
                <a:gd name="T1" fmla="*/ 2008 h 2008"/>
                <a:gd name="T2" fmla="*/ 2551 w 2551"/>
                <a:gd name="T3" fmla="*/ 0 h 2008"/>
                <a:gd name="T4" fmla="*/ 1274 w 2551"/>
                <a:gd name="T5" fmla="*/ 97 h 2008"/>
                <a:gd name="T6" fmla="*/ 0 w 2551"/>
                <a:gd name="T7" fmla="*/ 0 h 2008"/>
                <a:gd name="T8" fmla="*/ 0 w 2551"/>
                <a:gd name="T9" fmla="*/ 2008 h 2008"/>
                <a:gd name="T10" fmla="*/ 2551 w 2551"/>
                <a:gd name="T11" fmla="*/ 2008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51" h="2008">
                  <a:moveTo>
                    <a:pt x="2551" y="2008"/>
                  </a:moveTo>
                  <a:lnTo>
                    <a:pt x="2551" y="0"/>
                  </a:lnTo>
                  <a:lnTo>
                    <a:pt x="1274" y="97"/>
                  </a:lnTo>
                  <a:lnTo>
                    <a:pt x="0" y="0"/>
                  </a:lnTo>
                  <a:lnTo>
                    <a:pt x="0" y="2008"/>
                  </a:lnTo>
                  <a:lnTo>
                    <a:pt x="2551" y="2008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39589" name="Rectangle 5"/>
            <p:cNvSpPr>
              <a:spLocks noChangeArrowheads="1"/>
            </p:cNvSpPr>
            <p:nvPr/>
          </p:nvSpPr>
          <p:spPr bwMode="gray">
            <a:xfrm>
              <a:off x="4289" y="1524"/>
              <a:ext cx="1121" cy="1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de-DE" sz="20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sz="20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39590" name="AutoShape 6"/>
            <p:cNvSpPr>
              <a:spLocks noChangeArrowheads="1"/>
            </p:cNvSpPr>
            <p:nvPr/>
          </p:nvSpPr>
          <p:spPr bwMode="gray">
            <a:xfrm rot="5400000" flipV="1">
              <a:off x="4626" y="552"/>
              <a:ext cx="451" cy="1230"/>
            </a:xfrm>
            <a:prstGeom prst="homePlate">
              <a:avLst>
                <a:gd name="adj" fmla="val 25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lIns="0" tIns="0" rIns="0" bIns="0" anchor="ctr"/>
            <a:lstStyle/>
            <a:p>
              <a:pPr defTabSz="912813"/>
              <a:r>
                <a:rPr lang="de-DE" sz="20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sz="2000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grpSp>
          <p:nvGrpSpPr>
            <p:cNvPr id="3139591" name="Group 7"/>
            <p:cNvGrpSpPr>
              <a:grpSpLocks/>
            </p:cNvGrpSpPr>
            <p:nvPr/>
          </p:nvGrpSpPr>
          <p:grpSpPr bwMode="auto">
            <a:xfrm>
              <a:off x="2903" y="941"/>
              <a:ext cx="1236" cy="2916"/>
              <a:chOff x="2903" y="941"/>
              <a:chExt cx="1236" cy="2916"/>
            </a:xfrm>
          </p:grpSpPr>
          <p:sp>
            <p:nvSpPr>
              <p:cNvPr id="3139592" name="Freeform 8"/>
              <p:cNvSpPr>
                <a:spLocks/>
              </p:cNvSpPr>
              <p:nvPr/>
            </p:nvSpPr>
            <p:spPr bwMode="gray">
              <a:xfrm>
                <a:off x="2903" y="1342"/>
                <a:ext cx="1236" cy="2515"/>
              </a:xfrm>
              <a:custGeom>
                <a:avLst/>
                <a:gdLst>
                  <a:gd name="T0" fmla="*/ 2551 w 2551"/>
                  <a:gd name="T1" fmla="*/ 2008 h 2008"/>
                  <a:gd name="T2" fmla="*/ 2551 w 2551"/>
                  <a:gd name="T3" fmla="*/ 0 h 2008"/>
                  <a:gd name="T4" fmla="*/ 1274 w 2551"/>
                  <a:gd name="T5" fmla="*/ 97 h 2008"/>
                  <a:gd name="T6" fmla="*/ 0 w 2551"/>
                  <a:gd name="T7" fmla="*/ 0 h 2008"/>
                  <a:gd name="T8" fmla="*/ 0 w 2551"/>
                  <a:gd name="T9" fmla="*/ 2008 h 2008"/>
                  <a:gd name="T10" fmla="*/ 2551 w 2551"/>
                  <a:gd name="T11" fmla="*/ 2008 h 2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51" h="2008">
                    <a:moveTo>
                      <a:pt x="2551" y="2008"/>
                    </a:moveTo>
                    <a:lnTo>
                      <a:pt x="2551" y="0"/>
                    </a:lnTo>
                    <a:lnTo>
                      <a:pt x="1274" y="97"/>
                    </a:lnTo>
                    <a:lnTo>
                      <a:pt x="0" y="0"/>
                    </a:lnTo>
                    <a:lnTo>
                      <a:pt x="0" y="2008"/>
                    </a:lnTo>
                    <a:lnTo>
                      <a:pt x="2551" y="2008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0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9593" name="Rectangle 9"/>
              <p:cNvSpPr>
                <a:spLocks noChangeArrowheads="1"/>
              </p:cNvSpPr>
              <p:nvPr/>
            </p:nvSpPr>
            <p:spPr bwMode="gray">
              <a:xfrm>
                <a:off x="2978" y="1524"/>
                <a:ext cx="1121" cy="1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383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 sz="20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 sz="20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9594" name="AutoShape 10"/>
              <p:cNvSpPr>
                <a:spLocks noChangeArrowheads="1"/>
              </p:cNvSpPr>
              <p:nvPr/>
            </p:nvSpPr>
            <p:spPr bwMode="gray">
              <a:xfrm rot="5400000" flipV="1">
                <a:off x="3292" y="552"/>
                <a:ext cx="451" cy="1230"/>
              </a:xfrm>
              <a:prstGeom prst="homePlate">
                <a:avLst>
                  <a:gd name="adj" fmla="val 25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lIns="0" tIns="0" rIns="0" bIns="0" anchor="ctr"/>
              <a:lstStyle/>
              <a:p>
                <a:pPr defTabSz="912813"/>
                <a:r>
                  <a:rPr lang="de-DE" sz="20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 sz="2000" b="1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pSp>
          <p:nvGrpSpPr>
            <p:cNvPr id="3139595" name="Group 11"/>
            <p:cNvGrpSpPr>
              <a:grpSpLocks/>
            </p:cNvGrpSpPr>
            <p:nvPr/>
          </p:nvGrpSpPr>
          <p:grpSpPr bwMode="auto">
            <a:xfrm>
              <a:off x="1574" y="941"/>
              <a:ext cx="1237" cy="2916"/>
              <a:chOff x="1574" y="941"/>
              <a:chExt cx="1237" cy="2916"/>
            </a:xfrm>
          </p:grpSpPr>
          <p:sp>
            <p:nvSpPr>
              <p:cNvPr id="3139596" name="Freeform 12"/>
              <p:cNvSpPr>
                <a:spLocks/>
              </p:cNvSpPr>
              <p:nvPr/>
            </p:nvSpPr>
            <p:spPr bwMode="gray">
              <a:xfrm>
                <a:off x="1574" y="1342"/>
                <a:ext cx="1237" cy="2515"/>
              </a:xfrm>
              <a:custGeom>
                <a:avLst/>
                <a:gdLst>
                  <a:gd name="T0" fmla="*/ 2551 w 2551"/>
                  <a:gd name="T1" fmla="*/ 2008 h 2008"/>
                  <a:gd name="T2" fmla="*/ 2551 w 2551"/>
                  <a:gd name="T3" fmla="*/ 0 h 2008"/>
                  <a:gd name="T4" fmla="*/ 1274 w 2551"/>
                  <a:gd name="T5" fmla="*/ 97 h 2008"/>
                  <a:gd name="T6" fmla="*/ 0 w 2551"/>
                  <a:gd name="T7" fmla="*/ 0 h 2008"/>
                  <a:gd name="T8" fmla="*/ 0 w 2551"/>
                  <a:gd name="T9" fmla="*/ 2008 h 2008"/>
                  <a:gd name="T10" fmla="*/ 2551 w 2551"/>
                  <a:gd name="T11" fmla="*/ 2008 h 2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51" h="2008">
                    <a:moveTo>
                      <a:pt x="2551" y="2008"/>
                    </a:moveTo>
                    <a:lnTo>
                      <a:pt x="2551" y="0"/>
                    </a:lnTo>
                    <a:lnTo>
                      <a:pt x="1274" y="97"/>
                    </a:lnTo>
                    <a:lnTo>
                      <a:pt x="0" y="0"/>
                    </a:lnTo>
                    <a:lnTo>
                      <a:pt x="0" y="2008"/>
                    </a:lnTo>
                    <a:lnTo>
                      <a:pt x="2551" y="2008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0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9597" name="Rectangle 13"/>
              <p:cNvSpPr>
                <a:spLocks noChangeArrowheads="1"/>
              </p:cNvSpPr>
              <p:nvPr/>
            </p:nvSpPr>
            <p:spPr bwMode="gray">
              <a:xfrm>
                <a:off x="1628" y="1524"/>
                <a:ext cx="1121" cy="1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383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 sz="20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 sz="20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9598" name="AutoShape 14"/>
              <p:cNvSpPr>
                <a:spLocks noChangeArrowheads="1"/>
              </p:cNvSpPr>
              <p:nvPr/>
            </p:nvSpPr>
            <p:spPr bwMode="gray">
              <a:xfrm rot="5400000" flipV="1">
                <a:off x="1963" y="552"/>
                <a:ext cx="451" cy="1230"/>
              </a:xfrm>
              <a:prstGeom prst="homePlate">
                <a:avLst>
                  <a:gd name="adj" fmla="val 25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lIns="0" tIns="0" rIns="0" bIns="0" anchor="ctr"/>
              <a:lstStyle/>
              <a:p>
                <a:pPr defTabSz="912813"/>
                <a:r>
                  <a:rPr lang="de-DE" sz="20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 sz="2000" b="1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  <p:grpSp>
          <p:nvGrpSpPr>
            <p:cNvPr id="3139599" name="Group 15"/>
            <p:cNvGrpSpPr>
              <a:grpSpLocks/>
            </p:cNvGrpSpPr>
            <p:nvPr/>
          </p:nvGrpSpPr>
          <p:grpSpPr bwMode="auto">
            <a:xfrm>
              <a:off x="244" y="941"/>
              <a:ext cx="1236" cy="2916"/>
              <a:chOff x="244" y="941"/>
              <a:chExt cx="1236" cy="2916"/>
            </a:xfrm>
          </p:grpSpPr>
          <p:sp>
            <p:nvSpPr>
              <p:cNvPr id="3139600" name="Freeform 16"/>
              <p:cNvSpPr>
                <a:spLocks/>
              </p:cNvSpPr>
              <p:nvPr/>
            </p:nvSpPr>
            <p:spPr bwMode="gray">
              <a:xfrm>
                <a:off x="244" y="1342"/>
                <a:ext cx="1236" cy="2515"/>
              </a:xfrm>
              <a:custGeom>
                <a:avLst/>
                <a:gdLst>
                  <a:gd name="T0" fmla="*/ 2551 w 2551"/>
                  <a:gd name="T1" fmla="*/ 2008 h 2008"/>
                  <a:gd name="T2" fmla="*/ 2551 w 2551"/>
                  <a:gd name="T3" fmla="*/ 0 h 2008"/>
                  <a:gd name="T4" fmla="*/ 1274 w 2551"/>
                  <a:gd name="T5" fmla="*/ 97 h 2008"/>
                  <a:gd name="T6" fmla="*/ 0 w 2551"/>
                  <a:gd name="T7" fmla="*/ 0 h 2008"/>
                  <a:gd name="T8" fmla="*/ 0 w 2551"/>
                  <a:gd name="T9" fmla="*/ 2008 h 2008"/>
                  <a:gd name="T10" fmla="*/ 2551 w 2551"/>
                  <a:gd name="T11" fmla="*/ 2008 h 2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51" h="2008">
                    <a:moveTo>
                      <a:pt x="2551" y="2008"/>
                    </a:moveTo>
                    <a:lnTo>
                      <a:pt x="2551" y="0"/>
                    </a:lnTo>
                    <a:lnTo>
                      <a:pt x="1274" y="97"/>
                    </a:lnTo>
                    <a:lnTo>
                      <a:pt x="0" y="0"/>
                    </a:lnTo>
                    <a:lnTo>
                      <a:pt x="0" y="2008"/>
                    </a:lnTo>
                    <a:lnTo>
                      <a:pt x="2551" y="2008"/>
                    </a:ln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20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9601" name="Rectangle 17"/>
              <p:cNvSpPr>
                <a:spLocks noChangeArrowheads="1"/>
              </p:cNvSpPr>
              <p:nvPr/>
            </p:nvSpPr>
            <p:spPr bwMode="gray">
              <a:xfrm>
                <a:off x="322" y="1524"/>
                <a:ext cx="1121" cy="1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383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 marL="174625" lvl="1" indent="-173038" defTabSz="912813">
                  <a:buFont typeface="Wingdings" pitchFamily="2" charset="2"/>
                  <a:buChar char="§"/>
                </a:pPr>
                <a:r>
                  <a:rPr lang="de-DE" sz="2000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 sz="2000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  <p:sp>
            <p:nvSpPr>
              <p:cNvPr id="3139602" name="AutoShape 18"/>
              <p:cNvSpPr>
                <a:spLocks noChangeArrowheads="1"/>
              </p:cNvSpPr>
              <p:nvPr/>
            </p:nvSpPr>
            <p:spPr bwMode="gray">
              <a:xfrm rot="5400000" flipV="1">
                <a:off x="633" y="552"/>
                <a:ext cx="451" cy="1230"/>
              </a:xfrm>
              <a:prstGeom prst="homePlate">
                <a:avLst>
                  <a:gd name="adj" fmla="val 25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lIns="0" tIns="0" rIns="0" bIns="0" anchor="ctr"/>
              <a:lstStyle/>
              <a:p>
                <a:pPr defTabSz="912813"/>
                <a:r>
                  <a:rPr lang="de-DE" sz="2000" b="1">
                    <a:latin typeface="Baskerville" charset="0"/>
                    <a:ea typeface="Baskerville" charset="0"/>
                    <a:cs typeface="Baskerville" charset="0"/>
                  </a:rPr>
                  <a:t>Text</a:t>
                </a:r>
                <a:endParaRPr lang="en-US" sz="2000" b="1">
                  <a:latin typeface="Baskerville" charset="0"/>
                  <a:ea typeface="Baskerville" charset="0"/>
                  <a:cs typeface="Baskerville" charset="0"/>
                </a:endParaRPr>
              </a:p>
            </p:txBody>
          </p:sp>
        </p:grp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7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734206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16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sequences 1</a:t>
            </a:r>
          </a:p>
        </p:txBody>
      </p:sp>
      <p:grpSp>
        <p:nvGrpSpPr>
          <p:cNvPr id="3141635" name="Group 3"/>
          <p:cNvGrpSpPr>
            <a:grpSpLocks/>
          </p:cNvGrpSpPr>
          <p:nvPr/>
        </p:nvGrpSpPr>
        <p:grpSpPr bwMode="auto">
          <a:xfrm>
            <a:off x="1914525" y="1497014"/>
            <a:ext cx="8299450" cy="4664075"/>
            <a:chOff x="246" y="943"/>
            <a:chExt cx="5228" cy="2938"/>
          </a:xfrm>
        </p:grpSpPr>
        <p:sp>
          <p:nvSpPr>
            <p:cNvPr id="3141636" name="Freeform 4"/>
            <p:cNvSpPr>
              <a:spLocks/>
            </p:cNvSpPr>
            <p:nvPr/>
          </p:nvSpPr>
          <p:spPr bwMode="gray">
            <a:xfrm rot="-5400000">
              <a:off x="1677" y="84"/>
              <a:ext cx="2938" cy="4656"/>
            </a:xfrm>
            <a:custGeom>
              <a:avLst/>
              <a:gdLst>
                <a:gd name="T0" fmla="*/ 2598 w 2598"/>
                <a:gd name="T1" fmla="*/ 2122 h 2122"/>
                <a:gd name="T2" fmla="*/ 2598 w 2598"/>
                <a:gd name="T3" fmla="*/ 0 h 2122"/>
                <a:gd name="T4" fmla="*/ 1299 w 2598"/>
                <a:gd name="T5" fmla="*/ 101 h 2122"/>
                <a:gd name="T6" fmla="*/ 0 w 2598"/>
                <a:gd name="T7" fmla="*/ 0 h 2122"/>
                <a:gd name="T8" fmla="*/ 0 w 2598"/>
                <a:gd name="T9" fmla="*/ 2122 h 2122"/>
                <a:gd name="T10" fmla="*/ 2598 w 2598"/>
                <a:gd name="T11" fmla="*/ 2122 h 2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98" h="2122">
                  <a:moveTo>
                    <a:pt x="2598" y="2122"/>
                  </a:moveTo>
                  <a:lnTo>
                    <a:pt x="2598" y="0"/>
                  </a:lnTo>
                  <a:lnTo>
                    <a:pt x="1299" y="101"/>
                  </a:lnTo>
                  <a:lnTo>
                    <a:pt x="0" y="0"/>
                  </a:lnTo>
                  <a:lnTo>
                    <a:pt x="0" y="2122"/>
                  </a:lnTo>
                  <a:lnTo>
                    <a:pt x="2598" y="2122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1637" name="Rectangle 5"/>
            <p:cNvSpPr>
              <a:spLocks noChangeArrowheads="1"/>
            </p:cNvSpPr>
            <p:nvPr/>
          </p:nvSpPr>
          <p:spPr bwMode="gray">
            <a:xfrm>
              <a:off x="1154" y="1032"/>
              <a:ext cx="4255" cy="27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1638" name="AutoShape 6"/>
            <p:cNvSpPr>
              <a:spLocks noChangeArrowheads="1"/>
            </p:cNvSpPr>
            <p:nvPr/>
          </p:nvSpPr>
          <p:spPr bwMode="gray">
            <a:xfrm>
              <a:off x="246" y="943"/>
              <a:ext cx="654" cy="2938"/>
            </a:xfrm>
            <a:prstGeom prst="homePlate">
              <a:avLst>
                <a:gd name="adj" fmla="val 32343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86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36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ission</a:t>
            </a:r>
          </a:p>
        </p:txBody>
      </p:sp>
      <p:sp>
        <p:nvSpPr>
          <p:cNvPr id="3013635" name="AutoShape 3"/>
          <p:cNvSpPr>
            <a:spLocks noGrp="1" noChangeArrowheads="1"/>
          </p:cNvSpPr>
          <p:nvPr>
            <p:ph type="body" idx="4294967295"/>
          </p:nvPr>
        </p:nvSpPr>
        <p:spPr>
          <a:xfrm rot="5400000">
            <a:off x="5283201" y="914820"/>
            <a:ext cx="1609725" cy="5229225"/>
          </a:xfrm>
          <a:prstGeom prst="bracketPair">
            <a:avLst>
              <a:gd name="adj" fmla="val 0"/>
            </a:avLst>
          </a:prstGeom>
          <a:noFill/>
          <a:ln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rot="10800000" vert="eaVert" lIns="182880" tIns="182880" rIns="182880" bIns="182880" rtlCol="0" anchor="ctr">
            <a:normAutofit fontScale="92500" lnSpcReduction="20000"/>
          </a:bodyPr>
          <a:lstStyle/>
          <a:p>
            <a:pPr lvl="1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5397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36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sequences 2</a:t>
            </a:r>
          </a:p>
        </p:txBody>
      </p:sp>
      <p:grpSp>
        <p:nvGrpSpPr>
          <p:cNvPr id="3143683" name="Group 3"/>
          <p:cNvGrpSpPr>
            <a:grpSpLocks/>
          </p:cNvGrpSpPr>
          <p:nvPr/>
        </p:nvGrpSpPr>
        <p:grpSpPr bwMode="auto">
          <a:xfrm>
            <a:off x="1905000" y="1626841"/>
            <a:ext cx="8305800" cy="4662487"/>
            <a:chOff x="246" y="941"/>
            <a:chExt cx="5232" cy="2937"/>
          </a:xfrm>
        </p:grpSpPr>
        <p:sp>
          <p:nvSpPr>
            <p:cNvPr id="3143684" name="Freeform 4"/>
            <p:cNvSpPr>
              <a:spLocks/>
            </p:cNvSpPr>
            <p:nvPr/>
          </p:nvSpPr>
          <p:spPr bwMode="gray">
            <a:xfrm>
              <a:off x="862" y="941"/>
              <a:ext cx="4616" cy="1409"/>
            </a:xfrm>
            <a:custGeom>
              <a:avLst/>
              <a:gdLst>
                <a:gd name="T0" fmla="*/ 4538 w 4538"/>
                <a:gd name="T1" fmla="*/ 0 h 1080"/>
                <a:gd name="T2" fmla="*/ 0 w 4538"/>
                <a:gd name="T3" fmla="*/ 0 h 1080"/>
                <a:gd name="T4" fmla="*/ 105 w 4538"/>
                <a:gd name="T5" fmla="*/ 541 h 1080"/>
                <a:gd name="T6" fmla="*/ 0 w 4538"/>
                <a:gd name="T7" fmla="*/ 1080 h 1080"/>
                <a:gd name="T8" fmla="*/ 4538 w 4538"/>
                <a:gd name="T9" fmla="*/ 1080 h 1080"/>
                <a:gd name="T10" fmla="*/ 4538 w 4538"/>
                <a:gd name="T11" fmla="*/ 0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38" h="1080">
                  <a:moveTo>
                    <a:pt x="4538" y="0"/>
                  </a:moveTo>
                  <a:lnTo>
                    <a:pt x="0" y="0"/>
                  </a:lnTo>
                  <a:lnTo>
                    <a:pt x="105" y="541"/>
                  </a:lnTo>
                  <a:lnTo>
                    <a:pt x="0" y="1080"/>
                  </a:lnTo>
                  <a:lnTo>
                    <a:pt x="4538" y="1080"/>
                  </a:lnTo>
                  <a:lnTo>
                    <a:pt x="4538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3685" name="Freeform 5"/>
            <p:cNvSpPr>
              <a:spLocks/>
            </p:cNvSpPr>
            <p:nvPr/>
          </p:nvSpPr>
          <p:spPr bwMode="gray">
            <a:xfrm>
              <a:off x="862" y="2469"/>
              <a:ext cx="4616" cy="1409"/>
            </a:xfrm>
            <a:custGeom>
              <a:avLst/>
              <a:gdLst>
                <a:gd name="T0" fmla="*/ 4538 w 4538"/>
                <a:gd name="T1" fmla="*/ 0 h 1080"/>
                <a:gd name="T2" fmla="*/ 0 w 4538"/>
                <a:gd name="T3" fmla="*/ 0 h 1080"/>
                <a:gd name="T4" fmla="*/ 105 w 4538"/>
                <a:gd name="T5" fmla="*/ 541 h 1080"/>
                <a:gd name="T6" fmla="*/ 0 w 4538"/>
                <a:gd name="T7" fmla="*/ 1080 h 1080"/>
                <a:gd name="T8" fmla="*/ 4538 w 4538"/>
                <a:gd name="T9" fmla="*/ 1080 h 1080"/>
                <a:gd name="T10" fmla="*/ 4538 w 4538"/>
                <a:gd name="T11" fmla="*/ 0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38" h="1080">
                  <a:moveTo>
                    <a:pt x="4538" y="0"/>
                  </a:moveTo>
                  <a:lnTo>
                    <a:pt x="0" y="0"/>
                  </a:lnTo>
                  <a:lnTo>
                    <a:pt x="105" y="541"/>
                  </a:lnTo>
                  <a:lnTo>
                    <a:pt x="0" y="1080"/>
                  </a:lnTo>
                  <a:lnTo>
                    <a:pt x="4538" y="1080"/>
                  </a:lnTo>
                  <a:lnTo>
                    <a:pt x="4538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3686" name="Rectangle 6"/>
            <p:cNvSpPr>
              <a:spLocks noChangeArrowheads="1"/>
            </p:cNvSpPr>
            <p:nvPr/>
          </p:nvSpPr>
          <p:spPr bwMode="gray">
            <a:xfrm>
              <a:off x="1028" y="985"/>
              <a:ext cx="4314" cy="13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3687" name="Rectangle 7"/>
            <p:cNvSpPr>
              <a:spLocks noChangeArrowheads="1"/>
            </p:cNvSpPr>
            <p:nvPr/>
          </p:nvSpPr>
          <p:spPr bwMode="gray">
            <a:xfrm>
              <a:off x="1028" y="2533"/>
              <a:ext cx="4314" cy="13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3688" name="AutoShape 8"/>
            <p:cNvSpPr>
              <a:spLocks noChangeArrowheads="1"/>
            </p:cNvSpPr>
            <p:nvPr/>
          </p:nvSpPr>
          <p:spPr bwMode="gray">
            <a:xfrm>
              <a:off x="246" y="941"/>
              <a:ext cx="678" cy="1409"/>
            </a:xfrm>
            <a:prstGeom prst="homePlate">
              <a:avLst>
                <a:gd name="adj" fmla="val 1607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3689" name="AutoShape 9"/>
            <p:cNvSpPr>
              <a:spLocks noChangeArrowheads="1"/>
            </p:cNvSpPr>
            <p:nvPr/>
          </p:nvSpPr>
          <p:spPr bwMode="gray">
            <a:xfrm>
              <a:off x="246" y="2469"/>
              <a:ext cx="678" cy="1409"/>
            </a:xfrm>
            <a:prstGeom prst="homePlate">
              <a:avLst>
                <a:gd name="adj" fmla="val 1607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463016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57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sequences 3</a:t>
            </a:r>
          </a:p>
        </p:txBody>
      </p:sp>
      <p:grpSp>
        <p:nvGrpSpPr>
          <p:cNvPr id="3145731" name="Group 3"/>
          <p:cNvGrpSpPr>
            <a:grpSpLocks/>
          </p:cNvGrpSpPr>
          <p:nvPr/>
        </p:nvGrpSpPr>
        <p:grpSpPr bwMode="auto">
          <a:xfrm>
            <a:off x="1909763" y="1487488"/>
            <a:ext cx="8299450" cy="4667250"/>
            <a:chOff x="243" y="937"/>
            <a:chExt cx="5228" cy="2940"/>
          </a:xfrm>
        </p:grpSpPr>
        <p:sp>
          <p:nvSpPr>
            <p:cNvPr id="3145732" name="Freeform 4"/>
            <p:cNvSpPr>
              <a:spLocks/>
            </p:cNvSpPr>
            <p:nvPr/>
          </p:nvSpPr>
          <p:spPr bwMode="gray">
            <a:xfrm>
              <a:off x="858" y="937"/>
              <a:ext cx="4613" cy="898"/>
            </a:xfrm>
            <a:custGeom>
              <a:avLst/>
              <a:gdLst>
                <a:gd name="T0" fmla="*/ 4538 w 4538"/>
                <a:gd name="T1" fmla="*/ 0 h 694"/>
                <a:gd name="T2" fmla="*/ 0 w 4538"/>
                <a:gd name="T3" fmla="*/ 0 h 694"/>
                <a:gd name="T4" fmla="*/ 105 w 4538"/>
                <a:gd name="T5" fmla="*/ 348 h 694"/>
                <a:gd name="T6" fmla="*/ 0 w 4538"/>
                <a:gd name="T7" fmla="*/ 694 h 694"/>
                <a:gd name="T8" fmla="*/ 4538 w 4538"/>
                <a:gd name="T9" fmla="*/ 694 h 694"/>
                <a:gd name="T10" fmla="*/ 4538 w 4538"/>
                <a:gd name="T11" fmla="*/ 0 h 694"/>
                <a:gd name="T12" fmla="*/ 4538 w 4538"/>
                <a:gd name="T13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38" h="694">
                  <a:moveTo>
                    <a:pt x="4538" y="0"/>
                  </a:moveTo>
                  <a:lnTo>
                    <a:pt x="0" y="0"/>
                  </a:lnTo>
                  <a:lnTo>
                    <a:pt x="105" y="348"/>
                  </a:lnTo>
                  <a:lnTo>
                    <a:pt x="0" y="694"/>
                  </a:lnTo>
                  <a:lnTo>
                    <a:pt x="4538" y="694"/>
                  </a:lnTo>
                  <a:lnTo>
                    <a:pt x="4538" y="0"/>
                  </a:lnTo>
                  <a:lnTo>
                    <a:pt x="4538" y="0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5733" name="Rectangle 5"/>
            <p:cNvSpPr>
              <a:spLocks noChangeArrowheads="1"/>
            </p:cNvSpPr>
            <p:nvPr/>
          </p:nvSpPr>
          <p:spPr bwMode="gray">
            <a:xfrm>
              <a:off x="1098" y="1000"/>
              <a:ext cx="4319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5734" name="AutoShape 6"/>
            <p:cNvSpPr>
              <a:spLocks noChangeArrowheads="1"/>
            </p:cNvSpPr>
            <p:nvPr/>
          </p:nvSpPr>
          <p:spPr bwMode="gray">
            <a:xfrm>
              <a:off x="243" y="937"/>
              <a:ext cx="654" cy="898"/>
            </a:xfrm>
            <a:prstGeom prst="homePlate">
              <a:avLst>
                <a:gd name="adj" fmla="val 1607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/>
              <a:r>
                <a:rPr lang="de-DE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5735" name="Freeform 7"/>
            <p:cNvSpPr>
              <a:spLocks/>
            </p:cNvSpPr>
            <p:nvPr/>
          </p:nvSpPr>
          <p:spPr bwMode="gray">
            <a:xfrm>
              <a:off x="858" y="1958"/>
              <a:ext cx="4613" cy="898"/>
            </a:xfrm>
            <a:custGeom>
              <a:avLst/>
              <a:gdLst>
                <a:gd name="T0" fmla="*/ 4538 w 4538"/>
                <a:gd name="T1" fmla="*/ 0 h 694"/>
                <a:gd name="T2" fmla="*/ 0 w 4538"/>
                <a:gd name="T3" fmla="*/ 0 h 694"/>
                <a:gd name="T4" fmla="*/ 105 w 4538"/>
                <a:gd name="T5" fmla="*/ 348 h 694"/>
                <a:gd name="T6" fmla="*/ 0 w 4538"/>
                <a:gd name="T7" fmla="*/ 694 h 694"/>
                <a:gd name="T8" fmla="*/ 4538 w 4538"/>
                <a:gd name="T9" fmla="*/ 694 h 694"/>
                <a:gd name="T10" fmla="*/ 4538 w 4538"/>
                <a:gd name="T11" fmla="*/ 0 h 694"/>
                <a:gd name="T12" fmla="*/ 4538 w 4538"/>
                <a:gd name="T13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38" h="694">
                  <a:moveTo>
                    <a:pt x="4538" y="0"/>
                  </a:moveTo>
                  <a:lnTo>
                    <a:pt x="0" y="0"/>
                  </a:lnTo>
                  <a:lnTo>
                    <a:pt x="105" y="348"/>
                  </a:lnTo>
                  <a:lnTo>
                    <a:pt x="0" y="694"/>
                  </a:lnTo>
                  <a:lnTo>
                    <a:pt x="4538" y="694"/>
                  </a:lnTo>
                  <a:lnTo>
                    <a:pt x="4538" y="0"/>
                  </a:lnTo>
                  <a:lnTo>
                    <a:pt x="4538" y="0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5736" name="Rectangle 8"/>
            <p:cNvSpPr>
              <a:spLocks noChangeArrowheads="1"/>
            </p:cNvSpPr>
            <p:nvPr/>
          </p:nvSpPr>
          <p:spPr bwMode="gray">
            <a:xfrm>
              <a:off x="1098" y="2021"/>
              <a:ext cx="4319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5737" name="AutoShape 9"/>
            <p:cNvSpPr>
              <a:spLocks noChangeArrowheads="1"/>
            </p:cNvSpPr>
            <p:nvPr/>
          </p:nvSpPr>
          <p:spPr bwMode="gray">
            <a:xfrm>
              <a:off x="243" y="1958"/>
              <a:ext cx="654" cy="898"/>
            </a:xfrm>
            <a:prstGeom prst="homePlate">
              <a:avLst>
                <a:gd name="adj" fmla="val 1607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/>
              <a:r>
                <a:rPr lang="de-DE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5738" name="Freeform 10"/>
            <p:cNvSpPr>
              <a:spLocks/>
            </p:cNvSpPr>
            <p:nvPr/>
          </p:nvSpPr>
          <p:spPr bwMode="gray">
            <a:xfrm>
              <a:off x="858" y="2979"/>
              <a:ext cx="4613" cy="898"/>
            </a:xfrm>
            <a:custGeom>
              <a:avLst/>
              <a:gdLst>
                <a:gd name="T0" fmla="*/ 4538 w 4538"/>
                <a:gd name="T1" fmla="*/ 0 h 694"/>
                <a:gd name="T2" fmla="*/ 0 w 4538"/>
                <a:gd name="T3" fmla="*/ 0 h 694"/>
                <a:gd name="T4" fmla="*/ 105 w 4538"/>
                <a:gd name="T5" fmla="*/ 348 h 694"/>
                <a:gd name="T6" fmla="*/ 0 w 4538"/>
                <a:gd name="T7" fmla="*/ 694 h 694"/>
                <a:gd name="T8" fmla="*/ 4538 w 4538"/>
                <a:gd name="T9" fmla="*/ 694 h 694"/>
                <a:gd name="T10" fmla="*/ 4538 w 4538"/>
                <a:gd name="T11" fmla="*/ 0 h 694"/>
                <a:gd name="T12" fmla="*/ 4538 w 4538"/>
                <a:gd name="T13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38" h="694">
                  <a:moveTo>
                    <a:pt x="4538" y="0"/>
                  </a:moveTo>
                  <a:lnTo>
                    <a:pt x="0" y="0"/>
                  </a:lnTo>
                  <a:lnTo>
                    <a:pt x="105" y="348"/>
                  </a:lnTo>
                  <a:lnTo>
                    <a:pt x="0" y="694"/>
                  </a:lnTo>
                  <a:lnTo>
                    <a:pt x="4538" y="694"/>
                  </a:lnTo>
                  <a:lnTo>
                    <a:pt x="4538" y="0"/>
                  </a:lnTo>
                  <a:lnTo>
                    <a:pt x="4538" y="0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5739" name="Rectangle 11"/>
            <p:cNvSpPr>
              <a:spLocks noChangeArrowheads="1"/>
            </p:cNvSpPr>
            <p:nvPr/>
          </p:nvSpPr>
          <p:spPr bwMode="gray">
            <a:xfrm>
              <a:off x="1098" y="3042"/>
              <a:ext cx="4319" cy="3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5740" name="AutoShape 12"/>
            <p:cNvSpPr>
              <a:spLocks noChangeArrowheads="1"/>
            </p:cNvSpPr>
            <p:nvPr/>
          </p:nvSpPr>
          <p:spPr bwMode="gray">
            <a:xfrm>
              <a:off x="243" y="2979"/>
              <a:ext cx="654" cy="898"/>
            </a:xfrm>
            <a:prstGeom prst="homePlate">
              <a:avLst>
                <a:gd name="adj" fmla="val 1607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261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77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sequences 4</a:t>
            </a:r>
          </a:p>
        </p:txBody>
      </p:sp>
      <p:grpSp>
        <p:nvGrpSpPr>
          <p:cNvPr id="3147779" name="Group 3"/>
          <p:cNvGrpSpPr>
            <a:grpSpLocks/>
          </p:cNvGrpSpPr>
          <p:nvPr/>
        </p:nvGrpSpPr>
        <p:grpSpPr bwMode="auto">
          <a:xfrm>
            <a:off x="1911350" y="1489076"/>
            <a:ext cx="8301038" cy="4665663"/>
            <a:chOff x="244" y="938"/>
            <a:chExt cx="5229" cy="2939"/>
          </a:xfrm>
        </p:grpSpPr>
        <p:sp>
          <p:nvSpPr>
            <p:cNvPr id="3147780" name="Freeform 4"/>
            <p:cNvSpPr>
              <a:spLocks/>
            </p:cNvSpPr>
            <p:nvPr/>
          </p:nvSpPr>
          <p:spPr bwMode="gray">
            <a:xfrm>
              <a:off x="816" y="938"/>
              <a:ext cx="4657" cy="665"/>
            </a:xfrm>
            <a:custGeom>
              <a:avLst/>
              <a:gdLst>
                <a:gd name="T0" fmla="*/ 4538 w 4538"/>
                <a:gd name="T1" fmla="*/ 0 h 1080"/>
                <a:gd name="T2" fmla="*/ 0 w 4538"/>
                <a:gd name="T3" fmla="*/ 0 h 1080"/>
                <a:gd name="T4" fmla="*/ 105 w 4538"/>
                <a:gd name="T5" fmla="*/ 541 h 1080"/>
                <a:gd name="T6" fmla="*/ 0 w 4538"/>
                <a:gd name="T7" fmla="*/ 1080 h 1080"/>
                <a:gd name="T8" fmla="*/ 4538 w 4538"/>
                <a:gd name="T9" fmla="*/ 1080 h 1080"/>
                <a:gd name="T10" fmla="*/ 4538 w 4538"/>
                <a:gd name="T11" fmla="*/ 0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38" h="1080">
                  <a:moveTo>
                    <a:pt x="4538" y="0"/>
                  </a:moveTo>
                  <a:lnTo>
                    <a:pt x="0" y="0"/>
                  </a:lnTo>
                  <a:lnTo>
                    <a:pt x="105" y="541"/>
                  </a:lnTo>
                  <a:lnTo>
                    <a:pt x="0" y="1080"/>
                  </a:lnTo>
                  <a:lnTo>
                    <a:pt x="4538" y="1080"/>
                  </a:lnTo>
                  <a:lnTo>
                    <a:pt x="4538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7781" name="Rectangle 5"/>
            <p:cNvSpPr>
              <a:spLocks noChangeArrowheads="1"/>
            </p:cNvSpPr>
            <p:nvPr/>
          </p:nvSpPr>
          <p:spPr bwMode="gray">
            <a:xfrm>
              <a:off x="1024" y="975"/>
              <a:ext cx="4415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7782" name="AutoShape 6"/>
            <p:cNvSpPr>
              <a:spLocks noChangeArrowheads="1"/>
            </p:cNvSpPr>
            <p:nvPr/>
          </p:nvSpPr>
          <p:spPr bwMode="gray">
            <a:xfrm>
              <a:off x="244" y="940"/>
              <a:ext cx="617" cy="663"/>
            </a:xfrm>
            <a:prstGeom prst="homePlate">
              <a:avLst>
                <a:gd name="adj" fmla="val 1607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7783" name="Freeform 7"/>
            <p:cNvSpPr>
              <a:spLocks/>
            </p:cNvSpPr>
            <p:nvPr/>
          </p:nvSpPr>
          <p:spPr bwMode="gray">
            <a:xfrm>
              <a:off x="816" y="1696"/>
              <a:ext cx="4657" cy="665"/>
            </a:xfrm>
            <a:custGeom>
              <a:avLst/>
              <a:gdLst>
                <a:gd name="T0" fmla="*/ 4538 w 4538"/>
                <a:gd name="T1" fmla="*/ 0 h 1080"/>
                <a:gd name="T2" fmla="*/ 0 w 4538"/>
                <a:gd name="T3" fmla="*/ 0 h 1080"/>
                <a:gd name="T4" fmla="*/ 105 w 4538"/>
                <a:gd name="T5" fmla="*/ 541 h 1080"/>
                <a:gd name="T6" fmla="*/ 0 w 4538"/>
                <a:gd name="T7" fmla="*/ 1080 h 1080"/>
                <a:gd name="T8" fmla="*/ 4538 w 4538"/>
                <a:gd name="T9" fmla="*/ 1080 h 1080"/>
                <a:gd name="T10" fmla="*/ 4538 w 4538"/>
                <a:gd name="T11" fmla="*/ 0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38" h="1080">
                  <a:moveTo>
                    <a:pt x="4538" y="0"/>
                  </a:moveTo>
                  <a:lnTo>
                    <a:pt x="0" y="0"/>
                  </a:lnTo>
                  <a:lnTo>
                    <a:pt x="105" y="541"/>
                  </a:lnTo>
                  <a:lnTo>
                    <a:pt x="0" y="1080"/>
                  </a:lnTo>
                  <a:lnTo>
                    <a:pt x="4538" y="1080"/>
                  </a:lnTo>
                  <a:lnTo>
                    <a:pt x="4538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7784" name="Rectangle 8"/>
            <p:cNvSpPr>
              <a:spLocks noChangeArrowheads="1"/>
            </p:cNvSpPr>
            <p:nvPr/>
          </p:nvSpPr>
          <p:spPr bwMode="gray">
            <a:xfrm>
              <a:off x="1024" y="1733"/>
              <a:ext cx="4415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7785" name="AutoShape 9"/>
            <p:cNvSpPr>
              <a:spLocks noChangeArrowheads="1"/>
            </p:cNvSpPr>
            <p:nvPr/>
          </p:nvSpPr>
          <p:spPr bwMode="gray">
            <a:xfrm>
              <a:off x="244" y="1698"/>
              <a:ext cx="617" cy="663"/>
            </a:xfrm>
            <a:prstGeom prst="homePlate">
              <a:avLst>
                <a:gd name="adj" fmla="val 1607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de-DE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7786" name="Freeform 10"/>
            <p:cNvSpPr>
              <a:spLocks/>
            </p:cNvSpPr>
            <p:nvPr/>
          </p:nvSpPr>
          <p:spPr bwMode="gray">
            <a:xfrm>
              <a:off x="816" y="2454"/>
              <a:ext cx="4657" cy="665"/>
            </a:xfrm>
            <a:custGeom>
              <a:avLst/>
              <a:gdLst>
                <a:gd name="T0" fmla="*/ 4538 w 4538"/>
                <a:gd name="T1" fmla="*/ 0 h 1080"/>
                <a:gd name="T2" fmla="*/ 0 w 4538"/>
                <a:gd name="T3" fmla="*/ 0 h 1080"/>
                <a:gd name="T4" fmla="*/ 105 w 4538"/>
                <a:gd name="T5" fmla="*/ 541 h 1080"/>
                <a:gd name="T6" fmla="*/ 0 w 4538"/>
                <a:gd name="T7" fmla="*/ 1080 h 1080"/>
                <a:gd name="T8" fmla="*/ 4538 w 4538"/>
                <a:gd name="T9" fmla="*/ 1080 h 1080"/>
                <a:gd name="T10" fmla="*/ 4538 w 4538"/>
                <a:gd name="T11" fmla="*/ 0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38" h="1080">
                  <a:moveTo>
                    <a:pt x="4538" y="0"/>
                  </a:moveTo>
                  <a:lnTo>
                    <a:pt x="0" y="0"/>
                  </a:lnTo>
                  <a:lnTo>
                    <a:pt x="105" y="541"/>
                  </a:lnTo>
                  <a:lnTo>
                    <a:pt x="0" y="1080"/>
                  </a:lnTo>
                  <a:lnTo>
                    <a:pt x="4538" y="1080"/>
                  </a:lnTo>
                  <a:lnTo>
                    <a:pt x="4538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7787" name="Rectangle 11"/>
            <p:cNvSpPr>
              <a:spLocks noChangeArrowheads="1"/>
            </p:cNvSpPr>
            <p:nvPr/>
          </p:nvSpPr>
          <p:spPr bwMode="gray">
            <a:xfrm>
              <a:off x="1024" y="2491"/>
              <a:ext cx="4415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7788" name="AutoShape 12"/>
            <p:cNvSpPr>
              <a:spLocks noChangeArrowheads="1"/>
            </p:cNvSpPr>
            <p:nvPr/>
          </p:nvSpPr>
          <p:spPr bwMode="gray">
            <a:xfrm>
              <a:off x="244" y="2456"/>
              <a:ext cx="617" cy="663"/>
            </a:xfrm>
            <a:prstGeom prst="homePlate">
              <a:avLst>
                <a:gd name="adj" fmla="val 1607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de-DE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7789" name="Freeform 13"/>
            <p:cNvSpPr>
              <a:spLocks/>
            </p:cNvSpPr>
            <p:nvPr/>
          </p:nvSpPr>
          <p:spPr bwMode="gray">
            <a:xfrm>
              <a:off x="816" y="3212"/>
              <a:ext cx="4657" cy="665"/>
            </a:xfrm>
            <a:custGeom>
              <a:avLst/>
              <a:gdLst>
                <a:gd name="T0" fmla="*/ 4538 w 4538"/>
                <a:gd name="T1" fmla="*/ 0 h 1080"/>
                <a:gd name="T2" fmla="*/ 0 w 4538"/>
                <a:gd name="T3" fmla="*/ 0 h 1080"/>
                <a:gd name="T4" fmla="*/ 105 w 4538"/>
                <a:gd name="T5" fmla="*/ 541 h 1080"/>
                <a:gd name="T6" fmla="*/ 0 w 4538"/>
                <a:gd name="T7" fmla="*/ 1080 h 1080"/>
                <a:gd name="T8" fmla="*/ 4538 w 4538"/>
                <a:gd name="T9" fmla="*/ 1080 h 1080"/>
                <a:gd name="T10" fmla="*/ 4538 w 4538"/>
                <a:gd name="T11" fmla="*/ 0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38" h="1080">
                  <a:moveTo>
                    <a:pt x="4538" y="0"/>
                  </a:moveTo>
                  <a:lnTo>
                    <a:pt x="0" y="0"/>
                  </a:lnTo>
                  <a:lnTo>
                    <a:pt x="105" y="541"/>
                  </a:lnTo>
                  <a:lnTo>
                    <a:pt x="0" y="1080"/>
                  </a:lnTo>
                  <a:lnTo>
                    <a:pt x="4538" y="1080"/>
                  </a:lnTo>
                  <a:lnTo>
                    <a:pt x="4538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7790" name="Rectangle 14"/>
            <p:cNvSpPr>
              <a:spLocks noChangeArrowheads="1"/>
            </p:cNvSpPr>
            <p:nvPr/>
          </p:nvSpPr>
          <p:spPr bwMode="gray">
            <a:xfrm>
              <a:off x="1024" y="3249"/>
              <a:ext cx="4415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7791" name="AutoShape 15"/>
            <p:cNvSpPr>
              <a:spLocks noChangeArrowheads="1"/>
            </p:cNvSpPr>
            <p:nvPr/>
          </p:nvSpPr>
          <p:spPr bwMode="gray">
            <a:xfrm>
              <a:off x="244" y="3214"/>
              <a:ext cx="617" cy="663"/>
            </a:xfrm>
            <a:prstGeom prst="homePlate">
              <a:avLst>
                <a:gd name="adj" fmla="val 1607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de-DE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  <a:endParaRPr lang="en-US" b="1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8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808189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98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sequences 5</a:t>
            </a:r>
          </a:p>
        </p:txBody>
      </p:sp>
      <p:grpSp>
        <p:nvGrpSpPr>
          <p:cNvPr id="3149827" name="Group 3"/>
          <p:cNvGrpSpPr>
            <a:grpSpLocks/>
          </p:cNvGrpSpPr>
          <p:nvPr/>
        </p:nvGrpSpPr>
        <p:grpSpPr bwMode="auto">
          <a:xfrm>
            <a:off x="1911351" y="1482725"/>
            <a:ext cx="8291513" cy="4673600"/>
            <a:chOff x="244" y="934"/>
            <a:chExt cx="5223" cy="2944"/>
          </a:xfrm>
        </p:grpSpPr>
        <p:sp>
          <p:nvSpPr>
            <p:cNvPr id="3149828" name="Freeform 4"/>
            <p:cNvSpPr>
              <a:spLocks/>
            </p:cNvSpPr>
            <p:nvPr/>
          </p:nvSpPr>
          <p:spPr bwMode="gray">
            <a:xfrm>
              <a:off x="839" y="942"/>
              <a:ext cx="4628" cy="534"/>
            </a:xfrm>
            <a:custGeom>
              <a:avLst/>
              <a:gdLst>
                <a:gd name="T0" fmla="*/ 4538 w 4538"/>
                <a:gd name="T1" fmla="*/ 0 h 1080"/>
                <a:gd name="T2" fmla="*/ 0 w 4538"/>
                <a:gd name="T3" fmla="*/ 0 h 1080"/>
                <a:gd name="T4" fmla="*/ 105 w 4538"/>
                <a:gd name="T5" fmla="*/ 541 h 1080"/>
                <a:gd name="T6" fmla="*/ 0 w 4538"/>
                <a:gd name="T7" fmla="*/ 1080 h 1080"/>
                <a:gd name="T8" fmla="*/ 4538 w 4538"/>
                <a:gd name="T9" fmla="*/ 1080 h 1080"/>
                <a:gd name="T10" fmla="*/ 4538 w 4538"/>
                <a:gd name="T11" fmla="*/ 0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38" h="1080">
                  <a:moveTo>
                    <a:pt x="4538" y="0"/>
                  </a:moveTo>
                  <a:lnTo>
                    <a:pt x="0" y="0"/>
                  </a:lnTo>
                  <a:lnTo>
                    <a:pt x="105" y="541"/>
                  </a:lnTo>
                  <a:lnTo>
                    <a:pt x="0" y="1080"/>
                  </a:lnTo>
                  <a:lnTo>
                    <a:pt x="4538" y="1080"/>
                  </a:lnTo>
                  <a:lnTo>
                    <a:pt x="4538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8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9829" name="Rectangle 5"/>
            <p:cNvSpPr>
              <a:spLocks noChangeArrowheads="1"/>
            </p:cNvSpPr>
            <p:nvPr/>
          </p:nvSpPr>
          <p:spPr bwMode="gray">
            <a:xfrm>
              <a:off x="1047" y="987"/>
              <a:ext cx="438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altLang="de-DE" sz="1600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9830" name="Freeform 6"/>
            <p:cNvSpPr>
              <a:spLocks/>
            </p:cNvSpPr>
            <p:nvPr/>
          </p:nvSpPr>
          <p:spPr bwMode="gray">
            <a:xfrm>
              <a:off x="839" y="1542"/>
              <a:ext cx="4628" cy="534"/>
            </a:xfrm>
            <a:custGeom>
              <a:avLst/>
              <a:gdLst>
                <a:gd name="T0" fmla="*/ 4538 w 4538"/>
                <a:gd name="T1" fmla="*/ 0 h 1080"/>
                <a:gd name="T2" fmla="*/ 0 w 4538"/>
                <a:gd name="T3" fmla="*/ 0 h 1080"/>
                <a:gd name="T4" fmla="*/ 105 w 4538"/>
                <a:gd name="T5" fmla="*/ 541 h 1080"/>
                <a:gd name="T6" fmla="*/ 0 w 4538"/>
                <a:gd name="T7" fmla="*/ 1080 h 1080"/>
                <a:gd name="T8" fmla="*/ 4538 w 4538"/>
                <a:gd name="T9" fmla="*/ 1080 h 1080"/>
                <a:gd name="T10" fmla="*/ 4538 w 4538"/>
                <a:gd name="T11" fmla="*/ 0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38" h="1080">
                  <a:moveTo>
                    <a:pt x="4538" y="0"/>
                  </a:moveTo>
                  <a:lnTo>
                    <a:pt x="0" y="0"/>
                  </a:lnTo>
                  <a:lnTo>
                    <a:pt x="105" y="541"/>
                  </a:lnTo>
                  <a:lnTo>
                    <a:pt x="0" y="1080"/>
                  </a:lnTo>
                  <a:lnTo>
                    <a:pt x="4538" y="1080"/>
                  </a:lnTo>
                  <a:lnTo>
                    <a:pt x="4538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8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9831" name="Rectangle 7"/>
            <p:cNvSpPr>
              <a:spLocks noChangeArrowheads="1"/>
            </p:cNvSpPr>
            <p:nvPr/>
          </p:nvSpPr>
          <p:spPr bwMode="gray">
            <a:xfrm>
              <a:off x="1047" y="1587"/>
              <a:ext cx="438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altLang="de-DE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9832" name="Freeform 8"/>
            <p:cNvSpPr>
              <a:spLocks/>
            </p:cNvSpPr>
            <p:nvPr/>
          </p:nvSpPr>
          <p:spPr bwMode="gray">
            <a:xfrm>
              <a:off x="839" y="2143"/>
              <a:ext cx="4628" cy="533"/>
            </a:xfrm>
            <a:custGeom>
              <a:avLst/>
              <a:gdLst>
                <a:gd name="T0" fmla="*/ 4538 w 4538"/>
                <a:gd name="T1" fmla="*/ 0 h 1080"/>
                <a:gd name="T2" fmla="*/ 0 w 4538"/>
                <a:gd name="T3" fmla="*/ 0 h 1080"/>
                <a:gd name="T4" fmla="*/ 105 w 4538"/>
                <a:gd name="T5" fmla="*/ 541 h 1080"/>
                <a:gd name="T6" fmla="*/ 0 w 4538"/>
                <a:gd name="T7" fmla="*/ 1080 h 1080"/>
                <a:gd name="T8" fmla="*/ 4538 w 4538"/>
                <a:gd name="T9" fmla="*/ 1080 h 1080"/>
                <a:gd name="T10" fmla="*/ 4538 w 4538"/>
                <a:gd name="T11" fmla="*/ 0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38" h="1080">
                  <a:moveTo>
                    <a:pt x="4538" y="0"/>
                  </a:moveTo>
                  <a:lnTo>
                    <a:pt x="0" y="0"/>
                  </a:lnTo>
                  <a:lnTo>
                    <a:pt x="105" y="541"/>
                  </a:lnTo>
                  <a:lnTo>
                    <a:pt x="0" y="1080"/>
                  </a:lnTo>
                  <a:lnTo>
                    <a:pt x="4538" y="1080"/>
                  </a:lnTo>
                  <a:lnTo>
                    <a:pt x="4538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8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9833" name="Rectangle 9"/>
            <p:cNvSpPr>
              <a:spLocks noChangeArrowheads="1"/>
            </p:cNvSpPr>
            <p:nvPr/>
          </p:nvSpPr>
          <p:spPr bwMode="gray">
            <a:xfrm>
              <a:off x="1047" y="2187"/>
              <a:ext cx="438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altLang="de-DE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9834" name="Freeform 10"/>
            <p:cNvSpPr>
              <a:spLocks/>
            </p:cNvSpPr>
            <p:nvPr/>
          </p:nvSpPr>
          <p:spPr bwMode="gray">
            <a:xfrm>
              <a:off x="839" y="2743"/>
              <a:ext cx="4628" cy="534"/>
            </a:xfrm>
            <a:custGeom>
              <a:avLst/>
              <a:gdLst>
                <a:gd name="T0" fmla="*/ 4538 w 4538"/>
                <a:gd name="T1" fmla="*/ 0 h 1080"/>
                <a:gd name="T2" fmla="*/ 0 w 4538"/>
                <a:gd name="T3" fmla="*/ 0 h 1080"/>
                <a:gd name="T4" fmla="*/ 105 w 4538"/>
                <a:gd name="T5" fmla="*/ 541 h 1080"/>
                <a:gd name="T6" fmla="*/ 0 w 4538"/>
                <a:gd name="T7" fmla="*/ 1080 h 1080"/>
                <a:gd name="T8" fmla="*/ 4538 w 4538"/>
                <a:gd name="T9" fmla="*/ 1080 h 1080"/>
                <a:gd name="T10" fmla="*/ 4538 w 4538"/>
                <a:gd name="T11" fmla="*/ 0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38" h="1080">
                  <a:moveTo>
                    <a:pt x="4538" y="0"/>
                  </a:moveTo>
                  <a:lnTo>
                    <a:pt x="0" y="0"/>
                  </a:lnTo>
                  <a:lnTo>
                    <a:pt x="105" y="541"/>
                  </a:lnTo>
                  <a:lnTo>
                    <a:pt x="0" y="1080"/>
                  </a:lnTo>
                  <a:lnTo>
                    <a:pt x="4538" y="1080"/>
                  </a:lnTo>
                  <a:lnTo>
                    <a:pt x="4538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8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9835" name="Rectangle 11"/>
            <p:cNvSpPr>
              <a:spLocks noChangeArrowheads="1"/>
            </p:cNvSpPr>
            <p:nvPr/>
          </p:nvSpPr>
          <p:spPr bwMode="gray">
            <a:xfrm>
              <a:off x="1047" y="2788"/>
              <a:ext cx="438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altLang="de-DE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9836" name="Freeform 12"/>
            <p:cNvSpPr>
              <a:spLocks/>
            </p:cNvSpPr>
            <p:nvPr/>
          </p:nvSpPr>
          <p:spPr bwMode="gray">
            <a:xfrm>
              <a:off x="839" y="3344"/>
              <a:ext cx="4628" cy="534"/>
            </a:xfrm>
            <a:custGeom>
              <a:avLst/>
              <a:gdLst>
                <a:gd name="T0" fmla="*/ 4538 w 4538"/>
                <a:gd name="T1" fmla="*/ 0 h 1080"/>
                <a:gd name="T2" fmla="*/ 0 w 4538"/>
                <a:gd name="T3" fmla="*/ 0 h 1080"/>
                <a:gd name="T4" fmla="*/ 105 w 4538"/>
                <a:gd name="T5" fmla="*/ 541 h 1080"/>
                <a:gd name="T6" fmla="*/ 0 w 4538"/>
                <a:gd name="T7" fmla="*/ 1080 h 1080"/>
                <a:gd name="T8" fmla="*/ 4538 w 4538"/>
                <a:gd name="T9" fmla="*/ 1080 h 1080"/>
                <a:gd name="T10" fmla="*/ 4538 w 4538"/>
                <a:gd name="T11" fmla="*/ 0 h 10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38" h="1080">
                  <a:moveTo>
                    <a:pt x="4538" y="0"/>
                  </a:moveTo>
                  <a:lnTo>
                    <a:pt x="0" y="0"/>
                  </a:lnTo>
                  <a:lnTo>
                    <a:pt x="105" y="541"/>
                  </a:lnTo>
                  <a:lnTo>
                    <a:pt x="0" y="1080"/>
                  </a:lnTo>
                  <a:lnTo>
                    <a:pt x="4538" y="1080"/>
                  </a:lnTo>
                  <a:lnTo>
                    <a:pt x="4538" y="0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28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49837" name="Rectangle 13"/>
            <p:cNvSpPr>
              <a:spLocks noChangeArrowheads="1"/>
            </p:cNvSpPr>
            <p:nvPr/>
          </p:nvSpPr>
          <p:spPr bwMode="gray">
            <a:xfrm>
              <a:off x="1047" y="3389"/>
              <a:ext cx="438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altLang="de-DE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9838" name="AutoShape 14"/>
            <p:cNvSpPr>
              <a:spLocks noChangeArrowheads="1"/>
            </p:cNvSpPr>
            <p:nvPr/>
          </p:nvSpPr>
          <p:spPr bwMode="gray">
            <a:xfrm>
              <a:off x="244" y="934"/>
              <a:ext cx="617" cy="542"/>
            </a:xfrm>
            <a:prstGeom prst="homePlate">
              <a:avLst>
                <a:gd name="adj" fmla="val 1830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9839" name="AutoShape 15"/>
            <p:cNvSpPr>
              <a:spLocks noChangeArrowheads="1"/>
            </p:cNvSpPr>
            <p:nvPr/>
          </p:nvSpPr>
          <p:spPr bwMode="gray">
            <a:xfrm>
              <a:off x="244" y="1534"/>
              <a:ext cx="617" cy="542"/>
            </a:xfrm>
            <a:prstGeom prst="homePlate">
              <a:avLst>
                <a:gd name="adj" fmla="val 1830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9840" name="AutoShape 16"/>
            <p:cNvSpPr>
              <a:spLocks noChangeArrowheads="1"/>
            </p:cNvSpPr>
            <p:nvPr/>
          </p:nvSpPr>
          <p:spPr bwMode="gray">
            <a:xfrm>
              <a:off x="244" y="2135"/>
              <a:ext cx="617" cy="541"/>
            </a:xfrm>
            <a:prstGeom prst="homePlate">
              <a:avLst>
                <a:gd name="adj" fmla="val 1833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9841" name="AutoShape 17"/>
            <p:cNvSpPr>
              <a:spLocks noChangeArrowheads="1"/>
            </p:cNvSpPr>
            <p:nvPr/>
          </p:nvSpPr>
          <p:spPr bwMode="gray">
            <a:xfrm>
              <a:off x="244" y="2735"/>
              <a:ext cx="617" cy="542"/>
            </a:xfrm>
            <a:prstGeom prst="homePlate">
              <a:avLst>
                <a:gd name="adj" fmla="val 1830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49842" name="AutoShape 18"/>
            <p:cNvSpPr>
              <a:spLocks noChangeArrowheads="1"/>
            </p:cNvSpPr>
            <p:nvPr/>
          </p:nvSpPr>
          <p:spPr bwMode="gray">
            <a:xfrm>
              <a:off x="244" y="3336"/>
              <a:ext cx="617" cy="542"/>
            </a:xfrm>
            <a:prstGeom prst="homePlate">
              <a:avLst>
                <a:gd name="adj" fmla="val 1830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43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18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3 Factors</a:t>
            </a:r>
          </a:p>
        </p:txBody>
      </p:sp>
      <p:grpSp>
        <p:nvGrpSpPr>
          <p:cNvPr id="3151875" name="Group 3"/>
          <p:cNvGrpSpPr>
            <a:grpSpLocks/>
          </p:cNvGrpSpPr>
          <p:nvPr/>
        </p:nvGrpSpPr>
        <p:grpSpPr bwMode="auto">
          <a:xfrm>
            <a:off x="1914525" y="1658504"/>
            <a:ext cx="8288338" cy="4017963"/>
            <a:chOff x="246" y="940"/>
            <a:chExt cx="5221" cy="2531"/>
          </a:xfrm>
        </p:grpSpPr>
        <p:sp>
          <p:nvSpPr>
            <p:cNvPr id="3151876" name="AutoShape 4"/>
            <p:cNvSpPr>
              <a:spLocks noChangeArrowheads="1"/>
            </p:cNvSpPr>
            <p:nvPr/>
          </p:nvSpPr>
          <p:spPr bwMode="gray">
            <a:xfrm>
              <a:off x="246" y="940"/>
              <a:ext cx="1279" cy="780"/>
            </a:xfrm>
            <a:prstGeom prst="homePlate">
              <a:avLst>
                <a:gd name="adj" fmla="val 22311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1877" name="Rectangle 5"/>
            <p:cNvSpPr>
              <a:spLocks noChangeArrowheads="1"/>
            </p:cNvSpPr>
            <p:nvPr/>
          </p:nvSpPr>
          <p:spPr bwMode="gray">
            <a:xfrm>
              <a:off x="1617" y="940"/>
              <a:ext cx="3850" cy="78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1878" name="AutoShape 6"/>
            <p:cNvSpPr>
              <a:spLocks noChangeArrowheads="1"/>
            </p:cNvSpPr>
            <p:nvPr/>
          </p:nvSpPr>
          <p:spPr bwMode="gray">
            <a:xfrm>
              <a:off x="246" y="1815"/>
              <a:ext cx="1279" cy="780"/>
            </a:xfrm>
            <a:prstGeom prst="homePlate">
              <a:avLst>
                <a:gd name="adj" fmla="val 22311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1879" name="Rectangle 7"/>
            <p:cNvSpPr>
              <a:spLocks noChangeArrowheads="1"/>
            </p:cNvSpPr>
            <p:nvPr/>
          </p:nvSpPr>
          <p:spPr bwMode="gray">
            <a:xfrm>
              <a:off x="1617" y="1815"/>
              <a:ext cx="3850" cy="78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1880" name="AutoShape 8"/>
            <p:cNvSpPr>
              <a:spLocks noChangeArrowheads="1"/>
            </p:cNvSpPr>
            <p:nvPr/>
          </p:nvSpPr>
          <p:spPr bwMode="gray">
            <a:xfrm>
              <a:off x="246" y="2691"/>
              <a:ext cx="1279" cy="780"/>
            </a:xfrm>
            <a:prstGeom prst="homePlate">
              <a:avLst>
                <a:gd name="adj" fmla="val 22311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1881" name="Rectangle 9"/>
            <p:cNvSpPr>
              <a:spLocks noChangeArrowheads="1"/>
            </p:cNvSpPr>
            <p:nvPr/>
          </p:nvSpPr>
          <p:spPr bwMode="gray">
            <a:xfrm>
              <a:off x="1617" y="2691"/>
              <a:ext cx="3850" cy="78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8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320927"/>
      </p:ext>
    </p:extLst>
  </p:cSld>
  <p:clrMapOvr>
    <a:masterClrMapping/>
  </p:clrMapOvr>
  <p:transition spd="slow"/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39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4 Factors</a:t>
            </a:r>
          </a:p>
        </p:txBody>
      </p:sp>
      <p:grpSp>
        <p:nvGrpSpPr>
          <p:cNvPr id="3153923" name="Group 3"/>
          <p:cNvGrpSpPr>
            <a:grpSpLocks/>
          </p:cNvGrpSpPr>
          <p:nvPr/>
        </p:nvGrpSpPr>
        <p:grpSpPr bwMode="auto">
          <a:xfrm>
            <a:off x="1924262" y="1558753"/>
            <a:ext cx="8288338" cy="4195763"/>
            <a:chOff x="246" y="940"/>
            <a:chExt cx="5221" cy="2217"/>
          </a:xfrm>
        </p:grpSpPr>
        <p:sp>
          <p:nvSpPr>
            <p:cNvPr id="3153924" name="AutoShape 4"/>
            <p:cNvSpPr>
              <a:spLocks noChangeArrowheads="1"/>
            </p:cNvSpPr>
            <p:nvPr/>
          </p:nvSpPr>
          <p:spPr bwMode="gray">
            <a:xfrm>
              <a:off x="246" y="940"/>
              <a:ext cx="1279" cy="506"/>
            </a:xfrm>
            <a:prstGeom prst="homePlate">
              <a:avLst>
                <a:gd name="adj" fmla="val 22258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3925" name="Rectangle 5"/>
            <p:cNvSpPr>
              <a:spLocks noChangeArrowheads="1"/>
            </p:cNvSpPr>
            <p:nvPr/>
          </p:nvSpPr>
          <p:spPr bwMode="gray">
            <a:xfrm>
              <a:off x="1617" y="940"/>
              <a:ext cx="3850" cy="50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3926" name="AutoShape 6"/>
            <p:cNvSpPr>
              <a:spLocks noChangeArrowheads="1"/>
            </p:cNvSpPr>
            <p:nvPr/>
          </p:nvSpPr>
          <p:spPr bwMode="gray">
            <a:xfrm>
              <a:off x="246" y="1507"/>
              <a:ext cx="1279" cy="506"/>
            </a:xfrm>
            <a:prstGeom prst="homePlate">
              <a:avLst>
                <a:gd name="adj" fmla="val 22258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3927" name="Rectangle 7"/>
            <p:cNvSpPr>
              <a:spLocks noChangeArrowheads="1"/>
            </p:cNvSpPr>
            <p:nvPr/>
          </p:nvSpPr>
          <p:spPr bwMode="gray">
            <a:xfrm>
              <a:off x="1617" y="1507"/>
              <a:ext cx="3850" cy="50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3928" name="AutoShape 8"/>
            <p:cNvSpPr>
              <a:spLocks noChangeArrowheads="1"/>
            </p:cNvSpPr>
            <p:nvPr/>
          </p:nvSpPr>
          <p:spPr bwMode="gray">
            <a:xfrm>
              <a:off x="246" y="2075"/>
              <a:ext cx="1279" cy="506"/>
            </a:xfrm>
            <a:prstGeom prst="homePlate">
              <a:avLst>
                <a:gd name="adj" fmla="val 22258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3929" name="Rectangle 9"/>
            <p:cNvSpPr>
              <a:spLocks noChangeArrowheads="1"/>
            </p:cNvSpPr>
            <p:nvPr/>
          </p:nvSpPr>
          <p:spPr bwMode="gray">
            <a:xfrm>
              <a:off x="1617" y="2075"/>
              <a:ext cx="3850" cy="50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3930" name="AutoShape 10"/>
            <p:cNvSpPr>
              <a:spLocks noChangeArrowheads="1"/>
            </p:cNvSpPr>
            <p:nvPr/>
          </p:nvSpPr>
          <p:spPr bwMode="gray">
            <a:xfrm>
              <a:off x="246" y="2651"/>
              <a:ext cx="1279" cy="506"/>
            </a:xfrm>
            <a:prstGeom prst="homePlate">
              <a:avLst>
                <a:gd name="adj" fmla="val 22258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3931" name="Rectangle 11"/>
            <p:cNvSpPr>
              <a:spLocks noChangeArrowheads="1"/>
            </p:cNvSpPr>
            <p:nvPr/>
          </p:nvSpPr>
          <p:spPr bwMode="gray">
            <a:xfrm>
              <a:off x="1617" y="2651"/>
              <a:ext cx="3850" cy="50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8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11558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59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5 Factors</a:t>
            </a:r>
          </a:p>
        </p:txBody>
      </p:sp>
      <p:grpSp>
        <p:nvGrpSpPr>
          <p:cNvPr id="3155971" name="Group 3"/>
          <p:cNvGrpSpPr>
            <a:grpSpLocks/>
          </p:cNvGrpSpPr>
          <p:nvPr/>
        </p:nvGrpSpPr>
        <p:grpSpPr bwMode="auto">
          <a:xfrm>
            <a:off x="1914525" y="1492251"/>
            <a:ext cx="8288338" cy="4448175"/>
            <a:chOff x="246" y="940"/>
            <a:chExt cx="5221" cy="2802"/>
          </a:xfrm>
        </p:grpSpPr>
        <p:sp>
          <p:nvSpPr>
            <p:cNvPr id="3155972" name="AutoShape 4"/>
            <p:cNvSpPr>
              <a:spLocks noChangeArrowheads="1"/>
            </p:cNvSpPr>
            <p:nvPr/>
          </p:nvSpPr>
          <p:spPr bwMode="gray">
            <a:xfrm>
              <a:off x="246" y="940"/>
              <a:ext cx="1279" cy="508"/>
            </a:xfrm>
            <a:prstGeom prst="homePlate">
              <a:avLst>
                <a:gd name="adj" fmla="val 22263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5973" name="Rectangle 5"/>
            <p:cNvSpPr>
              <a:spLocks noChangeArrowheads="1"/>
            </p:cNvSpPr>
            <p:nvPr/>
          </p:nvSpPr>
          <p:spPr bwMode="gray">
            <a:xfrm>
              <a:off x="1617" y="940"/>
              <a:ext cx="3850" cy="5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5974" name="AutoShape 6"/>
            <p:cNvSpPr>
              <a:spLocks noChangeArrowheads="1"/>
            </p:cNvSpPr>
            <p:nvPr/>
          </p:nvSpPr>
          <p:spPr bwMode="gray">
            <a:xfrm>
              <a:off x="246" y="1509"/>
              <a:ext cx="1279" cy="508"/>
            </a:xfrm>
            <a:prstGeom prst="homePlate">
              <a:avLst>
                <a:gd name="adj" fmla="val 22263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5975" name="Rectangle 7"/>
            <p:cNvSpPr>
              <a:spLocks noChangeArrowheads="1"/>
            </p:cNvSpPr>
            <p:nvPr/>
          </p:nvSpPr>
          <p:spPr bwMode="gray">
            <a:xfrm>
              <a:off x="1617" y="1509"/>
              <a:ext cx="3850" cy="5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5976" name="AutoShape 8"/>
            <p:cNvSpPr>
              <a:spLocks noChangeArrowheads="1"/>
            </p:cNvSpPr>
            <p:nvPr/>
          </p:nvSpPr>
          <p:spPr bwMode="gray">
            <a:xfrm>
              <a:off x="246" y="2079"/>
              <a:ext cx="1279" cy="508"/>
            </a:xfrm>
            <a:prstGeom prst="homePlate">
              <a:avLst>
                <a:gd name="adj" fmla="val 22263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5977" name="Rectangle 9"/>
            <p:cNvSpPr>
              <a:spLocks noChangeArrowheads="1"/>
            </p:cNvSpPr>
            <p:nvPr/>
          </p:nvSpPr>
          <p:spPr bwMode="gray">
            <a:xfrm>
              <a:off x="1617" y="2079"/>
              <a:ext cx="3850" cy="5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5978" name="AutoShape 10"/>
            <p:cNvSpPr>
              <a:spLocks noChangeArrowheads="1"/>
            </p:cNvSpPr>
            <p:nvPr/>
          </p:nvSpPr>
          <p:spPr bwMode="gray">
            <a:xfrm>
              <a:off x="246" y="2658"/>
              <a:ext cx="1279" cy="507"/>
            </a:xfrm>
            <a:prstGeom prst="homePlate">
              <a:avLst>
                <a:gd name="adj" fmla="val 22260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5979" name="Rectangle 11"/>
            <p:cNvSpPr>
              <a:spLocks noChangeArrowheads="1"/>
            </p:cNvSpPr>
            <p:nvPr/>
          </p:nvSpPr>
          <p:spPr bwMode="gray">
            <a:xfrm>
              <a:off x="1617" y="2658"/>
              <a:ext cx="3850" cy="5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5980" name="AutoShape 12"/>
            <p:cNvSpPr>
              <a:spLocks noChangeArrowheads="1"/>
            </p:cNvSpPr>
            <p:nvPr/>
          </p:nvSpPr>
          <p:spPr bwMode="gray">
            <a:xfrm>
              <a:off x="246" y="3234"/>
              <a:ext cx="1279" cy="508"/>
            </a:xfrm>
            <a:prstGeom prst="homePlate">
              <a:avLst>
                <a:gd name="adj" fmla="val 22263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5981" name="Rectangle 13"/>
            <p:cNvSpPr>
              <a:spLocks noChangeArrowheads="1"/>
            </p:cNvSpPr>
            <p:nvPr/>
          </p:nvSpPr>
          <p:spPr bwMode="gray">
            <a:xfrm>
              <a:off x="1617" y="3234"/>
              <a:ext cx="3850" cy="5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369326"/>
      </p:ext>
    </p:extLst>
  </p:cSld>
  <p:clrMapOvr>
    <a:masterClrMapping/>
  </p:clrMapOvr>
  <p:transition spd="slow"/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80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6 Factors</a:t>
            </a:r>
          </a:p>
        </p:txBody>
      </p:sp>
      <p:grpSp>
        <p:nvGrpSpPr>
          <p:cNvPr id="3158019" name="Group 3"/>
          <p:cNvGrpSpPr>
            <a:grpSpLocks/>
          </p:cNvGrpSpPr>
          <p:nvPr/>
        </p:nvGrpSpPr>
        <p:grpSpPr bwMode="auto">
          <a:xfrm>
            <a:off x="1914525" y="1791503"/>
            <a:ext cx="8288338" cy="4410075"/>
            <a:chOff x="246" y="940"/>
            <a:chExt cx="5221" cy="2778"/>
          </a:xfrm>
        </p:grpSpPr>
        <p:sp>
          <p:nvSpPr>
            <p:cNvPr id="3158020" name="AutoShape 4"/>
            <p:cNvSpPr>
              <a:spLocks noChangeArrowheads="1"/>
            </p:cNvSpPr>
            <p:nvPr/>
          </p:nvSpPr>
          <p:spPr bwMode="gray">
            <a:xfrm>
              <a:off x="246" y="940"/>
              <a:ext cx="1279" cy="417"/>
            </a:xfrm>
            <a:prstGeom prst="homePlate">
              <a:avLst>
                <a:gd name="adj" fmla="val 22265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8021" name="Rectangle 5"/>
            <p:cNvSpPr>
              <a:spLocks noChangeArrowheads="1"/>
            </p:cNvSpPr>
            <p:nvPr/>
          </p:nvSpPr>
          <p:spPr bwMode="gray">
            <a:xfrm>
              <a:off x="1617" y="940"/>
              <a:ext cx="3850" cy="41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8022" name="AutoShape 6"/>
            <p:cNvSpPr>
              <a:spLocks noChangeArrowheads="1"/>
            </p:cNvSpPr>
            <p:nvPr/>
          </p:nvSpPr>
          <p:spPr bwMode="gray">
            <a:xfrm>
              <a:off x="246" y="1407"/>
              <a:ext cx="1279" cy="417"/>
            </a:xfrm>
            <a:prstGeom prst="homePlate">
              <a:avLst>
                <a:gd name="adj" fmla="val 22265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8023" name="Rectangle 7"/>
            <p:cNvSpPr>
              <a:spLocks noChangeArrowheads="1"/>
            </p:cNvSpPr>
            <p:nvPr/>
          </p:nvSpPr>
          <p:spPr bwMode="gray">
            <a:xfrm>
              <a:off x="1617" y="1407"/>
              <a:ext cx="3850" cy="41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8024" name="AutoShape 8"/>
            <p:cNvSpPr>
              <a:spLocks noChangeArrowheads="1"/>
            </p:cNvSpPr>
            <p:nvPr/>
          </p:nvSpPr>
          <p:spPr bwMode="gray">
            <a:xfrm>
              <a:off x="246" y="1875"/>
              <a:ext cx="1279" cy="418"/>
            </a:xfrm>
            <a:prstGeom prst="homePlate">
              <a:avLst>
                <a:gd name="adj" fmla="val 22254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8025" name="Rectangle 9"/>
            <p:cNvSpPr>
              <a:spLocks noChangeArrowheads="1"/>
            </p:cNvSpPr>
            <p:nvPr/>
          </p:nvSpPr>
          <p:spPr bwMode="gray">
            <a:xfrm>
              <a:off x="1617" y="1875"/>
              <a:ext cx="3850" cy="4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8026" name="AutoShape 10"/>
            <p:cNvSpPr>
              <a:spLocks noChangeArrowheads="1"/>
            </p:cNvSpPr>
            <p:nvPr/>
          </p:nvSpPr>
          <p:spPr bwMode="gray">
            <a:xfrm>
              <a:off x="246" y="2351"/>
              <a:ext cx="1279" cy="416"/>
            </a:xfrm>
            <a:prstGeom prst="homePlate">
              <a:avLst>
                <a:gd name="adj" fmla="val 22262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8027" name="Rectangle 11"/>
            <p:cNvSpPr>
              <a:spLocks noChangeArrowheads="1"/>
            </p:cNvSpPr>
            <p:nvPr/>
          </p:nvSpPr>
          <p:spPr bwMode="gray">
            <a:xfrm>
              <a:off x="1617" y="2351"/>
              <a:ext cx="3850" cy="41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8028" name="AutoShape 12"/>
            <p:cNvSpPr>
              <a:spLocks noChangeArrowheads="1"/>
            </p:cNvSpPr>
            <p:nvPr/>
          </p:nvSpPr>
          <p:spPr bwMode="gray">
            <a:xfrm>
              <a:off x="246" y="2824"/>
              <a:ext cx="1279" cy="417"/>
            </a:xfrm>
            <a:prstGeom prst="homePlate">
              <a:avLst>
                <a:gd name="adj" fmla="val 22265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8029" name="Rectangle 13"/>
            <p:cNvSpPr>
              <a:spLocks noChangeArrowheads="1"/>
            </p:cNvSpPr>
            <p:nvPr/>
          </p:nvSpPr>
          <p:spPr bwMode="gray">
            <a:xfrm>
              <a:off x="1617" y="2824"/>
              <a:ext cx="3850" cy="41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8030" name="AutoShape 14"/>
            <p:cNvSpPr>
              <a:spLocks noChangeArrowheads="1"/>
            </p:cNvSpPr>
            <p:nvPr/>
          </p:nvSpPr>
          <p:spPr bwMode="gray">
            <a:xfrm>
              <a:off x="246" y="3301"/>
              <a:ext cx="1279" cy="417"/>
            </a:xfrm>
            <a:prstGeom prst="homePlate">
              <a:avLst>
                <a:gd name="adj" fmla="val 22265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58031" name="Rectangle 15"/>
            <p:cNvSpPr>
              <a:spLocks noChangeArrowheads="1"/>
            </p:cNvSpPr>
            <p:nvPr/>
          </p:nvSpPr>
          <p:spPr bwMode="gray">
            <a:xfrm>
              <a:off x="1617" y="3301"/>
              <a:ext cx="3850" cy="41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28016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8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71133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00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4 Factors</a:t>
            </a:r>
          </a:p>
        </p:txBody>
      </p:sp>
      <p:grpSp>
        <p:nvGrpSpPr>
          <p:cNvPr id="3160067" name="Group 3"/>
          <p:cNvGrpSpPr>
            <a:grpSpLocks/>
          </p:cNvGrpSpPr>
          <p:nvPr/>
        </p:nvGrpSpPr>
        <p:grpSpPr bwMode="auto">
          <a:xfrm>
            <a:off x="1895475" y="1490664"/>
            <a:ext cx="8312150" cy="4662487"/>
            <a:chOff x="246" y="939"/>
            <a:chExt cx="5236" cy="2937"/>
          </a:xfrm>
        </p:grpSpPr>
        <p:sp>
          <p:nvSpPr>
            <p:cNvPr id="3160068" name="Rectangle 4"/>
            <p:cNvSpPr>
              <a:spLocks noChangeArrowheads="1"/>
            </p:cNvSpPr>
            <p:nvPr/>
          </p:nvSpPr>
          <p:spPr bwMode="gray">
            <a:xfrm>
              <a:off x="3959" y="939"/>
              <a:ext cx="1523" cy="293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8640" tIns="0" rIns="27432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0069" name="Text Box 5"/>
            <p:cNvSpPr txBox="1">
              <a:spLocks noChangeArrowheads="1"/>
            </p:cNvSpPr>
            <p:nvPr/>
          </p:nvSpPr>
          <p:spPr bwMode="gray">
            <a:xfrm>
              <a:off x="4287" y="2282"/>
              <a:ext cx="1116" cy="2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>
                <a:buClrTx/>
                <a:buSzTx/>
                <a:buFontTx/>
                <a:buNone/>
              </a:pPr>
              <a:endParaRPr kumimoji="1" lang="en-GB" sz="1600" b="1">
                <a:solidFill>
                  <a:srgbClr val="000000"/>
                </a:solidFill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60070" name="AutoShape 6"/>
            <p:cNvSpPr>
              <a:spLocks noChangeArrowheads="1"/>
            </p:cNvSpPr>
            <p:nvPr/>
          </p:nvSpPr>
          <p:spPr bwMode="gray">
            <a:xfrm>
              <a:off x="329" y="1748"/>
              <a:ext cx="3917" cy="578"/>
            </a:xfrm>
            <a:prstGeom prst="homePlate">
              <a:avLst>
                <a:gd name="adj" fmla="val 22276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0071" name="AutoShape 7"/>
            <p:cNvSpPr>
              <a:spLocks noChangeArrowheads="1"/>
            </p:cNvSpPr>
            <p:nvPr/>
          </p:nvSpPr>
          <p:spPr bwMode="gray">
            <a:xfrm>
              <a:off x="329" y="1036"/>
              <a:ext cx="3917" cy="578"/>
            </a:xfrm>
            <a:prstGeom prst="homePlate">
              <a:avLst>
                <a:gd name="adj" fmla="val 22276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0072" name="AutoShape 8"/>
            <p:cNvSpPr>
              <a:spLocks noChangeArrowheads="1"/>
            </p:cNvSpPr>
            <p:nvPr/>
          </p:nvSpPr>
          <p:spPr bwMode="gray">
            <a:xfrm>
              <a:off x="329" y="2460"/>
              <a:ext cx="3917" cy="578"/>
            </a:xfrm>
            <a:prstGeom prst="homePlate">
              <a:avLst>
                <a:gd name="adj" fmla="val 22276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0073" name="AutoShape 9"/>
            <p:cNvSpPr>
              <a:spLocks noChangeArrowheads="1"/>
            </p:cNvSpPr>
            <p:nvPr/>
          </p:nvSpPr>
          <p:spPr bwMode="gray">
            <a:xfrm>
              <a:off x="329" y="3172"/>
              <a:ext cx="3917" cy="578"/>
            </a:xfrm>
            <a:prstGeom prst="homePlate">
              <a:avLst>
                <a:gd name="adj" fmla="val 22276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0074" name="Oval 10"/>
            <p:cNvSpPr>
              <a:spLocks noChangeArrowheads="1"/>
            </p:cNvSpPr>
            <p:nvPr/>
          </p:nvSpPr>
          <p:spPr bwMode="gray">
            <a:xfrm>
              <a:off x="246" y="1234"/>
              <a:ext cx="181" cy="181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1</a:t>
              </a:r>
            </a:p>
          </p:txBody>
        </p:sp>
        <p:sp>
          <p:nvSpPr>
            <p:cNvPr id="3160075" name="Oval 11"/>
            <p:cNvSpPr>
              <a:spLocks noChangeArrowheads="1"/>
            </p:cNvSpPr>
            <p:nvPr/>
          </p:nvSpPr>
          <p:spPr bwMode="gray">
            <a:xfrm>
              <a:off x="246" y="1946"/>
              <a:ext cx="181" cy="181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2</a:t>
              </a:r>
            </a:p>
          </p:txBody>
        </p:sp>
        <p:sp>
          <p:nvSpPr>
            <p:cNvPr id="3160076" name="Oval 12"/>
            <p:cNvSpPr>
              <a:spLocks noChangeArrowheads="1"/>
            </p:cNvSpPr>
            <p:nvPr/>
          </p:nvSpPr>
          <p:spPr bwMode="gray">
            <a:xfrm>
              <a:off x="246" y="2658"/>
              <a:ext cx="181" cy="181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3</a:t>
              </a:r>
            </a:p>
          </p:txBody>
        </p:sp>
        <p:sp>
          <p:nvSpPr>
            <p:cNvPr id="3160077" name="Oval 13"/>
            <p:cNvSpPr>
              <a:spLocks noChangeArrowheads="1"/>
            </p:cNvSpPr>
            <p:nvPr/>
          </p:nvSpPr>
          <p:spPr bwMode="gray">
            <a:xfrm>
              <a:off x="246" y="3370"/>
              <a:ext cx="181" cy="181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4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8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089858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21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5 Factors</a:t>
            </a:r>
          </a:p>
        </p:txBody>
      </p:sp>
      <p:grpSp>
        <p:nvGrpSpPr>
          <p:cNvPr id="3162115" name="Group 3"/>
          <p:cNvGrpSpPr>
            <a:grpSpLocks/>
          </p:cNvGrpSpPr>
          <p:nvPr/>
        </p:nvGrpSpPr>
        <p:grpSpPr bwMode="auto">
          <a:xfrm>
            <a:off x="1887539" y="1490664"/>
            <a:ext cx="8320087" cy="4662487"/>
            <a:chOff x="241" y="939"/>
            <a:chExt cx="5241" cy="2937"/>
          </a:xfrm>
        </p:grpSpPr>
        <p:sp>
          <p:nvSpPr>
            <p:cNvPr id="3162116" name="Rectangle 4"/>
            <p:cNvSpPr>
              <a:spLocks noChangeArrowheads="1"/>
            </p:cNvSpPr>
            <p:nvPr/>
          </p:nvSpPr>
          <p:spPr bwMode="gray">
            <a:xfrm>
              <a:off x="3959" y="939"/>
              <a:ext cx="1523" cy="293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8000" tIns="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2117" name="AutoShape 5"/>
            <p:cNvSpPr>
              <a:spLocks noChangeArrowheads="1"/>
            </p:cNvSpPr>
            <p:nvPr/>
          </p:nvSpPr>
          <p:spPr bwMode="gray">
            <a:xfrm>
              <a:off x="371" y="1006"/>
              <a:ext cx="3803" cy="482"/>
            </a:xfrm>
            <a:prstGeom prst="homePlate">
              <a:avLst>
                <a:gd name="adj" fmla="val 22246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2118" name="AutoShape 6"/>
            <p:cNvSpPr>
              <a:spLocks noChangeArrowheads="1"/>
            </p:cNvSpPr>
            <p:nvPr/>
          </p:nvSpPr>
          <p:spPr bwMode="gray">
            <a:xfrm>
              <a:off x="371" y="1577"/>
              <a:ext cx="3803" cy="482"/>
            </a:xfrm>
            <a:prstGeom prst="homePlate">
              <a:avLst>
                <a:gd name="adj" fmla="val 22246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2119" name="AutoShape 7"/>
            <p:cNvSpPr>
              <a:spLocks noChangeArrowheads="1"/>
            </p:cNvSpPr>
            <p:nvPr/>
          </p:nvSpPr>
          <p:spPr bwMode="gray">
            <a:xfrm>
              <a:off x="371" y="2148"/>
              <a:ext cx="3803" cy="482"/>
            </a:xfrm>
            <a:prstGeom prst="homePlate">
              <a:avLst>
                <a:gd name="adj" fmla="val 22246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2120" name="AutoShape 8"/>
            <p:cNvSpPr>
              <a:spLocks noChangeArrowheads="1"/>
            </p:cNvSpPr>
            <p:nvPr/>
          </p:nvSpPr>
          <p:spPr bwMode="gray">
            <a:xfrm>
              <a:off x="371" y="2719"/>
              <a:ext cx="3803" cy="482"/>
            </a:xfrm>
            <a:prstGeom prst="homePlate">
              <a:avLst>
                <a:gd name="adj" fmla="val 22246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2121" name="AutoShape 9"/>
            <p:cNvSpPr>
              <a:spLocks noChangeArrowheads="1"/>
            </p:cNvSpPr>
            <p:nvPr/>
          </p:nvSpPr>
          <p:spPr bwMode="gray">
            <a:xfrm>
              <a:off x="371" y="3291"/>
              <a:ext cx="3803" cy="482"/>
            </a:xfrm>
            <a:prstGeom prst="homePlate">
              <a:avLst>
                <a:gd name="adj" fmla="val 22246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2122" name="Oval 10"/>
            <p:cNvSpPr>
              <a:spLocks noChangeArrowheads="1"/>
            </p:cNvSpPr>
            <p:nvPr/>
          </p:nvSpPr>
          <p:spPr bwMode="gray">
            <a:xfrm>
              <a:off x="241" y="1133"/>
              <a:ext cx="227" cy="227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1</a:t>
              </a:r>
            </a:p>
          </p:txBody>
        </p:sp>
        <p:sp>
          <p:nvSpPr>
            <p:cNvPr id="3162123" name="Oval 11"/>
            <p:cNvSpPr>
              <a:spLocks noChangeArrowheads="1"/>
            </p:cNvSpPr>
            <p:nvPr/>
          </p:nvSpPr>
          <p:spPr bwMode="gray">
            <a:xfrm>
              <a:off x="241" y="1704"/>
              <a:ext cx="227" cy="227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2</a:t>
              </a:r>
            </a:p>
          </p:txBody>
        </p:sp>
        <p:sp>
          <p:nvSpPr>
            <p:cNvPr id="3162124" name="Oval 12"/>
            <p:cNvSpPr>
              <a:spLocks noChangeArrowheads="1"/>
            </p:cNvSpPr>
            <p:nvPr/>
          </p:nvSpPr>
          <p:spPr bwMode="gray">
            <a:xfrm>
              <a:off x="241" y="2275"/>
              <a:ext cx="227" cy="227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3</a:t>
              </a:r>
            </a:p>
          </p:txBody>
        </p:sp>
        <p:sp>
          <p:nvSpPr>
            <p:cNvPr id="3162125" name="Oval 13"/>
            <p:cNvSpPr>
              <a:spLocks noChangeArrowheads="1"/>
            </p:cNvSpPr>
            <p:nvPr/>
          </p:nvSpPr>
          <p:spPr bwMode="gray">
            <a:xfrm>
              <a:off x="241" y="2846"/>
              <a:ext cx="227" cy="227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4</a:t>
              </a:r>
            </a:p>
          </p:txBody>
        </p:sp>
        <p:sp>
          <p:nvSpPr>
            <p:cNvPr id="3162126" name="Oval 14"/>
            <p:cNvSpPr>
              <a:spLocks noChangeArrowheads="1"/>
            </p:cNvSpPr>
            <p:nvPr/>
          </p:nvSpPr>
          <p:spPr bwMode="gray">
            <a:xfrm>
              <a:off x="241" y="3418"/>
              <a:ext cx="227" cy="227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5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495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64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able</a:t>
            </a:r>
          </a:p>
        </p:txBody>
      </p:sp>
      <p:grpSp>
        <p:nvGrpSpPr>
          <p:cNvPr id="2836508" name="Group 28"/>
          <p:cNvGrpSpPr>
            <a:grpSpLocks/>
          </p:cNvGrpSpPr>
          <p:nvPr/>
        </p:nvGrpSpPr>
        <p:grpSpPr bwMode="auto">
          <a:xfrm>
            <a:off x="1892300" y="1695157"/>
            <a:ext cx="8345488" cy="4681537"/>
            <a:chOff x="232" y="915"/>
            <a:chExt cx="5257" cy="2949"/>
          </a:xfrm>
        </p:grpSpPr>
        <p:sp>
          <p:nvSpPr>
            <p:cNvPr id="2836484" name="Rectangle 4"/>
            <p:cNvSpPr>
              <a:spLocks noChangeArrowheads="1"/>
            </p:cNvSpPr>
            <p:nvPr/>
          </p:nvSpPr>
          <p:spPr bwMode="gray">
            <a:xfrm>
              <a:off x="1318" y="915"/>
              <a:ext cx="1271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6485" name="Line 5"/>
            <p:cNvSpPr>
              <a:spLocks noChangeShapeType="1"/>
            </p:cNvSpPr>
            <p:nvPr/>
          </p:nvSpPr>
          <p:spPr bwMode="gray">
            <a:xfrm>
              <a:off x="1318" y="1064"/>
              <a:ext cx="1271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endParaRPr lang="en-US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36486" name="Rectangle 6"/>
            <p:cNvSpPr>
              <a:spLocks noChangeArrowheads="1"/>
            </p:cNvSpPr>
            <p:nvPr/>
          </p:nvSpPr>
          <p:spPr bwMode="gray">
            <a:xfrm>
              <a:off x="238" y="915"/>
              <a:ext cx="914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6487" name="Line 7"/>
            <p:cNvSpPr>
              <a:spLocks noChangeShapeType="1"/>
            </p:cNvSpPr>
            <p:nvPr/>
          </p:nvSpPr>
          <p:spPr bwMode="gray">
            <a:xfrm>
              <a:off x="238" y="1064"/>
              <a:ext cx="91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endParaRPr lang="en-US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36488" name="Rectangle 8"/>
            <p:cNvSpPr>
              <a:spLocks noChangeArrowheads="1"/>
            </p:cNvSpPr>
            <p:nvPr/>
          </p:nvSpPr>
          <p:spPr bwMode="gray">
            <a:xfrm>
              <a:off x="2762" y="915"/>
              <a:ext cx="1271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6489" name="Line 9"/>
            <p:cNvSpPr>
              <a:spLocks noChangeShapeType="1"/>
            </p:cNvSpPr>
            <p:nvPr/>
          </p:nvSpPr>
          <p:spPr bwMode="gray">
            <a:xfrm>
              <a:off x="2762" y="1064"/>
              <a:ext cx="1271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endParaRPr lang="en-US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36490" name="Rectangle 10"/>
            <p:cNvSpPr>
              <a:spLocks noChangeArrowheads="1"/>
            </p:cNvSpPr>
            <p:nvPr/>
          </p:nvSpPr>
          <p:spPr bwMode="gray">
            <a:xfrm>
              <a:off x="4206" y="915"/>
              <a:ext cx="1271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6491" name="Line 11"/>
            <p:cNvSpPr>
              <a:spLocks noChangeShapeType="1"/>
            </p:cNvSpPr>
            <p:nvPr/>
          </p:nvSpPr>
          <p:spPr bwMode="gray">
            <a:xfrm>
              <a:off x="4206" y="1064"/>
              <a:ext cx="1271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endParaRPr lang="en-US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36492" name="Rectangle 12"/>
            <p:cNvSpPr>
              <a:spLocks noChangeArrowheads="1"/>
            </p:cNvSpPr>
            <p:nvPr/>
          </p:nvSpPr>
          <p:spPr bwMode="gray">
            <a:xfrm>
              <a:off x="241" y="1159"/>
              <a:ext cx="914" cy="80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6493" name="Rectangle 13"/>
            <p:cNvSpPr>
              <a:spLocks noChangeArrowheads="1"/>
            </p:cNvSpPr>
            <p:nvPr/>
          </p:nvSpPr>
          <p:spPr bwMode="gray">
            <a:xfrm>
              <a:off x="241" y="2098"/>
              <a:ext cx="914" cy="803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6494" name="Rectangle 14"/>
            <p:cNvSpPr>
              <a:spLocks noChangeArrowheads="1"/>
            </p:cNvSpPr>
            <p:nvPr/>
          </p:nvSpPr>
          <p:spPr bwMode="gray">
            <a:xfrm>
              <a:off x="241" y="3062"/>
              <a:ext cx="914" cy="80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6000" tIns="36000" rIns="36000" bIns="3600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6495" name="Line 15"/>
            <p:cNvSpPr>
              <a:spLocks noChangeShapeType="1"/>
            </p:cNvSpPr>
            <p:nvPr/>
          </p:nvSpPr>
          <p:spPr bwMode="gray">
            <a:xfrm>
              <a:off x="232" y="2052"/>
              <a:ext cx="5257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endParaRPr lang="en-US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36496" name="Line 16"/>
            <p:cNvSpPr>
              <a:spLocks noChangeShapeType="1"/>
            </p:cNvSpPr>
            <p:nvPr/>
          </p:nvSpPr>
          <p:spPr bwMode="gray">
            <a:xfrm>
              <a:off x="232" y="3008"/>
              <a:ext cx="5257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endParaRPr lang="en-US" sz="1600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2836497" name="Rectangle 17"/>
            <p:cNvSpPr>
              <a:spLocks noChangeArrowheads="1"/>
            </p:cNvSpPr>
            <p:nvPr/>
          </p:nvSpPr>
          <p:spPr bwMode="gray">
            <a:xfrm>
              <a:off x="1318" y="1183"/>
              <a:ext cx="127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6498" name="Rectangle 18"/>
            <p:cNvSpPr>
              <a:spLocks noChangeArrowheads="1"/>
            </p:cNvSpPr>
            <p:nvPr/>
          </p:nvSpPr>
          <p:spPr bwMode="gray">
            <a:xfrm>
              <a:off x="2762" y="1183"/>
              <a:ext cx="127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6499" name="Rectangle 19"/>
            <p:cNvSpPr>
              <a:spLocks noChangeArrowheads="1"/>
            </p:cNvSpPr>
            <p:nvPr/>
          </p:nvSpPr>
          <p:spPr bwMode="gray">
            <a:xfrm>
              <a:off x="4206" y="1183"/>
              <a:ext cx="127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6500" name="Rectangle 20"/>
            <p:cNvSpPr>
              <a:spLocks noChangeArrowheads="1"/>
            </p:cNvSpPr>
            <p:nvPr/>
          </p:nvSpPr>
          <p:spPr bwMode="gray">
            <a:xfrm>
              <a:off x="1318" y="2122"/>
              <a:ext cx="127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6501" name="Rectangle 21"/>
            <p:cNvSpPr>
              <a:spLocks noChangeArrowheads="1"/>
            </p:cNvSpPr>
            <p:nvPr/>
          </p:nvSpPr>
          <p:spPr bwMode="gray">
            <a:xfrm>
              <a:off x="2762" y="2122"/>
              <a:ext cx="127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6502" name="Rectangle 22"/>
            <p:cNvSpPr>
              <a:spLocks noChangeArrowheads="1"/>
            </p:cNvSpPr>
            <p:nvPr/>
          </p:nvSpPr>
          <p:spPr bwMode="gray">
            <a:xfrm>
              <a:off x="4206" y="2122"/>
              <a:ext cx="127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6503" name="Rectangle 23"/>
            <p:cNvSpPr>
              <a:spLocks noChangeArrowheads="1"/>
            </p:cNvSpPr>
            <p:nvPr/>
          </p:nvSpPr>
          <p:spPr bwMode="gray">
            <a:xfrm>
              <a:off x="1318" y="3086"/>
              <a:ext cx="127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6504" name="Rectangle 24"/>
            <p:cNvSpPr>
              <a:spLocks noChangeArrowheads="1"/>
            </p:cNvSpPr>
            <p:nvPr/>
          </p:nvSpPr>
          <p:spPr bwMode="gray">
            <a:xfrm>
              <a:off x="2762" y="3086"/>
              <a:ext cx="127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2836505" name="Rectangle 25"/>
            <p:cNvSpPr>
              <a:spLocks noChangeArrowheads="1"/>
            </p:cNvSpPr>
            <p:nvPr/>
          </p:nvSpPr>
          <p:spPr bwMode="gray">
            <a:xfrm>
              <a:off x="4206" y="3086"/>
              <a:ext cx="127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 sz="160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978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41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6 Factors</a:t>
            </a:r>
          </a:p>
        </p:txBody>
      </p:sp>
      <p:grpSp>
        <p:nvGrpSpPr>
          <p:cNvPr id="3164163" name="Group 3"/>
          <p:cNvGrpSpPr>
            <a:grpSpLocks/>
          </p:cNvGrpSpPr>
          <p:nvPr/>
        </p:nvGrpSpPr>
        <p:grpSpPr bwMode="auto">
          <a:xfrm>
            <a:off x="1887539" y="1490664"/>
            <a:ext cx="8320087" cy="4662487"/>
            <a:chOff x="241" y="939"/>
            <a:chExt cx="5241" cy="2937"/>
          </a:xfrm>
        </p:grpSpPr>
        <p:sp>
          <p:nvSpPr>
            <p:cNvPr id="3164164" name="Rectangle 4"/>
            <p:cNvSpPr>
              <a:spLocks noChangeArrowheads="1"/>
            </p:cNvSpPr>
            <p:nvPr/>
          </p:nvSpPr>
          <p:spPr bwMode="gray">
            <a:xfrm>
              <a:off x="4410" y="939"/>
              <a:ext cx="1072" cy="293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8000" tIns="0" rIns="45720" bIns="0" anchor="ctr"/>
            <a:lstStyle/>
            <a:p>
              <a:pPr defTabSz="912813"/>
              <a:r>
                <a:rPr lang="en-US" sz="16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4165" name="AutoShape 5"/>
            <p:cNvSpPr>
              <a:spLocks noChangeArrowheads="1"/>
            </p:cNvSpPr>
            <p:nvPr/>
          </p:nvSpPr>
          <p:spPr bwMode="gray">
            <a:xfrm>
              <a:off x="347" y="1483"/>
              <a:ext cx="4297" cy="392"/>
            </a:xfrm>
            <a:prstGeom prst="homePlate">
              <a:avLst>
                <a:gd name="adj" fmla="val 22279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4166" name="AutoShape 6"/>
            <p:cNvSpPr>
              <a:spLocks noChangeArrowheads="1"/>
            </p:cNvSpPr>
            <p:nvPr/>
          </p:nvSpPr>
          <p:spPr bwMode="gray">
            <a:xfrm>
              <a:off x="347" y="1958"/>
              <a:ext cx="4297" cy="392"/>
            </a:xfrm>
            <a:prstGeom prst="homePlate">
              <a:avLst>
                <a:gd name="adj" fmla="val 22279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4167" name="AutoShape 7"/>
            <p:cNvSpPr>
              <a:spLocks noChangeArrowheads="1"/>
            </p:cNvSpPr>
            <p:nvPr/>
          </p:nvSpPr>
          <p:spPr bwMode="gray">
            <a:xfrm>
              <a:off x="347" y="2433"/>
              <a:ext cx="4297" cy="392"/>
            </a:xfrm>
            <a:prstGeom prst="homePlate">
              <a:avLst>
                <a:gd name="adj" fmla="val 22279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4168" name="AutoShape 8"/>
            <p:cNvSpPr>
              <a:spLocks noChangeArrowheads="1"/>
            </p:cNvSpPr>
            <p:nvPr/>
          </p:nvSpPr>
          <p:spPr bwMode="gray">
            <a:xfrm>
              <a:off x="347" y="2908"/>
              <a:ext cx="4297" cy="392"/>
            </a:xfrm>
            <a:prstGeom prst="homePlate">
              <a:avLst>
                <a:gd name="adj" fmla="val 22279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4169" name="AutoShape 9"/>
            <p:cNvSpPr>
              <a:spLocks noChangeArrowheads="1"/>
            </p:cNvSpPr>
            <p:nvPr/>
          </p:nvSpPr>
          <p:spPr bwMode="gray">
            <a:xfrm>
              <a:off x="347" y="3383"/>
              <a:ext cx="4297" cy="392"/>
            </a:xfrm>
            <a:prstGeom prst="homePlate">
              <a:avLst>
                <a:gd name="adj" fmla="val 22279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4170" name="AutoShape 10"/>
            <p:cNvSpPr>
              <a:spLocks noChangeArrowheads="1"/>
            </p:cNvSpPr>
            <p:nvPr/>
          </p:nvSpPr>
          <p:spPr bwMode="gray">
            <a:xfrm>
              <a:off x="347" y="1008"/>
              <a:ext cx="4297" cy="392"/>
            </a:xfrm>
            <a:prstGeom prst="homePlate">
              <a:avLst>
                <a:gd name="adj" fmla="val 22279"/>
              </a:avLst>
            </a:prstGeom>
            <a:solidFill>
              <a:schemeClr val="bg1">
                <a:lumMod val="9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1600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4171" name="Oval 11"/>
            <p:cNvSpPr>
              <a:spLocks noChangeArrowheads="1"/>
            </p:cNvSpPr>
            <p:nvPr/>
          </p:nvSpPr>
          <p:spPr bwMode="gray">
            <a:xfrm>
              <a:off x="241" y="1581"/>
              <a:ext cx="196" cy="196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2</a:t>
              </a:r>
            </a:p>
          </p:txBody>
        </p:sp>
        <p:sp>
          <p:nvSpPr>
            <p:cNvPr id="3164172" name="Oval 12"/>
            <p:cNvSpPr>
              <a:spLocks noChangeArrowheads="1"/>
            </p:cNvSpPr>
            <p:nvPr/>
          </p:nvSpPr>
          <p:spPr bwMode="gray">
            <a:xfrm>
              <a:off x="241" y="2056"/>
              <a:ext cx="196" cy="196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3</a:t>
              </a:r>
            </a:p>
          </p:txBody>
        </p:sp>
        <p:sp>
          <p:nvSpPr>
            <p:cNvPr id="3164173" name="Oval 13"/>
            <p:cNvSpPr>
              <a:spLocks noChangeArrowheads="1"/>
            </p:cNvSpPr>
            <p:nvPr/>
          </p:nvSpPr>
          <p:spPr bwMode="gray">
            <a:xfrm>
              <a:off x="241" y="2531"/>
              <a:ext cx="196" cy="196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4</a:t>
              </a:r>
            </a:p>
          </p:txBody>
        </p:sp>
        <p:sp>
          <p:nvSpPr>
            <p:cNvPr id="3164174" name="Oval 14"/>
            <p:cNvSpPr>
              <a:spLocks noChangeArrowheads="1"/>
            </p:cNvSpPr>
            <p:nvPr/>
          </p:nvSpPr>
          <p:spPr bwMode="gray">
            <a:xfrm>
              <a:off x="241" y="3006"/>
              <a:ext cx="196" cy="196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5</a:t>
              </a:r>
            </a:p>
          </p:txBody>
        </p:sp>
        <p:sp>
          <p:nvSpPr>
            <p:cNvPr id="3164175" name="Oval 15"/>
            <p:cNvSpPr>
              <a:spLocks noChangeArrowheads="1"/>
            </p:cNvSpPr>
            <p:nvPr/>
          </p:nvSpPr>
          <p:spPr bwMode="gray">
            <a:xfrm>
              <a:off x="241" y="3481"/>
              <a:ext cx="196" cy="196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6</a:t>
              </a:r>
            </a:p>
          </p:txBody>
        </p:sp>
        <p:sp>
          <p:nvSpPr>
            <p:cNvPr id="3164176" name="Oval 16"/>
            <p:cNvSpPr>
              <a:spLocks noChangeArrowheads="1"/>
            </p:cNvSpPr>
            <p:nvPr/>
          </p:nvSpPr>
          <p:spPr bwMode="gray">
            <a:xfrm>
              <a:off x="241" y="1106"/>
              <a:ext cx="196" cy="196"/>
            </a:xfrm>
            <a:prstGeom prst="ellipse">
              <a:avLst/>
            </a:pr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3600" bIns="3600" anchor="ctr" anchorCtr="1"/>
            <a:lstStyle/>
            <a:p>
              <a:pPr>
                <a:spcAft>
                  <a:spcPct val="0"/>
                </a:spcAft>
              </a:pPr>
              <a:r>
                <a:rPr lang="en-US" b="1">
                  <a:solidFill>
                    <a:schemeClr val="bg1"/>
                  </a:solidFill>
                  <a:latin typeface="Baskerville" charset="0"/>
                  <a:ea typeface="Baskerville" charset="0"/>
                  <a:cs typeface="Baskerville" charset="0"/>
                </a:rPr>
                <a:t>1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807716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62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3</a:t>
            </a:r>
          </a:p>
        </p:txBody>
      </p:sp>
      <p:grpSp>
        <p:nvGrpSpPr>
          <p:cNvPr id="3166211" name="Group 3"/>
          <p:cNvGrpSpPr>
            <a:grpSpLocks/>
          </p:cNvGrpSpPr>
          <p:nvPr/>
        </p:nvGrpSpPr>
        <p:grpSpPr bwMode="auto">
          <a:xfrm>
            <a:off x="1906588" y="1823833"/>
            <a:ext cx="8310562" cy="4019550"/>
            <a:chOff x="241" y="908"/>
            <a:chExt cx="5235" cy="2532"/>
          </a:xfrm>
        </p:grpSpPr>
        <p:sp>
          <p:nvSpPr>
            <p:cNvPr id="3166212" name="AutoShape 4"/>
            <p:cNvSpPr>
              <a:spLocks noChangeArrowheads="1"/>
            </p:cNvSpPr>
            <p:nvPr/>
          </p:nvSpPr>
          <p:spPr bwMode="gray">
            <a:xfrm>
              <a:off x="245" y="1216"/>
              <a:ext cx="2584" cy="610"/>
            </a:xfrm>
            <a:prstGeom prst="homePlate">
              <a:avLst>
                <a:gd name="adj" fmla="val 17356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6213" name="Rectangle 5"/>
            <p:cNvSpPr>
              <a:spLocks noChangeArrowheads="1"/>
            </p:cNvSpPr>
            <p:nvPr/>
          </p:nvSpPr>
          <p:spPr bwMode="gray">
            <a:xfrm>
              <a:off x="2884" y="1216"/>
              <a:ext cx="2584" cy="61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6214" name="AutoShape 6"/>
            <p:cNvSpPr>
              <a:spLocks noChangeArrowheads="1"/>
            </p:cNvSpPr>
            <p:nvPr/>
          </p:nvSpPr>
          <p:spPr bwMode="gray">
            <a:xfrm>
              <a:off x="245" y="2022"/>
              <a:ext cx="2584" cy="610"/>
            </a:xfrm>
            <a:prstGeom prst="homePlate">
              <a:avLst>
                <a:gd name="adj" fmla="val 17356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6215" name="Rectangle 7"/>
            <p:cNvSpPr>
              <a:spLocks noChangeArrowheads="1"/>
            </p:cNvSpPr>
            <p:nvPr/>
          </p:nvSpPr>
          <p:spPr bwMode="gray">
            <a:xfrm>
              <a:off x="2884" y="2023"/>
              <a:ext cx="2584" cy="61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6216" name="AutoShape 8"/>
            <p:cNvSpPr>
              <a:spLocks noChangeArrowheads="1"/>
            </p:cNvSpPr>
            <p:nvPr/>
          </p:nvSpPr>
          <p:spPr bwMode="gray">
            <a:xfrm>
              <a:off x="245" y="2829"/>
              <a:ext cx="2584" cy="610"/>
            </a:xfrm>
            <a:prstGeom prst="homePlate">
              <a:avLst>
                <a:gd name="adj" fmla="val 17356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6217" name="Rectangle 9"/>
            <p:cNvSpPr>
              <a:spLocks noChangeArrowheads="1"/>
            </p:cNvSpPr>
            <p:nvPr/>
          </p:nvSpPr>
          <p:spPr bwMode="gray">
            <a:xfrm>
              <a:off x="2884" y="2830"/>
              <a:ext cx="2584" cy="61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6218" name="Rectangle 10"/>
            <p:cNvSpPr>
              <a:spLocks noChangeArrowheads="1"/>
            </p:cNvSpPr>
            <p:nvPr/>
          </p:nvSpPr>
          <p:spPr bwMode="gray">
            <a:xfrm>
              <a:off x="245" y="908"/>
              <a:ext cx="245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6219" name="Rectangle 11"/>
            <p:cNvSpPr>
              <a:spLocks noChangeArrowheads="1"/>
            </p:cNvSpPr>
            <p:nvPr/>
          </p:nvSpPr>
          <p:spPr bwMode="gray">
            <a:xfrm>
              <a:off x="2884" y="908"/>
              <a:ext cx="258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6220" name="Line 12"/>
            <p:cNvSpPr>
              <a:spLocks noChangeShapeType="1"/>
            </p:cNvSpPr>
            <p:nvPr/>
          </p:nvSpPr>
          <p:spPr bwMode="gray">
            <a:xfrm>
              <a:off x="241" y="1076"/>
              <a:ext cx="248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66221" name="Line 13"/>
            <p:cNvSpPr>
              <a:spLocks noChangeShapeType="1"/>
            </p:cNvSpPr>
            <p:nvPr/>
          </p:nvSpPr>
          <p:spPr bwMode="gray">
            <a:xfrm>
              <a:off x="2884" y="1076"/>
              <a:ext cx="25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873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82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5 Factors</a:t>
            </a:r>
          </a:p>
        </p:txBody>
      </p:sp>
      <p:grpSp>
        <p:nvGrpSpPr>
          <p:cNvPr id="3168259" name="Group 3"/>
          <p:cNvGrpSpPr>
            <a:grpSpLocks/>
          </p:cNvGrpSpPr>
          <p:nvPr/>
        </p:nvGrpSpPr>
        <p:grpSpPr bwMode="auto">
          <a:xfrm>
            <a:off x="1912938" y="1366839"/>
            <a:ext cx="8291512" cy="4789487"/>
            <a:chOff x="251" y="861"/>
            <a:chExt cx="5229" cy="3017"/>
          </a:xfrm>
        </p:grpSpPr>
        <p:sp>
          <p:nvSpPr>
            <p:cNvPr id="3168260" name="Rectangle 4"/>
            <p:cNvSpPr>
              <a:spLocks noChangeArrowheads="1"/>
            </p:cNvSpPr>
            <p:nvPr/>
          </p:nvSpPr>
          <p:spPr bwMode="gray">
            <a:xfrm>
              <a:off x="251" y="861"/>
              <a:ext cx="2458" cy="2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defTabSz="912813"/>
              <a:r>
                <a:rPr lang="en-US" sz="2000" b="1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8261" name="Rectangle 5"/>
            <p:cNvSpPr>
              <a:spLocks noChangeArrowheads="1"/>
            </p:cNvSpPr>
            <p:nvPr/>
          </p:nvSpPr>
          <p:spPr bwMode="gray">
            <a:xfrm>
              <a:off x="2896" y="862"/>
              <a:ext cx="2584" cy="2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72000" rIns="0" bIns="0"/>
            <a:lstStyle/>
            <a:p>
              <a:pPr defTabSz="912813"/>
              <a:r>
                <a:rPr lang="en-US" sz="2000" b="1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8262" name="AutoShape 6"/>
            <p:cNvSpPr>
              <a:spLocks noChangeArrowheads="1"/>
            </p:cNvSpPr>
            <p:nvPr/>
          </p:nvSpPr>
          <p:spPr bwMode="gray">
            <a:xfrm>
              <a:off x="251" y="1191"/>
              <a:ext cx="2584" cy="388"/>
            </a:xfrm>
            <a:prstGeom prst="homePlate">
              <a:avLst>
                <a:gd name="adj" fmla="val 22261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8263" name="Rectangle 7"/>
            <p:cNvSpPr>
              <a:spLocks noChangeArrowheads="1"/>
            </p:cNvSpPr>
            <p:nvPr/>
          </p:nvSpPr>
          <p:spPr bwMode="gray">
            <a:xfrm>
              <a:off x="2896" y="1192"/>
              <a:ext cx="2584" cy="38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4572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8264" name="AutoShape 8"/>
            <p:cNvSpPr>
              <a:spLocks noChangeArrowheads="1"/>
            </p:cNvSpPr>
            <p:nvPr/>
          </p:nvSpPr>
          <p:spPr bwMode="gray">
            <a:xfrm>
              <a:off x="251" y="1765"/>
              <a:ext cx="2584" cy="388"/>
            </a:xfrm>
            <a:prstGeom prst="homePlate">
              <a:avLst>
                <a:gd name="adj" fmla="val 22261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8265" name="Rectangle 9"/>
            <p:cNvSpPr>
              <a:spLocks noChangeArrowheads="1"/>
            </p:cNvSpPr>
            <p:nvPr/>
          </p:nvSpPr>
          <p:spPr bwMode="gray">
            <a:xfrm>
              <a:off x="2896" y="1766"/>
              <a:ext cx="2584" cy="38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4572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8266" name="AutoShape 10"/>
            <p:cNvSpPr>
              <a:spLocks noChangeArrowheads="1"/>
            </p:cNvSpPr>
            <p:nvPr/>
          </p:nvSpPr>
          <p:spPr bwMode="gray">
            <a:xfrm>
              <a:off x="251" y="2340"/>
              <a:ext cx="2584" cy="388"/>
            </a:xfrm>
            <a:prstGeom prst="homePlate">
              <a:avLst>
                <a:gd name="adj" fmla="val 22261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8267" name="Rectangle 11"/>
            <p:cNvSpPr>
              <a:spLocks noChangeArrowheads="1"/>
            </p:cNvSpPr>
            <p:nvPr/>
          </p:nvSpPr>
          <p:spPr bwMode="gray">
            <a:xfrm>
              <a:off x="2896" y="2341"/>
              <a:ext cx="2584" cy="38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4572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8268" name="AutoShape 12"/>
            <p:cNvSpPr>
              <a:spLocks noChangeArrowheads="1"/>
            </p:cNvSpPr>
            <p:nvPr/>
          </p:nvSpPr>
          <p:spPr bwMode="gray">
            <a:xfrm>
              <a:off x="251" y="2914"/>
              <a:ext cx="2584" cy="388"/>
            </a:xfrm>
            <a:prstGeom prst="homePlate">
              <a:avLst>
                <a:gd name="adj" fmla="val 22261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8269" name="Rectangle 13"/>
            <p:cNvSpPr>
              <a:spLocks noChangeArrowheads="1"/>
            </p:cNvSpPr>
            <p:nvPr/>
          </p:nvSpPr>
          <p:spPr bwMode="gray">
            <a:xfrm>
              <a:off x="2896" y="2915"/>
              <a:ext cx="2584" cy="38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4572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8270" name="AutoShape 14"/>
            <p:cNvSpPr>
              <a:spLocks noChangeArrowheads="1"/>
            </p:cNvSpPr>
            <p:nvPr/>
          </p:nvSpPr>
          <p:spPr bwMode="gray">
            <a:xfrm>
              <a:off x="251" y="3489"/>
              <a:ext cx="2584" cy="388"/>
            </a:xfrm>
            <a:prstGeom prst="homePlate">
              <a:avLst>
                <a:gd name="adj" fmla="val 22261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68271" name="Rectangle 15"/>
            <p:cNvSpPr>
              <a:spLocks noChangeArrowheads="1"/>
            </p:cNvSpPr>
            <p:nvPr/>
          </p:nvSpPr>
          <p:spPr bwMode="gray">
            <a:xfrm>
              <a:off x="2896" y="3490"/>
              <a:ext cx="2584" cy="38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4572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531305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0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4</a:t>
            </a:r>
          </a:p>
        </p:txBody>
      </p:sp>
      <p:grpSp>
        <p:nvGrpSpPr>
          <p:cNvPr id="3170307" name="Group 3"/>
          <p:cNvGrpSpPr>
            <a:grpSpLocks/>
          </p:cNvGrpSpPr>
          <p:nvPr/>
        </p:nvGrpSpPr>
        <p:grpSpPr bwMode="auto">
          <a:xfrm>
            <a:off x="1906588" y="1441450"/>
            <a:ext cx="8310562" cy="4705350"/>
            <a:chOff x="241" y="908"/>
            <a:chExt cx="5235" cy="2964"/>
          </a:xfrm>
        </p:grpSpPr>
        <p:sp>
          <p:nvSpPr>
            <p:cNvPr id="3170308" name="AutoShape 4"/>
            <p:cNvSpPr>
              <a:spLocks noChangeArrowheads="1"/>
            </p:cNvSpPr>
            <p:nvPr/>
          </p:nvSpPr>
          <p:spPr bwMode="gray">
            <a:xfrm>
              <a:off x="245" y="1209"/>
              <a:ext cx="2584" cy="610"/>
            </a:xfrm>
            <a:prstGeom prst="homePlate">
              <a:avLst>
                <a:gd name="adj" fmla="val 17356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0309" name="Rectangle 5"/>
            <p:cNvSpPr>
              <a:spLocks noChangeArrowheads="1"/>
            </p:cNvSpPr>
            <p:nvPr/>
          </p:nvSpPr>
          <p:spPr bwMode="gray">
            <a:xfrm>
              <a:off x="2884" y="1210"/>
              <a:ext cx="2584" cy="61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0310" name="AutoShape 6"/>
            <p:cNvSpPr>
              <a:spLocks noChangeArrowheads="1"/>
            </p:cNvSpPr>
            <p:nvPr/>
          </p:nvSpPr>
          <p:spPr bwMode="gray">
            <a:xfrm>
              <a:off x="245" y="1893"/>
              <a:ext cx="2584" cy="610"/>
            </a:xfrm>
            <a:prstGeom prst="homePlate">
              <a:avLst>
                <a:gd name="adj" fmla="val 17356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0311" name="Rectangle 7"/>
            <p:cNvSpPr>
              <a:spLocks noChangeArrowheads="1"/>
            </p:cNvSpPr>
            <p:nvPr/>
          </p:nvSpPr>
          <p:spPr bwMode="gray">
            <a:xfrm>
              <a:off x="2884" y="1894"/>
              <a:ext cx="2584" cy="61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0312" name="AutoShape 8"/>
            <p:cNvSpPr>
              <a:spLocks noChangeArrowheads="1"/>
            </p:cNvSpPr>
            <p:nvPr/>
          </p:nvSpPr>
          <p:spPr bwMode="gray">
            <a:xfrm>
              <a:off x="245" y="2577"/>
              <a:ext cx="2584" cy="610"/>
            </a:xfrm>
            <a:prstGeom prst="homePlate">
              <a:avLst>
                <a:gd name="adj" fmla="val 17356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0313" name="Rectangle 9"/>
            <p:cNvSpPr>
              <a:spLocks noChangeArrowheads="1"/>
            </p:cNvSpPr>
            <p:nvPr/>
          </p:nvSpPr>
          <p:spPr bwMode="gray">
            <a:xfrm>
              <a:off x="2884" y="2578"/>
              <a:ext cx="2584" cy="61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0314" name="AutoShape 10"/>
            <p:cNvSpPr>
              <a:spLocks noChangeArrowheads="1"/>
            </p:cNvSpPr>
            <p:nvPr/>
          </p:nvSpPr>
          <p:spPr bwMode="gray">
            <a:xfrm>
              <a:off x="245" y="3261"/>
              <a:ext cx="2584" cy="610"/>
            </a:xfrm>
            <a:prstGeom prst="homePlate">
              <a:avLst>
                <a:gd name="adj" fmla="val 17356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0315" name="Rectangle 11"/>
            <p:cNvSpPr>
              <a:spLocks noChangeArrowheads="1"/>
            </p:cNvSpPr>
            <p:nvPr/>
          </p:nvSpPr>
          <p:spPr bwMode="gray">
            <a:xfrm>
              <a:off x="2884" y="3262"/>
              <a:ext cx="2584" cy="61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0316" name="Rectangle 12"/>
            <p:cNvSpPr>
              <a:spLocks noChangeArrowheads="1"/>
            </p:cNvSpPr>
            <p:nvPr/>
          </p:nvSpPr>
          <p:spPr bwMode="gray">
            <a:xfrm>
              <a:off x="245" y="908"/>
              <a:ext cx="245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0317" name="Rectangle 13"/>
            <p:cNvSpPr>
              <a:spLocks noChangeArrowheads="1"/>
            </p:cNvSpPr>
            <p:nvPr/>
          </p:nvSpPr>
          <p:spPr bwMode="gray">
            <a:xfrm>
              <a:off x="2884" y="908"/>
              <a:ext cx="258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0318" name="Line 14"/>
            <p:cNvSpPr>
              <a:spLocks noChangeShapeType="1"/>
            </p:cNvSpPr>
            <p:nvPr/>
          </p:nvSpPr>
          <p:spPr bwMode="gray">
            <a:xfrm>
              <a:off x="241" y="1076"/>
              <a:ext cx="248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70319" name="Line 15"/>
            <p:cNvSpPr>
              <a:spLocks noChangeShapeType="1"/>
            </p:cNvSpPr>
            <p:nvPr/>
          </p:nvSpPr>
          <p:spPr bwMode="gray">
            <a:xfrm>
              <a:off x="2884" y="1076"/>
              <a:ext cx="25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9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880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23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5</a:t>
            </a:r>
          </a:p>
        </p:txBody>
      </p:sp>
      <p:grpSp>
        <p:nvGrpSpPr>
          <p:cNvPr id="3172355" name="Group 3"/>
          <p:cNvGrpSpPr>
            <a:grpSpLocks/>
          </p:cNvGrpSpPr>
          <p:nvPr/>
        </p:nvGrpSpPr>
        <p:grpSpPr bwMode="auto">
          <a:xfrm>
            <a:off x="1906588" y="1441451"/>
            <a:ext cx="8310562" cy="4714875"/>
            <a:chOff x="241" y="908"/>
            <a:chExt cx="5235" cy="2970"/>
          </a:xfrm>
        </p:grpSpPr>
        <p:sp>
          <p:nvSpPr>
            <p:cNvPr id="3172356" name="AutoShape 4"/>
            <p:cNvSpPr>
              <a:spLocks noChangeArrowheads="1"/>
            </p:cNvSpPr>
            <p:nvPr/>
          </p:nvSpPr>
          <p:spPr bwMode="gray">
            <a:xfrm>
              <a:off x="245" y="1191"/>
              <a:ext cx="2584" cy="388"/>
            </a:xfrm>
            <a:prstGeom prst="homePlate">
              <a:avLst>
                <a:gd name="adj" fmla="val 22261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2357" name="Rectangle 5"/>
            <p:cNvSpPr>
              <a:spLocks noChangeArrowheads="1"/>
            </p:cNvSpPr>
            <p:nvPr/>
          </p:nvSpPr>
          <p:spPr bwMode="gray">
            <a:xfrm>
              <a:off x="2884" y="1192"/>
              <a:ext cx="2584" cy="3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2358" name="AutoShape 6"/>
            <p:cNvSpPr>
              <a:spLocks noChangeArrowheads="1"/>
            </p:cNvSpPr>
            <p:nvPr/>
          </p:nvSpPr>
          <p:spPr bwMode="gray">
            <a:xfrm>
              <a:off x="245" y="1765"/>
              <a:ext cx="2584" cy="388"/>
            </a:xfrm>
            <a:prstGeom prst="homePlate">
              <a:avLst>
                <a:gd name="adj" fmla="val 22261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2359" name="Rectangle 7"/>
            <p:cNvSpPr>
              <a:spLocks noChangeArrowheads="1"/>
            </p:cNvSpPr>
            <p:nvPr/>
          </p:nvSpPr>
          <p:spPr bwMode="gray">
            <a:xfrm>
              <a:off x="2884" y="1766"/>
              <a:ext cx="2584" cy="3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2360" name="AutoShape 8"/>
            <p:cNvSpPr>
              <a:spLocks noChangeArrowheads="1"/>
            </p:cNvSpPr>
            <p:nvPr/>
          </p:nvSpPr>
          <p:spPr bwMode="gray">
            <a:xfrm>
              <a:off x="245" y="2340"/>
              <a:ext cx="2584" cy="388"/>
            </a:xfrm>
            <a:prstGeom prst="homePlate">
              <a:avLst>
                <a:gd name="adj" fmla="val 22261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2361" name="Rectangle 9"/>
            <p:cNvSpPr>
              <a:spLocks noChangeArrowheads="1"/>
            </p:cNvSpPr>
            <p:nvPr/>
          </p:nvSpPr>
          <p:spPr bwMode="gray">
            <a:xfrm>
              <a:off x="2884" y="2341"/>
              <a:ext cx="2584" cy="3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2362" name="AutoShape 10"/>
            <p:cNvSpPr>
              <a:spLocks noChangeArrowheads="1"/>
            </p:cNvSpPr>
            <p:nvPr/>
          </p:nvSpPr>
          <p:spPr bwMode="gray">
            <a:xfrm>
              <a:off x="245" y="2914"/>
              <a:ext cx="2584" cy="388"/>
            </a:xfrm>
            <a:prstGeom prst="homePlate">
              <a:avLst>
                <a:gd name="adj" fmla="val 22261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2363" name="Rectangle 11"/>
            <p:cNvSpPr>
              <a:spLocks noChangeArrowheads="1"/>
            </p:cNvSpPr>
            <p:nvPr/>
          </p:nvSpPr>
          <p:spPr bwMode="gray">
            <a:xfrm>
              <a:off x="2884" y="2915"/>
              <a:ext cx="2584" cy="3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2364" name="AutoShape 12"/>
            <p:cNvSpPr>
              <a:spLocks noChangeArrowheads="1"/>
            </p:cNvSpPr>
            <p:nvPr/>
          </p:nvSpPr>
          <p:spPr bwMode="gray">
            <a:xfrm>
              <a:off x="245" y="3489"/>
              <a:ext cx="2584" cy="388"/>
            </a:xfrm>
            <a:prstGeom prst="homePlate">
              <a:avLst>
                <a:gd name="adj" fmla="val 22261"/>
              </a:avLst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2365" name="Rectangle 13"/>
            <p:cNvSpPr>
              <a:spLocks noChangeArrowheads="1"/>
            </p:cNvSpPr>
            <p:nvPr/>
          </p:nvSpPr>
          <p:spPr bwMode="gray">
            <a:xfrm>
              <a:off x="2884" y="3490"/>
              <a:ext cx="2584" cy="3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bIns="0" anchor="ctr"/>
            <a:lstStyle/>
            <a:p>
              <a:pPr defTabSz="912813"/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2366" name="Rectangle 14"/>
            <p:cNvSpPr>
              <a:spLocks noChangeArrowheads="1"/>
            </p:cNvSpPr>
            <p:nvPr/>
          </p:nvSpPr>
          <p:spPr bwMode="gray">
            <a:xfrm>
              <a:off x="245" y="908"/>
              <a:ext cx="245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2367" name="Rectangle 15"/>
            <p:cNvSpPr>
              <a:spLocks noChangeArrowheads="1"/>
            </p:cNvSpPr>
            <p:nvPr/>
          </p:nvSpPr>
          <p:spPr bwMode="gray">
            <a:xfrm>
              <a:off x="2884" y="908"/>
              <a:ext cx="258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2368" name="Line 16"/>
            <p:cNvSpPr>
              <a:spLocks noChangeShapeType="1"/>
            </p:cNvSpPr>
            <p:nvPr/>
          </p:nvSpPr>
          <p:spPr bwMode="gray">
            <a:xfrm>
              <a:off x="241" y="1076"/>
              <a:ext cx="248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72369" name="Line 17"/>
            <p:cNvSpPr>
              <a:spLocks noChangeShapeType="1"/>
            </p:cNvSpPr>
            <p:nvPr/>
          </p:nvSpPr>
          <p:spPr bwMode="gray">
            <a:xfrm>
              <a:off x="2884" y="1076"/>
              <a:ext cx="259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9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015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4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2</a:t>
            </a:r>
          </a:p>
        </p:txBody>
      </p:sp>
      <p:grpSp>
        <p:nvGrpSpPr>
          <p:cNvPr id="3174403" name="Group 3"/>
          <p:cNvGrpSpPr>
            <a:grpSpLocks/>
          </p:cNvGrpSpPr>
          <p:nvPr/>
        </p:nvGrpSpPr>
        <p:grpSpPr bwMode="auto">
          <a:xfrm>
            <a:off x="1912939" y="1497014"/>
            <a:ext cx="8289925" cy="4649787"/>
            <a:chOff x="245" y="943"/>
            <a:chExt cx="5222" cy="2929"/>
          </a:xfrm>
        </p:grpSpPr>
        <p:sp>
          <p:nvSpPr>
            <p:cNvPr id="3174404" name="Freeform 4"/>
            <p:cNvSpPr>
              <a:spLocks/>
            </p:cNvSpPr>
            <p:nvPr/>
          </p:nvSpPr>
          <p:spPr bwMode="gray">
            <a:xfrm>
              <a:off x="2456" y="1045"/>
              <a:ext cx="805" cy="439"/>
            </a:xfrm>
            <a:custGeom>
              <a:avLst/>
              <a:gdLst>
                <a:gd name="T0" fmla="*/ 0 w 631"/>
                <a:gd name="T1" fmla="*/ 63 h 316"/>
                <a:gd name="T2" fmla="*/ 473 w 631"/>
                <a:gd name="T3" fmla="*/ 63 h 316"/>
                <a:gd name="T4" fmla="*/ 473 w 631"/>
                <a:gd name="T5" fmla="*/ 0 h 316"/>
                <a:gd name="T6" fmla="*/ 630 w 631"/>
                <a:gd name="T7" fmla="*/ 158 h 316"/>
                <a:gd name="T8" fmla="*/ 473 w 631"/>
                <a:gd name="T9" fmla="*/ 315 h 316"/>
                <a:gd name="T10" fmla="*/ 473 w 631"/>
                <a:gd name="T11" fmla="*/ 252 h 316"/>
                <a:gd name="T12" fmla="*/ 0 w 631"/>
                <a:gd name="T13" fmla="*/ 252 h 316"/>
                <a:gd name="T14" fmla="*/ 0 w 631"/>
                <a:gd name="T15" fmla="*/ 252 h 316"/>
                <a:gd name="T16" fmla="*/ 0 w 631"/>
                <a:gd name="T17" fmla="*/ 158 h 316"/>
                <a:gd name="T18" fmla="*/ 0 w 631"/>
                <a:gd name="T19" fmla="*/ 63 h 316"/>
                <a:gd name="T20" fmla="*/ 0 w 631"/>
                <a:gd name="T21" fmla="*/ 63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1" h="316">
                  <a:moveTo>
                    <a:pt x="0" y="63"/>
                  </a:moveTo>
                  <a:lnTo>
                    <a:pt x="473" y="63"/>
                  </a:lnTo>
                  <a:lnTo>
                    <a:pt x="473" y="0"/>
                  </a:lnTo>
                  <a:lnTo>
                    <a:pt x="630" y="158"/>
                  </a:lnTo>
                  <a:lnTo>
                    <a:pt x="473" y="315"/>
                  </a:lnTo>
                  <a:lnTo>
                    <a:pt x="473" y="252"/>
                  </a:lnTo>
                  <a:lnTo>
                    <a:pt x="0" y="252"/>
                  </a:lnTo>
                  <a:lnTo>
                    <a:pt x="0" y="158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74405" name="Rectangle 5"/>
            <p:cNvSpPr>
              <a:spLocks noChangeArrowheads="1"/>
            </p:cNvSpPr>
            <p:nvPr/>
          </p:nvSpPr>
          <p:spPr bwMode="gray">
            <a:xfrm>
              <a:off x="245" y="943"/>
              <a:ext cx="2007" cy="65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4406" name="Rectangle 6"/>
            <p:cNvSpPr>
              <a:spLocks noChangeArrowheads="1"/>
            </p:cNvSpPr>
            <p:nvPr/>
          </p:nvSpPr>
          <p:spPr bwMode="gray">
            <a:xfrm>
              <a:off x="3460" y="943"/>
              <a:ext cx="2007" cy="65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4407" name="Rectangle 7"/>
            <p:cNvSpPr>
              <a:spLocks noChangeArrowheads="1"/>
            </p:cNvSpPr>
            <p:nvPr/>
          </p:nvSpPr>
          <p:spPr bwMode="gray">
            <a:xfrm>
              <a:off x="245" y="1633"/>
              <a:ext cx="2007" cy="223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164592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4408" name="Rectangle 8"/>
            <p:cNvSpPr>
              <a:spLocks noChangeArrowheads="1"/>
            </p:cNvSpPr>
            <p:nvPr/>
          </p:nvSpPr>
          <p:spPr bwMode="gray">
            <a:xfrm>
              <a:off x="3460" y="1633"/>
              <a:ext cx="2007" cy="223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164592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9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948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64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3</a:t>
            </a:r>
          </a:p>
        </p:txBody>
      </p:sp>
      <p:grpSp>
        <p:nvGrpSpPr>
          <p:cNvPr id="3176451" name="Group 3"/>
          <p:cNvGrpSpPr>
            <a:grpSpLocks/>
          </p:cNvGrpSpPr>
          <p:nvPr/>
        </p:nvGrpSpPr>
        <p:grpSpPr bwMode="auto">
          <a:xfrm>
            <a:off x="1912939" y="1497014"/>
            <a:ext cx="8289925" cy="4649787"/>
            <a:chOff x="245" y="943"/>
            <a:chExt cx="5222" cy="2929"/>
          </a:xfrm>
        </p:grpSpPr>
        <p:sp>
          <p:nvSpPr>
            <p:cNvPr id="3176452" name="Freeform 4"/>
            <p:cNvSpPr>
              <a:spLocks/>
            </p:cNvSpPr>
            <p:nvPr/>
          </p:nvSpPr>
          <p:spPr bwMode="gray">
            <a:xfrm>
              <a:off x="1786" y="1052"/>
              <a:ext cx="307" cy="436"/>
            </a:xfrm>
            <a:custGeom>
              <a:avLst/>
              <a:gdLst>
                <a:gd name="T0" fmla="*/ 0 w 237"/>
                <a:gd name="T1" fmla="*/ 63 h 316"/>
                <a:gd name="T2" fmla="*/ 79 w 237"/>
                <a:gd name="T3" fmla="*/ 63 h 316"/>
                <a:gd name="T4" fmla="*/ 79 w 237"/>
                <a:gd name="T5" fmla="*/ 0 h 316"/>
                <a:gd name="T6" fmla="*/ 236 w 237"/>
                <a:gd name="T7" fmla="*/ 158 h 316"/>
                <a:gd name="T8" fmla="*/ 79 w 237"/>
                <a:gd name="T9" fmla="*/ 315 h 316"/>
                <a:gd name="T10" fmla="*/ 79 w 237"/>
                <a:gd name="T11" fmla="*/ 252 h 316"/>
                <a:gd name="T12" fmla="*/ 0 w 237"/>
                <a:gd name="T13" fmla="*/ 252 h 316"/>
                <a:gd name="T14" fmla="*/ 0 w 237"/>
                <a:gd name="T15" fmla="*/ 252 h 316"/>
                <a:gd name="T16" fmla="*/ 0 w 237"/>
                <a:gd name="T17" fmla="*/ 158 h 316"/>
                <a:gd name="T18" fmla="*/ 0 w 237"/>
                <a:gd name="T19" fmla="*/ 63 h 316"/>
                <a:gd name="T20" fmla="*/ 0 w 237"/>
                <a:gd name="T21" fmla="*/ 63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7" h="316">
                  <a:moveTo>
                    <a:pt x="0" y="63"/>
                  </a:moveTo>
                  <a:lnTo>
                    <a:pt x="79" y="63"/>
                  </a:lnTo>
                  <a:lnTo>
                    <a:pt x="79" y="0"/>
                  </a:lnTo>
                  <a:lnTo>
                    <a:pt x="236" y="158"/>
                  </a:lnTo>
                  <a:lnTo>
                    <a:pt x="79" y="315"/>
                  </a:lnTo>
                  <a:lnTo>
                    <a:pt x="79" y="252"/>
                  </a:lnTo>
                  <a:lnTo>
                    <a:pt x="0" y="252"/>
                  </a:lnTo>
                  <a:lnTo>
                    <a:pt x="0" y="158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76453" name="Freeform 5"/>
            <p:cNvSpPr>
              <a:spLocks/>
            </p:cNvSpPr>
            <p:nvPr/>
          </p:nvSpPr>
          <p:spPr bwMode="gray">
            <a:xfrm>
              <a:off x="3727" y="1052"/>
              <a:ext cx="308" cy="436"/>
            </a:xfrm>
            <a:custGeom>
              <a:avLst/>
              <a:gdLst>
                <a:gd name="T0" fmla="*/ 0 w 237"/>
                <a:gd name="T1" fmla="*/ 63 h 316"/>
                <a:gd name="T2" fmla="*/ 79 w 237"/>
                <a:gd name="T3" fmla="*/ 63 h 316"/>
                <a:gd name="T4" fmla="*/ 79 w 237"/>
                <a:gd name="T5" fmla="*/ 0 h 316"/>
                <a:gd name="T6" fmla="*/ 236 w 237"/>
                <a:gd name="T7" fmla="*/ 158 h 316"/>
                <a:gd name="T8" fmla="*/ 79 w 237"/>
                <a:gd name="T9" fmla="*/ 315 h 316"/>
                <a:gd name="T10" fmla="*/ 79 w 237"/>
                <a:gd name="T11" fmla="*/ 252 h 316"/>
                <a:gd name="T12" fmla="*/ 0 w 237"/>
                <a:gd name="T13" fmla="*/ 252 h 316"/>
                <a:gd name="T14" fmla="*/ 0 w 237"/>
                <a:gd name="T15" fmla="*/ 252 h 316"/>
                <a:gd name="T16" fmla="*/ 0 w 237"/>
                <a:gd name="T17" fmla="*/ 158 h 316"/>
                <a:gd name="T18" fmla="*/ 0 w 237"/>
                <a:gd name="T19" fmla="*/ 63 h 316"/>
                <a:gd name="T20" fmla="*/ 0 w 237"/>
                <a:gd name="T21" fmla="*/ 63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7" h="316">
                  <a:moveTo>
                    <a:pt x="0" y="63"/>
                  </a:moveTo>
                  <a:lnTo>
                    <a:pt x="79" y="63"/>
                  </a:lnTo>
                  <a:lnTo>
                    <a:pt x="79" y="0"/>
                  </a:lnTo>
                  <a:lnTo>
                    <a:pt x="236" y="158"/>
                  </a:lnTo>
                  <a:lnTo>
                    <a:pt x="79" y="315"/>
                  </a:lnTo>
                  <a:lnTo>
                    <a:pt x="79" y="252"/>
                  </a:lnTo>
                  <a:lnTo>
                    <a:pt x="0" y="252"/>
                  </a:lnTo>
                  <a:lnTo>
                    <a:pt x="0" y="158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76454" name="Rectangle 6"/>
            <p:cNvSpPr>
              <a:spLocks noChangeArrowheads="1"/>
            </p:cNvSpPr>
            <p:nvPr/>
          </p:nvSpPr>
          <p:spPr bwMode="gray">
            <a:xfrm>
              <a:off x="245" y="943"/>
              <a:ext cx="1335" cy="65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6455" name="Rectangle 7"/>
            <p:cNvSpPr>
              <a:spLocks noChangeArrowheads="1"/>
            </p:cNvSpPr>
            <p:nvPr/>
          </p:nvSpPr>
          <p:spPr bwMode="gray">
            <a:xfrm>
              <a:off x="245" y="1633"/>
              <a:ext cx="1335" cy="223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164592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6456" name="Rectangle 8"/>
            <p:cNvSpPr>
              <a:spLocks noChangeArrowheads="1"/>
            </p:cNvSpPr>
            <p:nvPr/>
          </p:nvSpPr>
          <p:spPr bwMode="gray">
            <a:xfrm>
              <a:off x="2194" y="943"/>
              <a:ext cx="1336" cy="65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6457" name="Rectangle 9"/>
            <p:cNvSpPr>
              <a:spLocks noChangeArrowheads="1"/>
            </p:cNvSpPr>
            <p:nvPr/>
          </p:nvSpPr>
          <p:spPr bwMode="gray">
            <a:xfrm>
              <a:off x="2194" y="1633"/>
              <a:ext cx="1336" cy="223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164592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6458" name="Rectangle 10"/>
            <p:cNvSpPr>
              <a:spLocks noChangeArrowheads="1"/>
            </p:cNvSpPr>
            <p:nvPr/>
          </p:nvSpPr>
          <p:spPr bwMode="gray">
            <a:xfrm>
              <a:off x="4132" y="943"/>
              <a:ext cx="1335" cy="65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6459" name="Rectangle 11"/>
            <p:cNvSpPr>
              <a:spLocks noChangeArrowheads="1"/>
            </p:cNvSpPr>
            <p:nvPr/>
          </p:nvSpPr>
          <p:spPr bwMode="gray">
            <a:xfrm>
              <a:off x="4132" y="1633"/>
              <a:ext cx="1335" cy="223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164592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  <a:p>
              <a:pPr marL="342900" lvl="2" indent="-166688" defTabSz="912813">
                <a:buFontTx/>
                <a:buChar char="–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9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927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84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4</a:t>
            </a:r>
          </a:p>
        </p:txBody>
      </p:sp>
      <p:grpSp>
        <p:nvGrpSpPr>
          <p:cNvPr id="3178499" name="Group 3"/>
          <p:cNvGrpSpPr>
            <a:grpSpLocks/>
          </p:cNvGrpSpPr>
          <p:nvPr/>
        </p:nvGrpSpPr>
        <p:grpSpPr bwMode="auto">
          <a:xfrm>
            <a:off x="1912939" y="1497014"/>
            <a:ext cx="8289925" cy="4649787"/>
            <a:chOff x="245" y="943"/>
            <a:chExt cx="5222" cy="2929"/>
          </a:xfrm>
        </p:grpSpPr>
        <p:sp>
          <p:nvSpPr>
            <p:cNvPr id="3178500" name="Freeform 4"/>
            <p:cNvSpPr>
              <a:spLocks/>
            </p:cNvSpPr>
            <p:nvPr/>
          </p:nvSpPr>
          <p:spPr bwMode="gray">
            <a:xfrm>
              <a:off x="1263" y="1052"/>
              <a:ext cx="309" cy="436"/>
            </a:xfrm>
            <a:custGeom>
              <a:avLst/>
              <a:gdLst>
                <a:gd name="T0" fmla="*/ 0 w 237"/>
                <a:gd name="T1" fmla="*/ 63 h 316"/>
                <a:gd name="T2" fmla="*/ 79 w 237"/>
                <a:gd name="T3" fmla="*/ 63 h 316"/>
                <a:gd name="T4" fmla="*/ 79 w 237"/>
                <a:gd name="T5" fmla="*/ 0 h 316"/>
                <a:gd name="T6" fmla="*/ 236 w 237"/>
                <a:gd name="T7" fmla="*/ 158 h 316"/>
                <a:gd name="T8" fmla="*/ 79 w 237"/>
                <a:gd name="T9" fmla="*/ 315 h 316"/>
                <a:gd name="T10" fmla="*/ 79 w 237"/>
                <a:gd name="T11" fmla="*/ 252 h 316"/>
                <a:gd name="T12" fmla="*/ 0 w 237"/>
                <a:gd name="T13" fmla="*/ 252 h 316"/>
                <a:gd name="T14" fmla="*/ 0 w 237"/>
                <a:gd name="T15" fmla="*/ 252 h 316"/>
                <a:gd name="T16" fmla="*/ 0 w 237"/>
                <a:gd name="T17" fmla="*/ 158 h 316"/>
                <a:gd name="T18" fmla="*/ 0 w 237"/>
                <a:gd name="T19" fmla="*/ 63 h 316"/>
                <a:gd name="T20" fmla="*/ 0 w 237"/>
                <a:gd name="T21" fmla="*/ 63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7" h="316">
                  <a:moveTo>
                    <a:pt x="0" y="63"/>
                  </a:moveTo>
                  <a:lnTo>
                    <a:pt x="79" y="63"/>
                  </a:lnTo>
                  <a:lnTo>
                    <a:pt x="79" y="0"/>
                  </a:lnTo>
                  <a:lnTo>
                    <a:pt x="236" y="158"/>
                  </a:lnTo>
                  <a:lnTo>
                    <a:pt x="79" y="315"/>
                  </a:lnTo>
                  <a:lnTo>
                    <a:pt x="79" y="252"/>
                  </a:lnTo>
                  <a:lnTo>
                    <a:pt x="0" y="252"/>
                  </a:lnTo>
                  <a:lnTo>
                    <a:pt x="0" y="158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78501" name="Freeform 5"/>
            <p:cNvSpPr>
              <a:spLocks/>
            </p:cNvSpPr>
            <p:nvPr/>
          </p:nvSpPr>
          <p:spPr bwMode="gray">
            <a:xfrm>
              <a:off x="2695" y="1052"/>
              <a:ext cx="305" cy="436"/>
            </a:xfrm>
            <a:custGeom>
              <a:avLst/>
              <a:gdLst>
                <a:gd name="T0" fmla="*/ 0 w 237"/>
                <a:gd name="T1" fmla="*/ 63 h 316"/>
                <a:gd name="T2" fmla="*/ 78 w 237"/>
                <a:gd name="T3" fmla="*/ 63 h 316"/>
                <a:gd name="T4" fmla="*/ 78 w 237"/>
                <a:gd name="T5" fmla="*/ 0 h 316"/>
                <a:gd name="T6" fmla="*/ 236 w 237"/>
                <a:gd name="T7" fmla="*/ 158 h 316"/>
                <a:gd name="T8" fmla="*/ 78 w 237"/>
                <a:gd name="T9" fmla="*/ 315 h 316"/>
                <a:gd name="T10" fmla="*/ 78 w 237"/>
                <a:gd name="T11" fmla="*/ 252 h 316"/>
                <a:gd name="T12" fmla="*/ 0 w 237"/>
                <a:gd name="T13" fmla="*/ 252 h 316"/>
                <a:gd name="T14" fmla="*/ 0 w 237"/>
                <a:gd name="T15" fmla="*/ 252 h 316"/>
                <a:gd name="T16" fmla="*/ 0 w 237"/>
                <a:gd name="T17" fmla="*/ 158 h 316"/>
                <a:gd name="T18" fmla="*/ 0 w 237"/>
                <a:gd name="T19" fmla="*/ 63 h 316"/>
                <a:gd name="T20" fmla="*/ 0 w 237"/>
                <a:gd name="T21" fmla="*/ 63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7" h="316">
                  <a:moveTo>
                    <a:pt x="0" y="63"/>
                  </a:moveTo>
                  <a:lnTo>
                    <a:pt x="78" y="63"/>
                  </a:lnTo>
                  <a:lnTo>
                    <a:pt x="78" y="0"/>
                  </a:lnTo>
                  <a:lnTo>
                    <a:pt x="236" y="158"/>
                  </a:lnTo>
                  <a:lnTo>
                    <a:pt x="78" y="315"/>
                  </a:lnTo>
                  <a:lnTo>
                    <a:pt x="78" y="252"/>
                  </a:lnTo>
                  <a:lnTo>
                    <a:pt x="0" y="252"/>
                  </a:lnTo>
                  <a:lnTo>
                    <a:pt x="0" y="158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78502" name="Freeform 6"/>
            <p:cNvSpPr>
              <a:spLocks/>
            </p:cNvSpPr>
            <p:nvPr/>
          </p:nvSpPr>
          <p:spPr bwMode="gray">
            <a:xfrm>
              <a:off x="4132" y="1052"/>
              <a:ext cx="306" cy="436"/>
            </a:xfrm>
            <a:custGeom>
              <a:avLst/>
              <a:gdLst>
                <a:gd name="T0" fmla="*/ 0 w 237"/>
                <a:gd name="T1" fmla="*/ 63 h 316"/>
                <a:gd name="T2" fmla="*/ 79 w 237"/>
                <a:gd name="T3" fmla="*/ 63 h 316"/>
                <a:gd name="T4" fmla="*/ 79 w 237"/>
                <a:gd name="T5" fmla="*/ 0 h 316"/>
                <a:gd name="T6" fmla="*/ 236 w 237"/>
                <a:gd name="T7" fmla="*/ 158 h 316"/>
                <a:gd name="T8" fmla="*/ 79 w 237"/>
                <a:gd name="T9" fmla="*/ 315 h 316"/>
                <a:gd name="T10" fmla="*/ 79 w 237"/>
                <a:gd name="T11" fmla="*/ 252 h 316"/>
                <a:gd name="T12" fmla="*/ 0 w 237"/>
                <a:gd name="T13" fmla="*/ 252 h 316"/>
                <a:gd name="T14" fmla="*/ 0 w 237"/>
                <a:gd name="T15" fmla="*/ 252 h 316"/>
                <a:gd name="T16" fmla="*/ 0 w 237"/>
                <a:gd name="T17" fmla="*/ 158 h 316"/>
                <a:gd name="T18" fmla="*/ 0 w 237"/>
                <a:gd name="T19" fmla="*/ 63 h 316"/>
                <a:gd name="T20" fmla="*/ 0 w 237"/>
                <a:gd name="T21" fmla="*/ 63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7" h="316">
                  <a:moveTo>
                    <a:pt x="0" y="63"/>
                  </a:moveTo>
                  <a:lnTo>
                    <a:pt x="79" y="63"/>
                  </a:lnTo>
                  <a:lnTo>
                    <a:pt x="79" y="0"/>
                  </a:lnTo>
                  <a:lnTo>
                    <a:pt x="236" y="158"/>
                  </a:lnTo>
                  <a:lnTo>
                    <a:pt x="79" y="315"/>
                  </a:lnTo>
                  <a:lnTo>
                    <a:pt x="79" y="252"/>
                  </a:lnTo>
                  <a:lnTo>
                    <a:pt x="0" y="252"/>
                  </a:lnTo>
                  <a:lnTo>
                    <a:pt x="0" y="158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5F5F5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78503" name="Rectangle 7"/>
            <p:cNvSpPr>
              <a:spLocks noChangeArrowheads="1"/>
            </p:cNvSpPr>
            <p:nvPr/>
          </p:nvSpPr>
          <p:spPr bwMode="gray">
            <a:xfrm>
              <a:off x="245" y="943"/>
              <a:ext cx="929" cy="65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8504" name="Rectangle 8"/>
            <p:cNvSpPr>
              <a:spLocks noChangeArrowheads="1"/>
            </p:cNvSpPr>
            <p:nvPr/>
          </p:nvSpPr>
          <p:spPr bwMode="gray">
            <a:xfrm>
              <a:off x="245" y="1633"/>
              <a:ext cx="929" cy="223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164592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8505" name="Rectangle 9"/>
            <p:cNvSpPr>
              <a:spLocks noChangeArrowheads="1"/>
            </p:cNvSpPr>
            <p:nvPr/>
          </p:nvSpPr>
          <p:spPr bwMode="gray">
            <a:xfrm>
              <a:off x="1662" y="943"/>
              <a:ext cx="929" cy="65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8506" name="Rectangle 10"/>
            <p:cNvSpPr>
              <a:spLocks noChangeArrowheads="1"/>
            </p:cNvSpPr>
            <p:nvPr/>
          </p:nvSpPr>
          <p:spPr bwMode="gray">
            <a:xfrm>
              <a:off x="1662" y="1633"/>
              <a:ext cx="929" cy="223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164592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8507" name="Rectangle 11"/>
            <p:cNvSpPr>
              <a:spLocks noChangeArrowheads="1"/>
            </p:cNvSpPr>
            <p:nvPr/>
          </p:nvSpPr>
          <p:spPr bwMode="gray">
            <a:xfrm>
              <a:off x="3103" y="943"/>
              <a:ext cx="929" cy="65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8508" name="Rectangle 12"/>
            <p:cNvSpPr>
              <a:spLocks noChangeArrowheads="1"/>
            </p:cNvSpPr>
            <p:nvPr/>
          </p:nvSpPr>
          <p:spPr bwMode="gray">
            <a:xfrm>
              <a:off x="3103" y="1633"/>
              <a:ext cx="929" cy="223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164592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8509" name="Rectangle 13"/>
            <p:cNvSpPr>
              <a:spLocks noChangeArrowheads="1"/>
            </p:cNvSpPr>
            <p:nvPr/>
          </p:nvSpPr>
          <p:spPr bwMode="gray">
            <a:xfrm>
              <a:off x="4538" y="943"/>
              <a:ext cx="929" cy="65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defTabSz="912813"/>
              <a:r>
                <a:rPr lang="en-US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78510" name="Rectangle 14"/>
            <p:cNvSpPr>
              <a:spLocks noChangeArrowheads="1"/>
            </p:cNvSpPr>
            <p:nvPr/>
          </p:nvSpPr>
          <p:spPr bwMode="gray">
            <a:xfrm>
              <a:off x="4538" y="1633"/>
              <a:ext cx="929" cy="223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64592" tIns="164592" rIns="0" bIns="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9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939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05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1 Factor</a:t>
            </a:r>
          </a:p>
        </p:txBody>
      </p:sp>
      <p:grpSp>
        <p:nvGrpSpPr>
          <p:cNvPr id="3180547" name="Group 3"/>
          <p:cNvGrpSpPr>
            <a:grpSpLocks/>
          </p:cNvGrpSpPr>
          <p:nvPr/>
        </p:nvGrpSpPr>
        <p:grpSpPr bwMode="auto">
          <a:xfrm>
            <a:off x="1908175" y="1604963"/>
            <a:ext cx="8332788" cy="4549775"/>
            <a:chOff x="242" y="1011"/>
            <a:chExt cx="5249" cy="2866"/>
          </a:xfrm>
        </p:grpSpPr>
        <p:sp>
          <p:nvSpPr>
            <p:cNvPr id="3180548" name="Freeform 4"/>
            <p:cNvSpPr>
              <a:spLocks/>
            </p:cNvSpPr>
            <p:nvPr/>
          </p:nvSpPr>
          <p:spPr bwMode="gray">
            <a:xfrm>
              <a:off x="242" y="1012"/>
              <a:ext cx="2399" cy="298"/>
            </a:xfrm>
            <a:custGeom>
              <a:avLst/>
              <a:gdLst>
                <a:gd name="T0" fmla="*/ 0 w 2575"/>
                <a:gd name="T1" fmla="*/ 1 h 241"/>
                <a:gd name="T2" fmla="*/ 2506 w 2575"/>
                <a:gd name="T3" fmla="*/ 0 h 241"/>
                <a:gd name="T4" fmla="*/ 2575 w 2575"/>
                <a:gd name="T5" fmla="*/ 241 h 241"/>
                <a:gd name="T6" fmla="*/ 0 w 2575"/>
                <a:gd name="T7" fmla="*/ 241 h 241"/>
                <a:gd name="T8" fmla="*/ 0 w 2575"/>
                <a:gd name="T9" fmla="*/ 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75" h="241">
                  <a:moveTo>
                    <a:pt x="0" y="1"/>
                  </a:moveTo>
                  <a:lnTo>
                    <a:pt x="2506" y="0"/>
                  </a:lnTo>
                  <a:lnTo>
                    <a:pt x="2575" y="241"/>
                  </a:lnTo>
                  <a:lnTo>
                    <a:pt x="0" y="24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80549" name="Text Box 5"/>
            <p:cNvSpPr txBox="1">
              <a:spLocks noChangeArrowheads="1"/>
            </p:cNvSpPr>
            <p:nvPr/>
          </p:nvSpPr>
          <p:spPr bwMode="gray">
            <a:xfrm>
              <a:off x="329" y="1082"/>
              <a:ext cx="1999" cy="1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lvl1pPr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136525" indent="-134938"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269875" indent="-131763"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403225" indent="-131763"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536575" indent="-131763"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993775" indent="-131763"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1450975" indent="-131763"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1908175" indent="-131763"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2365375" indent="-131763"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</a:pPr>
              <a:r>
                <a:rPr lang="en-US" sz="1800" b="1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0550" name="Freeform 6"/>
            <p:cNvSpPr>
              <a:spLocks/>
            </p:cNvSpPr>
            <p:nvPr/>
          </p:nvSpPr>
          <p:spPr bwMode="gray">
            <a:xfrm>
              <a:off x="2796" y="1011"/>
              <a:ext cx="2695" cy="299"/>
            </a:xfrm>
            <a:custGeom>
              <a:avLst/>
              <a:gdLst>
                <a:gd name="T0" fmla="*/ 0 w 2688"/>
                <a:gd name="T1" fmla="*/ 1 h 266"/>
                <a:gd name="T2" fmla="*/ 2688 w 2688"/>
                <a:gd name="T3" fmla="*/ 0 h 266"/>
                <a:gd name="T4" fmla="*/ 2688 w 2688"/>
                <a:gd name="T5" fmla="*/ 266 h 266"/>
                <a:gd name="T6" fmla="*/ 69 w 2688"/>
                <a:gd name="T7" fmla="*/ 266 h 266"/>
                <a:gd name="T8" fmla="*/ 0 w 2688"/>
                <a:gd name="T9" fmla="*/ 1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8" h="266">
                  <a:moveTo>
                    <a:pt x="0" y="1"/>
                  </a:moveTo>
                  <a:lnTo>
                    <a:pt x="2688" y="0"/>
                  </a:lnTo>
                  <a:lnTo>
                    <a:pt x="2688" y="266"/>
                  </a:lnTo>
                  <a:lnTo>
                    <a:pt x="69" y="26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80551" name="Text Box 7"/>
            <p:cNvSpPr txBox="1">
              <a:spLocks noChangeArrowheads="1"/>
            </p:cNvSpPr>
            <p:nvPr/>
          </p:nvSpPr>
          <p:spPr bwMode="gray">
            <a:xfrm>
              <a:off x="2942" y="1082"/>
              <a:ext cx="2333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136525" indent="-134938"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269875" indent="-131763"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403225" indent="-131763"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536575" indent="-131763" algn="l" defTabSz="912813"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993775" indent="-131763"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1450975" indent="-131763"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1908175" indent="-131763"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2365375" indent="-131763"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Aft>
                  <a:spcPct val="20000"/>
                </a:spcAft>
              </a:pPr>
              <a:r>
                <a:rPr lang="en-US" sz="1800" b="1" dirty="0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0552" name="Freeform 8"/>
            <p:cNvSpPr>
              <a:spLocks/>
            </p:cNvSpPr>
            <p:nvPr/>
          </p:nvSpPr>
          <p:spPr bwMode="gray">
            <a:xfrm>
              <a:off x="2869" y="1314"/>
              <a:ext cx="2602" cy="2563"/>
            </a:xfrm>
            <a:custGeom>
              <a:avLst/>
              <a:gdLst>
                <a:gd name="T0" fmla="*/ 9 w 2696"/>
                <a:gd name="T1" fmla="*/ 0 h 2368"/>
                <a:gd name="T2" fmla="*/ 2696 w 2696"/>
                <a:gd name="T3" fmla="*/ 0 h 2368"/>
                <a:gd name="T4" fmla="*/ 2696 w 2696"/>
                <a:gd name="T5" fmla="*/ 2368 h 2368"/>
                <a:gd name="T6" fmla="*/ 0 w 2696"/>
                <a:gd name="T7" fmla="*/ 2368 h 2368"/>
                <a:gd name="T8" fmla="*/ 312 w 2696"/>
                <a:gd name="T9" fmla="*/ 1184 h 2368"/>
                <a:gd name="T10" fmla="*/ 9 w 2696"/>
                <a:gd name="T11" fmla="*/ 0 h 2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96" h="2368">
                  <a:moveTo>
                    <a:pt x="9" y="0"/>
                  </a:moveTo>
                  <a:lnTo>
                    <a:pt x="2696" y="0"/>
                  </a:lnTo>
                  <a:lnTo>
                    <a:pt x="2696" y="2368"/>
                  </a:lnTo>
                  <a:lnTo>
                    <a:pt x="0" y="2368"/>
                  </a:lnTo>
                  <a:lnTo>
                    <a:pt x="312" y="1184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en-US">
                <a:latin typeface="Baskerville" charset="0"/>
                <a:ea typeface="Baskerville" charset="0"/>
                <a:cs typeface="Baskerville" charset="0"/>
              </a:endParaRPr>
            </a:p>
          </p:txBody>
        </p:sp>
        <p:sp>
          <p:nvSpPr>
            <p:cNvPr id="3180553" name="Rectangle 9"/>
            <p:cNvSpPr>
              <a:spLocks noChangeArrowheads="1"/>
            </p:cNvSpPr>
            <p:nvPr/>
          </p:nvSpPr>
          <p:spPr bwMode="gray">
            <a:xfrm>
              <a:off x="3221" y="1434"/>
              <a:ext cx="2182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  <p:sp>
          <p:nvSpPr>
            <p:cNvPr id="3180554" name="AutoShape 10"/>
            <p:cNvSpPr>
              <a:spLocks noChangeArrowheads="1"/>
            </p:cNvSpPr>
            <p:nvPr/>
          </p:nvSpPr>
          <p:spPr bwMode="gray">
            <a:xfrm>
              <a:off x="242" y="1314"/>
              <a:ext cx="2721" cy="2559"/>
            </a:xfrm>
            <a:prstGeom prst="homePlate">
              <a:avLst>
                <a:gd name="adj" fmla="val 12272"/>
              </a:avLst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383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2880" tIns="182880" rIns="182880" bIns="182880"/>
            <a:lstStyle/>
            <a:p>
              <a:pPr marL="174625" lvl="1" indent="-173038" defTabSz="912813">
                <a:buFont typeface="Wingdings" pitchFamily="2" charset="2"/>
                <a:buChar char="§"/>
              </a:pPr>
              <a:r>
                <a:rPr lang="en-US">
                  <a:latin typeface="Baskerville" charset="0"/>
                  <a:ea typeface="Baskerville" charset="0"/>
                  <a:cs typeface="Baskerville" charset="0"/>
                </a:rPr>
                <a:t>Text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9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91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25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cess 2</a:t>
            </a:r>
          </a:p>
        </p:txBody>
      </p:sp>
      <p:sp>
        <p:nvSpPr>
          <p:cNvPr id="318259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6542089" y="1706793"/>
            <a:ext cx="3660775" cy="4664075"/>
          </a:xfrm>
          <a:solidFill>
            <a:schemeClr val="bg1"/>
          </a:solidFill>
          <a:ln algn="ctr">
            <a:solidFill>
              <a:schemeClr val="tx1"/>
            </a:solidFill>
            <a:miter lim="800000"/>
            <a:headEnd/>
            <a:tailEnd/>
          </a:ln>
        </p:spPr>
        <p:txBody>
          <a:bodyPr vert="horz" lIns="164592" tIns="525600" rIns="91440" bIns="45720" rtlCol="0">
            <a:normAutofit/>
          </a:bodyPr>
          <a:lstStyle/>
          <a:p>
            <a:pPr lvl="1"/>
            <a:r>
              <a:rPr lang="en-US"/>
              <a:t>Text</a:t>
            </a:r>
          </a:p>
        </p:txBody>
      </p:sp>
      <p:sp>
        <p:nvSpPr>
          <p:cNvPr id="3182596" name="AutoShape 4"/>
          <p:cNvSpPr>
            <a:spLocks noGrp="1" noChangeArrowheads="1"/>
          </p:cNvSpPr>
          <p:nvPr>
            <p:ph type="body" idx="4294967295"/>
          </p:nvPr>
        </p:nvSpPr>
        <p:spPr>
          <a:xfrm>
            <a:off x="1906589" y="1706793"/>
            <a:ext cx="4459287" cy="4664075"/>
          </a:xfrm>
          <a:prstGeom prst="homePlate">
            <a:avLst>
              <a:gd name="adj" fmla="val 14523"/>
            </a:avLst>
          </a:prstGeom>
          <a:noFill/>
          <a:ln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lIns="164592" tIns="525600" rIns="91440" bIns="45720" rtlCol="0">
            <a:normAutofit/>
          </a:bodyPr>
          <a:lstStyle/>
          <a:p>
            <a:pPr lvl="1"/>
            <a:r>
              <a:rPr lang="en-US" dirty="0"/>
              <a:t>Text</a:t>
            </a:r>
          </a:p>
        </p:txBody>
      </p:sp>
      <p:sp>
        <p:nvSpPr>
          <p:cNvPr id="3182597" name="Rectangle 5"/>
          <p:cNvSpPr>
            <a:spLocks noGrp="1" noChangeArrowheads="1"/>
          </p:cNvSpPr>
          <p:nvPr>
            <p:ph type="body" idx="4294967295"/>
          </p:nvPr>
        </p:nvSpPr>
        <p:spPr>
          <a:xfrm>
            <a:off x="6542089" y="1706793"/>
            <a:ext cx="3660775" cy="434975"/>
          </a:xfrm>
          <a:solidFill>
            <a:schemeClr val="bg1">
              <a:lumMod val="50000"/>
            </a:schemeClr>
          </a:solidFill>
          <a:ln algn="ctr">
            <a:solidFill>
              <a:schemeClr val="tx1"/>
            </a:solidFill>
            <a:miter lim="800000"/>
            <a:headEnd/>
            <a:tailEnd/>
          </a:ln>
        </p:spPr>
        <p:txBody>
          <a:bodyPr anchor="ctr">
            <a:normAutofit fontScale="92500" lnSpcReduction="10000"/>
          </a:bodyPr>
          <a:lstStyle/>
          <a:p>
            <a:pPr marL="0" indent="0" algn="ctr">
              <a:buClr>
                <a:schemeClr val="bg1"/>
              </a:buClr>
              <a:buNone/>
            </a:pPr>
            <a:r>
              <a:rPr lang="en-US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3182598" name="Freeform 6"/>
          <p:cNvSpPr>
            <a:spLocks/>
          </p:cNvSpPr>
          <p:nvPr/>
        </p:nvSpPr>
        <p:spPr bwMode="gray">
          <a:xfrm>
            <a:off x="1905001" y="1702030"/>
            <a:ext cx="3929063" cy="434975"/>
          </a:xfrm>
          <a:custGeom>
            <a:avLst/>
            <a:gdLst>
              <a:gd name="T0" fmla="*/ 0 w 2475"/>
              <a:gd name="T1" fmla="*/ 0 h 268"/>
              <a:gd name="T2" fmla="*/ 2403 w 2475"/>
              <a:gd name="T3" fmla="*/ 0 h 268"/>
              <a:gd name="T4" fmla="*/ 2475 w 2475"/>
              <a:gd name="T5" fmla="*/ 268 h 268"/>
              <a:gd name="T6" fmla="*/ 0 w 2475"/>
              <a:gd name="T7" fmla="*/ 268 h 268"/>
              <a:gd name="T8" fmla="*/ 0 w 2475"/>
              <a:gd name="T9" fmla="*/ 0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75" h="268">
                <a:moveTo>
                  <a:pt x="0" y="0"/>
                </a:moveTo>
                <a:lnTo>
                  <a:pt x="2403" y="0"/>
                </a:lnTo>
                <a:lnTo>
                  <a:pt x="2475" y="268"/>
                </a:lnTo>
                <a:lnTo>
                  <a:pt x="0" y="26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3182599" name="Rectangle 7"/>
          <p:cNvSpPr>
            <a:spLocks noGrp="1" noChangeArrowheads="1"/>
          </p:cNvSpPr>
          <p:nvPr>
            <p:ph type="body" idx="4294967295"/>
          </p:nvPr>
        </p:nvSpPr>
        <p:spPr>
          <a:xfrm>
            <a:off x="1912938" y="1733780"/>
            <a:ext cx="3803650" cy="37941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rmAutofit fontScale="85000" lnSpcReduction="20000"/>
          </a:bodyPr>
          <a:lstStyle/>
          <a:p>
            <a:pPr marL="0" indent="0" algn="ctr">
              <a:buClr>
                <a:schemeClr val="bg1"/>
              </a:buClr>
              <a:buNone/>
            </a:pPr>
            <a:r>
              <a:rPr lang="en-US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F5079-4363-884B-816E-D579802C4947}" type="slidenum">
              <a:rPr lang="en-US" smtClean="0"/>
              <a:pPr/>
              <a:t>9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12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317.375"/>
  <p:tag name="LLEFT" val=" 275.87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526.25"/>
  <p:tag name="LTOP" val=" 341.2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442.75"/>
  <p:tag name="LTOP" val=" 298.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79"/>
  <p:tag name="LTOP" val=" 26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427.25"/>
  <p:tag name="LTOP" val=" 331.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324.375"/>
  <p:tag name="LTOP" val=" 333.62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90.625"/>
  <p:tag name="LTOP" val=" 343.62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90.5"/>
  <p:tag name="LTOP" val=" 29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84.5"/>
  <p:tag name="LTOP" val=" 332.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344.375"/>
  <p:tag name="LTOP" val=" 382.2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344.375"/>
  <p:tag name="LTOP" val=" 340.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317.375"/>
  <p:tag name="LLEFT" val=" 489.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48.375"/>
  <p:tag name="LTOP" val=" 233.12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48.375"/>
  <p:tag name="LTOP" val=" 281.12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375.125"/>
  <p:tag name="LTOP" val=" 233.2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13.25"/>
  <p:tag name="LTOP" val=" 233.2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75"/>
  <p:tag name="LLEFT" val=" 14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8.5"/>
  <p:tag name="LLEFT" val=" 381.1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"/>
  <p:tag name="LTOP" val=" 208.7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tUtfvd8tCUeEPiuGLKY45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yqFIOPflEmdDTOYWdZ7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iblzL_0dkCCjDgtv5JL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l5hWdCnkkSDa3HkJVbV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423.625"/>
  <p:tag name="LLEFT" val=" 381.1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427.625"/>
  <p:tag name="LTOP" val=" 286.8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300.625"/>
  <p:tag name="LTOP" val=" 263.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343"/>
  <p:tag name="LTOP" val=" 275.8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343.25"/>
  <p:tag name="LTOP" val=" 286.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442.75"/>
  <p:tag name="LTOP" val=" 332.875"/>
</p:tagLst>
</file>

<file path=ppt/theme/theme1.xml><?xml version="1.0" encoding="utf-8"?>
<a:theme xmlns:a="http://schemas.openxmlformats.org/drawingml/2006/main" name="Office Theme">
  <a:themeElements>
    <a:clrScheme name="Violet II">
      <a:dk1>
        <a:sysClr val="windowText" lastClr="000000"/>
      </a:dk1>
      <a:lt1>
        <a:sysClr val="window" lastClr="FFFFFF"/>
      </a:lt1>
      <a:dk2>
        <a:srgbClr val="632E62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56</TotalTime>
  <Words>3625</Words>
  <Application>Microsoft Macintosh PowerPoint</Application>
  <PresentationFormat>Widescreen</PresentationFormat>
  <Paragraphs>2923</Paragraphs>
  <Slides>215</Slides>
  <Notes>20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4</vt:i4>
      </vt:variant>
      <vt:variant>
        <vt:lpstr>Slide Titles</vt:lpstr>
      </vt:variant>
      <vt:variant>
        <vt:i4>215</vt:i4>
      </vt:variant>
    </vt:vector>
  </HeadingPairs>
  <TitlesOfParts>
    <vt:vector size="226" baseType="lpstr">
      <vt:lpstr>.AppleSystemUIFont</vt:lpstr>
      <vt:lpstr>Baskerville</vt:lpstr>
      <vt:lpstr>Calibri</vt:lpstr>
      <vt:lpstr>Times New Roman</vt:lpstr>
      <vt:lpstr>Wingdings</vt:lpstr>
      <vt:lpstr>Arial</vt:lpstr>
      <vt:lpstr>Office Theme</vt:lpstr>
      <vt:lpstr>Diagramm</vt:lpstr>
      <vt:lpstr>Chart</vt:lpstr>
      <vt:lpstr>think-cell Slide</vt:lpstr>
      <vt:lpstr>Folie</vt:lpstr>
      <vt:lpstr>MANAGERIAL COMMUNICATION (WRITTEN) </vt:lpstr>
      <vt:lpstr>PowerPoint Presentation</vt:lpstr>
      <vt:lpstr>Text Template</vt:lpstr>
      <vt:lpstr>Challenges</vt:lpstr>
      <vt:lpstr>Listing</vt:lpstr>
      <vt:lpstr>List/Numeration</vt:lpstr>
      <vt:lpstr>Next Steps</vt:lpstr>
      <vt:lpstr>Mission</vt:lpstr>
      <vt:lpstr>Table</vt:lpstr>
      <vt:lpstr>Table </vt:lpstr>
      <vt:lpstr>Next Steps</vt:lpstr>
      <vt:lpstr>SWOT Analysis</vt:lpstr>
      <vt:lpstr>Targets I</vt:lpstr>
      <vt:lpstr>Target III</vt:lpstr>
      <vt:lpstr>Information Flows</vt:lpstr>
      <vt:lpstr>Information Flows</vt:lpstr>
      <vt:lpstr>Process Steps 5</vt:lpstr>
      <vt:lpstr>Text Template</vt:lpstr>
      <vt:lpstr>Context Model 1</vt:lpstr>
      <vt:lpstr>Decision</vt:lpstr>
      <vt:lpstr>Process</vt:lpstr>
      <vt:lpstr>PowerPoint Presentation</vt:lpstr>
      <vt:lpstr>Scales I</vt:lpstr>
      <vt:lpstr>Scales II</vt:lpstr>
      <vt:lpstr>Scale 3</vt:lpstr>
      <vt:lpstr>Balance</vt:lpstr>
      <vt:lpstr>Imbalance</vt:lpstr>
      <vt:lpstr>Dependency</vt:lpstr>
      <vt:lpstr>Plus-Minus I</vt:lpstr>
      <vt:lpstr>Plus-Minus II</vt:lpstr>
      <vt:lpstr>Plus-Minus III</vt:lpstr>
      <vt:lpstr>Plus Minus IV</vt:lpstr>
      <vt:lpstr>PowerPoint Presentation</vt:lpstr>
      <vt:lpstr>Decision Tree I</vt:lpstr>
      <vt:lpstr>Decision Tree II</vt:lpstr>
      <vt:lpstr>Organizational Chart I</vt:lpstr>
      <vt:lpstr>Organizational Chart II</vt:lpstr>
      <vt:lpstr>Organizational Chart  III</vt:lpstr>
      <vt:lpstr>Organizational Chart IV</vt:lpstr>
      <vt:lpstr>Business Department</vt:lpstr>
      <vt:lpstr>Project Organization</vt:lpstr>
      <vt:lpstr>Team Organization</vt:lpstr>
      <vt:lpstr>PowerPoint Presentation</vt:lpstr>
      <vt:lpstr>2 Factors</vt:lpstr>
      <vt:lpstr>4 Factors</vt:lpstr>
      <vt:lpstr>4 Factors</vt:lpstr>
      <vt:lpstr>Influence – 3 Factors</vt:lpstr>
      <vt:lpstr>4 Factors</vt:lpstr>
      <vt:lpstr>4 Factors</vt:lpstr>
      <vt:lpstr>6 Factors</vt:lpstr>
      <vt:lpstr>Action/Reaction</vt:lpstr>
      <vt:lpstr>Reaction</vt:lpstr>
      <vt:lpstr>PowerPoint Presentation</vt:lpstr>
      <vt:lpstr>Interaction</vt:lpstr>
      <vt:lpstr>Interaction</vt:lpstr>
      <vt:lpstr>Interaction 2 Areas</vt:lpstr>
      <vt:lpstr>PowerPoint Presentation</vt:lpstr>
      <vt:lpstr>5 Factors</vt:lpstr>
      <vt:lpstr>5 Factors</vt:lpstr>
      <vt:lpstr>6 Factors</vt:lpstr>
      <vt:lpstr>8 Factors</vt:lpstr>
      <vt:lpstr>7 Segments</vt:lpstr>
      <vt:lpstr>7 Segments</vt:lpstr>
      <vt:lpstr>3 Relations</vt:lpstr>
      <vt:lpstr>4 Relations</vt:lpstr>
      <vt:lpstr>8 Segments</vt:lpstr>
      <vt:lpstr>4 Factors</vt:lpstr>
      <vt:lpstr>4 Segments</vt:lpstr>
      <vt:lpstr>Relation</vt:lpstr>
      <vt:lpstr>PowerPoint Presentation</vt:lpstr>
      <vt:lpstr>Action – 1 Factor</vt:lpstr>
      <vt:lpstr>Action – 2 Factors</vt:lpstr>
      <vt:lpstr>Action – 3 Factors</vt:lpstr>
      <vt:lpstr>Action – 4 Factors</vt:lpstr>
      <vt:lpstr>Consequences 2</vt:lpstr>
      <vt:lpstr>Consequences 3</vt:lpstr>
      <vt:lpstr>Consequences</vt:lpstr>
      <vt:lpstr>Consequences 4</vt:lpstr>
      <vt:lpstr>Consequences 1</vt:lpstr>
      <vt:lpstr>Consequences 2</vt:lpstr>
      <vt:lpstr>Consequences 3</vt:lpstr>
      <vt:lpstr>Consequences 4</vt:lpstr>
      <vt:lpstr>Consequences 5</vt:lpstr>
      <vt:lpstr>3 Factors</vt:lpstr>
      <vt:lpstr>4 Factors</vt:lpstr>
      <vt:lpstr>5 Factors</vt:lpstr>
      <vt:lpstr>6 Factors</vt:lpstr>
      <vt:lpstr>4 Factors</vt:lpstr>
      <vt:lpstr>5 Factors</vt:lpstr>
      <vt:lpstr>6 Factors</vt:lpstr>
      <vt:lpstr>Process 3</vt:lpstr>
      <vt:lpstr>5 Factors</vt:lpstr>
      <vt:lpstr>Process 4</vt:lpstr>
      <vt:lpstr>Process 5</vt:lpstr>
      <vt:lpstr>Process 2</vt:lpstr>
      <vt:lpstr>Process 3</vt:lpstr>
      <vt:lpstr>Process 4</vt:lpstr>
      <vt:lpstr>1 Factor</vt:lpstr>
      <vt:lpstr>Process 2</vt:lpstr>
      <vt:lpstr>Consequences</vt:lpstr>
      <vt:lpstr>Consequences</vt:lpstr>
      <vt:lpstr>3 Factors</vt:lpstr>
      <vt:lpstr>4 Factors</vt:lpstr>
      <vt:lpstr>5 Factors</vt:lpstr>
      <vt:lpstr>5 Factors</vt:lpstr>
      <vt:lpstr>Separation</vt:lpstr>
      <vt:lpstr>Parallel Operations</vt:lpstr>
      <vt:lpstr>Process</vt:lpstr>
      <vt:lpstr>Process</vt:lpstr>
      <vt:lpstr>Process 2</vt:lpstr>
      <vt:lpstr>Process 3</vt:lpstr>
      <vt:lpstr>Process 4</vt:lpstr>
      <vt:lpstr>Process 5</vt:lpstr>
      <vt:lpstr>Process 6</vt:lpstr>
      <vt:lpstr>Process 7</vt:lpstr>
      <vt:lpstr>Process 8</vt:lpstr>
      <vt:lpstr>Project Workflow</vt:lpstr>
      <vt:lpstr>Process 3 </vt:lpstr>
      <vt:lpstr>Process (Standard)</vt:lpstr>
      <vt:lpstr>Process</vt:lpstr>
      <vt:lpstr>Process 5/6</vt:lpstr>
      <vt:lpstr>Block Arrows</vt:lpstr>
      <vt:lpstr>Block Arrows</vt:lpstr>
      <vt:lpstr>4 Process</vt:lpstr>
      <vt:lpstr>Matrix</vt:lpstr>
      <vt:lpstr>Process 2</vt:lpstr>
      <vt:lpstr>Process 3</vt:lpstr>
      <vt:lpstr>Process 4</vt:lpstr>
      <vt:lpstr>Process 4</vt:lpstr>
      <vt:lpstr>Block Arrows</vt:lpstr>
      <vt:lpstr>3 Blocks</vt:lpstr>
      <vt:lpstr>Process</vt:lpstr>
      <vt:lpstr>Process</vt:lpstr>
      <vt:lpstr>Process</vt:lpstr>
      <vt:lpstr>Development/Direction</vt:lpstr>
      <vt:lpstr>Process 3</vt:lpstr>
      <vt:lpstr>Process</vt:lpstr>
      <vt:lpstr>Linear Process</vt:lpstr>
      <vt:lpstr>Divergent Processes</vt:lpstr>
      <vt:lpstr>Decision Tree III</vt:lpstr>
      <vt:lpstr>PowerPoint Presentation</vt:lpstr>
      <vt:lpstr>Cycle – 2 Factor</vt:lpstr>
      <vt:lpstr>Cycle – 6 Factors</vt:lpstr>
      <vt:lpstr>Cycle – 2 Factors</vt:lpstr>
      <vt:lpstr>Cycle – 2 Factors</vt:lpstr>
      <vt:lpstr>Cycle – 3 Factors</vt:lpstr>
      <vt:lpstr>Cycle – 4 Factors</vt:lpstr>
      <vt:lpstr>Cycle – 5 Factors</vt:lpstr>
      <vt:lpstr>Cycle – 6 Factors</vt:lpstr>
      <vt:lpstr>Cycle – 7 Factors</vt:lpstr>
      <vt:lpstr>Cycle – 4 Factors</vt:lpstr>
      <vt:lpstr>Cycle – 5 Factors</vt:lpstr>
      <vt:lpstr>Cycle – 6 Factors</vt:lpstr>
      <vt:lpstr>Cycle – 7 Factors</vt:lpstr>
      <vt:lpstr>Process 4/4 Factors – Cycle</vt:lpstr>
      <vt:lpstr>Process 4</vt:lpstr>
      <vt:lpstr>PowerPoint Presentation</vt:lpstr>
      <vt:lpstr>Filter I</vt:lpstr>
      <vt:lpstr>Filter II</vt:lpstr>
      <vt:lpstr>Filter III</vt:lpstr>
      <vt:lpstr>Filter Panel 2</vt:lpstr>
      <vt:lpstr>Filter and Puzzle</vt:lpstr>
      <vt:lpstr>Filter and Puzzle</vt:lpstr>
      <vt:lpstr>PowerPoint Presentation</vt:lpstr>
      <vt:lpstr>Bar Diagram 5 Bars</vt:lpstr>
      <vt:lpstr>2 Bar Diagram 5 bars</vt:lpstr>
      <vt:lpstr>3 Bar Diagram  5 Bars</vt:lpstr>
      <vt:lpstr>Bar Diagram</vt:lpstr>
      <vt:lpstr>Diagram</vt:lpstr>
      <vt:lpstr>Diagram</vt:lpstr>
      <vt:lpstr>Diagram Bubbles</vt:lpstr>
      <vt:lpstr>2 Bar Diagrams 5 Bars</vt:lpstr>
      <vt:lpstr>Line Graph</vt:lpstr>
      <vt:lpstr>Diagram Batched</vt:lpstr>
      <vt:lpstr>Diagram Batched 100%</vt:lpstr>
      <vt:lpstr>Cost Gap</vt:lpstr>
      <vt:lpstr>Phase of Constitution</vt:lpstr>
      <vt:lpstr>Cycle Diagram 4 Segments</vt:lpstr>
      <vt:lpstr>Distribution</vt:lpstr>
      <vt:lpstr>Areas</vt:lpstr>
      <vt:lpstr>Line Graph</vt:lpstr>
      <vt:lpstr>2 Bar Diagramms 10 Bars</vt:lpstr>
      <vt:lpstr>3 Bar Diagrams 10 Bars</vt:lpstr>
      <vt:lpstr>Bar Graph 5 Bars</vt:lpstr>
      <vt:lpstr>2 Bar Diagrams 2 Bars</vt:lpstr>
      <vt:lpstr>Bar Diagram</vt:lpstr>
      <vt:lpstr>2 Combined Pie Charts</vt:lpstr>
      <vt:lpstr>Compination Pie and Bar Chart</vt:lpstr>
      <vt:lpstr>Combination Cascade – Pie Chart</vt:lpstr>
      <vt:lpstr>PowerPoint Presentation</vt:lpstr>
      <vt:lpstr>Portfolio</vt:lpstr>
      <vt:lpstr>Difference Between Linear and Exponential Portfolios</vt:lpstr>
      <vt:lpstr>Portfolio</vt:lpstr>
      <vt:lpstr>Business Portfolio I</vt:lpstr>
      <vt:lpstr>Business Portfolio VII</vt:lpstr>
      <vt:lpstr>PowerPoint Presentation</vt:lpstr>
      <vt:lpstr>Schedule</vt:lpstr>
      <vt:lpstr>Calendar</vt:lpstr>
      <vt:lpstr>Measures</vt:lpstr>
      <vt:lpstr>PowerPoint Presentation</vt:lpstr>
      <vt:lpstr>Europe – Without Russia</vt:lpstr>
      <vt:lpstr>Europe With Russia (partly)</vt:lpstr>
      <vt:lpstr>Europe With Russia</vt:lpstr>
      <vt:lpstr>East Europe and West Asia</vt:lpstr>
      <vt:lpstr>Africa</vt:lpstr>
      <vt:lpstr>Americas</vt:lpstr>
      <vt:lpstr>North Americas</vt:lpstr>
      <vt:lpstr>Middle and South Americas</vt:lpstr>
      <vt:lpstr>Germany – Zip Codes</vt:lpstr>
      <vt:lpstr>PowerPoint Presentation</vt:lpstr>
      <vt:lpstr>Flags</vt:lpstr>
      <vt:lpstr>Symbols/Arrows</vt:lpstr>
      <vt:lpstr>Listings and Numbering</vt:lpstr>
      <vt:lpstr>Tools </vt:lpstr>
      <vt:lpstr>Tools </vt:lpstr>
    </vt:vector>
  </TitlesOfParts>
  <Company/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Microsoft Office User</cp:lastModifiedBy>
  <cp:revision>96</cp:revision>
  <dcterms:created xsi:type="dcterms:W3CDTF">2019-05-14T10:06:44Z</dcterms:created>
  <dcterms:modified xsi:type="dcterms:W3CDTF">2020-08-21T11:58:24Z</dcterms:modified>
</cp:coreProperties>
</file>